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91" r:id="rId3"/>
    <p:sldMasterId id="2147483702" r:id="rId4"/>
  </p:sldMasterIdLst>
  <p:notesMasterIdLst>
    <p:notesMasterId r:id="rId11"/>
  </p:notesMasterIdLst>
  <p:sldIdLst>
    <p:sldId id="2146846804" r:id="rId5"/>
    <p:sldId id="2147469831" r:id="rId6"/>
    <p:sldId id="2147469797" r:id="rId7"/>
    <p:sldId id="2146846813" r:id="rId8"/>
    <p:sldId id="2147469798" r:id="rId9"/>
    <p:sldId id="2147469799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1" d="100"/>
          <a:sy n="61" d="100"/>
        </p:scale>
        <p:origin x="81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0B39F1-FFA1-4E70-B761-3C1B6CED78AD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10F9F7-50C5-4F25-A5F5-050A6AD1D2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920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EEE23-7300-4FE6-B524-73577498742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3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240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39AA2A-A07C-494B-A9C5-FBE679401E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823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MSRP and enterprise pricing model </a:t>
            </a:r>
          </a:p>
          <a:p>
            <a:r>
              <a:rPr lang="en-US">
                <a:cs typeface="Calibri"/>
              </a:rPr>
              <a:t>Product description</a:t>
            </a:r>
          </a:p>
          <a:p>
            <a:r>
              <a:rPr lang="en-US">
                <a:cs typeface="Calibri"/>
              </a:rPr>
              <a:t>Nitty gritt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39AA2A-A07C-494B-A9C5-FBE679401E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11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EEE23-7300-4FE6-B524-73577498742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3/20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078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8500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39AA2A-A07C-494B-A9C5-FBE679401E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1859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9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1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jpe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3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3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3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4" Type="http://schemas.openxmlformats.org/officeDocument/2006/relationships/image" Target="../media/image3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openxmlformats.org/officeDocument/2006/relationships/image" Target="../media/image3.jpe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microsoft.com/office/2007/relationships/hdphoto" Target="../media/hdphoto1.wdp"/><Relationship Id="rId9" Type="http://schemas.openxmlformats.org/officeDocument/2006/relationships/image" Target="../media/image3.jpe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jpe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6.jpe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6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6"/>
          <p:cNvSpPr>
            <a:spLocks noGrp="1"/>
          </p:cNvSpPr>
          <p:nvPr>
            <p:ph type="pic" sz="quarter" idx="24"/>
          </p:nvPr>
        </p:nvSpPr>
        <p:spPr>
          <a:xfrm>
            <a:off x="766236" y="1181784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36967" y="118178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609" indent="-182508" defTabSz="515783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31" name="Picture Placeholder 16"/>
          <p:cNvSpPr>
            <a:spLocks noGrp="1"/>
          </p:cNvSpPr>
          <p:nvPr>
            <p:ph type="pic" sz="quarter" idx="26"/>
          </p:nvPr>
        </p:nvSpPr>
        <p:spPr>
          <a:xfrm>
            <a:off x="6255803" y="1181785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32" hasCustomPrompt="1"/>
          </p:nvPr>
        </p:nvSpPr>
        <p:spPr>
          <a:xfrm>
            <a:off x="7678907" y="118178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609" indent="-182508" defTabSz="515783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35" name="Picture Placeholder 16"/>
          <p:cNvSpPr>
            <a:spLocks noGrp="1"/>
          </p:cNvSpPr>
          <p:nvPr>
            <p:ph type="pic" sz="quarter" idx="33"/>
          </p:nvPr>
        </p:nvSpPr>
        <p:spPr>
          <a:xfrm>
            <a:off x="766236" y="2947194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34" hasCustomPrompt="1"/>
          </p:nvPr>
        </p:nvSpPr>
        <p:spPr>
          <a:xfrm>
            <a:off x="2236967" y="2947196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609" indent="-182508" defTabSz="515783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2" name="Picture Placeholder 16"/>
          <p:cNvSpPr>
            <a:spLocks noGrp="1"/>
          </p:cNvSpPr>
          <p:nvPr>
            <p:ph type="pic" sz="quarter" idx="36"/>
          </p:nvPr>
        </p:nvSpPr>
        <p:spPr>
          <a:xfrm>
            <a:off x="6255803" y="2947197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37" hasCustomPrompt="1"/>
          </p:nvPr>
        </p:nvSpPr>
        <p:spPr>
          <a:xfrm>
            <a:off x="7678907" y="2947196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609" indent="-182508" defTabSz="515783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4" name="Picture Placeholder 16"/>
          <p:cNvSpPr>
            <a:spLocks noGrp="1"/>
          </p:cNvSpPr>
          <p:nvPr>
            <p:ph type="pic" sz="quarter" idx="38"/>
          </p:nvPr>
        </p:nvSpPr>
        <p:spPr>
          <a:xfrm>
            <a:off x="766236" y="4733660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39" hasCustomPrompt="1"/>
          </p:nvPr>
        </p:nvSpPr>
        <p:spPr>
          <a:xfrm>
            <a:off x="2236967" y="4733663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609" indent="-182508" defTabSz="515783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41"/>
          </p:nvPr>
        </p:nvSpPr>
        <p:spPr>
          <a:xfrm>
            <a:off x="6255803" y="4733663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42" hasCustomPrompt="1"/>
          </p:nvPr>
        </p:nvSpPr>
        <p:spPr>
          <a:xfrm>
            <a:off x="7678907" y="4733663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609" indent="-182508" defTabSz="515783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9726184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Bod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2367" y="1737360"/>
            <a:ext cx="10061020" cy="4433888"/>
          </a:xfrm>
        </p:spPr>
        <p:txBody>
          <a:bodyPr/>
          <a:lstStyle>
            <a:lvl1pPr>
              <a:lnSpc>
                <a:spcPct val="100000"/>
              </a:lnSpc>
              <a:defRPr sz="16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4885936-F63D-4385-9C78-49599A7A5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930244809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2367" y="1737360"/>
            <a:ext cx="10061020" cy="4433888"/>
          </a:xfrm>
        </p:spPr>
        <p:txBody>
          <a:bodyPr/>
          <a:lstStyle>
            <a:lvl1pPr marL="0" marR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List Level 1 Optional header (To change format to body copy, Click ”Increase list level” button</a:t>
            </a:r>
            <a:br>
              <a:rPr lang="en-US"/>
            </a:br>
            <a:r>
              <a:rPr lang="en-US"/>
              <a:t>and remove the bullet)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41AF45-0C1D-49AB-A57A-C79CEBEB05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995394197"/>
      </p:ext>
    </p:extLst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Bod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2367" y="1737360"/>
            <a:ext cx="4939046" cy="4433888"/>
          </a:xfrm>
        </p:spPr>
        <p:txBody>
          <a:bodyPr/>
          <a:lstStyle>
            <a:lvl1pPr>
              <a:lnSpc>
                <a:spcPct val="100000"/>
              </a:lnSpc>
              <a:defRPr sz="16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4885936-F63D-4385-9C78-49599A7A5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BC842C3-9F17-43FD-A002-3B1B1176BF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20587" y="1761294"/>
            <a:ext cx="4939046" cy="2560320"/>
          </a:xfrm>
        </p:spPr>
        <p:txBody>
          <a:bodyPr tIns="27432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06466888"/>
      </p:ext>
    </p:extLst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F5CE3D1-C4C0-4B46-977A-FDB46EEB38C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1711" y="1233488"/>
            <a:ext cx="10061020" cy="4937760"/>
          </a:xfrm>
        </p:spPr>
        <p:txBody>
          <a:bodyPr/>
          <a:lstStyle>
            <a:lvl1pPr>
              <a:lnSpc>
                <a:spcPct val="100000"/>
              </a:lnSpc>
              <a:defRPr sz="16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2326102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3C8DF-A2C4-4C88-9B81-87925316C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A9379-C910-4F15-93A0-767BFC1A468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32368" y="1234440"/>
            <a:ext cx="5120641" cy="4937760"/>
          </a:xfrm>
        </p:spPr>
        <p:txBody>
          <a:bodyPr/>
          <a:lstStyle/>
          <a:p>
            <a:r>
              <a:rPr lang="en-US"/>
              <a:t>List Level 1 Optional header (To change format to </a:t>
            </a:r>
            <a:br>
              <a:rPr lang="en-US"/>
            </a:br>
            <a:r>
              <a:rPr lang="en-US"/>
              <a:t>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4DAEF8-811E-4A3B-8AD7-33A4125F93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9841" y="1234440"/>
            <a:ext cx="5120641" cy="4937760"/>
          </a:xfrm>
        </p:spPr>
        <p:txBody>
          <a:bodyPr/>
          <a:lstStyle/>
          <a:p>
            <a:r>
              <a:rPr lang="en-US"/>
              <a:t>List Level 1 Optional header (To change format to </a:t>
            </a:r>
            <a:br>
              <a:rPr lang="en-US"/>
            </a:br>
            <a:r>
              <a:rPr lang="en-US"/>
              <a:t>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3948014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3C8DF-A2C4-4C88-9B81-87925316C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A9379-C910-4F15-93A0-767BFC1A468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32368" y="1737360"/>
            <a:ext cx="5120641" cy="4434840"/>
          </a:xfrm>
        </p:spPr>
        <p:txBody>
          <a:bodyPr/>
          <a:lstStyle/>
          <a:p>
            <a:r>
              <a:rPr lang="en-US"/>
              <a:t>List Level 1 Optional header (To change format to </a:t>
            </a:r>
            <a:br>
              <a:rPr lang="en-US"/>
            </a:br>
            <a:r>
              <a:rPr lang="en-US"/>
              <a:t>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4DAEF8-811E-4A3B-8AD7-33A4125F93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9841" y="1737360"/>
            <a:ext cx="5120641" cy="4434840"/>
          </a:xfrm>
        </p:spPr>
        <p:txBody>
          <a:bodyPr/>
          <a:lstStyle>
            <a:lvl1pPr marL="0" marR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List Level 1 Optional header (To change format to </a:t>
            </a:r>
            <a:br>
              <a:rPr lang="en-US"/>
            </a:br>
            <a:r>
              <a:rPr lang="en-US"/>
              <a:t>body copy, Click ”Increase list level” button and remove the bullet)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7444B71D-26D1-4788-900B-3768644D4D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433891662"/>
      </p:ext>
    </p:extLst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2367" y="1233488"/>
            <a:ext cx="3292697" cy="493776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3B2EEA9-7F7C-41D2-817F-1AD8AA75BDA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49651" y="1233488"/>
            <a:ext cx="3292697" cy="493776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2D1BBBD-657D-4F65-91B3-608D60A6852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66936" y="1233488"/>
            <a:ext cx="3292697" cy="493776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6551490"/>
      </p:ext>
    </p:extLst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3C8DF-A2C4-4C88-9B81-87925316C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A9379-C910-4F15-93A0-767BFC1A468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32368" y="1234440"/>
            <a:ext cx="5120641" cy="2286000"/>
          </a:xfrm>
        </p:spPr>
        <p:txBody>
          <a:bodyPr/>
          <a:lstStyle/>
          <a:p>
            <a:r>
              <a:rPr lang="en-US"/>
              <a:t>List Level 1 Optional header (To change format to </a:t>
            </a:r>
            <a:br>
              <a:rPr lang="en-US"/>
            </a:br>
            <a:r>
              <a:rPr lang="en-US"/>
              <a:t>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4DAEF8-811E-4A3B-8AD7-33A4125F93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9841" y="1234440"/>
            <a:ext cx="5120641" cy="2286000"/>
          </a:xfrm>
        </p:spPr>
        <p:txBody>
          <a:bodyPr/>
          <a:lstStyle/>
          <a:p>
            <a:r>
              <a:rPr lang="en-US"/>
              <a:t>List Level 1 Optional header (To change format to </a:t>
            </a:r>
            <a:br>
              <a:rPr lang="en-US"/>
            </a:br>
            <a:r>
              <a:rPr lang="en-US"/>
              <a:t>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488133-D8DE-4431-8085-F896EADCB1A6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732368" y="3886200"/>
            <a:ext cx="5120641" cy="2286000"/>
          </a:xfrm>
        </p:spPr>
        <p:txBody>
          <a:bodyPr/>
          <a:lstStyle/>
          <a:p>
            <a:r>
              <a:rPr lang="en-US"/>
              <a:t>List Level 1 Optional header (To change format to </a:t>
            </a:r>
            <a:br>
              <a:rPr lang="en-US"/>
            </a:br>
            <a:r>
              <a:rPr lang="en-US"/>
              <a:t>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99E118F-96CC-4B62-900F-A1FC0BA55424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339841" y="3886200"/>
            <a:ext cx="5120641" cy="2286000"/>
          </a:xfrm>
        </p:spPr>
        <p:txBody>
          <a:bodyPr/>
          <a:lstStyle/>
          <a:p>
            <a:r>
              <a:rPr lang="en-US"/>
              <a:t>List Level 1 Optional header (To change format to </a:t>
            </a:r>
            <a:br>
              <a:rPr lang="en-US"/>
            </a:br>
            <a:r>
              <a:rPr lang="en-US"/>
              <a:t>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1728640"/>
      </p:ext>
    </p:extLst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4DB1994-9E77-4638-A321-7FD372C82E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913D150-F204-4A1B-8CD4-0EEE5C7728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4488688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4DB1994-9E77-4638-A321-7FD372C82E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185065817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4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pic>
        <p:nvPicPr>
          <p:cNvPr id="16" name="Picture 15" descr="A picture containing swimming, large, laptop, sitting&#10;&#10;Description automatically generated">
            <a:extLst>
              <a:ext uri="{FF2B5EF4-FFF2-40B4-BE49-F238E27FC236}">
                <a16:creationId xmlns:a16="http://schemas.microsoft.com/office/drawing/2014/main" id="{338C03BC-00A3-43D2-878D-D11BA0FD4E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971800"/>
            <a:ext cx="12212719" cy="2286000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2F8ECD-C490-45D9-890F-19655D35AA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0" name="BR Logo">
            <a:extLst>
              <a:ext uri="{FF2B5EF4-FFF2-40B4-BE49-F238E27FC236}">
                <a16:creationId xmlns:a16="http://schemas.microsoft.com/office/drawing/2014/main" id="{56ABD2E0-1AF8-4FA5-95BF-F2D4266792B8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7B85939F-582F-46C2-A2E4-E8B4D36E2B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14C828-FC46-4E4D-A477-B5EB3767D63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1094227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  <p15:guide id="4" pos="635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aphic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0211298"/>
      </p:ext>
    </p:extLst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8149136"/>
      </p:ext>
    </p:extLst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572498"/>
      </p:ext>
    </p:extLst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183" y="306361"/>
            <a:ext cx="10650134" cy="70170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766775" y="1374776"/>
            <a:ext cx="10648949" cy="49894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04127237"/>
      </p:ext>
    </p:extLst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772584" y="1188720"/>
            <a:ext cx="10648949" cy="517550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9953944"/>
      </p:ext>
    </p:extLst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6"/>
          <p:cNvSpPr>
            <a:spLocks noGrp="1"/>
          </p:cNvSpPr>
          <p:nvPr>
            <p:ph type="pic" sz="quarter" idx="24"/>
          </p:nvPr>
        </p:nvSpPr>
        <p:spPr>
          <a:xfrm>
            <a:off x="766235" y="1181784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36966" y="118178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31" name="Picture Placeholder 16"/>
          <p:cNvSpPr>
            <a:spLocks noGrp="1"/>
          </p:cNvSpPr>
          <p:nvPr>
            <p:ph type="pic" sz="quarter" idx="26"/>
          </p:nvPr>
        </p:nvSpPr>
        <p:spPr>
          <a:xfrm>
            <a:off x="6255802" y="1181785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32" hasCustomPrompt="1"/>
          </p:nvPr>
        </p:nvSpPr>
        <p:spPr>
          <a:xfrm>
            <a:off x="7678906" y="118178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35" name="Picture Placeholder 16"/>
          <p:cNvSpPr>
            <a:spLocks noGrp="1"/>
          </p:cNvSpPr>
          <p:nvPr>
            <p:ph type="pic" sz="quarter" idx="33"/>
          </p:nvPr>
        </p:nvSpPr>
        <p:spPr>
          <a:xfrm>
            <a:off x="766235" y="2947194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34" hasCustomPrompt="1"/>
          </p:nvPr>
        </p:nvSpPr>
        <p:spPr>
          <a:xfrm>
            <a:off x="2236966" y="294719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2" name="Picture Placeholder 16"/>
          <p:cNvSpPr>
            <a:spLocks noGrp="1"/>
          </p:cNvSpPr>
          <p:nvPr>
            <p:ph type="pic" sz="quarter" idx="36"/>
          </p:nvPr>
        </p:nvSpPr>
        <p:spPr>
          <a:xfrm>
            <a:off x="6255802" y="2947195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37" hasCustomPrompt="1"/>
          </p:nvPr>
        </p:nvSpPr>
        <p:spPr>
          <a:xfrm>
            <a:off x="7678906" y="294719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4" name="Picture Placeholder 16"/>
          <p:cNvSpPr>
            <a:spLocks noGrp="1"/>
          </p:cNvSpPr>
          <p:nvPr>
            <p:ph type="pic" sz="quarter" idx="38"/>
          </p:nvPr>
        </p:nvSpPr>
        <p:spPr>
          <a:xfrm>
            <a:off x="766235" y="4733660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39" hasCustomPrompt="1"/>
          </p:nvPr>
        </p:nvSpPr>
        <p:spPr>
          <a:xfrm>
            <a:off x="2236966" y="4733661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41"/>
          </p:nvPr>
        </p:nvSpPr>
        <p:spPr>
          <a:xfrm>
            <a:off x="6255802" y="4733661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42" hasCustomPrompt="1"/>
          </p:nvPr>
        </p:nvSpPr>
        <p:spPr>
          <a:xfrm>
            <a:off x="7678906" y="4733661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4822935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9191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467" y="112888"/>
            <a:ext cx="10651069" cy="70170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70468" y="1051560"/>
            <a:ext cx="5096933" cy="365760"/>
          </a:xfrm>
        </p:spPr>
        <p:txBody>
          <a:bodyPr anchor="b"/>
          <a:lstStyle>
            <a:lvl1pPr marL="0" indent="0">
              <a:spcBef>
                <a:spcPts val="0"/>
              </a:spcBef>
              <a:buFontTx/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051560"/>
            <a:ext cx="5096933" cy="36576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lang="en-US" sz="1600" b="1" kern="1200" dirty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772585" y="1508128"/>
            <a:ext cx="5094816" cy="48545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 hasCustomPrompt="1"/>
          </p:nvPr>
        </p:nvSpPr>
        <p:spPr>
          <a:xfrm>
            <a:off x="6324600" y="1508128"/>
            <a:ext cx="5096933" cy="48545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97182155"/>
      </p:ext>
    </p:extLst>
  </p:cSld>
  <p:clrMapOvr>
    <a:masterClrMapping/>
  </p:clrMapOvr>
  <p:transition spd="med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3470986"/>
              </p:ext>
            </p:extLst>
          </p:nvPr>
        </p:nvGraphicFramePr>
        <p:xfrm>
          <a:off x="2120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68298" y="1371237"/>
            <a:ext cx="10648218" cy="365760"/>
          </a:xfrm>
        </p:spPr>
        <p:txBody>
          <a:bodyPr anchor="b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766169" y="1870505"/>
            <a:ext cx="10653534" cy="450807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8BC7FA57-E8C6-8F4F-83FE-248953D76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170" y="180578"/>
            <a:ext cx="8190837" cy="7017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9839001"/>
      </p:ext>
    </p:extLst>
  </p:cSld>
  <p:clrMapOvr>
    <a:masterClrMapping/>
  </p:clrMapOvr>
  <p:transition spd="med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0466" y="112888"/>
            <a:ext cx="10651070" cy="70170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770466" y="1188720"/>
            <a:ext cx="10648949" cy="5175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27267570"/>
      </p:ext>
    </p:extLst>
  </p:cSld>
  <p:clrMapOvr>
    <a:masterClrMapping/>
  </p:clrMapOvr>
  <p:transition spd="med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D6C5896-75A8-D54D-8A9A-B4BAE095E32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2368" y="1233488"/>
            <a:ext cx="9997441" cy="4937760"/>
          </a:xfrm>
        </p:spPr>
        <p:txBody>
          <a:bodyPr/>
          <a:lstStyle>
            <a:lvl1pPr>
              <a:lnSpc>
                <a:spcPct val="100000"/>
              </a:lnSpc>
              <a:defRPr sz="16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3138475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4DB1994-9E77-4638-A321-7FD372C82E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4002087265"/>
      </p:ext>
    </p:extLst>
  </p:cSld>
  <p:clrMapOvr>
    <a:masterClrMapping/>
  </p:clrMapOvr>
  <p:transition spd="med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520" y="1097280"/>
            <a:ext cx="6705600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520" y="2377440"/>
            <a:ext cx="6705600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4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520" y="6243221"/>
            <a:ext cx="2682240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sp>
        <p:nvSpPr>
          <p:cNvPr id="12" name="BR Logo">
            <a:extLst>
              <a:ext uri="{FF2B5EF4-FFF2-40B4-BE49-F238E27FC236}">
                <a16:creationId xmlns:a16="http://schemas.microsoft.com/office/drawing/2014/main" id="{3D73AB5E-F946-47F2-84C2-CEC355FEFD54}"/>
              </a:ext>
            </a:extLst>
          </p:cNvPr>
          <p:cNvSpPr>
            <a:spLocks noChangeAspect="1"/>
          </p:cNvSpPr>
          <p:nvPr userDrawn="1"/>
        </p:nvSpPr>
        <p:spPr>
          <a:xfrm>
            <a:off x="8851240" y="549276"/>
            <a:ext cx="2682240" cy="407573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8C34D00C-1FA6-4860-B3A1-68F4704B5A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9848" y="6229874"/>
            <a:ext cx="2023632" cy="354768"/>
          </a:xfrm>
          <a:prstGeom prst="rect">
            <a:avLst/>
          </a:prstGeom>
        </p:spPr>
      </p:pic>
      <p:pic>
        <p:nvPicPr>
          <p:cNvPr id="16" name="Picture 15" descr="A picture containing swimming, large, laptop, sitting&#10;&#10;Description automatically generated">
            <a:extLst>
              <a:ext uri="{FF2B5EF4-FFF2-40B4-BE49-F238E27FC236}">
                <a16:creationId xmlns:a16="http://schemas.microsoft.com/office/drawing/2014/main" id="{338C03BC-00A3-43D2-878D-D11BA0FD4E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971800"/>
            <a:ext cx="12192000" cy="2286000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2F8ECD-C490-45D9-890F-19655D35AA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520" y="5760720"/>
            <a:ext cx="2682240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C3AE8D37-4E26-4D78-83FF-CF0F8512902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549275"/>
            <a:ext cx="2438400" cy="407573"/>
          </a:xfr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 anchor="ctr" anchorCtr="1">
            <a:noAutofit/>
          </a:bodyPr>
          <a:lstStyle>
            <a:lvl1pPr>
              <a:defRPr lang="en-US" sz="1000" dirty="0">
                <a:solidFill>
                  <a:schemeClr val="bg1">
                    <a:lumMod val="85000"/>
                  </a:schemeClr>
                </a:solidFill>
                <a:latin typeface="+mn-lt"/>
                <a:cs typeface="+mn-cs"/>
              </a:defRPr>
            </a:lvl1pPr>
          </a:lstStyle>
          <a:p>
            <a:pPr lvl="0" algn="ctr"/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4310906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540DEB88-695B-7143-A268-1A8E6F09C38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2191999" cy="6477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CF29579-A9D8-D246-9DF0-1C6BFA5E7752}"/>
              </a:ext>
            </a:extLst>
          </p:cNvPr>
          <p:cNvSpPr/>
          <p:nvPr userDrawn="1"/>
        </p:nvSpPr>
        <p:spPr>
          <a:xfrm>
            <a:off x="0" y="2133600"/>
            <a:ext cx="12192000" cy="2414016"/>
          </a:xfrm>
          <a:prstGeom prst="rect">
            <a:avLst/>
          </a:prstGeom>
          <a:solidFill>
            <a:schemeClr val="accent6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7196" tIns="0" rIns="137196" bIns="0"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1FF8EF8-1F5E-104A-B03F-093A98546F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7606" y="2426208"/>
            <a:ext cx="10627639" cy="1828800"/>
          </a:xfrm>
        </p:spPr>
        <p:txBody>
          <a:bodyPr anchor="ctr"/>
          <a:lstStyle>
            <a:lvl1pPr marL="0" marR="0" indent="0" algn="l" defTabSz="3429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1">
                <a:solidFill>
                  <a:srgbClr val="FFFFFF"/>
                </a:solidFill>
              </a:defRPr>
            </a:lvl1pPr>
          </a:lstStyle>
          <a:p>
            <a:pPr marL="0" marR="0" lvl="0" indent="0" algn="l" defTabSz="3429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insert big statement callout here – content should be max two lines</a:t>
            </a:r>
          </a:p>
        </p:txBody>
      </p:sp>
    </p:spTree>
    <p:extLst>
      <p:ext uri="{BB962C8B-B14F-4D97-AF65-F5344CB8AC3E}">
        <p14:creationId xmlns:p14="http://schemas.microsoft.com/office/powerpoint/2010/main" val="1014908912"/>
      </p:ext>
    </p:extLst>
  </p:cSld>
  <p:clrMapOvr>
    <a:masterClrMapping/>
  </p:clrMapOvr>
  <p:transition spd="med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0A8A97C-174B-2641-9556-FE0DA08A3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09" r="48909"/>
          <a:stretch/>
        </p:blipFill>
        <p:spPr>
          <a:xfrm>
            <a:off x="-1" y="0"/>
            <a:ext cx="10433156" cy="649689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37F25B5-FE3D-E543-A595-E0ED224F5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>
          <a:xfrm>
            <a:off x="6712572" y="2026557"/>
            <a:ext cx="8229600" cy="40132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E7D2F3E-FD17-D542-AC7B-E3FB797894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3952" y="2026557"/>
            <a:ext cx="8500083" cy="1828800"/>
          </a:xfrm>
        </p:spPr>
        <p:txBody>
          <a:bodyPr anchor="ctr"/>
          <a:lstStyle>
            <a:lvl1pPr marL="0" marR="0" indent="0" algn="l" defTabSz="3429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2">
                <a:solidFill>
                  <a:srgbClr val="FFFFFF"/>
                </a:solidFill>
              </a:defRPr>
            </a:lvl1pPr>
          </a:lstStyle>
          <a:p>
            <a:pPr marL="0" marR="0" lvl="0" indent="0" algn="l" defTabSz="3429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Insert impact words</a:t>
            </a:r>
          </a:p>
        </p:txBody>
      </p:sp>
    </p:spTree>
    <p:extLst>
      <p:ext uri="{BB962C8B-B14F-4D97-AF65-F5344CB8AC3E}">
        <p14:creationId xmlns:p14="http://schemas.microsoft.com/office/powerpoint/2010/main" val="2779429960"/>
      </p:ext>
    </p:extLst>
  </p:cSld>
  <p:clrMapOvr>
    <a:masterClrMapping/>
  </p:clrMapOvr>
  <p:transition spd="med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7A412A-639F-43BE-87A8-D405566C2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F0C732-38F6-412F-B56F-0A52D9C988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CC0954-9C86-480E-8599-D98B522BE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95C00-698F-4B24-840C-2BBC5919C671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8C342A-533B-467F-8F6E-87E5DA290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A0A9F8-0169-495B-A13C-2F62414CA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93321-F454-42A0-ADE7-E28C7DA413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5484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B5B227A-2BD0-415E-8420-BD835E38E1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95C00-698F-4B24-840C-2BBC5919C671}" type="datetimeFigureOut">
              <a:rPr lang="en-US" smtClean="0"/>
              <a:t>10/13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645B7A-E607-4197-9521-010084AAFE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D2802-AA8D-47E7-B1F7-562BF9835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93321-F454-42A0-ADE7-E28C7DA413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6273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FD919DE-B351-46BB-A8AC-1E9CD30E6AE6}"/>
              </a:ext>
            </a:extLst>
          </p:cNvPr>
          <p:cNvSpPr/>
          <p:nvPr userDrawn="1"/>
        </p:nvSpPr>
        <p:spPr bwMode="white">
          <a:xfrm>
            <a:off x="0" y="0"/>
            <a:ext cx="12192000" cy="74295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7196" rIns="137196"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9" name="Picture 8" descr="A picture containing scene, road&#10;&#10;Description automatically generated">
            <a:extLst>
              <a:ext uri="{FF2B5EF4-FFF2-40B4-BE49-F238E27FC236}">
                <a16:creationId xmlns:a16="http://schemas.microsoft.com/office/drawing/2014/main" id="{133826F2-69D5-4D34-A685-F6FDBBDEF8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4817" y="633743"/>
            <a:ext cx="12196817" cy="58432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45CAD8-C050-4321-90D4-2F217686D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46349" y="2286000"/>
            <a:ext cx="6219540" cy="1828800"/>
          </a:xfrm>
        </p:spPr>
        <p:txBody>
          <a:bodyPr anchor="t"/>
          <a:lstStyle>
            <a:lvl1pPr marL="0" marR="0" indent="0" algn="l" defTabSz="3429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701" b="0" i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l" defTabSz="3429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ivider slides should only be used to divide presentation sections. Maximum 3 line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A1AB2D-1B4C-4BD4-BF67-5541C63D072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646349" y="1371600"/>
            <a:ext cx="6219540" cy="457200"/>
          </a:xfrm>
        </p:spPr>
        <p:txBody>
          <a:bodyPr/>
          <a:lstStyle>
            <a:lvl1pPr marL="0" indent="0">
              <a:buNone/>
              <a:defRPr sz="1050" b="1" spc="23" baseline="0">
                <a:solidFill>
                  <a:schemeClr val="accent2"/>
                </a:solidFill>
              </a:defRPr>
            </a:lvl1pPr>
            <a:lvl2pPr marL="34299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99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99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9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9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9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9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97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Optional eyebrow 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F76D82F-8A58-493D-9672-1A5D6FC6753D}"/>
              </a:ext>
            </a:extLst>
          </p:cNvPr>
          <p:cNvSpPr/>
          <p:nvPr userDrawn="1"/>
        </p:nvSpPr>
        <p:spPr>
          <a:xfrm flipH="1">
            <a:off x="12192000" y="0"/>
            <a:ext cx="279473" cy="640080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37196" tIns="0" rIns="137196" bIns="0"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656502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pos="103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772584" y="1188720"/>
            <a:ext cx="10648949" cy="517550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93105360"/>
      </p:ext>
    </p:extLst>
  </p:cSld>
  <p:clrMapOvr>
    <a:masterClrMapping/>
  </p:clrMapOvr>
  <p:transition spd="med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uping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8E335F08-51BC-4088-BB50-CA2002DE1885}"/>
              </a:ext>
            </a:extLst>
          </p:cNvPr>
          <p:cNvSpPr/>
          <p:nvPr userDrawn="1"/>
        </p:nvSpPr>
        <p:spPr bwMode="white">
          <a:xfrm>
            <a:off x="1" y="1"/>
            <a:ext cx="731140" cy="27812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406F765-2EFE-48F0-A15A-30002B8921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2286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705" y="2560320"/>
            <a:ext cx="3413760" cy="3383280"/>
          </a:xfrm>
        </p:spPr>
        <p:txBody>
          <a:bodyPr lIns="182880"/>
          <a:lstStyle>
            <a:lvl1pPr marL="0" indent="0">
              <a:lnSpc>
                <a:spcPct val="100000"/>
              </a:lnSpc>
              <a:spcBef>
                <a:spcPts val="80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  <a:latin typeface="+mn-lt"/>
              </a:defRPr>
            </a:lvl1pPr>
            <a:lvl2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2pPr>
            <a:lvl3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3pPr>
            <a:lvl4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4pPr>
            <a:lvl5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116F071-B61E-44B0-A9E6-D9848556BF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140" y="1645920"/>
            <a:ext cx="3413760" cy="64008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8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Header</a:t>
            </a:r>
          </a:p>
        </p:txBody>
      </p:sp>
      <p:sp>
        <p:nvSpPr>
          <p:cNvPr id="13" name="object 16">
            <a:extLst>
              <a:ext uri="{FF2B5EF4-FFF2-40B4-BE49-F238E27FC236}">
                <a16:creationId xmlns:a16="http://schemas.microsoft.com/office/drawing/2014/main" id="{4219628D-BF2F-414D-AAB4-ED8938041475}"/>
              </a:ext>
            </a:extLst>
          </p:cNvPr>
          <p:cNvSpPr/>
          <p:nvPr userDrawn="1"/>
        </p:nvSpPr>
        <p:spPr>
          <a:xfrm>
            <a:off x="731140" y="6126480"/>
            <a:ext cx="3413760" cy="0"/>
          </a:xfrm>
          <a:custGeom>
            <a:avLst/>
            <a:gdLst/>
            <a:ahLst/>
            <a:cxnLst/>
            <a:rect l="l" t="t" r="r" b="b"/>
            <a:pathLst>
              <a:path w="3291840">
                <a:moveTo>
                  <a:pt x="0" y="0"/>
                </a:moveTo>
                <a:lnTo>
                  <a:pt x="3291840" y="0"/>
                </a:lnTo>
              </a:path>
            </a:pathLst>
          </a:custGeom>
          <a:ln w="5080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AEE883A-A799-4B8F-B417-2A8B9B4F4D3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01459" y="2560320"/>
            <a:ext cx="3413760" cy="3383280"/>
          </a:xfrm>
        </p:spPr>
        <p:txBody>
          <a:bodyPr lIns="182880"/>
          <a:lstStyle>
            <a:lvl1pPr marL="0" indent="0">
              <a:lnSpc>
                <a:spcPct val="100000"/>
              </a:lnSpc>
              <a:spcBef>
                <a:spcPts val="800"/>
              </a:spcBef>
              <a:spcAft>
                <a:spcPts val="2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  <a:latin typeface="+mn-lt"/>
              </a:defRPr>
            </a:lvl1pPr>
            <a:lvl2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2pPr>
            <a:lvl3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3pPr>
            <a:lvl4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4pPr>
            <a:lvl5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78CEB95-E1A1-447A-91C8-E746A478AD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7893" y="1645920"/>
            <a:ext cx="3413760" cy="640080"/>
          </a:xfrm>
          <a:solidFill>
            <a:schemeClr val="accent5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8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Header</a:t>
            </a: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89D35B7E-CF76-41EE-A621-3D4E6D0EB5E7}"/>
              </a:ext>
            </a:extLst>
          </p:cNvPr>
          <p:cNvSpPr/>
          <p:nvPr userDrawn="1"/>
        </p:nvSpPr>
        <p:spPr>
          <a:xfrm>
            <a:off x="4387893" y="6126480"/>
            <a:ext cx="3413760" cy="0"/>
          </a:xfrm>
          <a:custGeom>
            <a:avLst/>
            <a:gdLst/>
            <a:ahLst/>
            <a:cxnLst/>
            <a:rect l="l" t="t" r="r" b="b"/>
            <a:pathLst>
              <a:path w="3291840">
                <a:moveTo>
                  <a:pt x="0" y="0"/>
                </a:moveTo>
                <a:lnTo>
                  <a:pt x="3291840" y="0"/>
                </a:lnTo>
              </a:path>
            </a:pathLst>
          </a:custGeom>
          <a:ln w="508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1A0313-0DBC-4603-8994-14BDD6290FB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59439" y="2560320"/>
            <a:ext cx="3413760" cy="3383280"/>
          </a:xfrm>
        </p:spPr>
        <p:txBody>
          <a:bodyPr lIns="182880"/>
          <a:lstStyle>
            <a:lvl1pPr marL="0" indent="0">
              <a:lnSpc>
                <a:spcPct val="100000"/>
              </a:lnSpc>
              <a:spcBef>
                <a:spcPts val="80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600" b="1" cap="none" baseline="0">
                <a:solidFill>
                  <a:schemeClr val="tx1"/>
                </a:solidFill>
                <a:latin typeface="+mn-lt"/>
              </a:defRPr>
            </a:lvl1pPr>
            <a:lvl2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2pPr>
            <a:lvl3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3pPr>
            <a:lvl4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4pPr>
            <a:lvl5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60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3212458-44C8-4C00-BEE4-DB266F561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45873" y="1645920"/>
            <a:ext cx="3413760" cy="640080"/>
          </a:xfrm>
          <a:solidFill>
            <a:schemeClr val="accent3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8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Header</a:t>
            </a: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17B188BF-D239-4935-A09B-90D641AA782F}"/>
              </a:ext>
            </a:extLst>
          </p:cNvPr>
          <p:cNvSpPr/>
          <p:nvPr userDrawn="1"/>
        </p:nvSpPr>
        <p:spPr>
          <a:xfrm>
            <a:off x="8045873" y="6126480"/>
            <a:ext cx="3413760" cy="0"/>
          </a:xfrm>
          <a:custGeom>
            <a:avLst/>
            <a:gdLst/>
            <a:ahLst/>
            <a:cxnLst/>
            <a:rect l="l" t="t" r="r" b="b"/>
            <a:pathLst>
              <a:path w="3291840">
                <a:moveTo>
                  <a:pt x="0" y="0"/>
                </a:moveTo>
                <a:lnTo>
                  <a:pt x="3291840" y="0"/>
                </a:lnTo>
              </a:path>
            </a:pathLst>
          </a:custGeom>
          <a:ln w="50800"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7BD26A2-B15D-484E-BF1E-CFF803BBBB5B}"/>
              </a:ext>
            </a:extLst>
          </p:cNvPr>
          <p:cNvSpPr txBox="1"/>
          <p:nvPr userDrawn="1"/>
        </p:nvSpPr>
        <p:spPr>
          <a:xfrm>
            <a:off x="12192000" y="731517"/>
            <a:ext cx="2804160" cy="5303520"/>
          </a:xfrm>
          <a:prstGeom prst="rect">
            <a:avLst/>
          </a:prstGeom>
          <a:solidFill>
            <a:schemeClr val="bg2"/>
          </a:solidFill>
        </p:spPr>
        <p:txBody>
          <a:bodyPr wrap="square" lIns="274320" tIns="274320" rIns="18288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>
                <a:solidFill>
                  <a:schemeClr val="accent4"/>
                </a:solidFill>
              </a:rPr>
              <a:t>INSTRUCTIONS:</a:t>
            </a:r>
          </a:p>
          <a:p>
            <a:pPr>
              <a:spcBef>
                <a:spcPts val="600"/>
              </a:spcBef>
            </a:pPr>
            <a:r>
              <a:rPr lang="en-US" sz="1600" b="1"/>
              <a:t>To update image header: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/>
              <a:t>Delete the current image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/>
              <a:t>Click the insert picture icon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/>
              <a:t>Brows and select a new image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/>
              <a:t>Reset</a:t>
            </a:r>
            <a:r>
              <a:rPr lang="en-US" sz="1600" b="0"/>
              <a:t> the slide to restore layer order</a:t>
            </a:r>
            <a:endParaRPr lang="en-US" sz="1600" b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2"/>
            <a:ext cx="12192000" cy="1645922"/>
          </a:xfrm>
          <a:gradFill flip="none" rotWithShape="1">
            <a:gsLst>
              <a:gs pos="40000">
                <a:srgbClr val="000000">
                  <a:alpha val="40000"/>
                </a:srgbClr>
              </a:gs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5400000" scaled="1"/>
            <a:tileRect/>
          </a:gradFill>
        </p:spPr>
        <p:txBody>
          <a:bodyPr lIns="548640" tIns="457200" rIns="548640" anchor="t" anchorCtr="0"/>
          <a:lstStyle>
            <a:lvl1pPr marL="0" indent="0" algn="l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301007259"/>
      </p:ext>
    </p:extLst>
  </p:cSld>
  <p:clrMapOvr>
    <a:masterClrMapping/>
  </p:clrMapOvr>
  <p:transition spd="med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uping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45A6E80-1303-4250-BDD6-93D81601F062}"/>
              </a:ext>
            </a:extLst>
          </p:cNvPr>
          <p:cNvSpPr/>
          <p:nvPr userDrawn="1"/>
        </p:nvSpPr>
        <p:spPr bwMode="white">
          <a:xfrm>
            <a:off x="1" y="1"/>
            <a:ext cx="731140" cy="27812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406F765-2EFE-48F0-A15A-30002B8921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2286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Image Placehol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705" y="4023360"/>
            <a:ext cx="3413760" cy="2286000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1pPr>
            <a:lvl2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2pPr>
            <a:lvl3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3pPr>
            <a:lvl4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4pPr>
            <a:lvl5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116F071-B61E-44B0-A9E6-D9848556BF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1140" y="3108960"/>
            <a:ext cx="3413760" cy="457200"/>
          </a:xfrm>
        </p:spPr>
        <p:txBody>
          <a:bodyPr anchor="b" anchorCtr="0"/>
          <a:lstStyle>
            <a:lvl1pPr marL="0" indent="0" algn="ctr">
              <a:spcBef>
                <a:spcPts val="0"/>
              </a:spcBef>
              <a:buNone/>
              <a:defRPr sz="16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Header</a:t>
            </a:r>
          </a:p>
        </p:txBody>
      </p:sp>
      <p:sp>
        <p:nvSpPr>
          <p:cNvPr id="13" name="object 16">
            <a:extLst>
              <a:ext uri="{FF2B5EF4-FFF2-40B4-BE49-F238E27FC236}">
                <a16:creationId xmlns:a16="http://schemas.microsoft.com/office/drawing/2014/main" id="{4219628D-BF2F-414D-AAB4-ED8938041475}"/>
              </a:ext>
            </a:extLst>
          </p:cNvPr>
          <p:cNvSpPr/>
          <p:nvPr userDrawn="1"/>
        </p:nvSpPr>
        <p:spPr>
          <a:xfrm>
            <a:off x="731140" y="3749040"/>
            <a:ext cx="3413760" cy="0"/>
          </a:xfrm>
          <a:custGeom>
            <a:avLst/>
            <a:gdLst/>
            <a:ahLst/>
            <a:cxnLst/>
            <a:rect l="l" t="t" r="r" b="b"/>
            <a:pathLst>
              <a:path w="3291840">
                <a:moveTo>
                  <a:pt x="0" y="0"/>
                </a:moveTo>
                <a:lnTo>
                  <a:pt x="3291840" y="0"/>
                </a:lnTo>
              </a:path>
            </a:pathLst>
          </a:custGeom>
          <a:ln w="5080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AEE883A-A799-4B8F-B417-2A8B9B4F4D3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01459" y="4023360"/>
            <a:ext cx="3413760" cy="2286000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1pPr>
            <a:lvl2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2pPr>
            <a:lvl3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3pPr>
            <a:lvl4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4pPr>
            <a:lvl5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78CEB95-E1A1-447A-91C8-E746A478AD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7893" y="3108960"/>
            <a:ext cx="3413760" cy="457200"/>
          </a:xfrm>
        </p:spPr>
        <p:txBody>
          <a:bodyPr anchor="b" anchorCtr="0"/>
          <a:lstStyle>
            <a:lvl1pPr marL="0" indent="0" algn="ctr">
              <a:spcBef>
                <a:spcPts val="0"/>
              </a:spcBef>
              <a:buNone/>
              <a:defRPr sz="1600"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Header</a:t>
            </a:r>
          </a:p>
        </p:txBody>
      </p:sp>
      <p:sp>
        <p:nvSpPr>
          <p:cNvPr id="16" name="object 16">
            <a:extLst>
              <a:ext uri="{FF2B5EF4-FFF2-40B4-BE49-F238E27FC236}">
                <a16:creationId xmlns:a16="http://schemas.microsoft.com/office/drawing/2014/main" id="{89D35B7E-CF76-41EE-A621-3D4E6D0EB5E7}"/>
              </a:ext>
            </a:extLst>
          </p:cNvPr>
          <p:cNvSpPr/>
          <p:nvPr userDrawn="1"/>
        </p:nvSpPr>
        <p:spPr>
          <a:xfrm>
            <a:off x="4387893" y="3749040"/>
            <a:ext cx="3413760" cy="0"/>
          </a:xfrm>
          <a:custGeom>
            <a:avLst/>
            <a:gdLst/>
            <a:ahLst/>
            <a:cxnLst/>
            <a:rect l="l" t="t" r="r" b="b"/>
            <a:pathLst>
              <a:path w="3291840">
                <a:moveTo>
                  <a:pt x="0" y="0"/>
                </a:moveTo>
                <a:lnTo>
                  <a:pt x="3291840" y="0"/>
                </a:lnTo>
              </a:path>
            </a:pathLst>
          </a:custGeom>
          <a:ln w="50800">
            <a:solidFill>
              <a:schemeClr val="accent5"/>
            </a:solidFill>
          </a:ln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71A0313-0DBC-4603-8994-14BDD6290FBF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8059439" y="4023360"/>
            <a:ext cx="3413760" cy="2286000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1pPr>
            <a:lvl2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2pPr>
            <a:lvl3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3pPr>
            <a:lvl4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4pPr>
            <a:lvl5pPr marL="171450" indent="-17145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3212458-44C8-4C00-BEE4-DB266F5615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45873" y="3108960"/>
            <a:ext cx="3413760" cy="457200"/>
          </a:xfrm>
        </p:spPr>
        <p:txBody>
          <a:bodyPr anchor="b" anchorCtr="0"/>
          <a:lstStyle>
            <a:lvl1pPr marL="0" indent="0" algn="ctr">
              <a:spcBef>
                <a:spcPts val="0"/>
              </a:spcBef>
              <a:buNone/>
              <a:defRPr sz="1600"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Header</a:t>
            </a: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17B188BF-D239-4935-A09B-90D641AA782F}"/>
              </a:ext>
            </a:extLst>
          </p:cNvPr>
          <p:cNvSpPr/>
          <p:nvPr userDrawn="1"/>
        </p:nvSpPr>
        <p:spPr>
          <a:xfrm>
            <a:off x="8045873" y="3749040"/>
            <a:ext cx="3413760" cy="0"/>
          </a:xfrm>
          <a:custGeom>
            <a:avLst/>
            <a:gdLst/>
            <a:ahLst/>
            <a:cxnLst/>
            <a:rect l="l" t="t" r="r" b="b"/>
            <a:pathLst>
              <a:path w="3291840">
                <a:moveTo>
                  <a:pt x="0" y="0"/>
                </a:moveTo>
                <a:lnTo>
                  <a:pt x="3291840" y="0"/>
                </a:lnTo>
              </a:path>
            </a:pathLst>
          </a:custGeom>
          <a:ln w="50800">
            <a:solidFill>
              <a:schemeClr val="accent3"/>
            </a:solidFill>
          </a:ln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2"/>
            <a:ext cx="12192000" cy="2011680"/>
          </a:xfrm>
          <a:gradFill flip="none" rotWithShape="1">
            <a:gsLst>
              <a:gs pos="40000">
                <a:srgbClr val="000000">
                  <a:alpha val="40000"/>
                </a:srgbClr>
              </a:gs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5400000" scaled="1"/>
            <a:tileRect/>
          </a:gradFill>
        </p:spPr>
        <p:txBody>
          <a:bodyPr lIns="548640" tIns="274320" rIns="548640" anchor="ctr" anchorCtr="0"/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, sentence case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AC783B3A-F028-4901-A0B1-54A8C2243A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585574" y="1828800"/>
            <a:ext cx="1704893" cy="1280160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6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C886EC3D-2202-4BB6-862E-D49B19C8A5E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42327" y="1828800"/>
            <a:ext cx="1704893" cy="1280160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6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24CDE87-4240-47AE-98C3-EC7586EE88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00307" y="1828800"/>
            <a:ext cx="1704893" cy="1280160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1600" b="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34345C-CC91-4C6C-9D88-6D7F7CF03595}"/>
              </a:ext>
            </a:extLst>
          </p:cNvPr>
          <p:cNvSpPr txBox="1"/>
          <p:nvPr userDrawn="1"/>
        </p:nvSpPr>
        <p:spPr>
          <a:xfrm>
            <a:off x="12192000" y="731517"/>
            <a:ext cx="2804160" cy="5303520"/>
          </a:xfrm>
          <a:prstGeom prst="rect">
            <a:avLst/>
          </a:prstGeom>
          <a:solidFill>
            <a:schemeClr val="bg2"/>
          </a:solidFill>
        </p:spPr>
        <p:txBody>
          <a:bodyPr wrap="square" lIns="274320" tIns="274320" rIns="18288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>
                <a:solidFill>
                  <a:schemeClr val="accent4"/>
                </a:solidFill>
              </a:rPr>
              <a:t>INSTRUCTIONS:</a:t>
            </a:r>
          </a:p>
          <a:p>
            <a:pPr>
              <a:spcBef>
                <a:spcPts val="600"/>
              </a:spcBef>
            </a:pPr>
            <a:r>
              <a:rPr lang="en-US" sz="1600" b="1"/>
              <a:t>To update image header: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/>
              <a:t>Delete the current image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/>
              <a:t>Click the insert picture icon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/>
              <a:t>Brows and select a new image</a:t>
            </a:r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1"/>
              <a:t>Reset</a:t>
            </a:r>
            <a:r>
              <a:rPr lang="en-US" sz="1600" b="0"/>
              <a:t> the slide to restore layer order</a:t>
            </a:r>
            <a:endParaRPr lang="en-US" sz="1600" b="1"/>
          </a:p>
          <a:p>
            <a:pPr marL="228600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b="1"/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1600" b="1" i="1"/>
              <a:t>Note: </a:t>
            </a:r>
            <a:r>
              <a:rPr lang="en-US" sz="1600" b="0" i="1"/>
              <a:t>Bold text must be applied manuall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b="0" i="1"/>
              <a:t>Icons should be updated as needed to reflect topic</a:t>
            </a:r>
          </a:p>
        </p:txBody>
      </p:sp>
    </p:spTree>
    <p:extLst>
      <p:ext uri="{BB962C8B-B14F-4D97-AF65-F5344CB8AC3E}">
        <p14:creationId xmlns:p14="http://schemas.microsoft.com/office/powerpoint/2010/main" val="3874053314"/>
      </p:ext>
    </p:extLst>
  </p:cSld>
  <p:clrMapOvr>
    <a:masterClrMapping/>
  </p:clrMapOvr>
  <p:transition spd="med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6"/>
          <p:cNvSpPr>
            <a:spLocks noGrp="1"/>
          </p:cNvSpPr>
          <p:nvPr>
            <p:ph type="pic" sz="quarter" idx="24"/>
          </p:nvPr>
        </p:nvSpPr>
        <p:spPr>
          <a:xfrm>
            <a:off x="766235" y="1181784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36966" y="118178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31" name="Picture Placeholder 16"/>
          <p:cNvSpPr>
            <a:spLocks noGrp="1"/>
          </p:cNvSpPr>
          <p:nvPr>
            <p:ph type="pic" sz="quarter" idx="26"/>
          </p:nvPr>
        </p:nvSpPr>
        <p:spPr>
          <a:xfrm>
            <a:off x="6255802" y="1181785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32" hasCustomPrompt="1"/>
          </p:nvPr>
        </p:nvSpPr>
        <p:spPr>
          <a:xfrm>
            <a:off x="7678906" y="118178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35" name="Picture Placeholder 16"/>
          <p:cNvSpPr>
            <a:spLocks noGrp="1"/>
          </p:cNvSpPr>
          <p:nvPr>
            <p:ph type="pic" sz="quarter" idx="33"/>
          </p:nvPr>
        </p:nvSpPr>
        <p:spPr>
          <a:xfrm>
            <a:off x="766235" y="2947194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34" hasCustomPrompt="1"/>
          </p:nvPr>
        </p:nvSpPr>
        <p:spPr>
          <a:xfrm>
            <a:off x="2236966" y="294719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2" name="Picture Placeholder 16"/>
          <p:cNvSpPr>
            <a:spLocks noGrp="1"/>
          </p:cNvSpPr>
          <p:nvPr>
            <p:ph type="pic" sz="quarter" idx="36"/>
          </p:nvPr>
        </p:nvSpPr>
        <p:spPr>
          <a:xfrm>
            <a:off x="6255802" y="2947195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37" hasCustomPrompt="1"/>
          </p:nvPr>
        </p:nvSpPr>
        <p:spPr>
          <a:xfrm>
            <a:off x="7678906" y="2947195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4" name="Picture Placeholder 16"/>
          <p:cNvSpPr>
            <a:spLocks noGrp="1"/>
          </p:cNvSpPr>
          <p:nvPr>
            <p:ph type="pic" sz="quarter" idx="38"/>
          </p:nvPr>
        </p:nvSpPr>
        <p:spPr>
          <a:xfrm>
            <a:off x="766235" y="4733660"/>
            <a:ext cx="1299429" cy="123005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idx="39" hasCustomPrompt="1"/>
          </p:nvPr>
        </p:nvSpPr>
        <p:spPr>
          <a:xfrm>
            <a:off x="2236966" y="4733661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41"/>
          </p:nvPr>
        </p:nvSpPr>
        <p:spPr>
          <a:xfrm>
            <a:off x="6255802" y="4733661"/>
            <a:ext cx="1299429" cy="1230843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42" hasCustomPrompt="1"/>
          </p:nvPr>
        </p:nvSpPr>
        <p:spPr>
          <a:xfrm>
            <a:off x="7678906" y="4733661"/>
            <a:ext cx="3714041" cy="1611049"/>
          </a:xfr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b="1" i="0"/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lvl3pPr>
            <a:lvl4pPr marL="0" indent="0">
              <a:buSzPct val="80000"/>
              <a:buFontTx/>
              <a:buNone/>
              <a:defRPr sz="1000"/>
            </a:lvl4pPr>
            <a:lvl5pPr marL="512763" indent="-182563" defTabSz="515938">
              <a:defRPr/>
            </a:lvl5pPr>
          </a:lstStyle>
          <a:p>
            <a:pPr lvl="0"/>
            <a:r>
              <a:rPr lang="en-US"/>
              <a:t>Team member name in bold and bio follow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0675349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ot Pattern">
            <a:extLst>
              <a:ext uri="{FF2B5EF4-FFF2-40B4-BE49-F238E27FC236}">
                <a16:creationId xmlns:a16="http://schemas.microsoft.com/office/drawing/2014/main" id="{DA43996F-8E19-4EA4-B1ED-A1F1955A3925}"/>
              </a:ext>
            </a:extLst>
          </p:cNvPr>
          <p:cNvSpPr/>
          <p:nvPr userDrawn="1"/>
        </p:nvSpPr>
        <p:spPr>
          <a:xfrm>
            <a:off x="-3082" y="4648002"/>
            <a:ext cx="12251873" cy="823468"/>
          </a:xfrm>
          <a:custGeom>
            <a:avLst/>
            <a:gdLst>
              <a:gd name="connsiteX0" fmla="*/ 12210569 w 12248682"/>
              <a:gd name="connsiteY0" fmla="*/ 753017 h 823468"/>
              <a:gd name="connsiteX1" fmla="*/ 12231358 w 12248682"/>
              <a:gd name="connsiteY1" fmla="*/ 773806 h 823468"/>
              <a:gd name="connsiteX2" fmla="*/ 12210569 w 12248682"/>
              <a:gd name="connsiteY2" fmla="*/ 794594 h 823468"/>
              <a:gd name="connsiteX3" fmla="*/ 12189780 w 12248682"/>
              <a:gd name="connsiteY3" fmla="*/ 773806 h 823468"/>
              <a:gd name="connsiteX4" fmla="*/ 12210569 w 12248682"/>
              <a:gd name="connsiteY4" fmla="*/ 753017 h 823468"/>
              <a:gd name="connsiteX5" fmla="*/ 12071977 w 12248682"/>
              <a:gd name="connsiteY5" fmla="*/ 753017 h 823468"/>
              <a:gd name="connsiteX6" fmla="*/ 12092766 w 12248682"/>
              <a:gd name="connsiteY6" fmla="*/ 773806 h 823468"/>
              <a:gd name="connsiteX7" fmla="*/ 12071977 w 12248682"/>
              <a:gd name="connsiteY7" fmla="*/ 794594 h 823468"/>
              <a:gd name="connsiteX8" fmla="*/ 12051188 w 12248682"/>
              <a:gd name="connsiteY8" fmla="*/ 773806 h 823468"/>
              <a:gd name="connsiteX9" fmla="*/ 12071977 w 12248682"/>
              <a:gd name="connsiteY9" fmla="*/ 753017 h 823468"/>
              <a:gd name="connsiteX10" fmla="*/ 11934539 w 12248682"/>
              <a:gd name="connsiteY10" fmla="*/ 753017 h 823468"/>
              <a:gd name="connsiteX11" fmla="*/ 11955328 w 12248682"/>
              <a:gd name="connsiteY11" fmla="*/ 773806 h 823468"/>
              <a:gd name="connsiteX12" fmla="*/ 11934539 w 12248682"/>
              <a:gd name="connsiteY12" fmla="*/ 794594 h 823468"/>
              <a:gd name="connsiteX13" fmla="*/ 11913750 w 12248682"/>
              <a:gd name="connsiteY13" fmla="*/ 773806 h 823468"/>
              <a:gd name="connsiteX14" fmla="*/ 11934539 w 12248682"/>
              <a:gd name="connsiteY14" fmla="*/ 753017 h 823468"/>
              <a:gd name="connsiteX15" fmla="*/ 11797103 w 12248682"/>
              <a:gd name="connsiteY15" fmla="*/ 753017 h 823468"/>
              <a:gd name="connsiteX16" fmla="*/ 11816736 w 12248682"/>
              <a:gd name="connsiteY16" fmla="*/ 773806 h 823468"/>
              <a:gd name="connsiteX17" fmla="*/ 11797103 w 12248682"/>
              <a:gd name="connsiteY17" fmla="*/ 794594 h 823468"/>
              <a:gd name="connsiteX18" fmla="*/ 11776314 w 12248682"/>
              <a:gd name="connsiteY18" fmla="*/ 773806 h 823468"/>
              <a:gd name="connsiteX19" fmla="*/ 11797103 w 12248682"/>
              <a:gd name="connsiteY19" fmla="*/ 753017 h 823468"/>
              <a:gd name="connsiteX20" fmla="*/ 10645633 w 12248682"/>
              <a:gd name="connsiteY20" fmla="*/ 753017 h 823468"/>
              <a:gd name="connsiteX21" fmla="*/ 10666422 w 12248682"/>
              <a:gd name="connsiteY21" fmla="*/ 773806 h 823468"/>
              <a:gd name="connsiteX22" fmla="*/ 10645633 w 12248682"/>
              <a:gd name="connsiteY22" fmla="*/ 794594 h 823468"/>
              <a:gd name="connsiteX23" fmla="*/ 10624844 w 12248682"/>
              <a:gd name="connsiteY23" fmla="*/ 773806 h 823468"/>
              <a:gd name="connsiteX24" fmla="*/ 10645633 w 12248682"/>
              <a:gd name="connsiteY24" fmla="*/ 753017 h 823468"/>
              <a:gd name="connsiteX25" fmla="*/ 9247008 w 12248682"/>
              <a:gd name="connsiteY25" fmla="*/ 753017 h 823468"/>
              <a:gd name="connsiteX26" fmla="*/ 9267797 w 12248682"/>
              <a:gd name="connsiteY26" fmla="*/ 773806 h 823468"/>
              <a:gd name="connsiteX27" fmla="*/ 9247008 w 12248682"/>
              <a:gd name="connsiteY27" fmla="*/ 794594 h 823468"/>
              <a:gd name="connsiteX28" fmla="*/ 9226219 w 12248682"/>
              <a:gd name="connsiteY28" fmla="*/ 773806 h 823468"/>
              <a:gd name="connsiteX29" fmla="*/ 9247008 w 12248682"/>
              <a:gd name="connsiteY29" fmla="*/ 753017 h 823468"/>
              <a:gd name="connsiteX30" fmla="*/ 8148062 w 12248682"/>
              <a:gd name="connsiteY30" fmla="*/ 753017 h 823468"/>
              <a:gd name="connsiteX31" fmla="*/ 8168851 w 12248682"/>
              <a:gd name="connsiteY31" fmla="*/ 773806 h 823468"/>
              <a:gd name="connsiteX32" fmla="*/ 8148062 w 12248682"/>
              <a:gd name="connsiteY32" fmla="*/ 794594 h 823468"/>
              <a:gd name="connsiteX33" fmla="*/ 8127274 w 12248682"/>
              <a:gd name="connsiteY33" fmla="*/ 773806 h 823468"/>
              <a:gd name="connsiteX34" fmla="*/ 8148062 w 12248682"/>
              <a:gd name="connsiteY34" fmla="*/ 753017 h 823468"/>
              <a:gd name="connsiteX35" fmla="*/ 8009471 w 12248682"/>
              <a:gd name="connsiteY35" fmla="*/ 753017 h 823468"/>
              <a:gd name="connsiteX36" fmla="*/ 8030259 w 12248682"/>
              <a:gd name="connsiteY36" fmla="*/ 773806 h 823468"/>
              <a:gd name="connsiteX37" fmla="*/ 8009471 w 12248682"/>
              <a:gd name="connsiteY37" fmla="*/ 794594 h 823468"/>
              <a:gd name="connsiteX38" fmla="*/ 7988682 w 12248682"/>
              <a:gd name="connsiteY38" fmla="*/ 773806 h 823468"/>
              <a:gd name="connsiteX39" fmla="*/ 8009471 w 12248682"/>
              <a:gd name="connsiteY39" fmla="*/ 753017 h 823468"/>
              <a:gd name="connsiteX40" fmla="*/ 7872031 w 12248682"/>
              <a:gd name="connsiteY40" fmla="*/ 753017 h 823468"/>
              <a:gd name="connsiteX41" fmla="*/ 7892822 w 12248682"/>
              <a:gd name="connsiteY41" fmla="*/ 773806 h 823468"/>
              <a:gd name="connsiteX42" fmla="*/ 7872031 w 12248682"/>
              <a:gd name="connsiteY42" fmla="*/ 794594 h 823468"/>
              <a:gd name="connsiteX43" fmla="*/ 7851244 w 12248682"/>
              <a:gd name="connsiteY43" fmla="*/ 773806 h 823468"/>
              <a:gd name="connsiteX44" fmla="*/ 7872031 w 12248682"/>
              <a:gd name="connsiteY44" fmla="*/ 753017 h 823468"/>
              <a:gd name="connsiteX45" fmla="*/ 7713807 w 12248682"/>
              <a:gd name="connsiteY45" fmla="*/ 753017 h 823468"/>
              <a:gd name="connsiteX46" fmla="*/ 7734596 w 12248682"/>
              <a:gd name="connsiteY46" fmla="*/ 773806 h 823468"/>
              <a:gd name="connsiteX47" fmla="*/ 7713807 w 12248682"/>
              <a:gd name="connsiteY47" fmla="*/ 794594 h 823468"/>
              <a:gd name="connsiteX48" fmla="*/ 7693019 w 12248682"/>
              <a:gd name="connsiteY48" fmla="*/ 773806 h 823468"/>
              <a:gd name="connsiteX49" fmla="*/ 7713807 w 12248682"/>
              <a:gd name="connsiteY49" fmla="*/ 753017 h 823468"/>
              <a:gd name="connsiteX50" fmla="*/ 7605244 w 12248682"/>
              <a:gd name="connsiteY50" fmla="*/ 753017 h 823468"/>
              <a:gd name="connsiteX51" fmla="*/ 7626031 w 12248682"/>
              <a:gd name="connsiteY51" fmla="*/ 773806 h 823468"/>
              <a:gd name="connsiteX52" fmla="*/ 7605244 w 12248682"/>
              <a:gd name="connsiteY52" fmla="*/ 794594 h 823468"/>
              <a:gd name="connsiteX53" fmla="*/ 7584454 w 12248682"/>
              <a:gd name="connsiteY53" fmla="*/ 773806 h 823468"/>
              <a:gd name="connsiteX54" fmla="*/ 7605244 w 12248682"/>
              <a:gd name="connsiteY54" fmla="*/ 753017 h 823468"/>
              <a:gd name="connsiteX55" fmla="*/ 7466651 w 12248682"/>
              <a:gd name="connsiteY55" fmla="*/ 753017 h 823468"/>
              <a:gd name="connsiteX56" fmla="*/ 7487439 w 12248682"/>
              <a:gd name="connsiteY56" fmla="*/ 773806 h 823468"/>
              <a:gd name="connsiteX57" fmla="*/ 7466651 w 12248682"/>
              <a:gd name="connsiteY57" fmla="*/ 794594 h 823468"/>
              <a:gd name="connsiteX58" fmla="*/ 7445863 w 12248682"/>
              <a:gd name="connsiteY58" fmla="*/ 773806 h 823468"/>
              <a:gd name="connsiteX59" fmla="*/ 7466651 w 12248682"/>
              <a:gd name="connsiteY59" fmla="*/ 753017 h 823468"/>
              <a:gd name="connsiteX60" fmla="*/ 7329213 w 12248682"/>
              <a:gd name="connsiteY60" fmla="*/ 753017 h 823468"/>
              <a:gd name="connsiteX61" fmla="*/ 7350002 w 12248682"/>
              <a:gd name="connsiteY61" fmla="*/ 773806 h 823468"/>
              <a:gd name="connsiteX62" fmla="*/ 7329213 w 12248682"/>
              <a:gd name="connsiteY62" fmla="*/ 794594 h 823468"/>
              <a:gd name="connsiteX63" fmla="*/ 7308425 w 12248682"/>
              <a:gd name="connsiteY63" fmla="*/ 773806 h 823468"/>
              <a:gd name="connsiteX64" fmla="*/ 7329213 w 12248682"/>
              <a:gd name="connsiteY64" fmla="*/ 753017 h 823468"/>
              <a:gd name="connsiteX65" fmla="*/ 7191777 w 12248682"/>
              <a:gd name="connsiteY65" fmla="*/ 753017 h 823468"/>
              <a:gd name="connsiteX66" fmla="*/ 7212566 w 12248682"/>
              <a:gd name="connsiteY66" fmla="*/ 773806 h 823468"/>
              <a:gd name="connsiteX67" fmla="*/ 7191777 w 12248682"/>
              <a:gd name="connsiteY67" fmla="*/ 794594 h 823468"/>
              <a:gd name="connsiteX68" fmla="*/ 7170987 w 12248682"/>
              <a:gd name="connsiteY68" fmla="*/ 773806 h 823468"/>
              <a:gd name="connsiteX69" fmla="*/ 7191777 w 12248682"/>
              <a:gd name="connsiteY69" fmla="*/ 753017 h 823468"/>
              <a:gd name="connsiteX70" fmla="*/ 6040307 w 12248682"/>
              <a:gd name="connsiteY70" fmla="*/ 753017 h 823468"/>
              <a:gd name="connsiteX71" fmla="*/ 6061095 w 12248682"/>
              <a:gd name="connsiteY71" fmla="*/ 773806 h 823468"/>
              <a:gd name="connsiteX72" fmla="*/ 6040307 w 12248682"/>
              <a:gd name="connsiteY72" fmla="*/ 794594 h 823468"/>
              <a:gd name="connsiteX73" fmla="*/ 6019518 w 12248682"/>
              <a:gd name="connsiteY73" fmla="*/ 773806 h 823468"/>
              <a:gd name="connsiteX74" fmla="*/ 6040307 w 12248682"/>
              <a:gd name="connsiteY74" fmla="*/ 753017 h 823468"/>
              <a:gd name="connsiteX75" fmla="*/ 4641682 w 12248682"/>
              <a:gd name="connsiteY75" fmla="*/ 753017 h 823468"/>
              <a:gd name="connsiteX76" fmla="*/ 4662471 w 12248682"/>
              <a:gd name="connsiteY76" fmla="*/ 773806 h 823468"/>
              <a:gd name="connsiteX77" fmla="*/ 4641682 w 12248682"/>
              <a:gd name="connsiteY77" fmla="*/ 794594 h 823468"/>
              <a:gd name="connsiteX78" fmla="*/ 4620893 w 12248682"/>
              <a:gd name="connsiteY78" fmla="*/ 773806 h 823468"/>
              <a:gd name="connsiteX79" fmla="*/ 4641682 w 12248682"/>
              <a:gd name="connsiteY79" fmla="*/ 753017 h 823468"/>
              <a:gd name="connsiteX80" fmla="*/ 3535254 w 12248682"/>
              <a:gd name="connsiteY80" fmla="*/ 753017 h 823468"/>
              <a:gd name="connsiteX81" fmla="*/ 3556043 w 12248682"/>
              <a:gd name="connsiteY81" fmla="*/ 773806 h 823468"/>
              <a:gd name="connsiteX82" fmla="*/ 3535254 w 12248682"/>
              <a:gd name="connsiteY82" fmla="*/ 794594 h 823468"/>
              <a:gd name="connsiteX83" fmla="*/ 3514466 w 12248682"/>
              <a:gd name="connsiteY83" fmla="*/ 773806 h 823468"/>
              <a:gd name="connsiteX84" fmla="*/ 3535254 w 12248682"/>
              <a:gd name="connsiteY84" fmla="*/ 753017 h 823468"/>
              <a:gd name="connsiteX85" fmla="*/ 3396662 w 12248682"/>
              <a:gd name="connsiteY85" fmla="*/ 753017 h 823468"/>
              <a:gd name="connsiteX86" fmla="*/ 3417451 w 12248682"/>
              <a:gd name="connsiteY86" fmla="*/ 773806 h 823468"/>
              <a:gd name="connsiteX87" fmla="*/ 3396662 w 12248682"/>
              <a:gd name="connsiteY87" fmla="*/ 794594 h 823468"/>
              <a:gd name="connsiteX88" fmla="*/ 3375874 w 12248682"/>
              <a:gd name="connsiteY88" fmla="*/ 773806 h 823468"/>
              <a:gd name="connsiteX89" fmla="*/ 3396662 w 12248682"/>
              <a:gd name="connsiteY89" fmla="*/ 753017 h 823468"/>
              <a:gd name="connsiteX90" fmla="*/ 3259224 w 12248682"/>
              <a:gd name="connsiteY90" fmla="*/ 753017 h 823468"/>
              <a:gd name="connsiteX91" fmla="*/ 3280013 w 12248682"/>
              <a:gd name="connsiteY91" fmla="*/ 773806 h 823468"/>
              <a:gd name="connsiteX92" fmla="*/ 3259224 w 12248682"/>
              <a:gd name="connsiteY92" fmla="*/ 794594 h 823468"/>
              <a:gd name="connsiteX93" fmla="*/ 3238436 w 12248682"/>
              <a:gd name="connsiteY93" fmla="*/ 773806 h 823468"/>
              <a:gd name="connsiteX94" fmla="*/ 3259224 w 12248682"/>
              <a:gd name="connsiteY94" fmla="*/ 753017 h 823468"/>
              <a:gd name="connsiteX95" fmla="*/ 3100999 w 12248682"/>
              <a:gd name="connsiteY95" fmla="*/ 753017 h 823468"/>
              <a:gd name="connsiteX96" fmla="*/ 3121789 w 12248682"/>
              <a:gd name="connsiteY96" fmla="*/ 773806 h 823468"/>
              <a:gd name="connsiteX97" fmla="*/ 3100999 w 12248682"/>
              <a:gd name="connsiteY97" fmla="*/ 794594 h 823468"/>
              <a:gd name="connsiteX98" fmla="*/ 3080212 w 12248682"/>
              <a:gd name="connsiteY98" fmla="*/ 773806 h 823468"/>
              <a:gd name="connsiteX99" fmla="*/ 3100999 w 12248682"/>
              <a:gd name="connsiteY99" fmla="*/ 753017 h 823468"/>
              <a:gd name="connsiteX100" fmla="*/ 2992435 w 12248682"/>
              <a:gd name="connsiteY100" fmla="*/ 753017 h 823468"/>
              <a:gd name="connsiteX101" fmla="*/ 3013224 w 12248682"/>
              <a:gd name="connsiteY101" fmla="*/ 773806 h 823468"/>
              <a:gd name="connsiteX102" fmla="*/ 2992435 w 12248682"/>
              <a:gd name="connsiteY102" fmla="*/ 794594 h 823468"/>
              <a:gd name="connsiteX103" fmla="*/ 2971647 w 12248682"/>
              <a:gd name="connsiteY103" fmla="*/ 773806 h 823468"/>
              <a:gd name="connsiteX104" fmla="*/ 2992435 w 12248682"/>
              <a:gd name="connsiteY104" fmla="*/ 753017 h 823468"/>
              <a:gd name="connsiteX105" fmla="*/ 2853843 w 12248682"/>
              <a:gd name="connsiteY105" fmla="*/ 753017 h 823468"/>
              <a:gd name="connsiteX106" fmla="*/ 2874633 w 12248682"/>
              <a:gd name="connsiteY106" fmla="*/ 773806 h 823468"/>
              <a:gd name="connsiteX107" fmla="*/ 2853843 w 12248682"/>
              <a:gd name="connsiteY107" fmla="*/ 794594 h 823468"/>
              <a:gd name="connsiteX108" fmla="*/ 2833056 w 12248682"/>
              <a:gd name="connsiteY108" fmla="*/ 773806 h 823468"/>
              <a:gd name="connsiteX109" fmla="*/ 2853843 w 12248682"/>
              <a:gd name="connsiteY109" fmla="*/ 753017 h 823468"/>
              <a:gd name="connsiteX110" fmla="*/ 2716405 w 12248682"/>
              <a:gd name="connsiteY110" fmla="*/ 753017 h 823468"/>
              <a:gd name="connsiteX111" fmla="*/ 2737195 w 12248682"/>
              <a:gd name="connsiteY111" fmla="*/ 773806 h 823468"/>
              <a:gd name="connsiteX112" fmla="*/ 2716405 w 12248682"/>
              <a:gd name="connsiteY112" fmla="*/ 794594 h 823468"/>
              <a:gd name="connsiteX113" fmla="*/ 2695618 w 12248682"/>
              <a:gd name="connsiteY113" fmla="*/ 773806 h 823468"/>
              <a:gd name="connsiteX114" fmla="*/ 2716405 w 12248682"/>
              <a:gd name="connsiteY114" fmla="*/ 753017 h 823468"/>
              <a:gd name="connsiteX115" fmla="*/ 2578969 w 12248682"/>
              <a:gd name="connsiteY115" fmla="*/ 753017 h 823468"/>
              <a:gd name="connsiteX116" fmla="*/ 2598602 w 12248682"/>
              <a:gd name="connsiteY116" fmla="*/ 773806 h 823468"/>
              <a:gd name="connsiteX117" fmla="*/ 2578969 w 12248682"/>
              <a:gd name="connsiteY117" fmla="*/ 794594 h 823468"/>
              <a:gd name="connsiteX118" fmla="*/ 2558180 w 12248682"/>
              <a:gd name="connsiteY118" fmla="*/ 773806 h 823468"/>
              <a:gd name="connsiteX119" fmla="*/ 2578969 w 12248682"/>
              <a:gd name="connsiteY119" fmla="*/ 753017 h 823468"/>
              <a:gd name="connsiteX120" fmla="*/ 1427499 w 12248682"/>
              <a:gd name="connsiteY120" fmla="*/ 753017 h 823468"/>
              <a:gd name="connsiteX121" fmla="*/ 1448288 w 12248682"/>
              <a:gd name="connsiteY121" fmla="*/ 773806 h 823468"/>
              <a:gd name="connsiteX122" fmla="*/ 1427499 w 12248682"/>
              <a:gd name="connsiteY122" fmla="*/ 794594 h 823468"/>
              <a:gd name="connsiteX123" fmla="*/ 1406710 w 12248682"/>
              <a:gd name="connsiteY123" fmla="*/ 773806 h 823468"/>
              <a:gd name="connsiteX124" fmla="*/ 1427499 w 12248682"/>
              <a:gd name="connsiteY124" fmla="*/ 753017 h 823468"/>
              <a:gd name="connsiteX125" fmla="*/ 28874 w 12248682"/>
              <a:gd name="connsiteY125" fmla="*/ 753017 h 823468"/>
              <a:gd name="connsiteX126" fmla="*/ 49663 w 12248682"/>
              <a:gd name="connsiteY126" fmla="*/ 773806 h 823468"/>
              <a:gd name="connsiteX127" fmla="*/ 28874 w 12248682"/>
              <a:gd name="connsiteY127" fmla="*/ 794594 h 823468"/>
              <a:gd name="connsiteX128" fmla="*/ 8085 w 12248682"/>
              <a:gd name="connsiteY128" fmla="*/ 773806 h 823468"/>
              <a:gd name="connsiteX129" fmla="*/ 28874 w 12248682"/>
              <a:gd name="connsiteY129" fmla="*/ 753017 h 823468"/>
              <a:gd name="connsiteX130" fmla="*/ 11658510 w 12248682"/>
              <a:gd name="connsiteY130" fmla="*/ 750707 h 823468"/>
              <a:gd name="connsiteX131" fmla="*/ 11681609 w 12248682"/>
              <a:gd name="connsiteY131" fmla="*/ 773806 h 823468"/>
              <a:gd name="connsiteX132" fmla="*/ 11658510 w 12248682"/>
              <a:gd name="connsiteY132" fmla="*/ 796904 h 823468"/>
              <a:gd name="connsiteX133" fmla="*/ 11635412 w 12248682"/>
              <a:gd name="connsiteY133" fmla="*/ 773806 h 823468"/>
              <a:gd name="connsiteX134" fmla="*/ 11658510 w 12248682"/>
              <a:gd name="connsiteY134" fmla="*/ 750707 h 823468"/>
              <a:gd name="connsiteX135" fmla="*/ 10508196 w 12248682"/>
              <a:gd name="connsiteY135" fmla="*/ 750707 h 823468"/>
              <a:gd name="connsiteX136" fmla="*/ 10531295 w 12248682"/>
              <a:gd name="connsiteY136" fmla="*/ 773806 h 823468"/>
              <a:gd name="connsiteX137" fmla="*/ 10508196 w 12248682"/>
              <a:gd name="connsiteY137" fmla="*/ 796904 h 823468"/>
              <a:gd name="connsiteX138" fmla="*/ 10485098 w 12248682"/>
              <a:gd name="connsiteY138" fmla="*/ 773806 h 823468"/>
              <a:gd name="connsiteX139" fmla="*/ 10508196 w 12248682"/>
              <a:gd name="connsiteY139" fmla="*/ 750707 h 823468"/>
              <a:gd name="connsiteX140" fmla="*/ 9405233 w 12248682"/>
              <a:gd name="connsiteY140" fmla="*/ 750707 h 823468"/>
              <a:gd name="connsiteX141" fmla="*/ 9428332 w 12248682"/>
              <a:gd name="connsiteY141" fmla="*/ 773806 h 823468"/>
              <a:gd name="connsiteX142" fmla="*/ 9405233 w 12248682"/>
              <a:gd name="connsiteY142" fmla="*/ 796904 h 823468"/>
              <a:gd name="connsiteX143" fmla="*/ 9382135 w 12248682"/>
              <a:gd name="connsiteY143" fmla="*/ 773806 h 823468"/>
              <a:gd name="connsiteX144" fmla="*/ 9405233 w 12248682"/>
              <a:gd name="connsiteY144" fmla="*/ 750707 h 823468"/>
              <a:gd name="connsiteX145" fmla="*/ 8285498 w 12248682"/>
              <a:gd name="connsiteY145" fmla="*/ 750707 h 823468"/>
              <a:gd name="connsiteX146" fmla="*/ 8308598 w 12248682"/>
              <a:gd name="connsiteY146" fmla="*/ 773806 h 823468"/>
              <a:gd name="connsiteX147" fmla="*/ 8285498 w 12248682"/>
              <a:gd name="connsiteY147" fmla="*/ 796904 h 823468"/>
              <a:gd name="connsiteX148" fmla="*/ 8262401 w 12248682"/>
              <a:gd name="connsiteY148" fmla="*/ 773806 h 823468"/>
              <a:gd name="connsiteX149" fmla="*/ 8285498 w 12248682"/>
              <a:gd name="connsiteY149" fmla="*/ 750707 h 823468"/>
              <a:gd name="connsiteX150" fmla="*/ 7053184 w 12248682"/>
              <a:gd name="connsiteY150" fmla="*/ 750707 h 823468"/>
              <a:gd name="connsiteX151" fmla="*/ 7076283 w 12248682"/>
              <a:gd name="connsiteY151" fmla="*/ 773806 h 823468"/>
              <a:gd name="connsiteX152" fmla="*/ 7053184 w 12248682"/>
              <a:gd name="connsiteY152" fmla="*/ 796904 h 823468"/>
              <a:gd name="connsiteX153" fmla="*/ 7030086 w 12248682"/>
              <a:gd name="connsiteY153" fmla="*/ 773806 h 823468"/>
              <a:gd name="connsiteX154" fmla="*/ 7053184 w 12248682"/>
              <a:gd name="connsiteY154" fmla="*/ 750707 h 823468"/>
              <a:gd name="connsiteX155" fmla="*/ 5902869 w 12248682"/>
              <a:gd name="connsiteY155" fmla="*/ 750707 h 823468"/>
              <a:gd name="connsiteX156" fmla="*/ 5925969 w 12248682"/>
              <a:gd name="connsiteY156" fmla="*/ 773806 h 823468"/>
              <a:gd name="connsiteX157" fmla="*/ 5902869 w 12248682"/>
              <a:gd name="connsiteY157" fmla="*/ 796904 h 823468"/>
              <a:gd name="connsiteX158" fmla="*/ 5879771 w 12248682"/>
              <a:gd name="connsiteY158" fmla="*/ 773806 h 823468"/>
              <a:gd name="connsiteX159" fmla="*/ 5902869 w 12248682"/>
              <a:gd name="connsiteY159" fmla="*/ 750707 h 823468"/>
              <a:gd name="connsiteX160" fmla="*/ 4799906 w 12248682"/>
              <a:gd name="connsiteY160" fmla="*/ 750707 h 823468"/>
              <a:gd name="connsiteX161" fmla="*/ 4823006 w 12248682"/>
              <a:gd name="connsiteY161" fmla="*/ 773806 h 823468"/>
              <a:gd name="connsiteX162" fmla="*/ 4799906 w 12248682"/>
              <a:gd name="connsiteY162" fmla="*/ 796904 h 823468"/>
              <a:gd name="connsiteX163" fmla="*/ 4776809 w 12248682"/>
              <a:gd name="connsiteY163" fmla="*/ 773806 h 823468"/>
              <a:gd name="connsiteX164" fmla="*/ 4799906 w 12248682"/>
              <a:gd name="connsiteY164" fmla="*/ 750707 h 823468"/>
              <a:gd name="connsiteX165" fmla="*/ 3672691 w 12248682"/>
              <a:gd name="connsiteY165" fmla="*/ 750707 h 823468"/>
              <a:gd name="connsiteX166" fmla="*/ 3695791 w 12248682"/>
              <a:gd name="connsiteY166" fmla="*/ 773806 h 823468"/>
              <a:gd name="connsiteX167" fmla="*/ 3672691 w 12248682"/>
              <a:gd name="connsiteY167" fmla="*/ 796904 h 823468"/>
              <a:gd name="connsiteX168" fmla="*/ 3649592 w 12248682"/>
              <a:gd name="connsiteY168" fmla="*/ 773806 h 823468"/>
              <a:gd name="connsiteX169" fmla="*/ 3672691 w 12248682"/>
              <a:gd name="connsiteY169" fmla="*/ 750707 h 823468"/>
              <a:gd name="connsiteX170" fmla="*/ 2440377 w 12248682"/>
              <a:gd name="connsiteY170" fmla="*/ 750707 h 823468"/>
              <a:gd name="connsiteX171" fmla="*/ 2463475 w 12248682"/>
              <a:gd name="connsiteY171" fmla="*/ 773806 h 823468"/>
              <a:gd name="connsiteX172" fmla="*/ 2440377 w 12248682"/>
              <a:gd name="connsiteY172" fmla="*/ 796904 h 823468"/>
              <a:gd name="connsiteX173" fmla="*/ 2417278 w 12248682"/>
              <a:gd name="connsiteY173" fmla="*/ 773806 h 823468"/>
              <a:gd name="connsiteX174" fmla="*/ 2440377 w 12248682"/>
              <a:gd name="connsiteY174" fmla="*/ 750707 h 823468"/>
              <a:gd name="connsiteX175" fmla="*/ 1290062 w 12248682"/>
              <a:gd name="connsiteY175" fmla="*/ 750707 h 823468"/>
              <a:gd name="connsiteX176" fmla="*/ 1313161 w 12248682"/>
              <a:gd name="connsiteY176" fmla="*/ 773806 h 823468"/>
              <a:gd name="connsiteX177" fmla="*/ 1290062 w 12248682"/>
              <a:gd name="connsiteY177" fmla="*/ 796904 h 823468"/>
              <a:gd name="connsiteX178" fmla="*/ 1266964 w 12248682"/>
              <a:gd name="connsiteY178" fmla="*/ 773806 h 823468"/>
              <a:gd name="connsiteX179" fmla="*/ 1290062 w 12248682"/>
              <a:gd name="connsiteY179" fmla="*/ 750707 h 823468"/>
              <a:gd name="connsiteX180" fmla="*/ 187100 w 12248682"/>
              <a:gd name="connsiteY180" fmla="*/ 750707 h 823468"/>
              <a:gd name="connsiteX181" fmla="*/ 210198 w 12248682"/>
              <a:gd name="connsiteY181" fmla="*/ 773806 h 823468"/>
              <a:gd name="connsiteX182" fmla="*/ 187100 w 12248682"/>
              <a:gd name="connsiteY182" fmla="*/ 796904 h 823468"/>
              <a:gd name="connsiteX183" fmla="*/ 164001 w 12248682"/>
              <a:gd name="connsiteY183" fmla="*/ 773806 h 823468"/>
              <a:gd name="connsiteX184" fmla="*/ 187100 w 12248682"/>
              <a:gd name="connsiteY184" fmla="*/ 750707 h 823468"/>
              <a:gd name="connsiteX185" fmla="*/ 11521073 w 12248682"/>
              <a:gd name="connsiteY185" fmla="*/ 744933 h 823468"/>
              <a:gd name="connsiteX186" fmla="*/ 11549947 w 12248682"/>
              <a:gd name="connsiteY186" fmla="*/ 773806 h 823468"/>
              <a:gd name="connsiteX187" fmla="*/ 11521073 w 12248682"/>
              <a:gd name="connsiteY187" fmla="*/ 802680 h 823468"/>
              <a:gd name="connsiteX188" fmla="*/ 11492200 w 12248682"/>
              <a:gd name="connsiteY188" fmla="*/ 773806 h 823468"/>
              <a:gd name="connsiteX189" fmla="*/ 11521073 w 12248682"/>
              <a:gd name="connsiteY189" fmla="*/ 744933 h 823468"/>
              <a:gd name="connsiteX190" fmla="*/ 10369604 w 12248682"/>
              <a:gd name="connsiteY190" fmla="*/ 744933 h 823468"/>
              <a:gd name="connsiteX191" fmla="*/ 10398477 w 12248682"/>
              <a:gd name="connsiteY191" fmla="*/ 773806 h 823468"/>
              <a:gd name="connsiteX192" fmla="*/ 10369604 w 12248682"/>
              <a:gd name="connsiteY192" fmla="*/ 802680 h 823468"/>
              <a:gd name="connsiteX193" fmla="*/ 10340730 w 12248682"/>
              <a:gd name="connsiteY193" fmla="*/ 773806 h 823468"/>
              <a:gd name="connsiteX194" fmla="*/ 10369604 w 12248682"/>
              <a:gd name="connsiteY194" fmla="*/ 744933 h 823468"/>
              <a:gd name="connsiteX195" fmla="*/ 9543825 w 12248682"/>
              <a:gd name="connsiteY195" fmla="*/ 744933 h 823468"/>
              <a:gd name="connsiteX196" fmla="*/ 9572699 w 12248682"/>
              <a:gd name="connsiteY196" fmla="*/ 773806 h 823468"/>
              <a:gd name="connsiteX197" fmla="*/ 9543825 w 12248682"/>
              <a:gd name="connsiteY197" fmla="*/ 802680 h 823468"/>
              <a:gd name="connsiteX198" fmla="*/ 9514953 w 12248682"/>
              <a:gd name="connsiteY198" fmla="*/ 773806 h 823468"/>
              <a:gd name="connsiteX199" fmla="*/ 9543825 w 12248682"/>
              <a:gd name="connsiteY199" fmla="*/ 744933 h 823468"/>
              <a:gd name="connsiteX200" fmla="*/ 8422936 w 12248682"/>
              <a:gd name="connsiteY200" fmla="*/ 744933 h 823468"/>
              <a:gd name="connsiteX201" fmla="*/ 8451809 w 12248682"/>
              <a:gd name="connsiteY201" fmla="*/ 773806 h 823468"/>
              <a:gd name="connsiteX202" fmla="*/ 8422936 w 12248682"/>
              <a:gd name="connsiteY202" fmla="*/ 802680 h 823468"/>
              <a:gd name="connsiteX203" fmla="*/ 8394062 w 12248682"/>
              <a:gd name="connsiteY203" fmla="*/ 773806 h 823468"/>
              <a:gd name="connsiteX204" fmla="*/ 8422936 w 12248682"/>
              <a:gd name="connsiteY204" fmla="*/ 744933 h 823468"/>
              <a:gd name="connsiteX205" fmla="*/ 6915746 w 12248682"/>
              <a:gd name="connsiteY205" fmla="*/ 744933 h 823468"/>
              <a:gd name="connsiteX206" fmla="*/ 6944621 w 12248682"/>
              <a:gd name="connsiteY206" fmla="*/ 773806 h 823468"/>
              <a:gd name="connsiteX207" fmla="*/ 6915746 w 12248682"/>
              <a:gd name="connsiteY207" fmla="*/ 802680 h 823468"/>
              <a:gd name="connsiteX208" fmla="*/ 6886873 w 12248682"/>
              <a:gd name="connsiteY208" fmla="*/ 773806 h 823468"/>
              <a:gd name="connsiteX209" fmla="*/ 6915746 w 12248682"/>
              <a:gd name="connsiteY209" fmla="*/ 744933 h 823468"/>
              <a:gd name="connsiteX210" fmla="*/ 5764278 w 12248682"/>
              <a:gd name="connsiteY210" fmla="*/ 744933 h 823468"/>
              <a:gd name="connsiteX211" fmla="*/ 5793151 w 12248682"/>
              <a:gd name="connsiteY211" fmla="*/ 773806 h 823468"/>
              <a:gd name="connsiteX212" fmla="*/ 5764278 w 12248682"/>
              <a:gd name="connsiteY212" fmla="*/ 802680 h 823468"/>
              <a:gd name="connsiteX213" fmla="*/ 5735405 w 12248682"/>
              <a:gd name="connsiteY213" fmla="*/ 773806 h 823468"/>
              <a:gd name="connsiteX214" fmla="*/ 5764278 w 12248682"/>
              <a:gd name="connsiteY214" fmla="*/ 744933 h 823468"/>
              <a:gd name="connsiteX215" fmla="*/ 4938500 w 12248682"/>
              <a:gd name="connsiteY215" fmla="*/ 744933 h 823468"/>
              <a:gd name="connsiteX216" fmla="*/ 4967373 w 12248682"/>
              <a:gd name="connsiteY216" fmla="*/ 773806 h 823468"/>
              <a:gd name="connsiteX217" fmla="*/ 4938500 w 12248682"/>
              <a:gd name="connsiteY217" fmla="*/ 802680 h 823468"/>
              <a:gd name="connsiteX218" fmla="*/ 4909627 w 12248682"/>
              <a:gd name="connsiteY218" fmla="*/ 773806 h 823468"/>
              <a:gd name="connsiteX219" fmla="*/ 4938500 w 12248682"/>
              <a:gd name="connsiteY219" fmla="*/ 744933 h 823468"/>
              <a:gd name="connsiteX220" fmla="*/ 3810129 w 12248682"/>
              <a:gd name="connsiteY220" fmla="*/ 744933 h 823468"/>
              <a:gd name="connsiteX221" fmla="*/ 3839002 w 12248682"/>
              <a:gd name="connsiteY221" fmla="*/ 773806 h 823468"/>
              <a:gd name="connsiteX222" fmla="*/ 3810129 w 12248682"/>
              <a:gd name="connsiteY222" fmla="*/ 802680 h 823468"/>
              <a:gd name="connsiteX223" fmla="*/ 3781255 w 12248682"/>
              <a:gd name="connsiteY223" fmla="*/ 773806 h 823468"/>
              <a:gd name="connsiteX224" fmla="*/ 3810129 w 12248682"/>
              <a:gd name="connsiteY224" fmla="*/ 744933 h 823468"/>
              <a:gd name="connsiteX225" fmla="*/ 2302939 w 12248682"/>
              <a:gd name="connsiteY225" fmla="*/ 744933 h 823468"/>
              <a:gd name="connsiteX226" fmla="*/ 2331813 w 12248682"/>
              <a:gd name="connsiteY226" fmla="*/ 773806 h 823468"/>
              <a:gd name="connsiteX227" fmla="*/ 2302939 w 12248682"/>
              <a:gd name="connsiteY227" fmla="*/ 802680 h 823468"/>
              <a:gd name="connsiteX228" fmla="*/ 2274067 w 12248682"/>
              <a:gd name="connsiteY228" fmla="*/ 773806 h 823468"/>
              <a:gd name="connsiteX229" fmla="*/ 2302939 w 12248682"/>
              <a:gd name="connsiteY229" fmla="*/ 744933 h 823468"/>
              <a:gd name="connsiteX230" fmla="*/ 1151470 w 12248682"/>
              <a:gd name="connsiteY230" fmla="*/ 744933 h 823468"/>
              <a:gd name="connsiteX231" fmla="*/ 1180343 w 12248682"/>
              <a:gd name="connsiteY231" fmla="*/ 773806 h 823468"/>
              <a:gd name="connsiteX232" fmla="*/ 1151470 w 12248682"/>
              <a:gd name="connsiteY232" fmla="*/ 802680 h 823468"/>
              <a:gd name="connsiteX233" fmla="*/ 1122596 w 12248682"/>
              <a:gd name="connsiteY233" fmla="*/ 773806 h 823468"/>
              <a:gd name="connsiteX234" fmla="*/ 1151470 w 12248682"/>
              <a:gd name="connsiteY234" fmla="*/ 744933 h 823468"/>
              <a:gd name="connsiteX235" fmla="*/ 325692 w 12248682"/>
              <a:gd name="connsiteY235" fmla="*/ 744933 h 823468"/>
              <a:gd name="connsiteX236" fmla="*/ 354566 w 12248682"/>
              <a:gd name="connsiteY236" fmla="*/ 773806 h 823468"/>
              <a:gd name="connsiteX237" fmla="*/ 325692 w 12248682"/>
              <a:gd name="connsiteY237" fmla="*/ 802680 h 823468"/>
              <a:gd name="connsiteX238" fmla="*/ 296819 w 12248682"/>
              <a:gd name="connsiteY238" fmla="*/ 773806 h 823468"/>
              <a:gd name="connsiteX239" fmla="*/ 325692 w 12248682"/>
              <a:gd name="connsiteY239" fmla="*/ 744933 h 823468"/>
              <a:gd name="connsiteX240" fmla="*/ 11383636 w 12248682"/>
              <a:gd name="connsiteY240" fmla="*/ 739158 h 823468"/>
              <a:gd name="connsiteX241" fmla="*/ 11418284 w 12248682"/>
              <a:gd name="connsiteY241" fmla="*/ 773806 h 823468"/>
              <a:gd name="connsiteX242" fmla="*/ 11383636 w 12248682"/>
              <a:gd name="connsiteY242" fmla="*/ 808454 h 823468"/>
              <a:gd name="connsiteX243" fmla="*/ 11348988 w 12248682"/>
              <a:gd name="connsiteY243" fmla="*/ 773806 h 823468"/>
              <a:gd name="connsiteX244" fmla="*/ 11383636 w 12248682"/>
              <a:gd name="connsiteY244" fmla="*/ 739158 h 823468"/>
              <a:gd name="connsiteX245" fmla="*/ 10811943 w 12248682"/>
              <a:gd name="connsiteY245" fmla="*/ 739158 h 823468"/>
              <a:gd name="connsiteX246" fmla="*/ 10846591 w 12248682"/>
              <a:gd name="connsiteY246" fmla="*/ 773806 h 823468"/>
              <a:gd name="connsiteX247" fmla="*/ 10811943 w 12248682"/>
              <a:gd name="connsiteY247" fmla="*/ 808454 h 823468"/>
              <a:gd name="connsiteX248" fmla="*/ 10777295 w 12248682"/>
              <a:gd name="connsiteY248" fmla="*/ 773806 h 823468"/>
              <a:gd name="connsiteX249" fmla="*/ 10811943 w 12248682"/>
              <a:gd name="connsiteY249" fmla="*/ 739158 h 823468"/>
              <a:gd name="connsiteX250" fmla="*/ 10232166 w 12248682"/>
              <a:gd name="connsiteY250" fmla="*/ 739158 h 823468"/>
              <a:gd name="connsiteX251" fmla="*/ 10266814 w 12248682"/>
              <a:gd name="connsiteY251" fmla="*/ 773806 h 823468"/>
              <a:gd name="connsiteX252" fmla="*/ 10232166 w 12248682"/>
              <a:gd name="connsiteY252" fmla="*/ 808454 h 823468"/>
              <a:gd name="connsiteX253" fmla="*/ 10197518 w 12248682"/>
              <a:gd name="connsiteY253" fmla="*/ 773806 h 823468"/>
              <a:gd name="connsiteX254" fmla="*/ 10232166 w 12248682"/>
              <a:gd name="connsiteY254" fmla="*/ 739158 h 823468"/>
              <a:gd name="connsiteX255" fmla="*/ 9681263 w 12248682"/>
              <a:gd name="connsiteY255" fmla="*/ 739158 h 823468"/>
              <a:gd name="connsiteX256" fmla="*/ 9715911 w 12248682"/>
              <a:gd name="connsiteY256" fmla="*/ 773806 h 823468"/>
              <a:gd name="connsiteX257" fmla="*/ 9681263 w 12248682"/>
              <a:gd name="connsiteY257" fmla="*/ 808454 h 823468"/>
              <a:gd name="connsiteX258" fmla="*/ 9646615 w 12248682"/>
              <a:gd name="connsiteY258" fmla="*/ 773806 h 823468"/>
              <a:gd name="connsiteX259" fmla="*/ 9681263 w 12248682"/>
              <a:gd name="connsiteY259" fmla="*/ 739158 h 823468"/>
              <a:gd name="connsiteX260" fmla="*/ 9112431 w 12248682"/>
              <a:gd name="connsiteY260" fmla="*/ 739158 h 823468"/>
              <a:gd name="connsiteX261" fmla="*/ 9147079 w 12248682"/>
              <a:gd name="connsiteY261" fmla="*/ 773806 h 823468"/>
              <a:gd name="connsiteX262" fmla="*/ 9112431 w 12248682"/>
              <a:gd name="connsiteY262" fmla="*/ 808454 h 823468"/>
              <a:gd name="connsiteX263" fmla="*/ 9077783 w 12248682"/>
              <a:gd name="connsiteY263" fmla="*/ 773806 h 823468"/>
              <a:gd name="connsiteX264" fmla="*/ 9112431 w 12248682"/>
              <a:gd name="connsiteY264" fmla="*/ 739158 h 823468"/>
              <a:gd name="connsiteX265" fmla="*/ 8561528 w 12248682"/>
              <a:gd name="connsiteY265" fmla="*/ 739158 h 823468"/>
              <a:gd name="connsiteX266" fmla="*/ 8596176 w 12248682"/>
              <a:gd name="connsiteY266" fmla="*/ 773806 h 823468"/>
              <a:gd name="connsiteX267" fmla="*/ 8561528 w 12248682"/>
              <a:gd name="connsiteY267" fmla="*/ 808454 h 823468"/>
              <a:gd name="connsiteX268" fmla="*/ 8526880 w 12248682"/>
              <a:gd name="connsiteY268" fmla="*/ 773806 h 823468"/>
              <a:gd name="connsiteX269" fmla="*/ 8561528 w 12248682"/>
              <a:gd name="connsiteY269" fmla="*/ 739158 h 823468"/>
              <a:gd name="connsiteX270" fmla="*/ 6778310 w 12248682"/>
              <a:gd name="connsiteY270" fmla="*/ 739158 h 823468"/>
              <a:gd name="connsiteX271" fmla="*/ 6812959 w 12248682"/>
              <a:gd name="connsiteY271" fmla="*/ 773806 h 823468"/>
              <a:gd name="connsiteX272" fmla="*/ 6778310 w 12248682"/>
              <a:gd name="connsiteY272" fmla="*/ 808454 h 823468"/>
              <a:gd name="connsiteX273" fmla="*/ 6743662 w 12248682"/>
              <a:gd name="connsiteY273" fmla="*/ 773806 h 823468"/>
              <a:gd name="connsiteX274" fmla="*/ 6778310 w 12248682"/>
              <a:gd name="connsiteY274" fmla="*/ 739158 h 823468"/>
              <a:gd name="connsiteX275" fmla="*/ 6206618 w 12248682"/>
              <a:gd name="connsiteY275" fmla="*/ 739158 h 823468"/>
              <a:gd name="connsiteX276" fmla="*/ 6241265 w 12248682"/>
              <a:gd name="connsiteY276" fmla="*/ 773806 h 823468"/>
              <a:gd name="connsiteX277" fmla="*/ 6206618 w 12248682"/>
              <a:gd name="connsiteY277" fmla="*/ 808454 h 823468"/>
              <a:gd name="connsiteX278" fmla="*/ 6171969 w 12248682"/>
              <a:gd name="connsiteY278" fmla="*/ 773806 h 823468"/>
              <a:gd name="connsiteX279" fmla="*/ 6206618 w 12248682"/>
              <a:gd name="connsiteY279" fmla="*/ 739158 h 823468"/>
              <a:gd name="connsiteX280" fmla="*/ 5626840 w 12248682"/>
              <a:gd name="connsiteY280" fmla="*/ 739158 h 823468"/>
              <a:gd name="connsiteX281" fmla="*/ 5661488 w 12248682"/>
              <a:gd name="connsiteY281" fmla="*/ 773806 h 823468"/>
              <a:gd name="connsiteX282" fmla="*/ 5626840 w 12248682"/>
              <a:gd name="connsiteY282" fmla="*/ 808454 h 823468"/>
              <a:gd name="connsiteX283" fmla="*/ 5592192 w 12248682"/>
              <a:gd name="connsiteY283" fmla="*/ 773806 h 823468"/>
              <a:gd name="connsiteX284" fmla="*/ 5626840 w 12248682"/>
              <a:gd name="connsiteY284" fmla="*/ 739158 h 823468"/>
              <a:gd name="connsiteX285" fmla="*/ 5075938 w 12248682"/>
              <a:gd name="connsiteY285" fmla="*/ 739158 h 823468"/>
              <a:gd name="connsiteX286" fmla="*/ 5110584 w 12248682"/>
              <a:gd name="connsiteY286" fmla="*/ 773806 h 823468"/>
              <a:gd name="connsiteX287" fmla="*/ 5075938 w 12248682"/>
              <a:gd name="connsiteY287" fmla="*/ 808454 h 823468"/>
              <a:gd name="connsiteX288" fmla="*/ 5041289 w 12248682"/>
              <a:gd name="connsiteY288" fmla="*/ 773806 h 823468"/>
              <a:gd name="connsiteX289" fmla="*/ 5075938 w 12248682"/>
              <a:gd name="connsiteY289" fmla="*/ 739158 h 823468"/>
              <a:gd name="connsiteX290" fmla="*/ 4499625 w 12248682"/>
              <a:gd name="connsiteY290" fmla="*/ 739158 h 823468"/>
              <a:gd name="connsiteX291" fmla="*/ 4534273 w 12248682"/>
              <a:gd name="connsiteY291" fmla="*/ 773806 h 823468"/>
              <a:gd name="connsiteX292" fmla="*/ 4499625 w 12248682"/>
              <a:gd name="connsiteY292" fmla="*/ 808454 h 823468"/>
              <a:gd name="connsiteX293" fmla="*/ 4464976 w 12248682"/>
              <a:gd name="connsiteY293" fmla="*/ 773806 h 823468"/>
              <a:gd name="connsiteX294" fmla="*/ 4499625 w 12248682"/>
              <a:gd name="connsiteY294" fmla="*/ 739158 h 823468"/>
              <a:gd name="connsiteX295" fmla="*/ 3948721 w 12248682"/>
              <a:gd name="connsiteY295" fmla="*/ 739158 h 823468"/>
              <a:gd name="connsiteX296" fmla="*/ 3983369 w 12248682"/>
              <a:gd name="connsiteY296" fmla="*/ 773806 h 823468"/>
              <a:gd name="connsiteX297" fmla="*/ 3948721 w 12248682"/>
              <a:gd name="connsiteY297" fmla="*/ 808454 h 823468"/>
              <a:gd name="connsiteX298" fmla="*/ 3914073 w 12248682"/>
              <a:gd name="connsiteY298" fmla="*/ 773806 h 823468"/>
              <a:gd name="connsiteX299" fmla="*/ 3948721 w 12248682"/>
              <a:gd name="connsiteY299" fmla="*/ 739158 h 823468"/>
              <a:gd name="connsiteX300" fmla="*/ 2165502 w 12248682"/>
              <a:gd name="connsiteY300" fmla="*/ 739158 h 823468"/>
              <a:gd name="connsiteX301" fmla="*/ 2200150 w 12248682"/>
              <a:gd name="connsiteY301" fmla="*/ 773806 h 823468"/>
              <a:gd name="connsiteX302" fmla="*/ 2165502 w 12248682"/>
              <a:gd name="connsiteY302" fmla="*/ 808454 h 823468"/>
              <a:gd name="connsiteX303" fmla="*/ 2130854 w 12248682"/>
              <a:gd name="connsiteY303" fmla="*/ 773806 h 823468"/>
              <a:gd name="connsiteX304" fmla="*/ 2165502 w 12248682"/>
              <a:gd name="connsiteY304" fmla="*/ 739158 h 823468"/>
              <a:gd name="connsiteX305" fmla="*/ 1593810 w 12248682"/>
              <a:gd name="connsiteY305" fmla="*/ 739158 h 823468"/>
              <a:gd name="connsiteX306" fmla="*/ 1628457 w 12248682"/>
              <a:gd name="connsiteY306" fmla="*/ 773806 h 823468"/>
              <a:gd name="connsiteX307" fmla="*/ 1593810 w 12248682"/>
              <a:gd name="connsiteY307" fmla="*/ 808454 h 823468"/>
              <a:gd name="connsiteX308" fmla="*/ 1559161 w 12248682"/>
              <a:gd name="connsiteY308" fmla="*/ 773806 h 823468"/>
              <a:gd name="connsiteX309" fmla="*/ 1593810 w 12248682"/>
              <a:gd name="connsiteY309" fmla="*/ 739158 h 823468"/>
              <a:gd name="connsiteX310" fmla="*/ 1014032 w 12248682"/>
              <a:gd name="connsiteY310" fmla="*/ 739158 h 823468"/>
              <a:gd name="connsiteX311" fmla="*/ 1048681 w 12248682"/>
              <a:gd name="connsiteY311" fmla="*/ 773806 h 823468"/>
              <a:gd name="connsiteX312" fmla="*/ 1014032 w 12248682"/>
              <a:gd name="connsiteY312" fmla="*/ 808454 h 823468"/>
              <a:gd name="connsiteX313" fmla="*/ 979384 w 12248682"/>
              <a:gd name="connsiteY313" fmla="*/ 773806 h 823468"/>
              <a:gd name="connsiteX314" fmla="*/ 1014032 w 12248682"/>
              <a:gd name="connsiteY314" fmla="*/ 739158 h 823468"/>
              <a:gd name="connsiteX315" fmla="*/ 463129 w 12248682"/>
              <a:gd name="connsiteY315" fmla="*/ 739158 h 823468"/>
              <a:gd name="connsiteX316" fmla="*/ 497778 w 12248682"/>
              <a:gd name="connsiteY316" fmla="*/ 773806 h 823468"/>
              <a:gd name="connsiteX317" fmla="*/ 463129 w 12248682"/>
              <a:gd name="connsiteY317" fmla="*/ 808454 h 823468"/>
              <a:gd name="connsiteX318" fmla="*/ 428481 w 12248682"/>
              <a:gd name="connsiteY318" fmla="*/ 773806 h 823468"/>
              <a:gd name="connsiteX319" fmla="*/ 463129 w 12248682"/>
              <a:gd name="connsiteY319" fmla="*/ 739158 h 823468"/>
              <a:gd name="connsiteX320" fmla="*/ 11245044 w 12248682"/>
              <a:gd name="connsiteY320" fmla="*/ 733384 h 823468"/>
              <a:gd name="connsiteX321" fmla="*/ 11285466 w 12248682"/>
              <a:gd name="connsiteY321" fmla="*/ 773806 h 823468"/>
              <a:gd name="connsiteX322" fmla="*/ 11245044 w 12248682"/>
              <a:gd name="connsiteY322" fmla="*/ 814229 h 823468"/>
              <a:gd name="connsiteX323" fmla="*/ 11204621 w 12248682"/>
              <a:gd name="connsiteY323" fmla="*/ 773806 h 823468"/>
              <a:gd name="connsiteX324" fmla="*/ 11245044 w 12248682"/>
              <a:gd name="connsiteY324" fmla="*/ 733384 h 823468"/>
              <a:gd name="connsiteX325" fmla="*/ 10970170 w 12248682"/>
              <a:gd name="connsiteY325" fmla="*/ 733384 h 823468"/>
              <a:gd name="connsiteX326" fmla="*/ 11010592 w 12248682"/>
              <a:gd name="connsiteY326" fmla="*/ 773806 h 823468"/>
              <a:gd name="connsiteX327" fmla="*/ 10970170 w 12248682"/>
              <a:gd name="connsiteY327" fmla="*/ 814229 h 823468"/>
              <a:gd name="connsiteX328" fmla="*/ 10929746 w 12248682"/>
              <a:gd name="connsiteY328" fmla="*/ 773806 h 823468"/>
              <a:gd name="connsiteX329" fmla="*/ 10970170 w 12248682"/>
              <a:gd name="connsiteY329" fmla="*/ 733384 h 823468"/>
              <a:gd name="connsiteX330" fmla="*/ 10094730 w 12248682"/>
              <a:gd name="connsiteY330" fmla="*/ 733384 h 823468"/>
              <a:gd name="connsiteX331" fmla="*/ 10135152 w 12248682"/>
              <a:gd name="connsiteY331" fmla="*/ 773806 h 823468"/>
              <a:gd name="connsiteX332" fmla="*/ 10094730 w 12248682"/>
              <a:gd name="connsiteY332" fmla="*/ 814229 h 823468"/>
              <a:gd name="connsiteX333" fmla="*/ 10054306 w 12248682"/>
              <a:gd name="connsiteY333" fmla="*/ 773806 h 823468"/>
              <a:gd name="connsiteX334" fmla="*/ 10094730 w 12248682"/>
              <a:gd name="connsiteY334" fmla="*/ 733384 h 823468"/>
              <a:gd name="connsiteX335" fmla="*/ 9818700 w 12248682"/>
              <a:gd name="connsiteY335" fmla="*/ 733384 h 823468"/>
              <a:gd name="connsiteX336" fmla="*/ 9859123 w 12248682"/>
              <a:gd name="connsiteY336" fmla="*/ 773806 h 823468"/>
              <a:gd name="connsiteX337" fmla="*/ 9818700 w 12248682"/>
              <a:gd name="connsiteY337" fmla="*/ 814229 h 823468"/>
              <a:gd name="connsiteX338" fmla="*/ 9778278 w 12248682"/>
              <a:gd name="connsiteY338" fmla="*/ 773806 h 823468"/>
              <a:gd name="connsiteX339" fmla="*/ 9818700 w 12248682"/>
              <a:gd name="connsiteY339" fmla="*/ 733384 h 823468"/>
              <a:gd name="connsiteX340" fmla="*/ 8974994 w 12248682"/>
              <a:gd name="connsiteY340" fmla="*/ 733384 h 823468"/>
              <a:gd name="connsiteX341" fmla="*/ 9015416 w 12248682"/>
              <a:gd name="connsiteY341" fmla="*/ 773806 h 823468"/>
              <a:gd name="connsiteX342" fmla="*/ 8974994 w 12248682"/>
              <a:gd name="connsiteY342" fmla="*/ 814229 h 823468"/>
              <a:gd name="connsiteX343" fmla="*/ 8934571 w 12248682"/>
              <a:gd name="connsiteY343" fmla="*/ 773806 h 823468"/>
              <a:gd name="connsiteX344" fmla="*/ 8974994 w 12248682"/>
              <a:gd name="connsiteY344" fmla="*/ 733384 h 823468"/>
              <a:gd name="connsiteX345" fmla="*/ 8698965 w 12248682"/>
              <a:gd name="connsiteY345" fmla="*/ 733384 h 823468"/>
              <a:gd name="connsiteX346" fmla="*/ 8739388 w 12248682"/>
              <a:gd name="connsiteY346" fmla="*/ 773806 h 823468"/>
              <a:gd name="connsiteX347" fmla="*/ 8698965 w 12248682"/>
              <a:gd name="connsiteY347" fmla="*/ 814229 h 823468"/>
              <a:gd name="connsiteX348" fmla="*/ 8658542 w 12248682"/>
              <a:gd name="connsiteY348" fmla="*/ 773806 h 823468"/>
              <a:gd name="connsiteX349" fmla="*/ 8698965 w 12248682"/>
              <a:gd name="connsiteY349" fmla="*/ 733384 h 823468"/>
              <a:gd name="connsiteX350" fmla="*/ 6639717 w 12248682"/>
              <a:gd name="connsiteY350" fmla="*/ 733384 h 823468"/>
              <a:gd name="connsiteX351" fmla="*/ 6680139 w 12248682"/>
              <a:gd name="connsiteY351" fmla="*/ 773806 h 823468"/>
              <a:gd name="connsiteX352" fmla="*/ 6639717 w 12248682"/>
              <a:gd name="connsiteY352" fmla="*/ 814229 h 823468"/>
              <a:gd name="connsiteX353" fmla="*/ 6599295 w 12248682"/>
              <a:gd name="connsiteY353" fmla="*/ 773806 h 823468"/>
              <a:gd name="connsiteX354" fmla="*/ 6639717 w 12248682"/>
              <a:gd name="connsiteY354" fmla="*/ 733384 h 823468"/>
              <a:gd name="connsiteX355" fmla="*/ 6364844 w 12248682"/>
              <a:gd name="connsiteY355" fmla="*/ 733384 h 823468"/>
              <a:gd name="connsiteX356" fmla="*/ 6405265 w 12248682"/>
              <a:gd name="connsiteY356" fmla="*/ 773806 h 823468"/>
              <a:gd name="connsiteX357" fmla="*/ 6364844 w 12248682"/>
              <a:gd name="connsiteY357" fmla="*/ 814229 h 823468"/>
              <a:gd name="connsiteX358" fmla="*/ 6324420 w 12248682"/>
              <a:gd name="connsiteY358" fmla="*/ 773806 h 823468"/>
              <a:gd name="connsiteX359" fmla="*/ 6364844 w 12248682"/>
              <a:gd name="connsiteY359" fmla="*/ 733384 h 823468"/>
              <a:gd name="connsiteX360" fmla="*/ 5489404 w 12248682"/>
              <a:gd name="connsiteY360" fmla="*/ 733384 h 823468"/>
              <a:gd name="connsiteX361" fmla="*/ 5529826 w 12248682"/>
              <a:gd name="connsiteY361" fmla="*/ 773806 h 823468"/>
              <a:gd name="connsiteX362" fmla="*/ 5489404 w 12248682"/>
              <a:gd name="connsiteY362" fmla="*/ 814229 h 823468"/>
              <a:gd name="connsiteX363" fmla="*/ 5448980 w 12248682"/>
              <a:gd name="connsiteY363" fmla="*/ 773806 h 823468"/>
              <a:gd name="connsiteX364" fmla="*/ 5489404 w 12248682"/>
              <a:gd name="connsiteY364" fmla="*/ 733384 h 823468"/>
              <a:gd name="connsiteX365" fmla="*/ 5213373 w 12248682"/>
              <a:gd name="connsiteY365" fmla="*/ 733384 h 823468"/>
              <a:gd name="connsiteX366" fmla="*/ 5253797 w 12248682"/>
              <a:gd name="connsiteY366" fmla="*/ 773806 h 823468"/>
              <a:gd name="connsiteX367" fmla="*/ 5213373 w 12248682"/>
              <a:gd name="connsiteY367" fmla="*/ 814229 h 823468"/>
              <a:gd name="connsiteX368" fmla="*/ 5172952 w 12248682"/>
              <a:gd name="connsiteY368" fmla="*/ 773806 h 823468"/>
              <a:gd name="connsiteX369" fmla="*/ 5213373 w 12248682"/>
              <a:gd name="connsiteY369" fmla="*/ 733384 h 823468"/>
              <a:gd name="connsiteX370" fmla="*/ 4361031 w 12248682"/>
              <a:gd name="connsiteY370" fmla="*/ 733384 h 823468"/>
              <a:gd name="connsiteX371" fmla="*/ 4401455 w 12248682"/>
              <a:gd name="connsiteY371" fmla="*/ 773806 h 823468"/>
              <a:gd name="connsiteX372" fmla="*/ 4361031 w 12248682"/>
              <a:gd name="connsiteY372" fmla="*/ 814229 h 823468"/>
              <a:gd name="connsiteX373" fmla="*/ 4320610 w 12248682"/>
              <a:gd name="connsiteY373" fmla="*/ 773806 h 823468"/>
              <a:gd name="connsiteX374" fmla="*/ 4361031 w 12248682"/>
              <a:gd name="connsiteY374" fmla="*/ 733384 h 823468"/>
              <a:gd name="connsiteX375" fmla="*/ 4086158 w 12248682"/>
              <a:gd name="connsiteY375" fmla="*/ 733384 h 823468"/>
              <a:gd name="connsiteX376" fmla="*/ 4126582 w 12248682"/>
              <a:gd name="connsiteY376" fmla="*/ 773806 h 823468"/>
              <a:gd name="connsiteX377" fmla="*/ 4086158 w 12248682"/>
              <a:gd name="connsiteY377" fmla="*/ 814229 h 823468"/>
              <a:gd name="connsiteX378" fmla="*/ 4045735 w 12248682"/>
              <a:gd name="connsiteY378" fmla="*/ 773806 h 823468"/>
              <a:gd name="connsiteX379" fmla="*/ 4086158 w 12248682"/>
              <a:gd name="connsiteY379" fmla="*/ 733384 h 823468"/>
              <a:gd name="connsiteX380" fmla="*/ 2026910 w 12248682"/>
              <a:gd name="connsiteY380" fmla="*/ 733384 h 823468"/>
              <a:gd name="connsiteX381" fmla="*/ 2067332 w 12248682"/>
              <a:gd name="connsiteY381" fmla="*/ 773806 h 823468"/>
              <a:gd name="connsiteX382" fmla="*/ 2026910 w 12248682"/>
              <a:gd name="connsiteY382" fmla="*/ 814229 h 823468"/>
              <a:gd name="connsiteX383" fmla="*/ 1986487 w 12248682"/>
              <a:gd name="connsiteY383" fmla="*/ 773806 h 823468"/>
              <a:gd name="connsiteX384" fmla="*/ 2026910 w 12248682"/>
              <a:gd name="connsiteY384" fmla="*/ 733384 h 823468"/>
              <a:gd name="connsiteX385" fmla="*/ 1752036 w 12248682"/>
              <a:gd name="connsiteY385" fmla="*/ 733384 h 823468"/>
              <a:gd name="connsiteX386" fmla="*/ 1792458 w 12248682"/>
              <a:gd name="connsiteY386" fmla="*/ 773806 h 823468"/>
              <a:gd name="connsiteX387" fmla="*/ 1752036 w 12248682"/>
              <a:gd name="connsiteY387" fmla="*/ 814229 h 823468"/>
              <a:gd name="connsiteX388" fmla="*/ 1711613 w 12248682"/>
              <a:gd name="connsiteY388" fmla="*/ 773806 h 823468"/>
              <a:gd name="connsiteX389" fmla="*/ 1752036 w 12248682"/>
              <a:gd name="connsiteY389" fmla="*/ 733384 h 823468"/>
              <a:gd name="connsiteX390" fmla="*/ 876596 w 12248682"/>
              <a:gd name="connsiteY390" fmla="*/ 733384 h 823468"/>
              <a:gd name="connsiteX391" fmla="*/ 917018 w 12248682"/>
              <a:gd name="connsiteY391" fmla="*/ 773806 h 823468"/>
              <a:gd name="connsiteX392" fmla="*/ 876596 w 12248682"/>
              <a:gd name="connsiteY392" fmla="*/ 814229 h 823468"/>
              <a:gd name="connsiteX393" fmla="*/ 836172 w 12248682"/>
              <a:gd name="connsiteY393" fmla="*/ 773806 h 823468"/>
              <a:gd name="connsiteX394" fmla="*/ 876596 w 12248682"/>
              <a:gd name="connsiteY394" fmla="*/ 733384 h 823468"/>
              <a:gd name="connsiteX395" fmla="*/ 600566 w 12248682"/>
              <a:gd name="connsiteY395" fmla="*/ 733384 h 823468"/>
              <a:gd name="connsiteX396" fmla="*/ 640989 w 12248682"/>
              <a:gd name="connsiteY396" fmla="*/ 773806 h 823468"/>
              <a:gd name="connsiteX397" fmla="*/ 600566 w 12248682"/>
              <a:gd name="connsiteY397" fmla="*/ 814229 h 823468"/>
              <a:gd name="connsiteX398" fmla="*/ 560144 w 12248682"/>
              <a:gd name="connsiteY398" fmla="*/ 773806 h 823468"/>
              <a:gd name="connsiteX399" fmla="*/ 600566 w 12248682"/>
              <a:gd name="connsiteY399" fmla="*/ 733384 h 823468"/>
              <a:gd name="connsiteX400" fmla="*/ 11107606 w 12248682"/>
              <a:gd name="connsiteY400" fmla="*/ 721834 h 823468"/>
              <a:gd name="connsiteX401" fmla="*/ 11158424 w 12248682"/>
              <a:gd name="connsiteY401" fmla="*/ 772651 h 823468"/>
              <a:gd name="connsiteX402" fmla="*/ 11107606 w 12248682"/>
              <a:gd name="connsiteY402" fmla="*/ 823468 h 823468"/>
              <a:gd name="connsiteX403" fmla="*/ 11056789 w 12248682"/>
              <a:gd name="connsiteY403" fmla="*/ 772651 h 823468"/>
              <a:gd name="connsiteX404" fmla="*/ 11107606 w 12248682"/>
              <a:gd name="connsiteY404" fmla="*/ 721834 h 823468"/>
              <a:gd name="connsiteX405" fmla="*/ 9957292 w 12248682"/>
              <a:gd name="connsiteY405" fmla="*/ 721834 h 823468"/>
              <a:gd name="connsiteX406" fmla="*/ 10008109 w 12248682"/>
              <a:gd name="connsiteY406" fmla="*/ 772651 h 823468"/>
              <a:gd name="connsiteX407" fmla="*/ 9957292 w 12248682"/>
              <a:gd name="connsiteY407" fmla="*/ 823468 h 823468"/>
              <a:gd name="connsiteX408" fmla="*/ 9906475 w 12248682"/>
              <a:gd name="connsiteY408" fmla="*/ 772651 h 823468"/>
              <a:gd name="connsiteX409" fmla="*/ 9957292 w 12248682"/>
              <a:gd name="connsiteY409" fmla="*/ 721834 h 823468"/>
              <a:gd name="connsiteX410" fmla="*/ 8836402 w 12248682"/>
              <a:gd name="connsiteY410" fmla="*/ 721834 h 823468"/>
              <a:gd name="connsiteX411" fmla="*/ 8887219 w 12248682"/>
              <a:gd name="connsiteY411" fmla="*/ 772651 h 823468"/>
              <a:gd name="connsiteX412" fmla="*/ 8836402 w 12248682"/>
              <a:gd name="connsiteY412" fmla="*/ 823468 h 823468"/>
              <a:gd name="connsiteX413" fmla="*/ 8785585 w 12248682"/>
              <a:gd name="connsiteY413" fmla="*/ 772651 h 823468"/>
              <a:gd name="connsiteX414" fmla="*/ 8836402 w 12248682"/>
              <a:gd name="connsiteY414" fmla="*/ 721834 h 823468"/>
              <a:gd name="connsiteX415" fmla="*/ 6502281 w 12248682"/>
              <a:gd name="connsiteY415" fmla="*/ 721834 h 823468"/>
              <a:gd name="connsiteX416" fmla="*/ 6553098 w 12248682"/>
              <a:gd name="connsiteY416" fmla="*/ 772651 h 823468"/>
              <a:gd name="connsiteX417" fmla="*/ 6502281 w 12248682"/>
              <a:gd name="connsiteY417" fmla="*/ 823468 h 823468"/>
              <a:gd name="connsiteX418" fmla="*/ 6451462 w 12248682"/>
              <a:gd name="connsiteY418" fmla="*/ 772651 h 823468"/>
              <a:gd name="connsiteX419" fmla="*/ 6502281 w 12248682"/>
              <a:gd name="connsiteY419" fmla="*/ 721834 h 823468"/>
              <a:gd name="connsiteX420" fmla="*/ 5351966 w 12248682"/>
              <a:gd name="connsiteY420" fmla="*/ 721834 h 823468"/>
              <a:gd name="connsiteX421" fmla="*/ 5402784 w 12248682"/>
              <a:gd name="connsiteY421" fmla="*/ 772651 h 823468"/>
              <a:gd name="connsiteX422" fmla="*/ 5351966 w 12248682"/>
              <a:gd name="connsiteY422" fmla="*/ 823468 h 823468"/>
              <a:gd name="connsiteX423" fmla="*/ 5301149 w 12248682"/>
              <a:gd name="connsiteY423" fmla="*/ 772651 h 823468"/>
              <a:gd name="connsiteX424" fmla="*/ 5351966 w 12248682"/>
              <a:gd name="connsiteY424" fmla="*/ 721834 h 823468"/>
              <a:gd name="connsiteX425" fmla="*/ 4223596 w 12248682"/>
              <a:gd name="connsiteY425" fmla="*/ 721834 h 823468"/>
              <a:gd name="connsiteX426" fmla="*/ 4274413 w 12248682"/>
              <a:gd name="connsiteY426" fmla="*/ 772651 h 823468"/>
              <a:gd name="connsiteX427" fmla="*/ 4223596 w 12248682"/>
              <a:gd name="connsiteY427" fmla="*/ 823468 h 823468"/>
              <a:gd name="connsiteX428" fmla="*/ 4172779 w 12248682"/>
              <a:gd name="connsiteY428" fmla="*/ 772651 h 823468"/>
              <a:gd name="connsiteX429" fmla="*/ 4223596 w 12248682"/>
              <a:gd name="connsiteY429" fmla="*/ 721834 h 823468"/>
              <a:gd name="connsiteX430" fmla="*/ 1889473 w 12248682"/>
              <a:gd name="connsiteY430" fmla="*/ 721834 h 823468"/>
              <a:gd name="connsiteX431" fmla="*/ 1940290 w 12248682"/>
              <a:gd name="connsiteY431" fmla="*/ 772651 h 823468"/>
              <a:gd name="connsiteX432" fmla="*/ 1889473 w 12248682"/>
              <a:gd name="connsiteY432" fmla="*/ 823468 h 823468"/>
              <a:gd name="connsiteX433" fmla="*/ 1838656 w 12248682"/>
              <a:gd name="connsiteY433" fmla="*/ 772651 h 823468"/>
              <a:gd name="connsiteX434" fmla="*/ 1889473 w 12248682"/>
              <a:gd name="connsiteY434" fmla="*/ 721834 h 823468"/>
              <a:gd name="connsiteX435" fmla="*/ 739158 w 12248682"/>
              <a:gd name="connsiteY435" fmla="*/ 721834 h 823468"/>
              <a:gd name="connsiteX436" fmla="*/ 789975 w 12248682"/>
              <a:gd name="connsiteY436" fmla="*/ 772651 h 823468"/>
              <a:gd name="connsiteX437" fmla="*/ 739158 w 12248682"/>
              <a:gd name="connsiteY437" fmla="*/ 823468 h 823468"/>
              <a:gd name="connsiteX438" fmla="*/ 688341 w 12248682"/>
              <a:gd name="connsiteY438" fmla="*/ 772651 h 823468"/>
              <a:gd name="connsiteX439" fmla="*/ 739158 w 12248682"/>
              <a:gd name="connsiteY439" fmla="*/ 721834 h 823468"/>
              <a:gd name="connsiteX440" fmla="*/ 12227892 w 12248682"/>
              <a:gd name="connsiteY440" fmla="*/ 608651 h 823468"/>
              <a:gd name="connsiteX441" fmla="*/ 12248682 w 12248682"/>
              <a:gd name="connsiteY441" fmla="*/ 629440 h 823468"/>
              <a:gd name="connsiteX442" fmla="*/ 12227892 w 12248682"/>
              <a:gd name="connsiteY442" fmla="*/ 650228 h 823468"/>
              <a:gd name="connsiteX443" fmla="*/ 12207104 w 12248682"/>
              <a:gd name="connsiteY443" fmla="*/ 629440 h 823468"/>
              <a:gd name="connsiteX444" fmla="*/ 12227892 w 12248682"/>
              <a:gd name="connsiteY444" fmla="*/ 608651 h 823468"/>
              <a:gd name="connsiteX445" fmla="*/ 12091610 w 12248682"/>
              <a:gd name="connsiteY445" fmla="*/ 608651 h 823468"/>
              <a:gd name="connsiteX446" fmla="*/ 12112399 w 12248682"/>
              <a:gd name="connsiteY446" fmla="*/ 629440 h 823468"/>
              <a:gd name="connsiteX447" fmla="*/ 12091610 w 12248682"/>
              <a:gd name="connsiteY447" fmla="*/ 650228 h 823468"/>
              <a:gd name="connsiteX448" fmla="*/ 12070822 w 12248682"/>
              <a:gd name="connsiteY448" fmla="*/ 629440 h 823468"/>
              <a:gd name="connsiteX449" fmla="*/ 12091610 w 12248682"/>
              <a:gd name="connsiteY449" fmla="*/ 608651 h 823468"/>
              <a:gd name="connsiteX450" fmla="*/ 11956484 w 12248682"/>
              <a:gd name="connsiteY450" fmla="*/ 608651 h 823468"/>
              <a:gd name="connsiteX451" fmla="*/ 11977272 w 12248682"/>
              <a:gd name="connsiteY451" fmla="*/ 629440 h 823468"/>
              <a:gd name="connsiteX452" fmla="*/ 11956484 w 12248682"/>
              <a:gd name="connsiteY452" fmla="*/ 650228 h 823468"/>
              <a:gd name="connsiteX453" fmla="*/ 11935695 w 12248682"/>
              <a:gd name="connsiteY453" fmla="*/ 629440 h 823468"/>
              <a:gd name="connsiteX454" fmla="*/ 11956484 w 12248682"/>
              <a:gd name="connsiteY454" fmla="*/ 608651 h 823468"/>
              <a:gd name="connsiteX455" fmla="*/ 11821356 w 12248682"/>
              <a:gd name="connsiteY455" fmla="*/ 608651 h 823468"/>
              <a:gd name="connsiteX456" fmla="*/ 11842144 w 12248682"/>
              <a:gd name="connsiteY456" fmla="*/ 629440 h 823468"/>
              <a:gd name="connsiteX457" fmla="*/ 11821356 w 12248682"/>
              <a:gd name="connsiteY457" fmla="*/ 650228 h 823468"/>
              <a:gd name="connsiteX458" fmla="*/ 11800567 w 12248682"/>
              <a:gd name="connsiteY458" fmla="*/ 629440 h 823468"/>
              <a:gd name="connsiteX459" fmla="*/ 11821356 w 12248682"/>
              <a:gd name="connsiteY459" fmla="*/ 608651 h 823468"/>
              <a:gd name="connsiteX460" fmla="*/ 11685074 w 12248682"/>
              <a:gd name="connsiteY460" fmla="*/ 608651 h 823468"/>
              <a:gd name="connsiteX461" fmla="*/ 11705862 w 12248682"/>
              <a:gd name="connsiteY461" fmla="*/ 629440 h 823468"/>
              <a:gd name="connsiteX462" fmla="*/ 11685074 w 12248682"/>
              <a:gd name="connsiteY462" fmla="*/ 650228 h 823468"/>
              <a:gd name="connsiteX463" fmla="*/ 11664285 w 12248682"/>
              <a:gd name="connsiteY463" fmla="*/ 629440 h 823468"/>
              <a:gd name="connsiteX464" fmla="*/ 11685074 w 12248682"/>
              <a:gd name="connsiteY464" fmla="*/ 608651 h 823468"/>
              <a:gd name="connsiteX465" fmla="*/ 10736873 w 12248682"/>
              <a:gd name="connsiteY465" fmla="*/ 608651 h 823468"/>
              <a:gd name="connsiteX466" fmla="*/ 10757662 w 12248682"/>
              <a:gd name="connsiteY466" fmla="*/ 629440 h 823468"/>
              <a:gd name="connsiteX467" fmla="*/ 10736873 w 12248682"/>
              <a:gd name="connsiteY467" fmla="*/ 650228 h 823468"/>
              <a:gd name="connsiteX468" fmla="*/ 10716084 w 12248682"/>
              <a:gd name="connsiteY468" fmla="*/ 629440 h 823468"/>
              <a:gd name="connsiteX469" fmla="*/ 10736873 w 12248682"/>
              <a:gd name="connsiteY469" fmla="*/ 608651 h 823468"/>
              <a:gd name="connsiteX470" fmla="*/ 10601745 w 12248682"/>
              <a:gd name="connsiteY470" fmla="*/ 608651 h 823468"/>
              <a:gd name="connsiteX471" fmla="*/ 10622534 w 12248682"/>
              <a:gd name="connsiteY471" fmla="*/ 629440 h 823468"/>
              <a:gd name="connsiteX472" fmla="*/ 10601745 w 12248682"/>
              <a:gd name="connsiteY472" fmla="*/ 650228 h 823468"/>
              <a:gd name="connsiteX473" fmla="*/ 10580956 w 12248682"/>
              <a:gd name="connsiteY473" fmla="*/ 629440 h 823468"/>
              <a:gd name="connsiteX474" fmla="*/ 10601745 w 12248682"/>
              <a:gd name="connsiteY474" fmla="*/ 608651 h 823468"/>
              <a:gd name="connsiteX475" fmla="*/ 8027949 w 12248682"/>
              <a:gd name="connsiteY475" fmla="*/ 608651 h 823468"/>
              <a:gd name="connsiteX476" fmla="*/ 8048737 w 12248682"/>
              <a:gd name="connsiteY476" fmla="*/ 629440 h 823468"/>
              <a:gd name="connsiteX477" fmla="*/ 8027949 w 12248682"/>
              <a:gd name="connsiteY477" fmla="*/ 650228 h 823468"/>
              <a:gd name="connsiteX478" fmla="*/ 8007160 w 12248682"/>
              <a:gd name="connsiteY478" fmla="*/ 629440 h 823468"/>
              <a:gd name="connsiteX479" fmla="*/ 8027949 w 12248682"/>
              <a:gd name="connsiteY479" fmla="*/ 608651 h 823468"/>
              <a:gd name="connsiteX480" fmla="*/ 7892822 w 12248682"/>
              <a:gd name="connsiteY480" fmla="*/ 608651 h 823468"/>
              <a:gd name="connsiteX481" fmla="*/ 7913611 w 12248682"/>
              <a:gd name="connsiteY481" fmla="*/ 629440 h 823468"/>
              <a:gd name="connsiteX482" fmla="*/ 7892822 w 12248682"/>
              <a:gd name="connsiteY482" fmla="*/ 650228 h 823468"/>
              <a:gd name="connsiteX483" fmla="*/ 7872031 w 12248682"/>
              <a:gd name="connsiteY483" fmla="*/ 629440 h 823468"/>
              <a:gd name="connsiteX484" fmla="*/ 7892822 w 12248682"/>
              <a:gd name="connsiteY484" fmla="*/ 608651 h 823468"/>
              <a:gd name="connsiteX485" fmla="*/ 7757693 w 12248682"/>
              <a:gd name="connsiteY485" fmla="*/ 608651 h 823468"/>
              <a:gd name="connsiteX486" fmla="*/ 7778483 w 12248682"/>
              <a:gd name="connsiteY486" fmla="*/ 629440 h 823468"/>
              <a:gd name="connsiteX487" fmla="*/ 7757693 w 12248682"/>
              <a:gd name="connsiteY487" fmla="*/ 650228 h 823468"/>
              <a:gd name="connsiteX488" fmla="*/ 7736906 w 12248682"/>
              <a:gd name="connsiteY488" fmla="*/ 629440 h 823468"/>
              <a:gd name="connsiteX489" fmla="*/ 7757693 w 12248682"/>
              <a:gd name="connsiteY489" fmla="*/ 608651 h 823468"/>
              <a:gd name="connsiteX490" fmla="*/ 7622566 w 12248682"/>
              <a:gd name="connsiteY490" fmla="*/ 608651 h 823468"/>
              <a:gd name="connsiteX491" fmla="*/ 7643355 w 12248682"/>
              <a:gd name="connsiteY491" fmla="*/ 629440 h 823468"/>
              <a:gd name="connsiteX492" fmla="*/ 7622566 w 12248682"/>
              <a:gd name="connsiteY492" fmla="*/ 650228 h 823468"/>
              <a:gd name="connsiteX493" fmla="*/ 7601778 w 12248682"/>
              <a:gd name="connsiteY493" fmla="*/ 629440 h 823468"/>
              <a:gd name="connsiteX494" fmla="*/ 7622566 w 12248682"/>
              <a:gd name="connsiteY494" fmla="*/ 608651 h 823468"/>
              <a:gd name="connsiteX495" fmla="*/ 7486284 w 12248682"/>
              <a:gd name="connsiteY495" fmla="*/ 608651 h 823468"/>
              <a:gd name="connsiteX496" fmla="*/ 7507074 w 12248682"/>
              <a:gd name="connsiteY496" fmla="*/ 629440 h 823468"/>
              <a:gd name="connsiteX497" fmla="*/ 7486284 w 12248682"/>
              <a:gd name="connsiteY497" fmla="*/ 650228 h 823468"/>
              <a:gd name="connsiteX498" fmla="*/ 7465495 w 12248682"/>
              <a:gd name="connsiteY498" fmla="*/ 629440 h 823468"/>
              <a:gd name="connsiteX499" fmla="*/ 7486284 w 12248682"/>
              <a:gd name="connsiteY499" fmla="*/ 608651 h 823468"/>
              <a:gd name="connsiteX500" fmla="*/ 7351157 w 12248682"/>
              <a:gd name="connsiteY500" fmla="*/ 608651 h 823468"/>
              <a:gd name="connsiteX501" fmla="*/ 7371946 w 12248682"/>
              <a:gd name="connsiteY501" fmla="*/ 629440 h 823468"/>
              <a:gd name="connsiteX502" fmla="*/ 7351157 w 12248682"/>
              <a:gd name="connsiteY502" fmla="*/ 650228 h 823468"/>
              <a:gd name="connsiteX503" fmla="*/ 7330369 w 12248682"/>
              <a:gd name="connsiteY503" fmla="*/ 629440 h 823468"/>
              <a:gd name="connsiteX504" fmla="*/ 7351157 w 12248682"/>
              <a:gd name="connsiteY504" fmla="*/ 608651 h 823468"/>
              <a:gd name="connsiteX505" fmla="*/ 7216030 w 12248682"/>
              <a:gd name="connsiteY505" fmla="*/ 608651 h 823468"/>
              <a:gd name="connsiteX506" fmla="*/ 7236819 w 12248682"/>
              <a:gd name="connsiteY506" fmla="*/ 629440 h 823468"/>
              <a:gd name="connsiteX507" fmla="*/ 7216030 w 12248682"/>
              <a:gd name="connsiteY507" fmla="*/ 650228 h 823468"/>
              <a:gd name="connsiteX508" fmla="*/ 7195241 w 12248682"/>
              <a:gd name="connsiteY508" fmla="*/ 629440 h 823468"/>
              <a:gd name="connsiteX509" fmla="*/ 7216030 w 12248682"/>
              <a:gd name="connsiteY509" fmla="*/ 608651 h 823468"/>
              <a:gd name="connsiteX510" fmla="*/ 7079748 w 12248682"/>
              <a:gd name="connsiteY510" fmla="*/ 608651 h 823468"/>
              <a:gd name="connsiteX511" fmla="*/ 7100537 w 12248682"/>
              <a:gd name="connsiteY511" fmla="*/ 629440 h 823468"/>
              <a:gd name="connsiteX512" fmla="*/ 7079748 w 12248682"/>
              <a:gd name="connsiteY512" fmla="*/ 650228 h 823468"/>
              <a:gd name="connsiteX513" fmla="*/ 7058959 w 12248682"/>
              <a:gd name="connsiteY513" fmla="*/ 629440 h 823468"/>
              <a:gd name="connsiteX514" fmla="*/ 7079748 w 12248682"/>
              <a:gd name="connsiteY514" fmla="*/ 608651 h 823468"/>
              <a:gd name="connsiteX515" fmla="*/ 6131548 w 12248682"/>
              <a:gd name="connsiteY515" fmla="*/ 608651 h 823468"/>
              <a:gd name="connsiteX516" fmla="*/ 6152336 w 12248682"/>
              <a:gd name="connsiteY516" fmla="*/ 629440 h 823468"/>
              <a:gd name="connsiteX517" fmla="*/ 6131548 w 12248682"/>
              <a:gd name="connsiteY517" fmla="*/ 650228 h 823468"/>
              <a:gd name="connsiteX518" fmla="*/ 6110759 w 12248682"/>
              <a:gd name="connsiteY518" fmla="*/ 629440 h 823468"/>
              <a:gd name="connsiteX519" fmla="*/ 6131548 w 12248682"/>
              <a:gd name="connsiteY519" fmla="*/ 608651 h 823468"/>
              <a:gd name="connsiteX520" fmla="*/ 5996418 w 12248682"/>
              <a:gd name="connsiteY520" fmla="*/ 608651 h 823468"/>
              <a:gd name="connsiteX521" fmla="*/ 6017209 w 12248682"/>
              <a:gd name="connsiteY521" fmla="*/ 629440 h 823468"/>
              <a:gd name="connsiteX522" fmla="*/ 5996418 w 12248682"/>
              <a:gd name="connsiteY522" fmla="*/ 650228 h 823468"/>
              <a:gd name="connsiteX523" fmla="*/ 5975630 w 12248682"/>
              <a:gd name="connsiteY523" fmla="*/ 629440 h 823468"/>
              <a:gd name="connsiteX524" fmla="*/ 5996418 w 12248682"/>
              <a:gd name="connsiteY524" fmla="*/ 608651 h 823468"/>
              <a:gd name="connsiteX525" fmla="*/ 3415142 w 12248682"/>
              <a:gd name="connsiteY525" fmla="*/ 608651 h 823468"/>
              <a:gd name="connsiteX526" fmla="*/ 3435930 w 12248682"/>
              <a:gd name="connsiteY526" fmla="*/ 629440 h 823468"/>
              <a:gd name="connsiteX527" fmla="*/ 3415142 w 12248682"/>
              <a:gd name="connsiteY527" fmla="*/ 650228 h 823468"/>
              <a:gd name="connsiteX528" fmla="*/ 3394352 w 12248682"/>
              <a:gd name="connsiteY528" fmla="*/ 629440 h 823468"/>
              <a:gd name="connsiteX529" fmla="*/ 3415142 w 12248682"/>
              <a:gd name="connsiteY529" fmla="*/ 608651 h 823468"/>
              <a:gd name="connsiteX530" fmla="*/ 3280013 w 12248682"/>
              <a:gd name="connsiteY530" fmla="*/ 608651 h 823468"/>
              <a:gd name="connsiteX531" fmla="*/ 3300802 w 12248682"/>
              <a:gd name="connsiteY531" fmla="*/ 629440 h 823468"/>
              <a:gd name="connsiteX532" fmla="*/ 3280013 w 12248682"/>
              <a:gd name="connsiteY532" fmla="*/ 650228 h 823468"/>
              <a:gd name="connsiteX533" fmla="*/ 3259224 w 12248682"/>
              <a:gd name="connsiteY533" fmla="*/ 629440 h 823468"/>
              <a:gd name="connsiteX534" fmla="*/ 3280013 w 12248682"/>
              <a:gd name="connsiteY534" fmla="*/ 608651 h 823468"/>
              <a:gd name="connsiteX535" fmla="*/ 3144887 w 12248682"/>
              <a:gd name="connsiteY535" fmla="*/ 608651 h 823468"/>
              <a:gd name="connsiteX536" fmla="*/ 3165675 w 12248682"/>
              <a:gd name="connsiteY536" fmla="*/ 629440 h 823468"/>
              <a:gd name="connsiteX537" fmla="*/ 3144887 w 12248682"/>
              <a:gd name="connsiteY537" fmla="*/ 650228 h 823468"/>
              <a:gd name="connsiteX538" fmla="*/ 3124098 w 12248682"/>
              <a:gd name="connsiteY538" fmla="*/ 629440 h 823468"/>
              <a:gd name="connsiteX539" fmla="*/ 3144887 w 12248682"/>
              <a:gd name="connsiteY539" fmla="*/ 608651 h 823468"/>
              <a:gd name="connsiteX540" fmla="*/ 3009759 w 12248682"/>
              <a:gd name="connsiteY540" fmla="*/ 608651 h 823468"/>
              <a:gd name="connsiteX541" fmla="*/ 3030548 w 12248682"/>
              <a:gd name="connsiteY541" fmla="*/ 629440 h 823468"/>
              <a:gd name="connsiteX542" fmla="*/ 3009759 w 12248682"/>
              <a:gd name="connsiteY542" fmla="*/ 650228 h 823468"/>
              <a:gd name="connsiteX543" fmla="*/ 2988971 w 12248682"/>
              <a:gd name="connsiteY543" fmla="*/ 629440 h 823468"/>
              <a:gd name="connsiteX544" fmla="*/ 3009759 w 12248682"/>
              <a:gd name="connsiteY544" fmla="*/ 608651 h 823468"/>
              <a:gd name="connsiteX545" fmla="*/ 2873476 w 12248682"/>
              <a:gd name="connsiteY545" fmla="*/ 608651 h 823468"/>
              <a:gd name="connsiteX546" fmla="*/ 2894265 w 12248682"/>
              <a:gd name="connsiteY546" fmla="*/ 629440 h 823468"/>
              <a:gd name="connsiteX547" fmla="*/ 2873476 w 12248682"/>
              <a:gd name="connsiteY547" fmla="*/ 650228 h 823468"/>
              <a:gd name="connsiteX548" fmla="*/ 2852688 w 12248682"/>
              <a:gd name="connsiteY548" fmla="*/ 629440 h 823468"/>
              <a:gd name="connsiteX549" fmla="*/ 2873476 w 12248682"/>
              <a:gd name="connsiteY549" fmla="*/ 608651 h 823468"/>
              <a:gd name="connsiteX550" fmla="*/ 2738350 w 12248682"/>
              <a:gd name="connsiteY550" fmla="*/ 608651 h 823468"/>
              <a:gd name="connsiteX551" fmla="*/ 2759139 w 12248682"/>
              <a:gd name="connsiteY551" fmla="*/ 629440 h 823468"/>
              <a:gd name="connsiteX552" fmla="*/ 2738350 w 12248682"/>
              <a:gd name="connsiteY552" fmla="*/ 650228 h 823468"/>
              <a:gd name="connsiteX553" fmla="*/ 2717562 w 12248682"/>
              <a:gd name="connsiteY553" fmla="*/ 629440 h 823468"/>
              <a:gd name="connsiteX554" fmla="*/ 2738350 w 12248682"/>
              <a:gd name="connsiteY554" fmla="*/ 608651 h 823468"/>
              <a:gd name="connsiteX555" fmla="*/ 2603222 w 12248682"/>
              <a:gd name="connsiteY555" fmla="*/ 608651 h 823468"/>
              <a:gd name="connsiteX556" fmla="*/ 2624011 w 12248682"/>
              <a:gd name="connsiteY556" fmla="*/ 629440 h 823468"/>
              <a:gd name="connsiteX557" fmla="*/ 2603222 w 12248682"/>
              <a:gd name="connsiteY557" fmla="*/ 650228 h 823468"/>
              <a:gd name="connsiteX558" fmla="*/ 2582433 w 12248682"/>
              <a:gd name="connsiteY558" fmla="*/ 629440 h 823468"/>
              <a:gd name="connsiteX559" fmla="*/ 2603222 w 12248682"/>
              <a:gd name="connsiteY559" fmla="*/ 608651 h 823468"/>
              <a:gd name="connsiteX560" fmla="*/ 2466940 w 12248682"/>
              <a:gd name="connsiteY560" fmla="*/ 608651 h 823468"/>
              <a:gd name="connsiteX561" fmla="*/ 2487729 w 12248682"/>
              <a:gd name="connsiteY561" fmla="*/ 629440 h 823468"/>
              <a:gd name="connsiteX562" fmla="*/ 2466940 w 12248682"/>
              <a:gd name="connsiteY562" fmla="*/ 650228 h 823468"/>
              <a:gd name="connsiteX563" fmla="*/ 2446151 w 12248682"/>
              <a:gd name="connsiteY563" fmla="*/ 629440 h 823468"/>
              <a:gd name="connsiteX564" fmla="*/ 2466940 w 12248682"/>
              <a:gd name="connsiteY564" fmla="*/ 608651 h 823468"/>
              <a:gd name="connsiteX565" fmla="*/ 1518739 w 12248682"/>
              <a:gd name="connsiteY565" fmla="*/ 608651 h 823468"/>
              <a:gd name="connsiteX566" fmla="*/ 1539528 w 12248682"/>
              <a:gd name="connsiteY566" fmla="*/ 629440 h 823468"/>
              <a:gd name="connsiteX567" fmla="*/ 1518739 w 12248682"/>
              <a:gd name="connsiteY567" fmla="*/ 650228 h 823468"/>
              <a:gd name="connsiteX568" fmla="*/ 1497951 w 12248682"/>
              <a:gd name="connsiteY568" fmla="*/ 629440 h 823468"/>
              <a:gd name="connsiteX569" fmla="*/ 1518739 w 12248682"/>
              <a:gd name="connsiteY569" fmla="*/ 608651 h 823468"/>
              <a:gd name="connsiteX570" fmla="*/ 1383611 w 12248682"/>
              <a:gd name="connsiteY570" fmla="*/ 608651 h 823468"/>
              <a:gd name="connsiteX571" fmla="*/ 1404400 w 12248682"/>
              <a:gd name="connsiteY571" fmla="*/ 629440 h 823468"/>
              <a:gd name="connsiteX572" fmla="*/ 1383611 w 12248682"/>
              <a:gd name="connsiteY572" fmla="*/ 650228 h 823468"/>
              <a:gd name="connsiteX573" fmla="*/ 1362823 w 12248682"/>
              <a:gd name="connsiteY573" fmla="*/ 629440 h 823468"/>
              <a:gd name="connsiteX574" fmla="*/ 1383611 w 12248682"/>
              <a:gd name="connsiteY574" fmla="*/ 608651 h 823468"/>
              <a:gd name="connsiteX575" fmla="*/ 11549947 w 12248682"/>
              <a:gd name="connsiteY575" fmla="*/ 606341 h 823468"/>
              <a:gd name="connsiteX576" fmla="*/ 11573046 w 12248682"/>
              <a:gd name="connsiteY576" fmla="*/ 629440 h 823468"/>
              <a:gd name="connsiteX577" fmla="*/ 11549947 w 12248682"/>
              <a:gd name="connsiteY577" fmla="*/ 652538 h 823468"/>
              <a:gd name="connsiteX578" fmla="*/ 11526848 w 12248682"/>
              <a:gd name="connsiteY578" fmla="*/ 629440 h 823468"/>
              <a:gd name="connsiteX579" fmla="*/ 11549947 w 12248682"/>
              <a:gd name="connsiteY579" fmla="*/ 606341 h 823468"/>
              <a:gd name="connsiteX580" fmla="*/ 10466618 w 12248682"/>
              <a:gd name="connsiteY580" fmla="*/ 606341 h 823468"/>
              <a:gd name="connsiteX581" fmla="*/ 10489717 w 12248682"/>
              <a:gd name="connsiteY581" fmla="*/ 629440 h 823468"/>
              <a:gd name="connsiteX582" fmla="*/ 10466618 w 12248682"/>
              <a:gd name="connsiteY582" fmla="*/ 652538 h 823468"/>
              <a:gd name="connsiteX583" fmla="*/ 10443520 w 12248682"/>
              <a:gd name="connsiteY583" fmla="*/ 629440 h 823468"/>
              <a:gd name="connsiteX584" fmla="*/ 10466618 w 12248682"/>
              <a:gd name="connsiteY584" fmla="*/ 606341 h 823468"/>
              <a:gd name="connsiteX585" fmla="*/ 9244698 w 12248682"/>
              <a:gd name="connsiteY585" fmla="*/ 606341 h 823468"/>
              <a:gd name="connsiteX586" fmla="*/ 9270107 w 12248682"/>
              <a:gd name="connsiteY586" fmla="*/ 627130 h 823468"/>
              <a:gd name="connsiteX587" fmla="*/ 9249318 w 12248682"/>
              <a:gd name="connsiteY587" fmla="*/ 652538 h 823468"/>
              <a:gd name="connsiteX588" fmla="*/ 9223909 w 12248682"/>
              <a:gd name="connsiteY588" fmla="*/ 631749 h 823468"/>
              <a:gd name="connsiteX589" fmla="*/ 9244698 w 12248682"/>
              <a:gd name="connsiteY589" fmla="*/ 606341 h 823468"/>
              <a:gd name="connsiteX590" fmla="*/ 8164231 w 12248682"/>
              <a:gd name="connsiteY590" fmla="*/ 606341 h 823468"/>
              <a:gd name="connsiteX591" fmla="*/ 8187331 w 12248682"/>
              <a:gd name="connsiteY591" fmla="*/ 629440 h 823468"/>
              <a:gd name="connsiteX592" fmla="*/ 8164231 w 12248682"/>
              <a:gd name="connsiteY592" fmla="*/ 652538 h 823468"/>
              <a:gd name="connsiteX593" fmla="*/ 8141133 w 12248682"/>
              <a:gd name="connsiteY593" fmla="*/ 629440 h 823468"/>
              <a:gd name="connsiteX594" fmla="*/ 8164231 w 12248682"/>
              <a:gd name="connsiteY594" fmla="*/ 606341 h 823468"/>
              <a:gd name="connsiteX595" fmla="*/ 6944621 w 12248682"/>
              <a:gd name="connsiteY595" fmla="*/ 606341 h 823468"/>
              <a:gd name="connsiteX596" fmla="*/ 6967719 w 12248682"/>
              <a:gd name="connsiteY596" fmla="*/ 629440 h 823468"/>
              <a:gd name="connsiteX597" fmla="*/ 6944621 w 12248682"/>
              <a:gd name="connsiteY597" fmla="*/ 652538 h 823468"/>
              <a:gd name="connsiteX598" fmla="*/ 6921522 w 12248682"/>
              <a:gd name="connsiteY598" fmla="*/ 629440 h 823468"/>
              <a:gd name="connsiteX599" fmla="*/ 6944621 w 12248682"/>
              <a:gd name="connsiteY599" fmla="*/ 606341 h 823468"/>
              <a:gd name="connsiteX600" fmla="*/ 5861292 w 12248682"/>
              <a:gd name="connsiteY600" fmla="*/ 606341 h 823468"/>
              <a:gd name="connsiteX601" fmla="*/ 5884392 w 12248682"/>
              <a:gd name="connsiteY601" fmla="*/ 629440 h 823468"/>
              <a:gd name="connsiteX602" fmla="*/ 5861292 w 12248682"/>
              <a:gd name="connsiteY602" fmla="*/ 652538 h 823468"/>
              <a:gd name="connsiteX603" fmla="*/ 5838194 w 12248682"/>
              <a:gd name="connsiteY603" fmla="*/ 629440 h 823468"/>
              <a:gd name="connsiteX604" fmla="*/ 5861292 w 12248682"/>
              <a:gd name="connsiteY604" fmla="*/ 606341 h 823468"/>
              <a:gd name="connsiteX605" fmla="*/ 4639373 w 12248682"/>
              <a:gd name="connsiteY605" fmla="*/ 606341 h 823468"/>
              <a:gd name="connsiteX606" fmla="*/ 4664780 w 12248682"/>
              <a:gd name="connsiteY606" fmla="*/ 627130 h 823468"/>
              <a:gd name="connsiteX607" fmla="*/ 4643991 w 12248682"/>
              <a:gd name="connsiteY607" fmla="*/ 652538 h 823468"/>
              <a:gd name="connsiteX608" fmla="*/ 4618583 w 12248682"/>
              <a:gd name="connsiteY608" fmla="*/ 631749 h 823468"/>
              <a:gd name="connsiteX609" fmla="*/ 4639373 w 12248682"/>
              <a:gd name="connsiteY609" fmla="*/ 606341 h 823468"/>
              <a:gd name="connsiteX610" fmla="*/ 3551423 w 12248682"/>
              <a:gd name="connsiteY610" fmla="*/ 606341 h 823468"/>
              <a:gd name="connsiteX611" fmla="*/ 3574522 w 12248682"/>
              <a:gd name="connsiteY611" fmla="*/ 629440 h 823468"/>
              <a:gd name="connsiteX612" fmla="*/ 3551423 w 12248682"/>
              <a:gd name="connsiteY612" fmla="*/ 652538 h 823468"/>
              <a:gd name="connsiteX613" fmla="*/ 3528325 w 12248682"/>
              <a:gd name="connsiteY613" fmla="*/ 629440 h 823468"/>
              <a:gd name="connsiteX614" fmla="*/ 3551423 w 12248682"/>
              <a:gd name="connsiteY614" fmla="*/ 606341 h 823468"/>
              <a:gd name="connsiteX615" fmla="*/ 2331813 w 12248682"/>
              <a:gd name="connsiteY615" fmla="*/ 606341 h 823468"/>
              <a:gd name="connsiteX616" fmla="*/ 2354912 w 12248682"/>
              <a:gd name="connsiteY616" fmla="*/ 629440 h 823468"/>
              <a:gd name="connsiteX617" fmla="*/ 2331813 w 12248682"/>
              <a:gd name="connsiteY617" fmla="*/ 652538 h 823468"/>
              <a:gd name="connsiteX618" fmla="*/ 2308714 w 12248682"/>
              <a:gd name="connsiteY618" fmla="*/ 629440 h 823468"/>
              <a:gd name="connsiteX619" fmla="*/ 2331813 w 12248682"/>
              <a:gd name="connsiteY619" fmla="*/ 606341 h 823468"/>
              <a:gd name="connsiteX620" fmla="*/ 1248485 w 12248682"/>
              <a:gd name="connsiteY620" fmla="*/ 606341 h 823468"/>
              <a:gd name="connsiteX621" fmla="*/ 1271583 w 12248682"/>
              <a:gd name="connsiteY621" fmla="*/ 629440 h 823468"/>
              <a:gd name="connsiteX622" fmla="*/ 1248485 w 12248682"/>
              <a:gd name="connsiteY622" fmla="*/ 652538 h 823468"/>
              <a:gd name="connsiteX623" fmla="*/ 1225386 w 12248682"/>
              <a:gd name="connsiteY623" fmla="*/ 629440 h 823468"/>
              <a:gd name="connsiteX624" fmla="*/ 1248485 w 12248682"/>
              <a:gd name="connsiteY624" fmla="*/ 606341 h 823468"/>
              <a:gd name="connsiteX625" fmla="*/ 26564 w 12248682"/>
              <a:gd name="connsiteY625" fmla="*/ 606341 h 823468"/>
              <a:gd name="connsiteX626" fmla="*/ 51973 w 12248682"/>
              <a:gd name="connsiteY626" fmla="*/ 627130 h 823468"/>
              <a:gd name="connsiteX627" fmla="*/ 31184 w 12248682"/>
              <a:gd name="connsiteY627" fmla="*/ 652538 h 823468"/>
              <a:gd name="connsiteX628" fmla="*/ 5776 w 12248682"/>
              <a:gd name="connsiteY628" fmla="*/ 631749 h 823468"/>
              <a:gd name="connsiteX629" fmla="*/ 26564 w 12248682"/>
              <a:gd name="connsiteY629" fmla="*/ 606341 h 823468"/>
              <a:gd name="connsiteX630" fmla="*/ 11414819 w 12248682"/>
              <a:gd name="connsiteY630" fmla="*/ 600566 h 823468"/>
              <a:gd name="connsiteX631" fmla="*/ 11443693 w 12248682"/>
              <a:gd name="connsiteY631" fmla="*/ 629440 h 823468"/>
              <a:gd name="connsiteX632" fmla="*/ 11414819 w 12248682"/>
              <a:gd name="connsiteY632" fmla="*/ 658312 h 823468"/>
              <a:gd name="connsiteX633" fmla="*/ 11385946 w 12248682"/>
              <a:gd name="connsiteY633" fmla="*/ 629440 h 823468"/>
              <a:gd name="connsiteX634" fmla="*/ 11414819 w 12248682"/>
              <a:gd name="connsiteY634" fmla="*/ 600566 h 823468"/>
              <a:gd name="connsiteX635" fmla="*/ 10330336 w 12248682"/>
              <a:gd name="connsiteY635" fmla="*/ 600566 h 823468"/>
              <a:gd name="connsiteX636" fmla="*/ 10359209 w 12248682"/>
              <a:gd name="connsiteY636" fmla="*/ 629440 h 823468"/>
              <a:gd name="connsiteX637" fmla="*/ 10330336 w 12248682"/>
              <a:gd name="connsiteY637" fmla="*/ 658312 h 823468"/>
              <a:gd name="connsiteX638" fmla="*/ 10301462 w 12248682"/>
              <a:gd name="connsiteY638" fmla="*/ 629440 h 823468"/>
              <a:gd name="connsiteX639" fmla="*/ 10330336 w 12248682"/>
              <a:gd name="connsiteY639" fmla="*/ 600566 h 823468"/>
              <a:gd name="connsiteX640" fmla="*/ 9382135 w 12248682"/>
              <a:gd name="connsiteY640" fmla="*/ 600566 h 823468"/>
              <a:gd name="connsiteX641" fmla="*/ 9411009 w 12248682"/>
              <a:gd name="connsiteY641" fmla="*/ 629440 h 823468"/>
              <a:gd name="connsiteX642" fmla="*/ 9382135 w 12248682"/>
              <a:gd name="connsiteY642" fmla="*/ 658312 h 823468"/>
              <a:gd name="connsiteX643" fmla="*/ 9353262 w 12248682"/>
              <a:gd name="connsiteY643" fmla="*/ 629440 h 823468"/>
              <a:gd name="connsiteX644" fmla="*/ 9382135 w 12248682"/>
              <a:gd name="connsiteY644" fmla="*/ 600566 h 823468"/>
              <a:gd name="connsiteX645" fmla="*/ 9112431 w 12248682"/>
              <a:gd name="connsiteY645" fmla="*/ 600566 h 823468"/>
              <a:gd name="connsiteX646" fmla="*/ 9141305 w 12248682"/>
              <a:gd name="connsiteY646" fmla="*/ 629440 h 823468"/>
              <a:gd name="connsiteX647" fmla="*/ 9112431 w 12248682"/>
              <a:gd name="connsiteY647" fmla="*/ 658312 h 823468"/>
              <a:gd name="connsiteX648" fmla="*/ 9083558 w 12248682"/>
              <a:gd name="connsiteY648" fmla="*/ 629440 h 823468"/>
              <a:gd name="connsiteX649" fmla="*/ 9112431 w 12248682"/>
              <a:gd name="connsiteY649" fmla="*/ 600566 h 823468"/>
              <a:gd name="connsiteX650" fmla="*/ 8299358 w 12248682"/>
              <a:gd name="connsiteY650" fmla="*/ 600566 h 823468"/>
              <a:gd name="connsiteX651" fmla="*/ 8328231 w 12248682"/>
              <a:gd name="connsiteY651" fmla="*/ 629440 h 823468"/>
              <a:gd name="connsiteX652" fmla="*/ 8299358 w 12248682"/>
              <a:gd name="connsiteY652" fmla="*/ 658312 h 823468"/>
              <a:gd name="connsiteX653" fmla="*/ 8270485 w 12248682"/>
              <a:gd name="connsiteY653" fmla="*/ 629440 h 823468"/>
              <a:gd name="connsiteX654" fmla="*/ 8299358 w 12248682"/>
              <a:gd name="connsiteY654" fmla="*/ 600566 h 823468"/>
              <a:gd name="connsiteX655" fmla="*/ 6809492 w 12248682"/>
              <a:gd name="connsiteY655" fmla="*/ 600566 h 823468"/>
              <a:gd name="connsiteX656" fmla="*/ 6838367 w 12248682"/>
              <a:gd name="connsiteY656" fmla="*/ 629440 h 823468"/>
              <a:gd name="connsiteX657" fmla="*/ 6809492 w 12248682"/>
              <a:gd name="connsiteY657" fmla="*/ 658312 h 823468"/>
              <a:gd name="connsiteX658" fmla="*/ 6780620 w 12248682"/>
              <a:gd name="connsiteY658" fmla="*/ 629440 h 823468"/>
              <a:gd name="connsiteX659" fmla="*/ 6809492 w 12248682"/>
              <a:gd name="connsiteY659" fmla="*/ 600566 h 823468"/>
              <a:gd name="connsiteX660" fmla="*/ 5726165 w 12248682"/>
              <a:gd name="connsiteY660" fmla="*/ 600566 h 823468"/>
              <a:gd name="connsiteX661" fmla="*/ 5755038 w 12248682"/>
              <a:gd name="connsiteY661" fmla="*/ 629440 h 823468"/>
              <a:gd name="connsiteX662" fmla="*/ 5726165 w 12248682"/>
              <a:gd name="connsiteY662" fmla="*/ 658312 h 823468"/>
              <a:gd name="connsiteX663" fmla="*/ 5697292 w 12248682"/>
              <a:gd name="connsiteY663" fmla="*/ 629440 h 823468"/>
              <a:gd name="connsiteX664" fmla="*/ 5726165 w 12248682"/>
              <a:gd name="connsiteY664" fmla="*/ 600566 h 823468"/>
              <a:gd name="connsiteX665" fmla="*/ 4776809 w 12248682"/>
              <a:gd name="connsiteY665" fmla="*/ 600566 h 823468"/>
              <a:gd name="connsiteX666" fmla="*/ 4805682 w 12248682"/>
              <a:gd name="connsiteY666" fmla="*/ 629440 h 823468"/>
              <a:gd name="connsiteX667" fmla="*/ 4776809 w 12248682"/>
              <a:gd name="connsiteY667" fmla="*/ 658312 h 823468"/>
              <a:gd name="connsiteX668" fmla="*/ 4747936 w 12248682"/>
              <a:gd name="connsiteY668" fmla="*/ 629440 h 823468"/>
              <a:gd name="connsiteX669" fmla="*/ 4776809 w 12248682"/>
              <a:gd name="connsiteY669" fmla="*/ 600566 h 823468"/>
              <a:gd name="connsiteX670" fmla="*/ 4499625 w 12248682"/>
              <a:gd name="connsiteY670" fmla="*/ 600566 h 823468"/>
              <a:gd name="connsiteX671" fmla="*/ 4528499 w 12248682"/>
              <a:gd name="connsiteY671" fmla="*/ 629440 h 823468"/>
              <a:gd name="connsiteX672" fmla="*/ 4499625 w 12248682"/>
              <a:gd name="connsiteY672" fmla="*/ 658312 h 823468"/>
              <a:gd name="connsiteX673" fmla="*/ 4470752 w 12248682"/>
              <a:gd name="connsiteY673" fmla="*/ 629440 h 823468"/>
              <a:gd name="connsiteX674" fmla="*/ 4499625 w 12248682"/>
              <a:gd name="connsiteY674" fmla="*/ 600566 h 823468"/>
              <a:gd name="connsiteX675" fmla="*/ 3686551 w 12248682"/>
              <a:gd name="connsiteY675" fmla="*/ 600566 h 823468"/>
              <a:gd name="connsiteX676" fmla="*/ 3715424 w 12248682"/>
              <a:gd name="connsiteY676" fmla="*/ 629440 h 823468"/>
              <a:gd name="connsiteX677" fmla="*/ 3686551 w 12248682"/>
              <a:gd name="connsiteY677" fmla="*/ 658312 h 823468"/>
              <a:gd name="connsiteX678" fmla="*/ 3657677 w 12248682"/>
              <a:gd name="connsiteY678" fmla="*/ 629440 h 823468"/>
              <a:gd name="connsiteX679" fmla="*/ 3686551 w 12248682"/>
              <a:gd name="connsiteY679" fmla="*/ 600566 h 823468"/>
              <a:gd name="connsiteX680" fmla="*/ 2196685 w 12248682"/>
              <a:gd name="connsiteY680" fmla="*/ 600566 h 823468"/>
              <a:gd name="connsiteX681" fmla="*/ 2225559 w 12248682"/>
              <a:gd name="connsiteY681" fmla="*/ 629440 h 823468"/>
              <a:gd name="connsiteX682" fmla="*/ 2196685 w 12248682"/>
              <a:gd name="connsiteY682" fmla="*/ 658312 h 823468"/>
              <a:gd name="connsiteX683" fmla="*/ 2167813 w 12248682"/>
              <a:gd name="connsiteY683" fmla="*/ 629440 h 823468"/>
              <a:gd name="connsiteX684" fmla="*/ 2196685 w 12248682"/>
              <a:gd name="connsiteY684" fmla="*/ 600566 h 823468"/>
              <a:gd name="connsiteX685" fmla="*/ 1112202 w 12248682"/>
              <a:gd name="connsiteY685" fmla="*/ 600566 h 823468"/>
              <a:gd name="connsiteX686" fmla="*/ 1141075 w 12248682"/>
              <a:gd name="connsiteY686" fmla="*/ 629440 h 823468"/>
              <a:gd name="connsiteX687" fmla="*/ 1112202 w 12248682"/>
              <a:gd name="connsiteY687" fmla="*/ 658312 h 823468"/>
              <a:gd name="connsiteX688" fmla="*/ 1083328 w 12248682"/>
              <a:gd name="connsiteY688" fmla="*/ 629440 h 823468"/>
              <a:gd name="connsiteX689" fmla="*/ 1112202 w 12248682"/>
              <a:gd name="connsiteY689" fmla="*/ 600566 h 823468"/>
              <a:gd name="connsiteX690" fmla="*/ 164001 w 12248682"/>
              <a:gd name="connsiteY690" fmla="*/ 600566 h 823468"/>
              <a:gd name="connsiteX691" fmla="*/ 192875 w 12248682"/>
              <a:gd name="connsiteY691" fmla="*/ 629440 h 823468"/>
              <a:gd name="connsiteX692" fmla="*/ 164001 w 12248682"/>
              <a:gd name="connsiteY692" fmla="*/ 658312 h 823468"/>
              <a:gd name="connsiteX693" fmla="*/ 135128 w 12248682"/>
              <a:gd name="connsiteY693" fmla="*/ 629440 h 823468"/>
              <a:gd name="connsiteX694" fmla="*/ 164001 w 12248682"/>
              <a:gd name="connsiteY694" fmla="*/ 600566 h 823468"/>
              <a:gd name="connsiteX695" fmla="*/ 11279692 w 12248682"/>
              <a:gd name="connsiteY695" fmla="*/ 594792 h 823468"/>
              <a:gd name="connsiteX696" fmla="*/ 11314340 w 12248682"/>
              <a:gd name="connsiteY696" fmla="*/ 629440 h 823468"/>
              <a:gd name="connsiteX697" fmla="*/ 11279692 w 12248682"/>
              <a:gd name="connsiteY697" fmla="*/ 664088 h 823468"/>
              <a:gd name="connsiteX698" fmla="*/ 11245044 w 12248682"/>
              <a:gd name="connsiteY698" fmla="*/ 629440 h 823468"/>
              <a:gd name="connsiteX699" fmla="*/ 11279692 w 12248682"/>
              <a:gd name="connsiteY699" fmla="*/ 594792 h 823468"/>
              <a:gd name="connsiteX700" fmla="*/ 10195208 w 12248682"/>
              <a:gd name="connsiteY700" fmla="*/ 594792 h 823468"/>
              <a:gd name="connsiteX701" fmla="*/ 10229856 w 12248682"/>
              <a:gd name="connsiteY701" fmla="*/ 629440 h 823468"/>
              <a:gd name="connsiteX702" fmla="*/ 10195208 w 12248682"/>
              <a:gd name="connsiteY702" fmla="*/ 664088 h 823468"/>
              <a:gd name="connsiteX703" fmla="*/ 10160560 w 12248682"/>
              <a:gd name="connsiteY703" fmla="*/ 629440 h 823468"/>
              <a:gd name="connsiteX704" fmla="*/ 10195208 w 12248682"/>
              <a:gd name="connsiteY704" fmla="*/ 594792 h 823468"/>
              <a:gd name="connsiteX705" fmla="*/ 9518417 w 12248682"/>
              <a:gd name="connsiteY705" fmla="*/ 594792 h 823468"/>
              <a:gd name="connsiteX706" fmla="*/ 9553065 w 12248682"/>
              <a:gd name="connsiteY706" fmla="*/ 629440 h 823468"/>
              <a:gd name="connsiteX707" fmla="*/ 9518417 w 12248682"/>
              <a:gd name="connsiteY707" fmla="*/ 664088 h 823468"/>
              <a:gd name="connsiteX708" fmla="*/ 9483769 w 12248682"/>
              <a:gd name="connsiteY708" fmla="*/ 629440 h 823468"/>
              <a:gd name="connsiteX709" fmla="*/ 9518417 w 12248682"/>
              <a:gd name="connsiteY709" fmla="*/ 594792 h 823468"/>
              <a:gd name="connsiteX710" fmla="*/ 8977304 w 12248682"/>
              <a:gd name="connsiteY710" fmla="*/ 594792 h 823468"/>
              <a:gd name="connsiteX711" fmla="*/ 9011952 w 12248682"/>
              <a:gd name="connsiteY711" fmla="*/ 629440 h 823468"/>
              <a:gd name="connsiteX712" fmla="*/ 8977304 w 12248682"/>
              <a:gd name="connsiteY712" fmla="*/ 664088 h 823468"/>
              <a:gd name="connsiteX713" fmla="*/ 8942656 w 12248682"/>
              <a:gd name="connsiteY713" fmla="*/ 629440 h 823468"/>
              <a:gd name="connsiteX714" fmla="*/ 8977304 w 12248682"/>
              <a:gd name="connsiteY714" fmla="*/ 594792 h 823468"/>
              <a:gd name="connsiteX715" fmla="*/ 8434485 w 12248682"/>
              <a:gd name="connsiteY715" fmla="*/ 594792 h 823468"/>
              <a:gd name="connsiteX716" fmla="*/ 8469133 w 12248682"/>
              <a:gd name="connsiteY716" fmla="*/ 629440 h 823468"/>
              <a:gd name="connsiteX717" fmla="*/ 8434485 w 12248682"/>
              <a:gd name="connsiteY717" fmla="*/ 664088 h 823468"/>
              <a:gd name="connsiteX718" fmla="*/ 8399837 w 12248682"/>
              <a:gd name="connsiteY718" fmla="*/ 629440 h 823468"/>
              <a:gd name="connsiteX719" fmla="*/ 8434485 w 12248682"/>
              <a:gd name="connsiteY719" fmla="*/ 594792 h 823468"/>
              <a:gd name="connsiteX720" fmla="*/ 6674366 w 12248682"/>
              <a:gd name="connsiteY720" fmla="*/ 594792 h 823468"/>
              <a:gd name="connsiteX721" fmla="*/ 6709014 w 12248682"/>
              <a:gd name="connsiteY721" fmla="*/ 629440 h 823468"/>
              <a:gd name="connsiteX722" fmla="*/ 6674366 w 12248682"/>
              <a:gd name="connsiteY722" fmla="*/ 664088 h 823468"/>
              <a:gd name="connsiteX723" fmla="*/ 6639717 w 12248682"/>
              <a:gd name="connsiteY723" fmla="*/ 629440 h 823468"/>
              <a:gd name="connsiteX724" fmla="*/ 6674366 w 12248682"/>
              <a:gd name="connsiteY724" fmla="*/ 594792 h 823468"/>
              <a:gd name="connsiteX725" fmla="*/ 5589882 w 12248682"/>
              <a:gd name="connsiteY725" fmla="*/ 594792 h 823468"/>
              <a:gd name="connsiteX726" fmla="*/ 5624531 w 12248682"/>
              <a:gd name="connsiteY726" fmla="*/ 629440 h 823468"/>
              <a:gd name="connsiteX727" fmla="*/ 5589882 w 12248682"/>
              <a:gd name="connsiteY727" fmla="*/ 664088 h 823468"/>
              <a:gd name="connsiteX728" fmla="*/ 5555234 w 12248682"/>
              <a:gd name="connsiteY728" fmla="*/ 629440 h 823468"/>
              <a:gd name="connsiteX729" fmla="*/ 5589882 w 12248682"/>
              <a:gd name="connsiteY729" fmla="*/ 594792 h 823468"/>
              <a:gd name="connsiteX730" fmla="*/ 4913091 w 12248682"/>
              <a:gd name="connsiteY730" fmla="*/ 594792 h 823468"/>
              <a:gd name="connsiteX731" fmla="*/ 4947739 w 12248682"/>
              <a:gd name="connsiteY731" fmla="*/ 629440 h 823468"/>
              <a:gd name="connsiteX732" fmla="*/ 4913091 w 12248682"/>
              <a:gd name="connsiteY732" fmla="*/ 664088 h 823468"/>
              <a:gd name="connsiteX733" fmla="*/ 4878443 w 12248682"/>
              <a:gd name="connsiteY733" fmla="*/ 629440 h 823468"/>
              <a:gd name="connsiteX734" fmla="*/ 4913091 w 12248682"/>
              <a:gd name="connsiteY734" fmla="*/ 594792 h 823468"/>
              <a:gd name="connsiteX735" fmla="*/ 4364498 w 12248682"/>
              <a:gd name="connsiteY735" fmla="*/ 594792 h 823468"/>
              <a:gd name="connsiteX736" fmla="*/ 4399146 w 12248682"/>
              <a:gd name="connsiteY736" fmla="*/ 629440 h 823468"/>
              <a:gd name="connsiteX737" fmla="*/ 4364498 w 12248682"/>
              <a:gd name="connsiteY737" fmla="*/ 664088 h 823468"/>
              <a:gd name="connsiteX738" fmla="*/ 4329850 w 12248682"/>
              <a:gd name="connsiteY738" fmla="*/ 629440 h 823468"/>
              <a:gd name="connsiteX739" fmla="*/ 4364498 w 12248682"/>
              <a:gd name="connsiteY739" fmla="*/ 594792 h 823468"/>
              <a:gd name="connsiteX740" fmla="*/ 3821678 w 12248682"/>
              <a:gd name="connsiteY740" fmla="*/ 594792 h 823468"/>
              <a:gd name="connsiteX741" fmla="*/ 3856326 w 12248682"/>
              <a:gd name="connsiteY741" fmla="*/ 629440 h 823468"/>
              <a:gd name="connsiteX742" fmla="*/ 3821678 w 12248682"/>
              <a:gd name="connsiteY742" fmla="*/ 664088 h 823468"/>
              <a:gd name="connsiteX743" fmla="*/ 3787030 w 12248682"/>
              <a:gd name="connsiteY743" fmla="*/ 629440 h 823468"/>
              <a:gd name="connsiteX744" fmla="*/ 3821678 w 12248682"/>
              <a:gd name="connsiteY744" fmla="*/ 594792 h 823468"/>
              <a:gd name="connsiteX745" fmla="*/ 2061558 w 12248682"/>
              <a:gd name="connsiteY745" fmla="*/ 594792 h 823468"/>
              <a:gd name="connsiteX746" fmla="*/ 2096206 w 12248682"/>
              <a:gd name="connsiteY746" fmla="*/ 629440 h 823468"/>
              <a:gd name="connsiteX747" fmla="*/ 2061558 w 12248682"/>
              <a:gd name="connsiteY747" fmla="*/ 664088 h 823468"/>
              <a:gd name="connsiteX748" fmla="*/ 2026910 w 12248682"/>
              <a:gd name="connsiteY748" fmla="*/ 629440 h 823468"/>
              <a:gd name="connsiteX749" fmla="*/ 2061558 w 12248682"/>
              <a:gd name="connsiteY749" fmla="*/ 594792 h 823468"/>
              <a:gd name="connsiteX750" fmla="*/ 977075 w 12248682"/>
              <a:gd name="connsiteY750" fmla="*/ 594792 h 823468"/>
              <a:gd name="connsiteX751" fmla="*/ 1011723 w 12248682"/>
              <a:gd name="connsiteY751" fmla="*/ 629440 h 823468"/>
              <a:gd name="connsiteX752" fmla="*/ 977075 w 12248682"/>
              <a:gd name="connsiteY752" fmla="*/ 664088 h 823468"/>
              <a:gd name="connsiteX753" fmla="*/ 942427 w 12248682"/>
              <a:gd name="connsiteY753" fmla="*/ 629440 h 823468"/>
              <a:gd name="connsiteX754" fmla="*/ 977075 w 12248682"/>
              <a:gd name="connsiteY754" fmla="*/ 594792 h 823468"/>
              <a:gd name="connsiteX755" fmla="*/ 300283 w 12248682"/>
              <a:gd name="connsiteY755" fmla="*/ 594792 h 823468"/>
              <a:gd name="connsiteX756" fmla="*/ 334931 w 12248682"/>
              <a:gd name="connsiteY756" fmla="*/ 629440 h 823468"/>
              <a:gd name="connsiteX757" fmla="*/ 300283 w 12248682"/>
              <a:gd name="connsiteY757" fmla="*/ 664088 h 823468"/>
              <a:gd name="connsiteX758" fmla="*/ 265635 w 12248682"/>
              <a:gd name="connsiteY758" fmla="*/ 629440 h 823468"/>
              <a:gd name="connsiteX759" fmla="*/ 300283 w 12248682"/>
              <a:gd name="connsiteY759" fmla="*/ 594792 h 823468"/>
              <a:gd name="connsiteX760" fmla="*/ 11143410 w 12248682"/>
              <a:gd name="connsiteY760" fmla="*/ 589016 h 823468"/>
              <a:gd name="connsiteX761" fmla="*/ 11183832 w 12248682"/>
              <a:gd name="connsiteY761" fmla="*/ 629440 h 823468"/>
              <a:gd name="connsiteX762" fmla="*/ 11143410 w 12248682"/>
              <a:gd name="connsiteY762" fmla="*/ 669862 h 823468"/>
              <a:gd name="connsiteX763" fmla="*/ 11102987 w 12248682"/>
              <a:gd name="connsiteY763" fmla="*/ 629440 h 823468"/>
              <a:gd name="connsiteX764" fmla="*/ 11143410 w 12248682"/>
              <a:gd name="connsiteY764" fmla="*/ 589016 h 823468"/>
              <a:gd name="connsiteX765" fmla="*/ 10873155 w 12248682"/>
              <a:gd name="connsiteY765" fmla="*/ 589016 h 823468"/>
              <a:gd name="connsiteX766" fmla="*/ 10913577 w 12248682"/>
              <a:gd name="connsiteY766" fmla="*/ 629440 h 823468"/>
              <a:gd name="connsiteX767" fmla="*/ 10873155 w 12248682"/>
              <a:gd name="connsiteY767" fmla="*/ 669862 h 823468"/>
              <a:gd name="connsiteX768" fmla="*/ 10832732 w 12248682"/>
              <a:gd name="connsiteY768" fmla="*/ 629440 h 823468"/>
              <a:gd name="connsiteX769" fmla="*/ 10873155 w 12248682"/>
              <a:gd name="connsiteY769" fmla="*/ 589016 h 823468"/>
              <a:gd name="connsiteX770" fmla="*/ 10060082 w 12248682"/>
              <a:gd name="connsiteY770" fmla="*/ 589016 h 823468"/>
              <a:gd name="connsiteX771" fmla="*/ 10100504 w 12248682"/>
              <a:gd name="connsiteY771" fmla="*/ 629440 h 823468"/>
              <a:gd name="connsiteX772" fmla="*/ 10060082 w 12248682"/>
              <a:gd name="connsiteY772" fmla="*/ 669862 h 823468"/>
              <a:gd name="connsiteX773" fmla="*/ 10019658 w 12248682"/>
              <a:gd name="connsiteY773" fmla="*/ 629440 h 823468"/>
              <a:gd name="connsiteX774" fmla="*/ 10060082 w 12248682"/>
              <a:gd name="connsiteY774" fmla="*/ 589016 h 823468"/>
              <a:gd name="connsiteX775" fmla="*/ 9653545 w 12248682"/>
              <a:gd name="connsiteY775" fmla="*/ 589016 h 823468"/>
              <a:gd name="connsiteX776" fmla="*/ 9693967 w 12248682"/>
              <a:gd name="connsiteY776" fmla="*/ 629440 h 823468"/>
              <a:gd name="connsiteX777" fmla="*/ 9653545 w 12248682"/>
              <a:gd name="connsiteY777" fmla="*/ 669862 h 823468"/>
              <a:gd name="connsiteX778" fmla="*/ 9613122 w 12248682"/>
              <a:gd name="connsiteY778" fmla="*/ 629440 h 823468"/>
              <a:gd name="connsiteX779" fmla="*/ 9653545 w 12248682"/>
              <a:gd name="connsiteY779" fmla="*/ 589016 h 823468"/>
              <a:gd name="connsiteX780" fmla="*/ 8841022 w 12248682"/>
              <a:gd name="connsiteY780" fmla="*/ 589016 h 823468"/>
              <a:gd name="connsiteX781" fmla="*/ 8881444 w 12248682"/>
              <a:gd name="connsiteY781" fmla="*/ 629440 h 823468"/>
              <a:gd name="connsiteX782" fmla="*/ 8841022 w 12248682"/>
              <a:gd name="connsiteY782" fmla="*/ 669862 h 823468"/>
              <a:gd name="connsiteX783" fmla="*/ 8800599 w 12248682"/>
              <a:gd name="connsiteY783" fmla="*/ 629440 h 823468"/>
              <a:gd name="connsiteX784" fmla="*/ 8841022 w 12248682"/>
              <a:gd name="connsiteY784" fmla="*/ 589016 h 823468"/>
              <a:gd name="connsiteX785" fmla="*/ 8570767 w 12248682"/>
              <a:gd name="connsiteY785" fmla="*/ 589016 h 823468"/>
              <a:gd name="connsiteX786" fmla="*/ 8611190 w 12248682"/>
              <a:gd name="connsiteY786" fmla="*/ 629440 h 823468"/>
              <a:gd name="connsiteX787" fmla="*/ 8570767 w 12248682"/>
              <a:gd name="connsiteY787" fmla="*/ 669862 h 823468"/>
              <a:gd name="connsiteX788" fmla="*/ 8530344 w 12248682"/>
              <a:gd name="connsiteY788" fmla="*/ 629440 h 823468"/>
              <a:gd name="connsiteX789" fmla="*/ 8570767 w 12248682"/>
              <a:gd name="connsiteY789" fmla="*/ 589016 h 823468"/>
              <a:gd name="connsiteX790" fmla="*/ 6538083 w 12248682"/>
              <a:gd name="connsiteY790" fmla="*/ 589016 h 823468"/>
              <a:gd name="connsiteX791" fmla="*/ 6578507 w 12248682"/>
              <a:gd name="connsiteY791" fmla="*/ 629440 h 823468"/>
              <a:gd name="connsiteX792" fmla="*/ 6538083 w 12248682"/>
              <a:gd name="connsiteY792" fmla="*/ 669862 h 823468"/>
              <a:gd name="connsiteX793" fmla="*/ 6497661 w 12248682"/>
              <a:gd name="connsiteY793" fmla="*/ 629440 h 823468"/>
              <a:gd name="connsiteX794" fmla="*/ 6538083 w 12248682"/>
              <a:gd name="connsiteY794" fmla="*/ 589016 h 823468"/>
              <a:gd name="connsiteX795" fmla="*/ 6267830 w 12248682"/>
              <a:gd name="connsiteY795" fmla="*/ 589016 h 823468"/>
              <a:gd name="connsiteX796" fmla="*/ 6308251 w 12248682"/>
              <a:gd name="connsiteY796" fmla="*/ 629440 h 823468"/>
              <a:gd name="connsiteX797" fmla="*/ 6267830 w 12248682"/>
              <a:gd name="connsiteY797" fmla="*/ 669862 h 823468"/>
              <a:gd name="connsiteX798" fmla="*/ 6227406 w 12248682"/>
              <a:gd name="connsiteY798" fmla="*/ 629440 h 823468"/>
              <a:gd name="connsiteX799" fmla="*/ 6267830 w 12248682"/>
              <a:gd name="connsiteY799" fmla="*/ 589016 h 823468"/>
              <a:gd name="connsiteX800" fmla="*/ 5454756 w 12248682"/>
              <a:gd name="connsiteY800" fmla="*/ 589016 h 823468"/>
              <a:gd name="connsiteX801" fmla="*/ 5495178 w 12248682"/>
              <a:gd name="connsiteY801" fmla="*/ 629440 h 823468"/>
              <a:gd name="connsiteX802" fmla="*/ 5454756 w 12248682"/>
              <a:gd name="connsiteY802" fmla="*/ 669862 h 823468"/>
              <a:gd name="connsiteX803" fmla="*/ 5414332 w 12248682"/>
              <a:gd name="connsiteY803" fmla="*/ 629440 h 823468"/>
              <a:gd name="connsiteX804" fmla="*/ 5454756 w 12248682"/>
              <a:gd name="connsiteY804" fmla="*/ 589016 h 823468"/>
              <a:gd name="connsiteX805" fmla="*/ 5048218 w 12248682"/>
              <a:gd name="connsiteY805" fmla="*/ 589016 h 823468"/>
              <a:gd name="connsiteX806" fmla="*/ 5088641 w 12248682"/>
              <a:gd name="connsiteY806" fmla="*/ 629440 h 823468"/>
              <a:gd name="connsiteX807" fmla="*/ 5048218 w 12248682"/>
              <a:gd name="connsiteY807" fmla="*/ 669862 h 823468"/>
              <a:gd name="connsiteX808" fmla="*/ 5007796 w 12248682"/>
              <a:gd name="connsiteY808" fmla="*/ 629440 h 823468"/>
              <a:gd name="connsiteX809" fmla="*/ 5048218 w 12248682"/>
              <a:gd name="connsiteY809" fmla="*/ 589016 h 823468"/>
              <a:gd name="connsiteX810" fmla="*/ 4228216 w 12248682"/>
              <a:gd name="connsiteY810" fmla="*/ 589016 h 823468"/>
              <a:gd name="connsiteX811" fmla="*/ 4268637 w 12248682"/>
              <a:gd name="connsiteY811" fmla="*/ 629440 h 823468"/>
              <a:gd name="connsiteX812" fmla="*/ 4228216 w 12248682"/>
              <a:gd name="connsiteY812" fmla="*/ 669862 h 823468"/>
              <a:gd name="connsiteX813" fmla="*/ 4187792 w 12248682"/>
              <a:gd name="connsiteY813" fmla="*/ 629440 h 823468"/>
              <a:gd name="connsiteX814" fmla="*/ 4228216 w 12248682"/>
              <a:gd name="connsiteY814" fmla="*/ 589016 h 823468"/>
              <a:gd name="connsiteX815" fmla="*/ 3957960 w 12248682"/>
              <a:gd name="connsiteY815" fmla="*/ 589016 h 823468"/>
              <a:gd name="connsiteX816" fmla="*/ 3998382 w 12248682"/>
              <a:gd name="connsiteY816" fmla="*/ 629440 h 823468"/>
              <a:gd name="connsiteX817" fmla="*/ 3957960 w 12248682"/>
              <a:gd name="connsiteY817" fmla="*/ 669862 h 823468"/>
              <a:gd name="connsiteX818" fmla="*/ 3917537 w 12248682"/>
              <a:gd name="connsiteY818" fmla="*/ 629440 h 823468"/>
              <a:gd name="connsiteX819" fmla="*/ 3957960 w 12248682"/>
              <a:gd name="connsiteY819" fmla="*/ 589016 h 823468"/>
              <a:gd name="connsiteX820" fmla="*/ 1925276 w 12248682"/>
              <a:gd name="connsiteY820" fmla="*/ 589016 h 823468"/>
              <a:gd name="connsiteX821" fmla="*/ 1965698 w 12248682"/>
              <a:gd name="connsiteY821" fmla="*/ 629440 h 823468"/>
              <a:gd name="connsiteX822" fmla="*/ 1925276 w 12248682"/>
              <a:gd name="connsiteY822" fmla="*/ 669862 h 823468"/>
              <a:gd name="connsiteX823" fmla="*/ 1884853 w 12248682"/>
              <a:gd name="connsiteY823" fmla="*/ 629440 h 823468"/>
              <a:gd name="connsiteX824" fmla="*/ 1925276 w 12248682"/>
              <a:gd name="connsiteY824" fmla="*/ 589016 h 823468"/>
              <a:gd name="connsiteX825" fmla="*/ 1655022 w 12248682"/>
              <a:gd name="connsiteY825" fmla="*/ 589016 h 823468"/>
              <a:gd name="connsiteX826" fmla="*/ 1695444 w 12248682"/>
              <a:gd name="connsiteY826" fmla="*/ 629440 h 823468"/>
              <a:gd name="connsiteX827" fmla="*/ 1655022 w 12248682"/>
              <a:gd name="connsiteY827" fmla="*/ 669862 h 823468"/>
              <a:gd name="connsiteX828" fmla="*/ 1614598 w 12248682"/>
              <a:gd name="connsiteY828" fmla="*/ 629440 h 823468"/>
              <a:gd name="connsiteX829" fmla="*/ 1655022 w 12248682"/>
              <a:gd name="connsiteY829" fmla="*/ 589016 h 823468"/>
              <a:gd name="connsiteX830" fmla="*/ 841948 w 12248682"/>
              <a:gd name="connsiteY830" fmla="*/ 589016 h 823468"/>
              <a:gd name="connsiteX831" fmla="*/ 882370 w 12248682"/>
              <a:gd name="connsiteY831" fmla="*/ 629440 h 823468"/>
              <a:gd name="connsiteX832" fmla="*/ 841948 w 12248682"/>
              <a:gd name="connsiteY832" fmla="*/ 669862 h 823468"/>
              <a:gd name="connsiteX833" fmla="*/ 801525 w 12248682"/>
              <a:gd name="connsiteY833" fmla="*/ 629440 h 823468"/>
              <a:gd name="connsiteX834" fmla="*/ 841948 w 12248682"/>
              <a:gd name="connsiteY834" fmla="*/ 589016 h 823468"/>
              <a:gd name="connsiteX835" fmla="*/ 435411 w 12248682"/>
              <a:gd name="connsiteY835" fmla="*/ 589016 h 823468"/>
              <a:gd name="connsiteX836" fmla="*/ 475833 w 12248682"/>
              <a:gd name="connsiteY836" fmla="*/ 629440 h 823468"/>
              <a:gd name="connsiteX837" fmla="*/ 435411 w 12248682"/>
              <a:gd name="connsiteY837" fmla="*/ 669862 h 823468"/>
              <a:gd name="connsiteX838" fmla="*/ 394988 w 12248682"/>
              <a:gd name="connsiteY838" fmla="*/ 629440 h 823468"/>
              <a:gd name="connsiteX839" fmla="*/ 435411 w 12248682"/>
              <a:gd name="connsiteY839" fmla="*/ 589016 h 823468"/>
              <a:gd name="connsiteX840" fmla="*/ 11008282 w 12248682"/>
              <a:gd name="connsiteY840" fmla="*/ 577467 h 823468"/>
              <a:gd name="connsiteX841" fmla="*/ 11059099 w 12248682"/>
              <a:gd name="connsiteY841" fmla="*/ 628284 h 823468"/>
              <a:gd name="connsiteX842" fmla="*/ 11008282 w 12248682"/>
              <a:gd name="connsiteY842" fmla="*/ 679101 h 823468"/>
              <a:gd name="connsiteX843" fmla="*/ 10957465 w 12248682"/>
              <a:gd name="connsiteY843" fmla="*/ 628284 h 823468"/>
              <a:gd name="connsiteX844" fmla="*/ 11008282 w 12248682"/>
              <a:gd name="connsiteY844" fmla="*/ 577467 h 823468"/>
              <a:gd name="connsiteX845" fmla="*/ 9924954 w 12248682"/>
              <a:gd name="connsiteY845" fmla="*/ 577467 h 823468"/>
              <a:gd name="connsiteX846" fmla="*/ 9975771 w 12248682"/>
              <a:gd name="connsiteY846" fmla="*/ 628284 h 823468"/>
              <a:gd name="connsiteX847" fmla="*/ 9924954 w 12248682"/>
              <a:gd name="connsiteY847" fmla="*/ 679101 h 823468"/>
              <a:gd name="connsiteX848" fmla="*/ 9874137 w 12248682"/>
              <a:gd name="connsiteY848" fmla="*/ 628284 h 823468"/>
              <a:gd name="connsiteX849" fmla="*/ 9924954 w 12248682"/>
              <a:gd name="connsiteY849" fmla="*/ 577467 h 823468"/>
              <a:gd name="connsiteX850" fmla="*/ 9788672 w 12248682"/>
              <a:gd name="connsiteY850" fmla="*/ 577467 h 823468"/>
              <a:gd name="connsiteX851" fmla="*/ 9839489 w 12248682"/>
              <a:gd name="connsiteY851" fmla="*/ 629440 h 823468"/>
              <a:gd name="connsiteX852" fmla="*/ 9788672 w 12248682"/>
              <a:gd name="connsiteY852" fmla="*/ 680257 h 823468"/>
              <a:gd name="connsiteX853" fmla="*/ 9737854 w 12248682"/>
              <a:gd name="connsiteY853" fmla="*/ 629440 h 823468"/>
              <a:gd name="connsiteX854" fmla="*/ 9788672 w 12248682"/>
              <a:gd name="connsiteY854" fmla="*/ 577467 h 823468"/>
              <a:gd name="connsiteX855" fmla="*/ 8705894 w 12248682"/>
              <a:gd name="connsiteY855" fmla="*/ 577467 h 823468"/>
              <a:gd name="connsiteX856" fmla="*/ 8756711 w 12248682"/>
              <a:gd name="connsiteY856" fmla="*/ 628284 h 823468"/>
              <a:gd name="connsiteX857" fmla="*/ 8705894 w 12248682"/>
              <a:gd name="connsiteY857" fmla="*/ 679101 h 823468"/>
              <a:gd name="connsiteX858" fmla="*/ 8655077 w 12248682"/>
              <a:gd name="connsiteY858" fmla="*/ 628284 h 823468"/>
              <a:gd name="connsiteX859" fmla="*/ 8705894 w 12248682"/>
              <a:gd name="connsiteY859" fmla="*/ 577467 h 823468"/>
              <a:gd name="connsiteX860" fmla="*/ 6402956 w 12248682"/>
              <a:gd name="connsiteY860" fmla="*/ 577467 h 823468"/>
              <a:gd name="connsiteX861" fmla="*/ 6453773 w 12248682"/>
              <a:gd name="connsiteY861" fmla="*/ 628284 h 823468"/>
              <a:gd name="connsiteX862" fmla="*/ 6402956 w 12248682"/>
              <a:gd name="connsiteY862" fmla="*/ 679101 h 823468"/>
              <a:gd name="connsiteX863" fmla="*/ 6352139 w 12248682"/>
              <a:gd name="connsiteY863" fmla="*/ 628284 h 823468"/>
              <a:gd name="connsiteX864" fmla="*/ 6402956 w 12248682"/>
              <a:gd name="connsiteY864" fmla="*/ 577467 h 823468"/>
              <a:gd name="connsiteX865" fmla="*/ 5319627 w 12248682"/>
              <a:gd name="connsiteY865" fmla="*/ 577467 h 823468"/>
              <a:gd name="connsiteX866" fmla="*/ 5370444 w 12248682"/>
              <a:gd name="connsiteY866" fmla="*/ 628284 h 823468"/>
              <a:gd name="connsiteX867" fmla="*/ 5319627 w 12248682"/>
              <a:gd name="connsiteY867" fmla="*/ 679101 h 823468"/>
              <a:gd name="connsiteX868" fmla="*/ 5268810 w 12248682"/>
              <a:gd name="connsiteY868" fmla="*/ 628284 h 823468"/>
              <a:gd name="connsiteX869" fmla="*/ 5319627 w 12248682"/>
              <a:gd name="connsiteY869" fmla="*/ 577467 h 823468"/>
              <a:gd name="connsiteX870" fmla="*/ 5183345 w 12248682"/>
              <a:gd name="connsiteY870" fmla="*/ 577467 h 823468"/>
              <a:gd name="connsiteX871" fmla="*/ 5234162 w 12248682"/>
              <a:gd name="connsiteY871" fmla="*/ 628284 h 823468"/>
              <a:gd name="connsiteX872" fmla="*/ 5183345 w 12248682"/>
              <a:gd name="connsiteY872" fmla="*/ 679101 h 823468"/>
              <a:gd name="connsiteX873" fmla="*/ 5132528 w 12248682"/>
              <a:gd name="connsiteY873" fmla="*/ 628284 h 823468"/>
              <a:gd name="connsiteX874" fmla="*/ 5183345 w 12248682"/>
              <a:gd name="connsiteY874" fmla="*/ 577467 h 823468"/>
              <a:gd name="connsiteX875" fmla="*/ 4093087 w 12248682"/>
              <a:gd name="connsiteY875" fmla="*/ 577467 h 823468"/>
              <a:gd name="connsiteX876" fmla="*/ 4143904 w 12248682"/>
              <a:gd name="connsiteY876" fmla="*/ 628284 h 823468"/>
              <a:gd name="connsiteX877" fmla="*/ 4093087 w 12248682"/>
              <a:gd name="connsiteY877" fmla="*/ 679101 h 823468"/>
              <a:gd name="connsiteX878" fmla="*/ 4042270 w 12248682"/>
              <a:gd name="connsiteY878" fmla="*/ 628284 h 823468"/>
              <a:gd name="connsiteX879" fmla="*/ 4093087 w 12248682"/>
              <a:gd name="connsiteY879" fmla="*/ 577467 h 823468"/>
              <a:gd name="connsiteX880" fmla="*/ 1790148 w 12248682"/>
              <a:gd name="connsiteY880" fmla="*/ 577467 h 823468"/>
              <a:gd name="connsiteX881" fmla="*/ 1840965 w 12248682"/>
              <a:gd name="connsiteY881" fmla="*/ 628284 h 823468"/>
              <a:gd name="connsiteX882" fmla="*/ 1790148 w 12248682"/>
              <a:gd name="connsiteY882" fmla="*/ 679101 h 823468"/>
              <a:gd name="connsiteX883" fmla="*/ 1739331 w 12248682"/>
              <a:gd name="connsiteY883" fmla="*/ 628284 h 823468"/>
              <a:gd name="connsiteX884" fmla="*/ 1790148 w 12248682"/>
              <a:gd name="connsiteY884" fmla="*/ 577467 h 823468"/>
              <a:gd name="connsiteX885" fmla="*/ 706820 w 12248682"/>
              <a:gd name="connsiteY885" fmla="*/ 577467 h 823468"/>
              <a:gd name="connsiteX886" fmla="*/ 757637 w 12248682"/>
              <a:gd name="connsiteY886" fmla="*/ 628284 h 823468"/>
              <a:gd name="connsiteX887" fmla="*/ 706820 w 12248682"/>
              <a:gd name="connsiteY887" fmla="*/ 679101 h 823468"/>
              <a:gd name="connsiteX888" fmla="*/ 656003 w 12248682"/>
              <a:gd name="connsiteY888" fmla="*/ 628284 h 823468"/>
              <a:gd name="connsiteX889" fmla="*/ 706820 w 12248682"/>
              <a:gd name="connsiteY889" fmla="*/ 577467 h 823468"/>
              <a:gd name="connsiteX890" fmla="*/ 570538 w 12248682"/>
              <a:gd name="connsiteY890" fmla="*/ 577467 h 823468"/>
              <a:gd name="connsiteX891" fmla="*/ 621355 w 12248682"/>
              <a:gd name="connsiteY891" fmla="*/ 629440 h 823468"/>
              <a:gd name="connsiteX892" fmla="*/ 570538 w 12248682"/>
              <a:gd name="connsiteY892" fmla="*/ 680257 h 823468"/>
              <a:gd name="connsiteX893" fmla="*/ 519721 w 12248682"/>
              <a:gd name="connsiteY893" fmla="*/ 629440 h 823468"/>
              <a:gd name="connsiteX894" fmla="*/ 570538 w 12248682"/>
              <a:gd name="connsiteY894" fmla="*/ 577467 h 823468"/>
              <a:gd name="connsiteX895" fmla="*/ 12180541 w 12248682"/>
              <a:gd name="connsiteY895" fmla="*/ 464284 h 823468"/>
              <a:gd name="connsiteX896" fmla="*/ 12201330 w 12248682"/>
              <a:gd name="connsiteY896" fmla="*/ 485072 h 823468"/>
              <a:gd name="connsiteX897" fmla="*/ 12180541 w 12248682"/>
              <a:gd name="connsiteY897" fmla="*/ 505861 h 823468"/>
              <a:gd name="connsiteX898" fmla="*/ 12159752 w 12248682"/>
              <a:gd name="connsiteY898" fmla="*/ 485072 h 823468"/>
              <a:gd name="connsiteX899" fmla="*/ 12180541 w 12248682"/>
              <a:gd name="connsiteY899" fmla="*/ 464284 h 823468"/>
              <a:gd name="connsiteX900" fmla="*/ 12040793 w 12248682"/>
              <a:gd name="connsiteY900" fmla="*/ 464284 h 823468"/>
              <a:gd name="connsiteX901" fmla="*/ 12061582 w 12248682"/>
              <a:gd name="connsiteY901" fmla="*/ 485072 h 823468"/>
              <a:gd name="connsiteX902" fmla="*/ 12040793 w 12248682"/>
              <a:gd name="connsiteY902" fmla="*/ 505861 h 823468"/>
              <a:gd name="connsiteX903" fmla="*/ 12020004 w 12248682"/>
              <a:gd name="connsiteY903" fmla="*/ 485072 h 823468"/>
              <a:gd name="connsiteX904" fmla="*/ 12040793 w 12248682"/>
              <a:gd name="connsiteY904" fmla="*/ 464284 h 823468"/>
              <a:gd name="connsiteX905" fmla="*/ 11901047 w 12248682"/>
              <a:gd name="connsiteY905" fmla="*/ 464284 h 823468"/>
              <a:gd name="connsiteX906" fmla="*/ 11921836 w 12248682"/>
              <a:gd name="connsiteY906" fmla="*/ 485072 h 823468"/>
              <a:gd name="connsiteX907" fmla="*/ 11901047 w 12248682"/>
              <a:gd name="connsiteY907" fmla="*/ 505861 h 823468"/>
              <a:gd name="connsiteX908" fmla="*/ 11880258 w 12248682"/>
              <a:gd name="connsiteY908" fmla="*/ 485072 h 823468"/>
              <a:gd name="connsiteX909" fmla="*/ 11901047 w 12248682"/>
              <a:gd name="connsiteY909" fmla="*/ 464284 h 823468"/>
              <a:gd name="connsiteX910" fmla="*/ 11761299 w 12248682"/>
              <a:gd name="connsiteY910" fmla="*/ 464284 h 823468"/>
              <a:gd name="connsiteX911" fmla="*/ 11782088 w 12248682"/>
              <a:gd name="connsiteY911" fmla="*/ 485072 h 823468"/>
              <a:gd name="connsiteX912" fmla="*/ 11761299 w 12248682"/>
              <a:gd name="connsiteY912" fmla="*/ 505861 h 823468"/>
              <a:gd name="connsiteX913" fmla="*/ 11740510 w 12248682"/>
              <a:gd name="connsiteY913" fmla="*/ 485072 h 823468"/>
              <a:gd name="connsiteX914" fmla="*/ 11761299 w 12248682"/>
              <a:gd name="connsiteY914" fmla="*/ 464284 h 823468"/>
              <a:gd name="connsiteX915" fmla="*/ 11621553 w 12248682"/>
              <a:gd name="connsiteY915" fmla="*/ 464284 h 823468"/>
              <a:gd name="connsiteX916" fmla="*/ 11642342 w 12248682"/>
              <a:gd name="connsiteY916" fmla="*/ 485072 h 823468"/>
              <a:gd name="connsiteX917" fmla="*/ 11621553 w 12248682"/>
              <a:gd name="connsiteY917" fmla="*/ 505861 h 823468"/>
              <a:gd name="connsiteX918" fmla="*/ 11600764 w 12248682"/>
              <a:gd name="connsiteY918" fmla="*/ 485072 h 823468"/>
              <a:gd name="connsiteX919" fmla="*/ 11621553 w 12248682"/>
              <a:gd name="connsiteY919" fmla="*/ 464284 h 823468"/>
              <a:gd name="connsiteX920" fmla="*/ 11481805 w 12248682"/>
              <a:gd name="connsiteY920" fmla="*/ 464284 h 823468"/>
              <a:gd name="connsiteX921" fmla="*/ 11502594 w 12248682"/>
              <a:gd name="connsiteY921" fmla="*/ 485072 h 823468"/>
              <a:gd name="connsiteX922" fmla="*/ 11481805 w 12248682"/>
              <a:gd name="connsiteY922" fmla="*/ 505861 h 823468"/>
              <a:gd name="connsiteX923" fmla="*/ 11461016 w 12248682"/>
              <a:gd name="connsiteY923" fmla="*/ 485072 h 823468"/>
              <a:gd name="connsiteX924" fmla="*/ 11481805 w 12248682"/>
              <a:gd name="connsiteY924" fmla="*/ 464284 h 823468"/>
              <a:gd name="connsiteX925" fmla="*/ 10644478 w 12248682"/>
              <a:gd name="connsiteY925" fmla="*/ 464284 h 823468"/>
              <a:gd name="connsiteX926" fmla="*/ 10665267 w 12248682"/>
              <a:gd name="connsiteY926" fmla="*/ 485072 h 823468"/>
              <a:gd name="connsiteX927" fmla="*/ 10644478 w 12248682"/>
              <a:gd name="connsiteY927" fmla="*/ 505861 h 823468"/>
              <a:gd name="connsiteX928" fmla="*/ 10623690 w 12248682"/>
              <a:gd name="connsiteY928" fmla="*/ 485072 h 823468"/>
              <a:gd name="connsiteX929" fmla="*/ 10644478 w 12248682"/>
              <a:gd name="connsiteY929" fmla="*/ 464284 h 823468"/>
              <a:gd name="connsiteX930" fmla="*/ 10504731 w 12248682"/>
              <a:gd name="connsiteY930" fmla="*/ 464284 h 823468"/>
              <a:gd name="connsiteX931" fmla="*/ 10525520 w 12248682"/>
              <a:gd name="connsiteY931" fmla="*/ 485072 h 823468"/>
              <a:gd name="connsiteX932" fmla="*/ 10504731 w 12248682"/>
              <a:gd name="connsiteY932" fmla="*/ 505861 h 823468"/>
              <a:gd name="connsiteX933" fmla="*/ 10483942 w 12248682"/>
              <a:gd name="connsiteY933" fmla="*/ 485072 h 823468"/>
              <a:gd name="connsiteX934" fmla="*/ 10504731 w 12248682"/>
              <a:gd name="connsiteY934" fmla="*/ 464284 h 823468"/>
              <a:gd name="connsiteX935" fmla="*/ 10364984 w 12248682"/>
              <a:gd name="connsiteY935" fmla="*/ 464284 h 823468"/>
              <a:gd name="connsiteX936" fmla="*/ 10385773 w 12248682"/>
              <a:gd name="connsiteY936" fmla="*/ 485072 h 823468"/>
              <a:gd name="connsiteX937" fmla="*/ 10364984 w 12248682"/>
              <a:gd name="connsiteY937" fmla="*/ 505861 h 823468"/>
              <a:gd name="connsiteX938" fmla="*/ 10344196 w 12248682"/>
              <a:gd name="connsiteY938" fmla="*/ 485072 h 823468"/>
              <a:gd name="connsiteX939" fmla="*/ 10364984 w 12248682"/>
              <a:gd name="connsiteY939" fmla="*/ 464284 h 823468"/>
              <a:gd name="connsiteX940" fmla="*/ 7854709 w 12248682"/>
              <a:gd name="connsiteY940" fmla="*/ 464284 h 823468"/>
              <a:gd name="connsiteX941" fmla="*/ 7875498 w 12248682"/>
              <a:gd name="connsiteY941" fmla="*/ 485072 h 823468"/>
              <a:gd name="connsiteX942" fmla="*/ 7854709 w 12248682"/>
              <a:gd name="connsiteY942" fmla="*/ 505861 h 823468"/>
              <a:gd name="connsiteX943" fmla="*/ 7833921 w 12248682"/>
              <a:gd name="connsiteY943" fmla="*/ 485072 h 823468"/>
              <a:gd name="connsiteX944" fmla="*/ 7854709 w 12248682"/>
              <a:gd name="connsiteY944" fmla="*/ 464284 h 823468"/>
              <a:gd name="connsiteX945" fmla="*/ 7714960 w 12248682"/>
              <a:gd name="connsiteY945" fmla="*/ 464284 h 823468"/>
              <a:gd name="connsiteX946" fmla="*/ 7735749 w 12248682"/>
              <a:gd name="connsiteY946" fmla="*/ 485072 h 823468"/>
              <a:gd name="connsiteX947" fmla="*/ 7714960 w 12248682"/>
              <a:gd name="connsiteY947" fmla="*/ 505861 h 823468"/>
              <a:gd name="connsiteX948" fmla="*/ 7694172 w 12248682"/>
              <a:gd name="connsiteY948" fmla="*/ 485072 h 823468"/>
              <a:gd name="connsiteX949" fmla="*/ 7714960 w 12248682"/>
              <a:gd name="connsiteY949" fmla="*/ 464284 h 823468"/>
              <a:gd name="connsiteX950" fmla="*/ 7575214 w 12248682"/>
              <a:gd name="connsiteY950" fmla="*/ 464284 h 823468"/>
              <a:gd name="connsiteX951" fmla="*/ 7596004 w 12248682"/>
              <a:gd name="connsiteY951" fmla="*/ 485072 h 823468"/>
              <a:gd name="connsiteX952" fmla="*/ 7575214 w 12248682"/>
              <a:gd name="connsiteY952" fmla="*/ 505861 h 823468"/>
              <a:gd name="connsiteX953" fmla="*/ 7554427 w 12248682"/>
              <a:gd name="connsiteY953" fmla="*/ 485072 h 823468"/>
              <a:gd name="connsiteX954" fmla="*/ 7575214 w 12248682"/>
              <a:gd name="connsiteY954" fmla="*/ 464284 h 823468"/>
              <a:gd name="connsiteX955" fmla="*/ 7435467 w 12248682"/>
              <a:gd name="connsiteY955" fmla="*/ 464284 h 823468"/>
              <a:gd name="connsiteX956" fmla="*/ 7456257 w 12248682"/>
              <a:gd name="connsiteY956" fmla="*/ 485072 h 823468"/>
              <a:gd name="connsiteX957" fmla="*/ 7435467 w 12248682"/>
              <a:gd name="connsiteY957" fmla="*/ 505861 h 823468"/>
              <a:gd name="connsiteX958" fmla="*/ 7414678 w 12248682"/>
              <a:gd name="connsiteY958" fmla="*/ 485072 h 823468"/>
              <a:gd name="connsiteX959" fmla="*/ 7435467 w 12248682"/>
              <a:gd name="connsiteY959" fmla="*/ 464284 h 823468"/>
              <a:gd name="connsiteX960" fmla="*/ 7295720 w 12248682"/>
              <a:gd name="connsiteY960" fmla="*/ 464284 h 823468"/>
              <a:gd name="connsiteX961" fmla="*/ 7316509 w 12248682"/>
              <a:gd name="connsiteY961" fmla="*/ 485072 h 823468"/>
              <a:gd name="connsiteX962" fmla="*/ 7295720 w 12248682"/>
              <a:gd name="connsiteY962" fmla="*/ 505861 h 823468"/>
              <a:gd name="connsiteX963" fmla="*/ 7274932 w 12248682"/>
              <a:gd name="connsiteY963" fmla="*/ 485072 h 823468"/>
              <a:gd name="connsiteX964" fmla="*/ 7295720 w 12248682"/>
              <a:gd name="connsiteY964" fmla="*/ 464284 h 823468"/>
              <a:gd name="connsiteX965" fmla="*/ 7155974 w 12248682"/>
              <a:gd name="connsiteY965" fmla="*/ 464284 h 823468"/>
              <a:gd name="connsiteX966" fmla="*/ 7176762 w 12248682"/>
              <a:gd name="connsiteY966" fmla="*/ 485072 h 823468"/>
              <a:gd name="connsiteX967" fmla="*/ 7155974 w 12248682"/>
              <a:gd name="connsiteY967" fmla="*/ 505861 h 823468"/>
              <a:gd name="connsiteX968" fmla="*/ 7135183 w 12248682"/>
              <a:gd name="connsiteY968" fmla="*/ 485072 h 823468"/>
              <a:gd name="connsiteX969" fmla="*/ 7155974 w 12248682"/>
              <a:gd name="connsiteY969" fmla="*/ 464284 h 823468"/>
              <a:gd name="connsiteX970" fmla="*/ 7016227 w 12248682"/>
              <a:gd name="connsiteY970" fmla="*/ 464284 h 823468"/>
              <a:gd name="connsiteX971" fmla="*/ 7037016 w 12248682"/>
              <a:gd name="connsiteY971" fmla="*/ 485072 h 823468"/>
              <a:gd name="connsiteX972" fmla="*/ 7016227 w 12248682"/>
              <a:gd name="connsiteY972" fmla="*/ 505861 h 823468"/>
              <a:gd name="connsiteX973" fmla="*/ 6995438 w 12248682"/>
              <a:gd name="connsiteY973" fmla="*/ 485072 h 823468"/>
              <a:gd name="connsiteX974" fmla="*/ 7016227 w 12248682"/>
              <a:gd name="connsiteY974" fmla="*/ 464284 h 823468"/>
              <a:gd name="connsiteX975" fmla="*/ 6877634 w 12248682"/>
              <a:gd name="connsiteY975" fmla="*/ 464284 h 823468"/>
              <a:gd name="connsiteX976" fmla="*/ 6898424 w 12248682"/>
              <a:gd name="connsiteY976" fmla="*/ 485072 h 823468"/>
              <a:gd name="connsiteX977" fmla="*/ 6877634 w 12248682"/>
              <a:gd name="connsiteY977" fmla="*/ 505861 h 823468"/>
              <a:gd name="connsiteX978" fmla="*/ 6856845 w 12248682"/>
              <a:gd name="connsiteY978" fmla="*/ 485072 h 823468"/>
              <a:gd name="connsiteX979" fmla="*/ 6877634 w 12248682"/>
              <a:gd name="connsiteY979" fmla="*/ 464284 h 823468"/>
              <a:gd name="connsiteX980" fmla="*/ 6039151 w 12248682"/>
              <a:gd name="connsiteY980" fmla="*/ 464284 h 823468"/>
              <a:gd name="connsiteX981" fmla="*/ 6059942 w 12248682"/>
              <a:gd name="connsiteY981" fmla="*/ 485072 h 823468"/>
              <a:gd name="connsiteX982" fmla="*/ 6039151 w 12248682"/>
              <a:gd name="connsiteY982" fmla="*/ 505861 h 823468"/>
              <a:gd name="connsiteX983" fmla="*/ 6018363 w 12248682"/>
              <a:gd name="connsiteY983" fmla="*/ 485072 h 823468"/>
              <a:gd name="connsiteX984" fmla="*/ 6039151 w 12248682"/>
              <a:gd name="connsiteY984" fmla="*/ 464284 h 823468"/>
              <a:gd name="connsiteX985" fmla="*/ 5899405 w 12248682"/>
              <a:gd name="connsiteY985" fmla="*/ 464284 h 823468"/>
              <a:gd name="connsiteX986" fmla="*/ 5920193 w 12248682"/>
              <a:gd name="connsiteY986" fmla="*/ 485072 h 823468"/>
              <a:gd name="connsiteX987" fmla="*/ 5899405 w 12248682"/>
              <a:gd name="connsiteY987" fmla="*/ 505861 h 823468"/>
              <a:gd name="connsiteX988" fmla="*/ 5878616 w 12248682"/>
              <a:gd name="connsiteY988" fmla="*/ 485072 h 823468"/>
              <a:gd name="connsiteX989" fmla="*/ 5899405 w 12248682"/>
              <a:gd name="connsiteY989" fmla="*/ 464284 h 823468"/>
              <a:gd name="connsiteX990" fmla="*/ 5759658 w 12248682"/>
              <a:gd name="connsiteY990" fmla="*/ 464284 h 823468"/>
              <a:gd name="connsiteX991" fmla="*/ 5780447 w 12248682"/>
              <a:gd name="connsiteY991" fmla="*/ 485072 h 823468"/>
              <a:gd name="connsiteX992" fmla="*/ 5759658 w 12248682"/>
              <a:gd name="connsiteY992" fmla="*/ 505861 h 823468"/>
              <a:gd name="connsiteX993" fmla="*/ 5738869 w 12248682"/>
              <a:gd name="connsiteY993" fmla="*/ 485072 h 823468"/>
              <a:gd name="connsiteX994" fmla="*/ 5759658 w 12248682"/>
              <a:gd name="connsiteY994" fmla="*/ 464284 h 823468"/>
              <a:gd name="connsiteX995" fmla="*/ 3241901 w 12248682"/>
              <a:gd name="connsiteY995" fmla="*/ 464284 h 823468"/>
              <a:gd name="connsiteX996" fmla="*/ 3262690 w 12248682"/>
              <a:gd name="connsiteY996" fmla="*/ 485072 h 823468"/>
              <a:gd name="connsiteX997" fmla="*/ 3241901 w 12248682"/>
              <a:gd name="connsiteY997" fmla="*/ 505861 h 823468"/>
              <a:gd name="connsiteX998" fmla="*/ 3221112 w 12248682"/>
              <a:gd name="connsiteY998" fmla="*/ 485072 h 823468"/>
              <a:gd name="connsiteX999" fmla="*/ 3241901 w 12248682"/>
              <a:gd name="connsiteY999" fmla="*/ 464284 h 823468"/>
              <a:gd name="connsiteX1000" fmla="*/ 3102153 w 12248682"/>
              <a:gd name="connsiteY1000" fmla="*/ 464284 h 823468"/>
              <a:gd name="connsiteX1001" fmla="*/ 3122942 w 12248682"/>
              <a:gd name="connsiteY1001" fmla="*/ 485072 h 823468"/>
              <a:gd name="connsiteX1002" fmla="*/ 3102153 w 12248682"/>
              <a:gd name="connsiteY1002" fmla="*/ 505861 h 823468"/>
              <a:gd name="connsiteX1003" fmla="*/ 3081365 w 12248682"/>
              <a:gd name="connsiteY1003" fmla="*/ 485072 h 823468"/>
              <a:gd name="connsiteX1004" fmla="*/ 3102153 w 12248682"/>
              <a:gd name="connsiteY1004" fmla="*/ 464284 h 823468"/>
              <a:gd name="connsiteX1005" fmla="*/ 2962407 w 12248682"/>
              <a:gd name="connsiteY1005" fmla="*/ 464284 h 823468"/>
              <a:gd name="connsiteX1006" fmla="*/ 2983196 w 12248682"/>
              <a:gd name="connsiteY1006" fmla="*/ 485072 h 823468"/>
              <a:gd name="connsiteX1007" fmla="*/ 2962407 w 12248682"/>
              <a:gd name="connsiteY1007" fmla="*/ 505861 h 823468"/>
              <a:gd name="connsiteX1008" fmla="*/ 2941618 w 12248682"/>
              <a:gd name="connsiteY1008" fmla="*/ 485072 h 823468"/>
              <a:gd name="connsiteX1009" fmla="*/ 2962407 w 12248682"/>
              <a:gd name="connsiteY1009" fmla="*/ 464284 h 823468"/>
              <a:gd name="connsiteX1010" fmla="*/ 2822659 w 12248682"/>
              <a:gd name="connsiteY1010" fmla="*/ 464284 h 823468"/>
              <a:gd name="connsiteX1011" fmla="*/ 2843448 w 12248682"/>
              <a:gd name="connsiteY1011" fmla="*/ 485072 h 823468"/>
              <a:gd name="connsiteX1012" fmla="*/ 2822659 w 12248682"/>
              <a:gd name="connsiteY1012" fmla="*/ 505861 h 823468"/>
              <a:gd name="connsiteX1013" fmla="*/ 2801871 w 12248682"/>
              <a:gd name="connsiteY1013" fmla="*/ 485072 h 823468"/>
              <a:gd name="connsiteX1014" fmla="*/ 2822659 w 12248682"/>
              <a:gd name="connsiteY1014" fmla="*/ 464284 h 823468"/>
              <a:gd name="connsiteX1015" fmla="*/ 2682913 w 12248682"/>
              <a:gd name="connsiteY1015" fmla="*/ 464284 h 823468"/>
              <a:gd name="connsiteX1016" fmla="*/ 2703702 w 12248682"/>
              <a:gd name="connsiteY1016" fmla="*/ 485072 h 823468"/>
              <a:gd name="connsiteX1017" fmla="*/ 2682913 w 12248682"/>
              <a:gd name="connsiteY1017" fmla="*/ 505861 h 823468"/>
              <a:gd name="connsiteX1018" fmla="*/ 2662124 w 12248682"/>
              <a:gd name="connsiteY1018" fmla="*/ 485072 h 823468"/>
              <a:gd name="connsiteX1019" fmla="*/ 2682913 w 12248682"/>
              <a:gd name="connsiteY1019" fmla="*/ 464284 h 823468"/>
              <a:gd name="connsiteX1020" fmla="*/ 2543167 w 12248682"/>
              <a:gd name="connsiteY1020" fmla="*/ 464284 h 823468"/>
              <a:gd name="connsiteX1021" fmla="*/ 2563954 w 12248682"/>
              <a:gd name="connsiteY1021" fmla="*/ 485072 h 823468"/>
              <a:gd name="connsiteX1022" fmla="*/ 2543167 w 12248682"/>
              <a:gd name="connsiteY1022" fmla="*/ 505861 h 823468"/>
              <a:gd name="connsiteX1023" fmla="*/ 2522376 w 12248682"/>
              <a:gd name="connsiteY1023" fmla="*/ 485072 h 823468"/>
              <a:gd name="connsiteX1024" fmla="*/ 2543167 w 12248682"/>
              <a:gd name="connsiteY1024" fmla="*/ 464284 h 823468"/>
              <a:gd name="connsiteX1025" fmla="*/ 2403419 w 12248682"/>
              <a:gd name="connsiteY1025" fmla="*/ 464284 h 823468"/>
              <a:gd name="connsiteX1026" fmla="*/ 2424209 w 12248682"/>
              <a:gd name="connsiteY1026" fmla="*/ 485072 h 823468"/>
              <a:gd name="connsiteX1027" fmla="*/ 2403419 w 12248682"/>
              <a:gd name="connsiteY1027" fmla="*/ 505861 h 823468"/>
              <a:gd name="connsiteX1028" fmla="*/ 2382630 w 12248682"/>
              <a:gd name="connsiteY1028" fmla="*/ 485072 h 823468"/>
              <a:gd name="connsiteX1029" fmla="*/ 2403419 w 12248682"/>
              <a:gd name="connsiteY1029" fmla="*/ 464284 h 823468"/>
              <a:gd name="connsiteX1030" fmla="*/ 2263671 w 12248682"/>
              <a:gd name="connsiteY1030" fmla="*/ 464284 h 823468"/>
              <a:gd name="connsiteX1031" fmla="*/ 2284460 w 12248682"/>
              <a:gd name="connsiteY1031" fmla="*/ 485072 h 823468"/>
              <a:gd name="connsiteX1032" fmla="*/ 2263671 w 12248682"/>
              <a:gd name="connsiteY1032" fmla="*/ 505861 h 823468"/>
              <a:gd name="connsiteX1033" fmla="*/ 2242883 w 12248682"/>
              <a:gd name="connsiteY1033" fmla="*/ 485072 h 823468"/>
              <a:gd name="connsiteX1034" fmla="*/ 2263671 w 12248682"/>
              <a:gd name="connsiteY1034" fmla="*/ 464284 h 823468"/>
              <a:gd name="connsiteX1035" fmla="*/ 1426344 w 12248682"/>
              <a:gd name="connsiteY1035" fmla="*/ 464284 h 823468"/>
              <a:gd name="connsiteX1036" fmla="*/ 1447133 w 12248682"/>
              <a:gd name="connsiteY1036" fmla="*/ 485072 h 823468"/>
              <a:gd name="connsiteX1037" fmla="*/ 1426344 w 12248682"/>
              <a:gd name="connsiteY1037" fmla="*/ 505861 h 823468"/>
              <a:gd name="connsiteX1038" fmla="*/ 1405556 w 12248682"/>
              <a:gd name="connsiteY1038" fmla="*/ 485072 h 823468"/>
              <a:gd name="connsiteX1039" fmla="*/ 1426344 w 12248682"/>
              <a:gd name="connsiteY1039" fmla="*/ 464284 h 823468"/>
              <a:gd name="connsiteX1040" fmla="*/ 1286597 w 12248682"/>
              <a:gd name="connsiteY1040" fmla="*/ 464284 h 823468"/>
              <a:gd name="connsiteX1041" fmla="*/ 1307386 w 12248682"/>
              <a:gd name="connsiteY1041" fmla="*/ 485072 h 823468"/>
              <a:gd name="connsiteX1042" fmla="*/ 1286597 w 12248682"/>
              <a:gd name="connsiteY1042" fmla="*/ 505861 h 823468"/>
              <a:gd name="connsiteX1043" fmla="*/ 1265808 w 12248682"/>
              <a:gd name="connsiteY1043" fmla="*/ 485072 h 823468"/>
              <a:gd name="connsiteX1044" fmla="*/ 1286597 w 12248682"/>
              <a:gd name="connsiteY1044" fmla="*/ 464284 h 823468"/>
              <a:gd name="connsiteX1045" fmla="*/ 1146851 w 12248682"/>
              <a:gd name="connsiteY1045" fmla="*/ 464284 h 823468"/>
              <a:gd name="connsiteX1046" fmla="*/ 1167639 w 12248682"/>
              <a:gd name="connsiteY1046" fmla="*/ 485072 h 823468"/>
              <a:gd name="connsiteX1047" fmla="*/ 1146851 w 12248682"/>
              <a:gd name="connsiteY1047" fmla="*/ 505861 h 823468"/>
              <a:gd name="connsiteX1048" fmla="*/ 1126062 w 12248682"/>
              <a:gd name="connsiteY1048" fmla="*/ 485072 h 823468"/>
              <a:gd name="connsiteX1049" fmla="*/ 1146851 w 12248682"/>
              <a:gd name="connsiteY1049" fmla="*/ 464284 h 823468"/>
              <a:gd name="connsiteX1050" fmla="*/ 11343213 w 12248682"/>
              <a:gd name="connsiteY1050" fmla="*/ 461974 h 823468"/>
              <a:gd name="connsiteX1051" fmla="*/ 11366312 w 12248682"/>
              <a:gd name="connsiteY1051" fmla="*/ 485072 h 823468"/>
              <a:gd name="connsiteX1052" fmla="*/ 11343213 w 12248682"/>
              <a:gd name="connsiteY1052" fmla="*/ 508171 h 823468"/>
              <a:gd name="connsiteX1053" fmla="*/ 11320114 w 12248682"/>
              <a:gd name="connsiteY1053" fmla="*/ 485072 h 823468"/>
              <a:gd name="connsiteX1054" fmla="*/ 11343213 w 12248682"/>
              <a:gd name="connsiteY1054" fmla="*/ 461974 h 823468"/>
              <a:gd name="connsiteX1055" fmla="*/ 10225237 w 12248682"/>
              <a:gd name="connsiteY1055" fmla="*/ 461974 h 823468"/>
              <a:gd name="connsiteX1056" fmla="*/ 10248335 w 12248682"/>
              <a:gd name="connsiteY1056" fmla="*/ 485072 h 823468"/>
              <a:gd name="connsiteX1057" fmla="*/ 10225237 w 12248682"/>
              <a:gd name="connsiteY1057" fmla="*/ 508171 h 823468"/>
              <a:gd name="connsiteX1058" fmla="*/ 10202138 w 12248682"/>
              <a:gd name="connsiteY1058" fmla="*/ 485072 h 823468"/>
              <a:gd name="connsiteX1059" fmla="*/ 10225237 w 12248682"/>
              <a:gd name="connsiteY1059" fmla="*/ 461974 h 823468"/>
              <a:gd name="connsiteX1060" fmla="*/ 9112431 w 12248682"/>
              <a:gd name="connsiteY1060" fmla="*/ 461974 h 823468"/>
              <a:gd name="connsiteX1061" fmla="*/ 9135530 w 12248682"/>
              <a:gd name="connsiteY1061" fmla="*/ 485072 h 823468"/>
              <a:gd name="connsiteX1062" fmla="*/ 9112431 w 12248682"/>
              <a:gd name="connsiteY1062" fmla="*/ 508171 h 823468"/>
              <a:gd name="connsiteX1063" fmla="*/ 9089332 w 12248682"/>
              <a:gd name="connsiteY1063" fmla="*/ 485072 h 823468"/>
              <a:gd name="connsiteX1064" fmla="*/ 9112431 w 12248682"/>
              <a:gd name="connsiteY1064" fmla="*/ 461974 h 823468"/>
              <a:gd name="connsiteX1065" fmla="*/ 7994456 w 12248682"/>
              <a:gd name="connsiteY1065" fmla="*/ 461974 h 823468"/>
              <a:gd name="connsiteX1066" fmla="*/ 8017555 w 12248682"/>
              <a:gd name="connsiteY1066" fmla="*/ 485072 h 823468"/>
              <a:gd name="connsiteX1067" fmla="*/ 7994456 w 12248682"/>
              <a:gd name="connsiteY1067" fmla="*/ 508171 h 823468"/>
              <a:gd name="connsiteX1068" fmla="*/ 7971356 w 12248682"/>
              <a:gd name="connsiteY1068" fmla="*/ 485072 h 823468"/>
              <a:gd name="connsiteX1069" fmla="*/ 7994456 w 12248682"/>
              <a:gd name="connsiteY1069" fmla="*/ 461974 h 823468"/>
              <a:gd name="connsiteX1070" fmla="*/ 6737887 w 12248682"/>
              <a:gd name="connsiteY1070" fmla="*/ 461974 h 823468"/>
              <a:gd name="connsiteX1071" fmla="*/ 6760986 w 12248682"/>
              <a:gd name="connsiteY1071" fmla="*/ 485072 h 823468"/>
              <a:gd name="connsiteX1072" fmla="*/ 6737887 w 12248682"/>
              <a:gd name="connsiteY1072" fmla="*/ 508171 h 823468"/>
              <a:gd name="connsiteX1073" fmla="*/ 6714789 w 12248682"/>
              <a:gd name="connsiteY1073" fmla="*/ 485072 h 823468"/>
              <a:gd name="connsiteX1074" fmla="*/ 6737887 w 12248682"/>
              <a:gd name="connsiteY1074" fmla="*/ 461974 h 823468"/>
              <a:gd name="connsiteX1075" fmla="*/ 5619911 w 12248682"/>
              <a:gd name="connsiteY1075" fmla="*/ 461974 h 823468"/>
              <a:gd name="connsiteX1076" fmla="*/ 5643008 w 12248682"/>
              <a:gd name="connsiteY1076" fmla="*/ 485072 h 823468"/>
              <a:gd name="connsiteX1077" fmla="*/ 5619911 w 12248682"/>
              <a:gd name="connsiteY1077" fmla="*/ 508171 h 823468"/>
              <a:gd name="connsiteX1078" fmla="*/ 5596812 w 12248682"/>
              <a:gd name="connsiteY1078" fmla="*/ 485072 h 823468"/>
              <a:gd name="connsiteX1079" fmla="*/ 5619911 w 12248682"/>
              <a:gd name="connsiteY1079" fmla="*/ 461974 h 823468"/>
              <a:gd name="connsiteX1080" fmla="*/ 4499625 w 12248682"/>
              <a:gd name="connsiteY1080" fmla="*/ 461974 h 823468"/>
              <a:gd name="connsiteX1081" fmla="*/ 4522722 w 12248682"/>
              <a:gd name="connsiteY1081" fmla="*/ 485072 h 823468"/>
              <a:gd name="connsiteX1082" fmla="*/ 4499625 w 12248682"/>
              <a:gd name="connsiteY1082" fmla="*/ 508171 h 823468"/>
              <a:gd name="connsiteX1083" fmla="*/ 4476525 w 12248682"/>
              <a:gd name="connsiteY1083" fmla="*/ 485072 h 823468"/>
              <a:gd name="connsiteX1084" fmla="*/ 4499625 w 12248682"/>
              <a:gd name="connsiteY1084" fmla="*/ 461974 h 823468"/>
              <a:gd name="connsiteX1085" fmla="*/ 3381648 w 12248682"/>
              <a:gd name="connsiteY1085" fmla="*/ 461974 h 823468"/>
              <a:gd name="connsiteX1086" fmla="*/ 3404746 w 12248682"/>
              <a:gd name="connsiteY1086" fmla="*/ 485072 h 823468"/>
              <a:gd name="connsiteX1087" fmla="*/ 3381648 w 12248682"/>
              <a:gd name="connsiteY1087" fmla="*/ 508171 h 823468"/>
              <a:gd name="connsiteX1088" fmla="*/ 3358549 w 12248682"/>
              <a:gd name="connsiteY1088" fmla="*/ 485072 h 823468"/>
              <a:gd name="connsiteX1089" fmla="*/ 3381648 w 12248682"/>
              <a:gd name="connsiteY1089" fmla="*/ 461974 h 823468"/>
              <a:gd name="connsiteX1090" fmla="*/ 2125079 w 12248682"/>
              <a:gd name="connsiteY1090" fmla="*/ 461974 h 823468"/>
              <a:gd name="connsiteX1091" fmla="*/ 2148178 w 12248682"/>
              <a:gd name="connsiteY1091" fmla="*/ 485072 h 823468"/>
              <a:gd name="connsiteX1092" fmla="*/ 2125079 w 12248682"/>
              <a:gd name="connsiteY1092" fmla="*/ 508171 h 823468"/>
              <a:gd name="connsiteX1093" fmla="*/ 2101980 w 12248682"/>
              <a:gd name="connsiteY1093" fmla="*/ 485072 h 823468"/>
              <a:gd name="connsiteX1094" fmla="*/ 2125079 w 12248682"/>
              <a:gd name="connsiteY1094" fmla="*/ 461974 h 823468"/>
              <a:gd name="connsiteX1095" fmla="*/ 1007103 w 12248682"/>
              <a:gd name="connsiteY1095" fmla="*/ 461974 h 823468"/>
              <a:gd name="connsiteX1096" fmla="*/ 1030201 w 12248682"/>
              <a:gd name="connsiteY1096" fmla="*/ 485072 h 823468"/>
              <a:gd name="connsiteX1097" fmla="*/ 1007103 w 12248682"/>
              <a:gd name="connsiteY1097" fmla="*/ 508171 h 823468"/>
              <a:gd name="connsiteX1098" fmla="*/ 984004 w 12248682"/>
              <a:gd name="connsiteY1098" fmla="*/ 485072 h 823468"/>
              <a:gd name="connsiteX1099" fmla="*/ 1007103 w 12248682"/>
              <a:gd name="connsiteY1099" fmla="*/ 461974 h 823468"/>
              <a:gd name="connsiteX1100" fmla="*/ 11203466 w 12248682"/>
              <a:gd name="connsiteY1100" fmla="*/ 456200 h 823468"/>
              <a:gd name="connsiteX1101" fmla="*/ 11232339 w 12248682"/>
              <a:gd name="connsiteY1101" fmla="*/ 485072 h 823468"/>
              <a:gd name="connsiteX1102" fmla="*/ 11203466 w 12248682"/>
              <a:gd name="connsiteY1102" fmla="*/ 513946 h 823468"/>
              <a:gd name="connsiteX1103" fmla="*/ 11174593 w 12248682"/>
              <a:gd name="connsiteY1103" fmla="*/ 485072 h 823468"/>
              <a:gd name="connsiteX1104" fmla="*/ 11203466 w 12248682"/>
              <a:gd name="connsiteY1104" fmla="*/ 456200 h 823468"/>
              <a:gd name="connsiteX1105" fmla="*/ 10085490 w 12248682"/>
              <a:gd name="connsiteY1105" fmla="*/ 456200 h 823468"/>
              <a:gd name="connsiteX1106" fmla="*/ 10114363 w 12248682"/>
              <a:gd name="connsiteY1106" fmla="*/ 485072 h 823468"/>
              <a:gd name="connsiteX1107" fmla="*/ 10085490 w 12248682"/>
              <a:gd name="connsiteY1107" fmla="*/ 513946 h 823468"/>
              <a:gd name="connsiteX1108" fmla="*/ 10056616 w 12248682"/>
              <a:gd name="connsiteY1108" fmla="*/ 485072 h 823468"/>
              <a:gd name="connsiteX1109" fmla="*/ 10085490 w 12248682"/>
              <a:gd name="connsiteY1109" fmla="*/ 456200 h 823468"/>
              <a:gd name="connsiteX1110" fmla="*/ 9247008 w 12248682"/>
              <a:gd name="connsiteY1110" fmla="*/ 456200 h 823468"/>
              <a:gd name="connsiteX1111" fmla="*/ 9275881 w 12248682"/>
              <a:gd name="connsiteY1111" fmla="*/ 485072 h 823468"/>
              <a:gd name="connsiteX1112" fmla="*/ 9247008 w 12248682"/>
              <a:gd name="connsiteY1112" fmla="*/ 513946 h 823468"/>
              <a:gd name="connsiteX1113" fmla="*/ 9218134 w 12248682"/>
              <a:gd name="connsiteY1113" fmla="*/ 485072 h 823468"/>
              <a:gd name="connsiteX1114" fmla="*/ 9247008 w 12248682"/>
              <a:gd name="connsiteY1114" fmla="*/ 456200 h 823468"/>
              <a:gd name="connsiteX1115" fmla="*/ 8972685 w 12248682"/>
              <a:gd name="connsiteY1115" fmla="*/ 456200 h 823468"/>
              <a:gd name="connsiteX1116" fmla="*/ 9001557 w 12248682"/>
              <a:gd name="connsiteY1116" fmla="*/ 485072 h 823468"/>
              <a:gd name="connsiteX1117" fmla="*/ 8972685 w 12248682"/>
              <a:gd name="connsiteY1117" fmla="*/ 513946 h 823468"/>
              <a:gd name="connsiteX1118" fmla="*/ 8943811 w 12248682"/>
              <a:gd name="connsiteY1118" fmla="*/ 485072 h 823468"/>
              <a:gd name="connsiteX1119" fmla="*/ 8972685 w 12248682"/>
              <a:gd name="connsiteY1119" fmla="*/ 456200 h 823468"/>
              <a:gd name="connsiteX1120" fmla="*/ 8134203 w 12248682"/>
              <a:gd name="connsiteY1120" fmla="*/ 456200 h 823468"/>
              <a:gd name="connsiteX1121" fmla="*/ 8163075 w 12248682"/>
              <a:gd name="connsiteY1121" fmla="*/ 485072 h 823468"/>
              <a:gd name="connsiteX1122" fmla="*/ 8134203 w 12248682"/>
              <a:gd name="connsiteY1122" fmla="*/ 513946 h 823468"/>
              <a:gd name="connsiteX1123" fmla="*/ 8105330 w 12248682"/>
              <a:gd name="connsiteY1123" fmla="*/ 485072 h 823468"/>
              <a:gd name="connsiteX1124" fmla="*/ 8134203 w 12248682"/>
              <a:gd name="connsiteY1124" fmla="*/ 456200 h 823468"/>
              <a:gd name="connsiteX1125" fmla="*/ 6598140 w 12248682"/>
              <a:gd name="connsiteY1125" fmla="*/ 456200 h 823468"/>
              <a:gd name="connsiteX1126" fmla="*/ 6627013 w 12248682"/>
              <a:gd name="connsiteY1126" fmla="*/ 485072 h 823468"/>
              <a:gd name="connsiteX1127" fmla="*/ 6598140 w 12248682"/>
              <a:gd name="connsiteY1127" fmla="*/ 513946 h 823468"/>
              <a:gd name="connsiteX1128" fmla="*/ 6569267 w 12248682"/>
              <a:gd name="connsiteY1128" fmla="*/ 485072 h 823468"/>
              <a:gd name="connsiteX1129" fmla="*/ 6598140 w 12248682"/>
              <a:gd name="connsiteY1129" fmla="*/ 456200 h 823468"/>
              <a:gd name="connsiteX1130" fmla="*/ 5480165 w 12248682"/>
              <a:gd name="connsiteY1130" fmla="*/ 456200 h 823468"/>
              <a:gd name="connsiteX1131" fmla="*/ 5509037 w 12248682"/>
              <a:gd name="connsiteY1131" fmla="*/ 485072 h 823468"/>
              <a:gd name="connsiteX1132" fmla="*/ 5480165 w 12248682"/>
              <a:gd name="connsiteY1132" fmla="*/ 513946 h 823468"/>
              <a:gd name="connsiteX1133" fmla="*/ 5451289 w 12248682"/>
              <a:gd name="connsiteY1133" fmla="*/ 485072 h 823468"/>
              <a:gd name="connsiteX1134" fmla="*/ 5480165 w 12248682"/>
              <a:gd name="connsiteY1134" fmla="*/ 456200 h 823468"/>
              <a:gd name="connsiteX1135" fmla="*/ 4641682 w 12248682"/>
              <a:gd name="connsiteY1135" fmla="*/ 456200 h 823468"/>
              <a:gd name="connsiteX1136" fmla="*/ 4670555 w 12248682"/>
              <a:gd name="connsiteY1136" fmla="*/ 485072 h 823468"/>
              <a:gd name="connsiteX1137" fmla="*/ 4641682 w 12248682"/>
              <a:gd name="connsiteY1137" fmla="*/ 513946 h 823468"/>
              <a:gd name="connsiteX1138" fmla="*/ 4612809 w 12248682"/>
              <a:gd name="connsiteY1138" fmla="*/ 485072 h 823468"/>
              <a:gd name="connsiteX1139" fmla="*/ 4641682 w 12248682"/>
              <a:gd name="connsiteY1139" fmla="*/ 456200 h 823468"/>
              <a:gd name="connsiteX1140" fmla="*/ 4359878 w 12248682"/>
              <a:gd name="connsiteY1140" fmla="*/ 456200 h 823468"/>
              <a:gd name="connsiteX1141" fmla="*/ 4388751 w 12248682"/>
              <a:gd name="connsiteY1141" fmla="*/ 485072 h 823468"/>
              <a:gd name="connsiteX1142" fmla="*/ 4359878 w 12248682"/>
              <a:gd name="connsiteY1142" fmla="*/ 513946 h 823468"/>
              <a:gd name="connsiteX1143" fmla="*/ 4331003 w 12248682"/>
              <a:gd name="connsiteY1143" fmla="*/ 485072 h 823468"/>
              <a:gd name="connsiteX1144" fmla="*/ 4359878 w 12248682"/>
              <a:gd name="connsiteY1144" fmla="*/ 456200 h 823468"/>
              <a:gd name="connsiteX1145" fmla="*/ 3521396 w 12248682"/>
              <a:gd name="connsiteY1145" fmla="*/ 456200 h 823468"/>
              <a:gd name="connsiteX1146" fmla="*/ 3550268 w 12248682"/>
              <a:gd name="connsiteY1146" fmla="*/ 485072 h 823468"/>
              <a:gd name="connsiteX1147" fmla="*/ 3521396 w 12248682"/>
              <a:gd name="connsiteY1147" fmla="*/ 513946 h 823468"/>
              <a:gd name="connsiteX1148" fmla="*/ 3492521 w 12248682"/>
              <a:gd name="connsiteY1148" fmla="*/ 485072 h 823468"/>
              <a:gd name="connsiteX1149" fmla="*/ 3521396 w 12248682"/>
              <a:gd name="connsiteY1149" fmla="*/ 456200 h 823468"/>
              <a:gd name="connsiteX1150" fmla="*/ 1985333 w 12248682"/>
              <a:gd name="connsiteY1150" fmla="*/ 456200 h 823468"/>
              <a:gd name="connsiteX1151" fmla="*/ 2014205 w 12248682"/>
              <a:gd name="connsiteY1151" fmla="*/ 485072 h 823468"/>
              <a:gd name="connsiteX1152" fmla="*/ 1985333 w 12248682"/>
              <a:gd name="connsiteY1152" fmla="*/ 513946 h 823468"/>
              <a:gd name="connsiteX1153" fmla="*/ 1956459 w 12248682"/>
              <a:gd name="connsiteY1153" fmla="*/ 485072 h 823468"/>
              <a:gd name="connsiteX1154" fmla="*/ 1985333 w 12248682"/>
              <a:gd name="connsiteY1154" fmla="*/ 456200 h 823468"/>
              <a:gd name="connsiteX1155" fmla="*/ 867356 w 12248682"/>
              <a:gd name="connsiteY1155" fmla="*/ 456200 h 823468"/>
              <a:gd name="connsiteX1156" fmla="*/ 896229 w 12248682"/>
              <a:gd name="connsiteY1156" fmla="*/ 485072 h 823468"/>
              <a:gd name="connsiteX1157" fmla="*/ 867356 w 12248682"/>
              <a:gd name="connsiteY1157" fmla="*/ 513946 h 823468"/>
              <a:gd name="connsiteX1158" fmla="*/ 838482 w 12248682"/>
              <a:gd name="connsiteY1158" fmla="*/ 485072 h 823468"/>
              <a:gd name="connsiteX1159" fmla="*/ 867356 w 12248682"/>
              <a:gd name="connsiteY1159" fmla="*/ 456200 h 823468"/>
              <a:gd name="connsiteX1160" fmla="*/ 28874 w 12248682"/>
              <a:gd name="connsiteY1160" fmla="*/ 456200 h 823468"/>
              <a:gd name="connsiteX1161" fmla="*/ 57747 w 12248682"/>
              <a:gd name="connsiteY1161" fmla="*/ 485072 h 823468"/>
              <a:gd name="connsiteX1162" fmla="*/ 28874 w 12248682"/>
              <a:gd name="connsiteY1162" fmla="*/ 513946 h 823468"/>
              <a:gd name="connsiteX1163" fmla="*/ 0 w 12248682"/>
              <a:gd name="connsiteY1163" fmla="*/ 485072 h 823468"/>
              <a:gd name="connsiteX1164" fmla="*/ 28874 w 12248682"/>
              <a:gd name="connsiteY1164" fmla="*/ 456200 h 823468"/>
              <a:gd name="connsiteX1165" fmla="*/ 11063719 w 12248682"/>
              <a:gd name="connsiteY1165" fmla="*/ 449270 h 823468"/>
              <a:gd name="connsiteX1166" fmla="*/ 11098367 w 12248682"/>
              <a:gd name="connsiteY1166" fmla="*/ 483918 h 823468"/>
              <a:gd name="connsiteX1167" fmla="*/ 11063719 w 12248682"/>
              <a:gd name="connsiteY1167" fmla="*/ 518566 h 823468"/>
              <a:gd name="connsiteX1168" fmla="*/ 11029071 w 12248682"/>
              <a:gd name="connsiteY1168" fmla="*/ 483918 h 823468"/>
              <a:gd name="connsiteX1169" fmla="*/ 11063719 w 12248682"/>
              <a:gd name="connsiteY1169" fmla="*/ 449270 h 823468"/>
              <a:gd name="connsiteX1170" fmla="*/ 9945743 w 12248682"/>
              <a:gd name="connsiteY1170" fmla="*/ 449270 h 823468"/>
              <a:gd name="connsiteX1171" fmla="*/ 9980391 w 12248682"/>
              <a:gd name="connsiteY1171" fmla="*/ 483918 h 823468"/>
              <a:gd name="connsiteX1172" fmla="*/ 9945743 w 12248682"/>
              <a:gd name="connsiteY1172" fmla="*/ 518566 h 823468"/>
              <a:gd name="connsiteX1173" fmla="*/ 9911094 w 12248682"/>
              <a:gd name="connsiteY1173" fmla="*/ 483918 h 823468"/>
              <a:gd name="connsiteX1174" fmla="*/ 9945743 w 12248682"/>
              <a:gd name="connsiteY1174" fmla="*/ 449270 h 823468"/>
              <a:gd name="connsiteX1175" fmla="*/ 9386754 w 12248682"/>
              <a:gd name="connsiteY1175" fmla="*/ 449270 h 823468"/>
              <a:gd name="connsiteX1176" fmla="*/ 9421402 w 12248682"/>
              <a:gd name="connsiteY1176" fmla="*/ 483918 h 823468"/>
              <a:gd name="connsiteX1177" fmla="*/ 9386754 w 12248682"/>
              <a:gd name="connsiteY1177" fmla="*/ 518566 h 823468"/>
              <a:gd name="connsiteX1178" fmla="*/ 9352106 w 12248682"/>
              <a:gd name="connsiteY1178" fmla="*/ 483918 h 823468"/>
              <a:gd name="connsiteX1179" fmla="*/ 9386754 w 12248682"/>
              <a:gd name="connsiteY1179" fmla="*/ 449270 h 823468"/>
              <a:gd name="connsiteX1180" fmla="*/ 8832937 w 12248682"/>
              <a:gd name="connsiteY1180" fmla="*/ 449270 h 823468"/>
              <a:gd name="connsiteX1181" fmla="*/ 8867585 w 12248682"/>
              <a:gd name="connsiteY1181" fmla="*/ 483918 h 823468"/>
              <a:gd name="connsiteX1182" fmla="*/ 8832937 w 12248682"/>
              <a:gd name="connsiteY1182" fmla="*/ 518566 h 823468"/>
              <a:gd name="connsiteX1183" fmla="*/ 8798289 w 12248682"/>
              <a:gd name="connsiteY1183" fmla="*/ 483918 h 823468"/>
              <a:gd name="connsiteX1184" fmla="*/ 8832937 w 12248682"/>
              <a:gd name="connsiteY1184" fmla="*/ 449270 h 823468"/>
              <a:gd name="connsiteX1185" fmla="*/ 8273949 w 12248682"/>
              <a:gd name="connsiteY1185" fmla="*/ 449270 h 823468"/>
              <a:gd name="connsiteX1186" fmla="*/ 8308598 w 12248682"/>
              <a:gd name="connsiteY1186" fmla="*/ 483918 h 823468"/>
              <a:gd name="connsiteX1187" fmla="*/ 8273949 w 12248682"/>
              <a:gd name="connsiteY1187" fmla="*/ 518566 h 823468"/>
              <a:gd name="connsiteX1188" fmla="*/ 8239301 w 12248682"/>
              <a:gd name="connsiteY1188" fmla="*/ 483918 h 823468"/>
              <a:gd name="connsiteX1189" fmla="*/ 8273949 w 12248682"/>
              <a:gd name="connsiteY1189" fmla="*/ 449270 h 823468"/>
              <a:gd name="connsiteX1190" fmla="*/ 6458393 w 12248682"/>
              <a:gd name="connsiteY1190" fmla="*/ 449270 h 823468"/>
              <a:gd name="connsiteX1191" fmla="*/ 6493041 w 12248682"/>
              <a:gd name="connsiteY1191" fmla="*/ 483918 h 823468"/>
              <a:gd name="connsiteX1192" fmla="*/ 6458393 w 12248682"/>
              <a:gd name="connsiteY1192" fmla="*/ 518566 h 823468"/>
              <a:gd name="connsiteX1193" fmla="*/ 6423745 w 12248682"/>
              <a:gd name="connsiteY1193" fmla="*/ 483918 h 823468"/>
              <a:gd name="connsiteX1194" fmla="*/ 6458393 w 12248682"/>
              <a:gd name="connsiteY1194" fmla="*/ 449270 h 823468"/>
              <a:gd name="connsiteX1195" fmla="*/ 5340416 w 12248682"/>
              <a:gd name="connsiteY1195" fmla="*/ 449270 h 823468"/>
              <a:gd name="connsiteX1196" fmla="*/ 5375064 w 12248682"/>
              <a:gd name="connsiteY1196" fmla="*/ 483918 h 823468"/>
              <a:gd name="connsiteX1197" fmla="*/ 5340416 w 12248682"/>
              <a:gd name="connsiteY1197" fmla="*/ 518566 h 823468"/>
              <a:gd name="connsiteX1198" fmla="*/ 5305769 w 12248682"/>
              <a:gd name="connsiteY1198" fmla="*/ 483918 h 823468"/>
              <a:gd name="connsiteX1199" fmla="*/ 5340416 w 12248682"/>
              <a:gd name="connsiteY1199" fmla="*/ 449270 h 823468"/>
              <a:gd name="connsiteX1200" fmla="*/ 4781429 w 12248682"/>
              <a:gd name="connsiteY1200" fmla="*/ 449270 h 823468"/>
              <a:gd name="connsiteX1201" fmla="*/ 4816075 w 12248682"/>
              <a:gd name="connsiteY1201" fmla="*/ 483918 h 823468"/>
              <a:gd name="connsiteX1202" fmla="*/ 4781429 w 12248682"/>
              <a:gd name="connsiteY1202" fmla="*/ 518566 h 823468"/>
              <a:gd name="connsiteX1203" fmla="*/ 4746781 w 12248682"/>
              <a:gd name="connsiteY1203" fmla="*/ 483918 h 823468"/>
              <a:gd name="connsiteX1204" fmla="*/ 4781429 w 12248682"/>
              <a:gd name="connsiteY1204" fmla="*/ 449270 h 823468"/>
              <a:gd name="connsiteX1205" fmla="*/ 4220129 w 12248682"/>
              <a:gd name="connsiteY1205" fmla="*/ 449270 h 823468"/>
              <a:gd name="connsiteX1206" fmla="*/ 4254779 w 12248682"/>
              <a:gd name="connsiteY1206" fmla="*/ 483918 h 823468"/>
              <a:gd name="connsiteX1207" fmla="*/ 4220129 w 12248682"/>
              <a:gd name="connsiteY1207" fmla="*/ 518566 h 823468"/>
              <a:gd name="connsiteX1208" fmla="*/ 4185482 w 12248682"/>
              <a:gd name="connsiteY1208" fmla="*/ 483918 h 823468"/>
              <a:gd name="connsiteX1209" fmla="*/ 4220129 w 12248682"/>
              <a:gd name="connsiteY1209" fmla="*/ 449270 h 823468"/>
              <a:gd name="connsiteX1210" fmla="*/ 3661142 w 12248682"/>
              <a:gd name="connsiteY1210" fmla="*/ 449270 h 823468"/>
              <a:gd name="connsiteX1211" fmla="*/ 3695791 w 12248682"/>
              <a:gd name="connsiteY1211" fmla="*/ 483918 h 823468"/>
              <a:gd name="connsiteX1212" fmla="*/ 3661142 w 12248682"/>
              <a:gd name="connsiteY1212" fmla="*/ 518566 h 823468"/>
              <a:gd name="connsiteX1213" fmla="*/ 3626494 w 12248682"/>
              <a:gd name="connsiteY1213" fmla="*/ 483918 h 823468"/>
              <a:gd name="connsiteX1214" fmla="*/ 3661142 w 12248682"/>
              <a:gd name="connsiteY1214" fmla="*/ 449270 h 823468"/>
              <a:gd name="connsiteX1215" fmla="*/ 1845585 w 12248682"/>
              <a:gd name="connsiteY1215" fmla="*/ 449270 h 823468"/>
              <a:gd name="connsiteX1216" fmla="*/ 1880233 w 12248682"/>
              <a:gd name="connsiteY1216" fmla="*/ 483918 h 823468"/>
              <a:gd name="connsiteX1217" fmla="*/ 1845585 w 12248682"/>
              <a:gd name="connsiteY1217" fmla="*/ 518566 h 823468"/>
              <a:gd name="connsiteX1218" fmla="*/ 1810937 w 12248682"/>
              <a:gd name="connsiteY1218" fmla="*/ 483918 h 823468"/>
              <a:gd name="connsiteX1219" fmla="*/ 1845585 w 12248682"/>
              <a:gd name="connsiteY1219" fmla="*/ 449270 h 823468"/>
              <a:gd name="connsiteX1220" fmla="*/ 727609 w 12248682"/>
              <a:gd name="connsiteY1220" fmla="*/ 449270 h 823468"/>
              <a:gd name="connsiteX1221" fmla="*/ 762257 w 12248682"/>
              <a:gd name="connsiteY1221" fmla="*/ 483918 h 823468"/>
              <a:gd name="connsiteX1222" fmla="*/ 727609 w 12248682"/>
              <a:gd name="connsiteY1222" fmla="*/ 518566 h 823468"/>
              <a:gd name="connsiteX1223" fmla="*/ 692961 w 12248682"/>
              <a:gd name="connsiteY1223" fmla="*/ 483918 h 823468"/>
              <a:gd name="connsiteX1224" fmla="*/ 727609 w 12248682"/>
              <a:gd name="connsiteY1224" fmla="*/ 449270 h 823468"/>
              <a:gd name="connsiteX1225" fmla="*/ 168621 w 12248682"/>
              <a:gd name="connsiteY1225" fmla="*/ 449270 h 823468"/>
              <a:gd name="connsiteX1226" fmla="*/ 203269 w 12248682"/>
              <a:gd name="connsiteY1226" fmla="*/ 483918 h 823468"/>
              <a:gd name="connsiteX1227" fmla="*/ 168621 w 12248682"/>
              <a:gd name="connsiteY1227" fmla="*/ 518566 h 823468"/>
              <a:gd name="connsiteX1228" fmla="*/ 133973 w 12248682"/>
              <a:gd name="connsiteY1228" fmla="*/ 483918 h 823468"/>
              <a:gd name="connsiteX1229" fmla="*/ 168621 w 12248682"/>
              <a:gd name="connsiteY1229" fmla="*/ 449270 h 823468"/>
              <a:gd name="connsiteX1230" fmla="*/ 10923972 w 12248682"/>
              <a:gd name="connsiteY1230" fmla="*/ 443495 h 823468"/>
              <a:gd name="connsiteX1231" fmla="*/ 10964394 w 12248682"/>
              <a:gd name="connsiteY1231" fmla="*/ 483918 h 823468"/>
              <a:gd name="connsiteX1232" fmla="*/ 10923972 w 12248682"/>
              <a:gd name="connsiteY1232" fmla="*/ 524340 h 823468"/>
              <a:gd name="connsiteX1233" fmla="*/ 10883549 w 12248682"/>
              <a:gd name="connsiteY1233" fmla="*/ 483918 h 823468"/>
              <a:gd name="connsiteX1234" fmla="*/ 10923972 w 12248682"/>
              <a:gd name="connsiteY1234" fmla="*/ 443495 h 823468"/>
              <a:gd name="connsiteX1235" fmla="*/ 9805996 w 12248682"/>
              <a:gd name="connsiteY1235" fmla="*/ 443495 h 823468"/>
              <a:gd name="connsiteX1236" fmla="*/ 9846418 w 12248682"/>
              <a:gd name="connsiteY1236" fmla="*/ 483918 h 823468"/>
              <a:gd name="connsiteX1237" fmla="*/ 9805996 w 12248682"/>
              <a:gd name="connsiteY1237" fmla="*/ 524340 h 823468"/>
              <a:gd name="connsiteX1238" fmla="*/ 9765573 w 12248682"/>
              <a:gd name="connsiteY1238" fmla="*/ 483918 h 823468"/>
              <a:gd name="connsiteX1239" fmla="*/ 9805996 w 12248682"/>
              <a:gd name="connsiteY1239" fmla="*/ 443495 h 823468"/>
              <a:gd name="connsiteX1240" fmla="*/ 9526502 w 12248682"/>
              <a:gd name="connsiteY1240" fmla="*/ 443495 h 823468"/>
              <a:gd name="connsiteX1241" fmla="*/ 9566924 w 12248682"/>
              <a:gd name="connsiteY1241" fmla="*/ 483918 h 823468"/>
              <a:gd name="connsiteX1242" fmla="*/ 9526502 w 12248682"/>
              <a:gd name="connsiteY1242" fmla="*/ 524340 h 823468"/>
              <a:gd name="connsiteX1243" fmla="*/ 9486079 w 12248682"/>
              <a:gd name="connsiteY1243" fmla="*/ 483918 h 823468"/>
              <a:gd name="connsiteX1244" fmla="*/ 9526502 w 12248682"/>
              <a:gd name="connsiteY1244" fmla="*/ 443495 h 823468"/>
              <a:gd name="connsiteX1245" fmla="*/ 8693190 w 12248682"/>
              <a:gd name="connsiteY1245" fmla="*/ 443495 h 823468"/>
              <a:gd name="connsiteX1246" fmla="*/ 8733613 w 12248682"/>
              <a:gd name="connsiteY1246" fmla="*/ 483918 h 823468"/>
              <a:gd name="connsiteX1247" fmla="*/ 8693190 w 12248682"/>
              <a:gd name="connsiteY1247" fmla="*/ 524340 h 823468"/>
              <a:gd name="connsiteX1248" fmla="*/ 8652767 w 12248682"/>
              <a:gd name="connsiteY1248" fmla="*/ 483918 h 823468"/>
              <a:gd name="connsiteX1249" fmla="*/ 8693190 w 12248682"/>
              <a:gd name="connsiteY1249" fmla="*/ 443495 h 823468"/>
              <a:gd name="connsiteX1250" fmla="*/ 8413696 w 12248682"/>
              <a:gd name="connsiteY1250" fmla="*/ 443495 h 823468"/>
              <a:gd name="connsiteX1251" fmla="*/ 8454118 w 12248682"/>
              <a:gd name="connsiteY1251" fmla="*/ 483918 h 823468"/>
              <a:gd name="connsiteX1252" fmla="*/ 8413696 w 12248682"/>
              <a:gd name="connsiteY1252" fmla="*/ 524340 h 823468"/>
              <a:gd name="connsiteX1253" fmla="*/ 8373274 w 12248682"/>
              <a:gd name="connsiteY1253" fmla="*/ 483918 h 823468"/>
              <a:gd name="connsiteX1254" fmla="*/ 8413696 w 12248682"/>
              <a:gd name="connsiteY1254" fmla="*/ 443495 h 823468"/>
              <a:gd name="connsiteX1255" fmla="*/ 6318647 w 12248682"/>
              <a:gd name="connsiteY1255" fmla="*/ 443495 h 823468"/>
              <a:gd name="connsiteX1256" fmla="*/ 6359068 w 12248682"/>
              <a:gd name="connsiteY1256" fmla="*/ 483918 h 823468"/>
              <a:gd name="connsiteX1257" fmla="*/ 6318647 w 12248682"/>
              <a:gd name="connsiteY1257" fmla="*/ 524340 h 823468"/>
              <a:gd name="connsiteX1258" fmla="*/ 6278223 w 12248682"/>
              <a:gd name="connsiteY1258" fmla="*/ 483918 h 823468"/>
              <a:gd name="connsiteX1259" fmla="*/ 6318647 w 12248682"/>
              <a:gd name="connsiteY1259" fmla="*/ 443495 h 823468"/>
              <a:gd name="connsiteX1260" fmla="*/ 5200669 w 12248682"/>
              <a:gd name="connsiteY1260" fmla="*/ 443495 h 823468"/>
              <a:gd name="connsiteX1261" fmla="*/ 5241093 w 12248682"/>
              <a:gd name="connsiteY1261" fmla="*/ 483918 h 823468"/>
              <a:gd name="connsiteX1262" fmla="*/ 5200669 w 12248682"/>
              <a:gd name="connsiteY1262" fmla="*/ 524340 h 823468"/>
              <a:gd name="connsiteX1263" fmla="*/ 5160247 w 12248682"/>
              <a:gd name="connsiteY1263" fmla="*/ 483918 h 823468"/>
              <a:gd name="connsiteX1264" fmla="*/ 5200669 w 12248682"/>
              <a:gd name="connsiteY1264" fmla="*/ 443495 h 823468"/>
              <a:gd name="connsiteX1265" fmla="*/ 4921176 w 12248682"/>
              <a:gd name="connsiteY1265" fmla="*/ 443495 h 823468"/>
              <a:gd name="connsiteX1266" fmla="*/ 4961597 w 12248682"/>
              <a:gd name="connsiteY1266" fmla="*/ 483918 h 823468"/>
              <a:gd name="connsiteX1267" fmla="*/ 4921176 w 12248682"/>
              <a:gd name="connsiteY1267" fmla="*/ 524340 h 823468"/>
              <a:gd name="connsiteX1268" fmla="*/ 4880752 w 12248682"/>
              <a:gd name="connsiteY1268" fmla="*/ 483918 h 823468"/>
              <a:gd name="connsiteX1269" fmla="*/ 4921176 w 12248682"/>
              <a:gd name="connsiteY1269" fmla="*/ 443495 h 823468"/>
              <a:gd name="connsiteX1270" fmla="*/ 4080383 w 12248682"/>
              <a:gd name="connsiteY1270" fmla="*/ 443495 h 823468"/>
              <a:gd name="connsiteX1271" fmla="*/ 4120806 w 12248682"/>
              <a:gd name="connsiteY1271" fmla="*/ 483918 h 823468"/>
              <a:gd name="connsiteX1272" fmla="*/ 4080383 w 12248682"/>
              <a:gd name="connsiteY1272" fmla="*/ 524340 h 823468"/>
              <a:gd name="connsiteX1273" fmla="*/ 4039961 w 12248682"/>
              <a:gd name="connsiteY1273" fmla="*/ 483918 h 823468"/>
              <a:gd name="connsiteX1274" fmla="*/ 4080383 w 12248682"/>
              <a:gd name="connsiteY1274" fmla="*/ 443495 h 823468"/>
              <a:gd name="connsiteX1275" fmla="*/ 3800889 w 12248682"/>
              <a:gd name="connsiteY1275" fmla="*/ 443495 h 823468"/>
              <a:gd name="connsiteX1276" fmla="*/ 3841311 w 12248682"/>
              <a:gd name="connsiteY1276" fmla="*/ 483918 h 823468"/>
              <a:gd name="connsiteX1277" fmla="*/ 3800889 w 12248682"/>
              <a:gd name="connsiteY1277" fmla="*/ 524340 h 823468"/>
              <a:gd name="connsiteX1278" fmla="*/ 3760466 w 12248682"/>
              <a:gd name="connsiteY1278" fmla="*/ 483918 h 823468"/>
              <a:gd name="connsiteX1279" fmla="*/ 3800889 w 12248682"/>
              <a:gd name="connsiteY1279" fmla="*/ 443495 h 823468"/>
              <a:gd name="connsiteX1280" fmla="*/ 1705839 w 12248682"/>
              <a:gd name="connsiteY1280" fmla="*/ 443495 h 823468"/>
              <a:gd name="connsiteX1281" fmla="*/ 1746261 w 12248682"/>
              <a:gd name="connsiteY1281" fmla="*/ 483918 h 823468"/>
              <a:gd name="connsiteX1282" fmla="*/ 1705839 w 12248682"/>
              <a:gd name="connsiteY1282" fmla="*/ 524340 h 823468"/>
              <a:gd name="connsiteX1283" fmla="*/ 1665415 w 12248682"/>
              <a:gd name="connsiteY1283" fmla="*/ 483918 h 823468"/>
              <a:gd name="connsiteX1284" fmla="*/ 1705839 w 12248682"/>
              <a:gd name="connsiteY1284" fmla="*/ 443495 h 823468"/>
              <a:gd name="connsiteX1285" fmla="*/ 587862 w 12248682"/>
              <a:gd name="connsiteY1285" fmla="*/ 443495 h 823468"/>
              <a:gd name="connsiteX1286" fmla="*/ 628284 w 12248682"/>
              <a:gd name="connsiteY1286" fmla="*/ 483918 h 823468"/>
              <a:gd name="connsiteX1287" fmla="*/ 587862 w 12248682"/>
              <a:gd name="connsiteY1287" fmla="*/ 524340 h 823468"/>
              <a:gd name="connsiteX1288" fmla="*/ 547439 w 12248682"/>
              <a:gd name="connsiteY1288" fmla="*/ 483918 h 823468"/>
              <a:gd name="connsiteX1289" fmla="*/ 587862 w 12248682"/>
              <a:gd name="connsiteY1289" fmla="*/ 443495 h 823468"/>
              <a:gd name="connsiteX1290" fmla="*/ 308368 w 12248682"/>
              <a:gd name="connsiteY1290" fmla="*/ 443495 h 823468"/>
              <a:gd name="connsiteX1291" fmla="*/ 348790 w 12248682"/>
              <a:gd name="connsiteY1291" fmla="*/ 483918 h 823468"/>
              <a:gd name="connsiteX1292" fmla="*/ 308368 w 12248682"/>
              <a:gd name="connsiteY1292" fmla="*/ 524340 h 823468"/>
              <a:gd name="connsiteX1293" fmla="*/ 267945 w 12248682"/>
              <a:gd name="connsiteY1293" fmla="*/ 483918 h 823468"/>
              <a:gd name="connsiteX1294" fmla="*/ 308368 w 12248682"/>
              <a:gd name="connsiteY1294" fmla="*/ 443495 h 823468"/>
              <a:gd name="connsiteX1295" fmla="*/ 10784225 w 12248682"/>
              <a:gd name="connsiteY1295" fmla="*/ 433101 h 823468"/>
              <a:gd name="connsiteX1296" fmla="*/ 10835042 w 12248682"/>
              <a:gd name="connsiteY1296" fmla="*/ 483918 h 823468"/>
              <a:gd name="connsiteX1297" fmla="*/ 10784225 w 12248682"/>
              <a:gd name="connsiteY1297" fmla="*/ 534735 h 823468"/>
              <a:gd name="connsiteX1298" fmla="*/ 10733408 w 12248682"/>
              <a:gd name="connsiteY1298" fmla="*/ 483918 h 823468"/>
              <a:gd name="connsiteX1299" fmla="*/ 10784225 w 12248682"/>
              <a:gd name="connsiteY1299" fmla="*/ 433101 h 823468"/>
              <a:gd name="connsiteX1300" fmla="*/ 9666248 w 12248682"/>
              <a:gd name="connsiteY1300" fmla="*/ 433101 h 823468"/>
              <a:gd name="connsiteX1301" fmla="*/ 9717066 w 12248682"/>
              <a:gd name="connsiteY1301" fmla="*/ 483918 h 823468"/>
              <a:gd name="connsiteX1302" fmla="*/ 9666248 w 12248682"/>
              <a:gd name="connsiteY1302" fmla="*/ 534735 h 823468"/>
              <a:gd name="connsiteX1303" fmla="*/ 9615431 w 12248682"/>
              <a:gd name="connsiteY1303" fmla="*/ 483918 h 823468"/>
              <a:gd name="connsiteX1304" fmla="*/ 9666248 w 12248682"/>
              <a:gd name="connsiteY1304" fmla="*/ 433101 h 823468"/>
              <a:gd name="connsiteX1305" fmla="*/ 8553443 w 12248682"/>
              <a:gd name="connsiteY1305" fmla="*/ 433101 h 823468"/>
              <a:gd name="connsiteX1306" fmla="*/ 8604260 w 12248682"/>
              <a:gd name="connsiteY1306" fmla="*/ 483918 h 823468"/>
              <a:gd name="connsiteX1307" fmla="*/ 8553443 w 12248682"/>
              <a:gd name="connsiteY1307" fmla="*/ 534735 h 823468"/>
              <a:gd name="connsiteX1308" fmla="*/ 8502626 w 12248682"/>
              <a:gd name="connsiteY1308" fmla="*/ 483918 h 823468"/>
              <a:gd name="connsiteX1309" fmla="*/ 8553443 w 12248682"/>
              <a:gd name="connsiteY1309" fmla="*/ 433101 h 823468"/>
              <a:gd name="connsiteX1310" fmla="*/ 6178898 w 12248682"/>
              <a:gd name="connsiteY1310" fmla="*/ 433101 h 823468"/>
              <a:gd name="connsiteX1311" fmla="*/ 6229715 w 12248682"/>
              <a:gd name="connsiteY1311" fmla="*/ 483918 h 823468"/>
              <a:gd name="connsiteX1312" fmla="*/ 6178898 w 12248682"/>
              <a:gd name="connsiteY1312" fmla="*/ 534735 h 823468"/>
              <a:gd name="connsiteX1313" fmla="*/ 6128081 w 12248682"/>
              <a:gd name="connsiteY1313" fmla="*/ 483918 h 823468"/>
              <a:gd name="connsiteX1314" fmla="*/ 6178898 w 12248682"/>
              <a:gd name="connsiteY1314" fmla="*/ 433101 h 823468"/>
              <a:gd name="connsiteX1315" fmla="*/ 5060922 w 12248682"/>
              <a:gd name="connsiteY1315" fmla="*/ 433101 h 823468"/>
              <a:gd name="connsiteX1316" fmla="*/ 5111739 w 12248682"/>
              <a:gd name="connsiteY1316" fmla="*/ 483918 h 823468"/>
              <a:gd name="connsiteX1317" fmla="*/ 5060922 w 12248682"/>
              <a:gd name="connsiteY1317" fmla="*/ 534735 h 823468"/>
              <a:gd name="connsiteX1318" fmla="*/ 5010105 w 12248682"/>
              <a:gd name="connsiteY1318" fmla="*/ 483918 h 823468"/>
              <a:gd name="connsiteX1319" fmla="*/ 5060922 w 12248682"/>
              <a:gd name="connsiteY1319" fmla="*/ 433101 h 823468"/>
              <a:gd name="connsiteX1320" fmla="*/ 3940636 w 12248682"/>
              <a:gd name="connsiteY1320" fmla="*/ 433101 h 823468"/>
              <a:gd name="connsiteX1321" fmla="*/ 3991453 w 12248682"/>
              <a:gd name="connsiteY1321" fmla="*/ 483918 h 823468"/>
              <a:gd name="connsiteX1322" fmla="*/ 3940636 w 12248682"/>
              <a:gd name="connsiteY1322" fmla="*/ 534735 h 823468"/>
              <a:gd name="connsiteX1323" fmla="*/ 3889819 w 12248682"/>
              <a:gd name="connsiteY1323" fmla="*/ 483918 h 823468"/>
              <a:gd name="connsiteX1324" fmla="*/ 3940636 w 12248682"/>
              <a:gd name="connsiteY1324" fmla="*/ 433101 h 823468"/>
              <a:gd name="connsiteX1325" fmla="*/ 1566091 w 12248682"/>
              <a:gd name="connsiteY1325" fmla="*/ 433101 h 823468"/>
              <a:gd name="connsiteX1326" fmla="*/ 1616908 w 12248682"/>
              <a:gd name="connsiteY1326" fmla="*/ 483918 h 823468"/>
              <a:gd name="connsiteX1327" fmla="*/ 1566091 w 12248682"/>
              <a:gd name="connsiteY1327" fmla="*/ 534735 h 823468"/>
              <a:gd name="connsiteX1328" fmla="*/ 1515274 w 12248682"/>
              <a:gd name="connsiteY1328" fmla="*/ 483918 h 823468"/>
              <a:gd name="connsiteX1329" fmla="*/ 1566091 w 12248682"/>
              <a:gd name="connsiteY1329" fmla="*/ 433101 h 823468"/>
              <a:gd name="connsiteX1330" fmla="*/ 448115 w 12248682"/>
              <a:gd name="connsiteY1330" fmla="*/ 433101 h 823468"/>
              <a:gd name="connsiteX1331" fmla="*/ 498932 w 12248682"/>
              <a:gd name="connsiteY1331" fmla="*/ 483918 h 823468"/>
              <a:gd name="connsiteX1332" fmla="*/ 448115 w 12248682"/>
              <a:gd name="connsiteY1332" fmla="*/ 534735 h 823468"/>
              <a:gd name="connsiteX1333" fmla="*/ 397298 w 12248682"/>
              <a:gd name="connsiteY1333" fmla="*/ 483918 h 823468"/>
              <a:gd name="connsiteX1334" fmla="*/ 448115 w 12248682"/>
              <a:gd name="connsiteY1334" fmla="*/ 433101 h 823468"/>
              <a:gd name="connsiteX1335" fmla="*/ 12210569 w 12248682"/>
              <a:gd name="connsiteY1335" fmla="*/ 319917 h 823468"/>
              <a:gd name="connsiteX1336" fmla="*/ 12231358 w 12248682"/>
              <a:gd name="connsiteY1336" fmla="*/ 340706 h 823468"/>
              <a:gd name="connsiteX1337" fmla="*/ 12210569 w 12248682"/>
              <a:gd name="connsiteY1337" fmla="*/ 361495 h 823468"/>
              <a:gd name="connsiteX1338" fmla="*/ 12189780 w 12248682"/>
              <a:gd name="connsiteY1338" fmla="*/ 340706 h 823468"/>
              <a:gd name="connsiteX1339" fmla="*/ 12210569 w 12248682"/>
              <a:gd name="connsiteY1339" fmla="*/ 319917 h 823468"/>
              <a:gd name="connsiteX1340" fmla="*/ 12071977 w 12248682"/>
              <a:gd name="connsiteY1340" fmla="*/ 319917 h 823468"/>
              <a:gd name="connsiteX1341" fmla="*/ 12092766 w 12248682"/>
              <a:gd name="connsiteY1341" fmla="*/ 340706 h 823468"/>
              <a:gd name="connsiteX1342" fmla="*/ 12071977 w 12248682"/>
              <a:gd name="connsiteY1342" fmla="*/ 361495 h 823468"/>
              <a:gd name="connsiteX1343" fmla="*/ 12051188 w 12248682"/>
              <a:gd name="connsiteY1343" fmla="*/ 340706 h 823468"/>
              <a:gd name="connsiteX1344" fmla="*/ 12071977 w 12248682"/>
              <a:gd name="connsiteY1344" fmla="*/ 319917 h 823468"/>
              <a:gd name="connsiteX1345" fmla="*/ 11934539 w 12248682"/>
              <a:gd name="connsiteY1345" fmla="*/ 319917 h 823468"/>
              <a:gd name="connsiteX1346" fmla="*/ 11955328 w 12248682"/>
              <a:gd name="connsiteY1346" fmla="*/ 340706 h 823468"/>
              <a:gd name="connsiteX1347" fmla="*/ 11934539 w 12248682"/>
              <a:gd name="connsiteY1347" fmla="*/ 361495 h 823468"/>
              <a:gd name="connsiteX1348" fmla="*/ 11913750 w 12248682"/>
              <a:gd name="connsiteY1348" fmla="*/ 340706 h 823468"/>
              <a:gd name="connsiteX1349" fmla="*/ 11934539 w 12248682"/>
              <a:gd name="connsiteY1349" fmla="*/ 319917 h 823468"/>
              <a:gd name="connsiteX1350" fmla="*/ 11797103 w 12248682"/>
              <a:gd name="connsiteY1350" fmla="*/ 319917 h 823468"/>
              <a:gd name="connsiteX1351" fmla="*/ 11817892 w 12248682"/>
              <a:gd name="connsiteY1351" fmla="*/ 340706 h 823468"/>
              <a:gd name="connsiteX1352" fmla="*/ 11797103 w 12248682"/>
              <a:gd name="connsiteY1352" fmla="*/ 361495 h 823468"/>
              <a:gd name="connsiteX1353" fmla="*/ 11776314 w 12248682"/>
              <a:gd name="connsiteY1353" fmla="*/ 340706 h 823468"/>
              <a:gd name="connsiteX1354" fmla="*/ 11797103 w 12248682"/>
              <a:gd name="connsiteY1354" fmla="*/ 319917 h 823468"/>
              <a:gd name="connsiteX1355" fmla="*/ 10645633 w 12248682"/>
              <a:gd name="connsiteY1355" fmla="*/ 319917 h 823468"/>
              <a:gd name="connsiteX1356" fmla="*/ 10666422 w 12248682"/>
              <a:gd name="connsiteY1356" fmla="*/ 340706 h 823468"/>
              <a:gd name="connsiteX1357" fmla="*/ 10645633 w 12248682"/>
              <a:gd name="connsiteY1357" fmla="*/ 361495 h 823468"/>
              <a:gd name="connsiteX1358" fmla="*/ 10624844 w 12248682"/>
              <a:gd name="connsiteY1358" fmla="*/ 340706 h 823468"/>
              <a:gd name="connsiteX1359" fmla="*/ 10645633 w 12248682"/>
              <a:gd name="connsiteY1359" fmla="*/ 319917 h 823468"/>
              <a:gd name="connsiteX1360" fmla="*/ 9247008 w 12248682"/>
              <a:gd name="connsiteY1360" fmla="*/ 319917 h 823468"/>
              <a:gd name="connsiteX1361" fmla="*/ 9267797 w 12248682"/>
              <a:gd name="connsiteY1361" fmla="*/ 340706 h 823468"/>
              <a:gd name="connsiteX1362" fmla="*/ 9247008 w 12248682"/>
              <a:gd name="connsiteY1362" fmla="*/ 361495 h 823468"/>
              <a:gd name="connsiteX1363" fmla="*/ 9226219 w 12248682"/>
              <a:gd name="connsiteY1363" fmla="*/ 340706 h 823468"/>
              <a:gd name="connsiteX1364" fmla="*/ 9247008 w 12248682"/>
              <a:gd name="connsiteY1364" fmla="*/ 319917 h 823468"/>
              <a:gd name="connsiteX1365" fmla="*/ 8148062 w 12248682"/>
              <a:gd name="connsiteY1365" fmla="*/ 319917 h 823468"/>
              <a:gd name="connsiteX1366" fmla="*/ 8168851 w 12248682"/>
              <a:gd name="connsiteY1366" fmla="*/ 340706 h 823468"/>
              <a:gd name="connsiteX1367" fmla="*/ 8148062 w 12248682"/>
              <a:gd name="connsiteY1367" fmla="*/ 361495 h 823468"/>
              <a:gd name="connsiteX1368" fmla="*/ 8127274 w 12248682"/>
              <a:gd name="connsiteY1368" fmla="*/ 340706 h 823468"/>
              <a:gd name="connsiteX1369" fmla="*/ 8148062 w 12248682"/>
              <a:gd name="connsiteY1369" fmla="*/ 319917 h 823468"/>
              <a:gd name="connsiteX1370" fmla="*/ 8009471 w 12248682"/>
              <a:gd name="connsiteY1370" fmla="*/ 319917 h 823468"/>
              <a:gd name="connsiteX1371" fmla="*/ 8030259 w 12248682"/>
              <a:gd name="connsiteY1371" fmla="*/ 340706 h 823468"/>
              <a:gd name="connsiteX1372" fmla="*/ 8009471 w 12248682"/>
              <a:gd name="connsiteY1372" fmla="*/ 361495 h 823468"/>
              <a:gd name="connsiteX1373" fmla="*/ 7988682 w 12248682"/>
              <a:gd name="connsiteY1373" fmla="*/ 340706 h 823468"/>
              <a:gd name="connsiteX1374" fmla="*/ 8009471 w 12248682"/>
              <a:gd name="connsiteY1374" fmla="*/ 319917 h 823468"/>
              <a:gd name="connsiteX1375" fmla="*/ 7872031 w 12248682"/>
              <a:gd name="connsiteY1375" fmla="*/ 319917 h 823468"/>
              <a:gd name="connsiteX1376" fmla="*/ 7892822 w 12248682"/>
              <a:gd name="connsiteY1376" fmla="*/ 340706 h 823468"/>
              <a:gd name="connsiteX1377" fmla="*/ 7872031 w 12248682"/>
              <a:gd name="connsiteY1377" fmla="*/ 361495 h 823468"/>
              <a:gd name="connsiteX1378" fmla="*/ 7851244 w 12248682"/>
              <a:gd name="connsiteY1378" fmla="*/ 340706 h 823468"/>
              <a:gd name="connsiteX1379" fmla="*/ 7872031 w 12248682"/>
              <a:gd name="connsiteY1379" fmla="*/ 319917 h 823468"/>
              <a:gd name="connsiteX1380" fmla="*/ 7713807 w 12248682"/>
              <a:gd name="connsiteY1380" fmla="*/ 319917 h 823468"/>
              <a:gd name="connsiteX1381" fmla="*/ 7734596 w 12248682"/>
              <a:gd name="connsiteY1381" fmla="*/ 340706 h 823468"/>
              <a:gd name="connsiteX1382" fmla="*/ 7713807 w 12248682"/>
              <a:gd name="connsiteY1382" fmla="*/ 361495 h 823468"/>
              <a:gd name="connsiteX1383" fmla="*/ 7693019 w 12248682"/>
              <a:gd name="connsiteY1383" fmla="*/ 340706 h 823468"/>
              <a:gd name="connsiteX1384" fmla="*/ 7713807 w 12248682"/>
              <a:gd name="connsiteY1384" fmla="*/ 319917 h 823468"/>
              <a:gd name="connsiteX1385" fmla="*/ 7605244 w 12248682"/>
              <a:gd name="connsiteY1385" fmla="*/ 319917 h 823468"/>
              <a:gd name="connsiteX1386" fmla="*/ 7626031 w 12248682"/>
              <a:gd name="connsiteY1386" fmla="*/ 340706 h 823468"/>
              <a:gd name="connsiteX1387" fmla="*/ 7605244 w 12248682"/>
              <a:gd name="connsiteY1387" fmla="*/ 361495 h 823468"/>
              <a:gd name="connsiteX1388" fmla="*/ 7584454 w 12248682"/>
              <a:gd name="connsiteY1388" fmla="*/ 340706 h 823468"/>
              <a:gd name="connsiteX1389" fmla="*/ 7605244 w 12248682"/>
              <a:gd name="connsiteY1389" fmla="*/ 319917 h 823468"/>
              <a:gd name="connsiteX1390" fmla="*/ 7466651 w 12248682"/>
              <a:gd name="connsiteY1390" fmla="*/ 319917 h 823468"/>
              <a:gd name="connsiteX1391" fmla="*/ 7487439 w 12248682"/>
              <a:gd name="connsiteY1391" fmla="*/ 340706 h 823468"/>
              <a:gd name="connsiteX1392" fmla="*/ 7466651 w 12248682"/>
              <a:gd name="connsiteY1392" fmla="*/ 361495 h 823468"/>
              <a:gd name="connsiteX1393" fmla="*/ 7445863 w 12248682"/>
              <a:gd name="connsiteY1393" fmla="*/ 340706 h 823468"/>
              <a:gd name="connsiteX1394" fmla="*/ 7466651 w 12248682"/>
              <a:gd name="connsiteY1394" fmla="*/ 319917 h 823468"/>
              <a:gd name="connsiteX1395" fmla="*/ 7329213 w 12248682"/>
              <a:gd name="connsiteY1395" fmla="*/ 319917 h 823468"/>
              <a:gd name="connsiteX1396" fmla="*/ 7350002 w 12248682"/>
              <a:gd name="connsiteY1396" fmla="*/ 340706 h 823468"/>
              <a:gd name="connsiteX1397" fmla="*/ 7329213 w 12248682"/>
              <a:gd name="connsiteY1397" fmla="*/ 361495 h 823468"/>
              <a:gd name="connsiteX1398" fmla="*/ 7308425 w 12248682"/>
              <a:gd name="connsiteY1398" fmla="*/ 340706 h 823468"/>
              <a:gd name="connsiteX1399" fmla="*/ 7329213 w 12248682"/>
              <a:gd name="connsiteY1399" fmla="*/ 319917 h 823468"/>
              <a:gd name="connsiteX1400" fmla="*/ 7191777 w 12248682"/>
              <a:gd name="connsiteY1400" fmla="*/ 319917 h 823468"/>
              <a:gd name="connsiteX1401" fmla="*/ 7212566 w 12248682"/>
              <a:gd name="connsiteY1401" fmla="*/ 340706 h 823468"/>
              <a:gd name="connsiteX1402" fmla="*/ 7191777 w 12248682"/>
              <a:gd name="connsiteY1402" fmla="*/ 361495 h 823468"/>
              <a:gd name="connsiteX1403" fmla="*/ 7170987 w 12248682"/>
              <a:gd name="connsiteY1403" fmla="*/ 340706 h 823468"/>
              <a:gd name="connsiteX1404" fmla="*/ 7191777 w 12248682"/>
              <a:gd name="connsiteY1404" fmla="*/ 319917 h 823468"/>
              <a:gd name="connsiteX1405" fmla="*/ 6040307 w 12248682"/>
              <a:gd name="connsiteY1405" fmla="*/ 319917 h 823468"/>
              <a:gd name="connsiteX1406" fmla="*/ 6061095 w 12248682"/>
              <a:gd name="connsiteY1406" fmla="*/ 340706 h 823468"/>
              <a:gd name="connsiteX1407" fmla="*/ 6040307 w 12248682"/>
              <a:gd name="connsiteY1407" fmla="*/ 361495 h 823468"/>
              <a:gd name="connsiteX1408" fmla="*/ 6019518 w 12248682"/>
              <a:gd name="connsiteY1408" fmla="*/ 340706 h 823468"/>
              <a:gd name="connsiteX1409" fmla="*/ 6040307 w 12248682"/>
              <a:gd name="connsiteY1409" fmla="*/ 319917 h 823468"/>
              <a:gd name="connsiteX1410" fmla="*/ 4641682 w 12248682"/>
              <a:gd name="connsiteY1410" fmla="*/ 319917 h 823468"/>
              <a:gd name="connsiteX1411" fmla="*/ 4662471 w 12248682"/>
              <a:gd name="connsiteY1411" fmla="*/ 340706 h 823468"/>
              <a:gd name="connsiteX1412" fmla="*/ 4641682 w 12248682"/>
              <a:gd name="connsiteY1412" fmla="*/ 361495 h 823468"/>
              <a:gd name="connsiteX1413" fmla="*/ 4620893 w 12248682"/>
              <a:gd name="connsiteY1413" fmla="*/ 340706 h 823468"/>
              <a:gd name="connsiteX1414" fmla="*/ 4641682 w 12248682"/>
              <a:gd name="connsiteY1414" fmla="*/ 319917 h 823468"/>
              <a:gd name="connsiteX1415" fmla="*/ 3535254 w 12248682"/>
              <a:gd name="connsiteY1415" fmla="*/ 319917 h 823468"/>
              <a:gd name="connsiteX1416" fmla="*/ 3556043 w 12248682"/>
              <a:gd name="connsiteY1416" fmla="*/ 340706 h 823468"/>
              <a:gd name="connsiteX1417" fmla="*/ 3535254 w 12248682"/>
              <a:gd name="connsiteY1417" fmla="*/ 361495 h 823468"/>
              <a:gd name="connsiteX1418" fmla="*/ 3514466 w 12248682"/>
              <a:gd name="connsiteY1418" fmla="*/ 340706 h 823468"/>
              <a:gd name="connsiteX1419" fmla="*/ 3535254 w 12248682"/>
              <a:gd name="connsiteY1419" fmla="*/ 319917 h 823468"/>
              <a:gd name="connsiteX1420" fmla="*/ 3396662 w 12248682"/>
              <a:gd name="connsiteY1420" fmla="*/ 319917 h 823468"/>
              <a:gd name="connsiteX1421" fmla="*/ 3417451 w 12248682"/>
              <a:gd name="connsiteY1421" fmla="*/ 340706 h 823468"/>
              <a:gd name="connsiteX1422" fmla="*/ 3396662 w 12248682"/>
              <a:gd name="connsiteY1422" fmla="*/ 361495 h 823468"/>
              <a:gd name="connsiteX1423" fmla="*/ 3375874 w 12248682"/>
              <a:gd name="connsiteY1423" fmla="*/ 340706 h 823468"/>
              <a:gd name="connsiteX1424" fmla="*/ 3396662 w 12248682"/>
              <a:gd name="connsiteY1424" fmla="*/ 319917 h 823468"/>
              <a:gd name="connsiteX1425" fmla="*/ 3259224 w 12248682"/>
              <a:gd name="connsiteY1425" fmla="*/ 319917 h 823468"/>
              <a:gd name="connsiteX1426" fmla="*/ 3280013 w 12248682"/>
              <a:gd name="connsiteY1426" fmla="*/ 340706 h 823468"/>
              <a:gd name="connsiteX1427" fmla="*/ 3259224 w 12248682"/>
              <a:gd name="connsiteY1427" fmla="*/ 361495 h 823468"/>
              <a:gd name="connsiteX1428" fmla="*/ 3238436 w 12248682"/>
              <a:gd name="connsiteY1428" fmla="*/ 340706 h 823468"/>
              <a:gd name="connsiteX1429" fmla="*/ 3259224 w 12248682"/>
              <a:gd name="connsiteY1429" fmla="*/ 319917 h 823468"/>
              <a:gd name="connsiteX1430" fmla="*/ 3100999 w 12248682"/>
              <a:gd name="connsiteY1430" fmla="*/ 319917 h 823468"/>
              <a:gd name="connsiteX1431" fmla="*/ 3121789 w 12248682"/>
              <a:gd name="connsiteY1431" fmla="*/ 340706 h 823468"/>
              <a:gd name="connsiteX1432" fmla="*/ 3100999 w 12248682"/>
              <a:gd name="connsiteY1432" fmla="*/ 361495 h 823468"/>
              <a:gd name="connsiteX1433" fmla="*/ 3080212 w 12248682"/>
              <a:gd name="connsiteY1433" fmla="*/ 340706 h 823468"/>
              <a:gd name="connsiteX1434" fmla="*/ 3100999 w 12248682"/>
              <a:gd name="connsiteY1434" fmla="*/ 319917 h 823468"/>
              <a:gd name="connsiteX1435" fmla="*/ 2992435 w 12248682"/>
              <a:gd name="connsiteY1435" fmla="*/ 319917 h 823468"/>
              <a:gd name="connsiteX1436" fmla="*/ 3013224 w 12248682"/>
              <a:gd name="connsiteY1436" fmla="*/ 340706 h 823468"/>
              <a:gd name="connsiteX1437" fmla="*/ 2992435 w 12248682"/>
              <a:gd name="connsiteY1437" fmla="*/ 361495 h 823468"/>
              <a:gd name="connsiteX1438" fmla="*/ 2971647 w 12248682"/>
              <a:gd name="connsiteY1438" fmla="*/ 340706 h 823468"/>
              <a:gd name="connsiteX1439" fmla="*/ 2992435 w 12248682"/>
              <a:gd name="connsiteY1439" fmla="*/ 319917 h 823468"/>
              <a:gd name="connsiteX1440" fmla="*/ 2853843 w 12248682"/>
              <a:gd name="connsiteY1440" fmla="*/ 319917 h 823468"/>
              <a:gd name="connsiteX1441" fmla="*/ 2874633 w 12248682"/>
              <a:gd name="connsiteY1441" fmla="*/ 340706 h 823468"/>
              <a:gd name="connsiteX1442" fmla="*/ 2853843 w 12248682"/>
              <a:gd name="connsiteY1442" fmla="*/ 361495 h 823468"/>
              <a:gd name="connsiteX1443" fmla="*/ 2833056 w 12248682"/>
              <a:gd name="connsiteY1443" fmla="*/ 340706 h 823468"/>
              <a:gd name="connsiteX1444" fmla="*/ 2853843 w 12248682"/>
              <a:gd name="connsiteY1444" fmla="*/ 319917 h 823468"/>
              <a:gd name="connsiteX1445" fmla="*/ 2716405 w 12248682"/>
              <a:gd name="connsiteY1445" fmla="*/ 319917 h 823468"/>
              <a:gd name="connsiteX1446" fmla="*/ 2737195 w 12248682"/>
              <a:gd name="connsiteY1446" fmla="*/ 340706 h 823468"/>
              <a:gd name="connsiteX1447" fmla="*/ 2716405 w 12248682"/>
              <a:gd name="connsiteY1447" fmla="*/ 361495 h 823468"/>
              <a:gd name="connsiteX1448" fmla="*/ 2695618 w 12248682"/>
              <a:gd name="connsiteY1448" fmla="*/ 340706 h 823468"/>
              <a:gd name="connsiteX1449" fmla="*/ 2716405 w 12248682"/>
              <a:gd name="connsiteY1449" fmla="*/ 319917 h 823468"/>
              <a:gd name="connsiteX1450" fmla="*/ 2578969 w 12248682"/>
              <a:gd name="connsiteY1450" fmla="*/ 319917 h 823468"/>
              <a:gd name="connsiteX1451" fmla="*/ 2599758 w 12248682"/>
              <a:gd name="connsiteY1451" fmla="*/ 340706 h 823468"/>
              <a:gd name="connsiteX1452" fmla="*/ 2578969 w 12248682"/>
              <a:gd name="connsiteY1452" fmla="*/ 361495 h 823468"/>
              <a:gd name="connsiteX1453" fmla="*/ 2558180 w 12248682"/>
              <a:gd name="connsiteY1453" fmla="*/ 340706 h 823468"/>
              <a:gd name="connsiteX1454" fmla="*/ 2578969 w 12248682"/>
              <a:gd name="connsiteY1454" fmla="*/ 319917 h 823468"/>
              <a:gd name="connsiteX1455" fmla="*/ 1427499 w 12248682"/>
              <a:gd name="connsiteY1455" fmla="*/ 319917 h 823468"/>
              <a:gd name="connsiteX1456" fmla="*/ 1448288 w 12248682"/>
              <a:gd name="connsiteY1456" fmla="*/ 340706 h 823468"/>
              <a:gd name="connsiteX1457" fmla="*/ 1427499 w 12248682"/>
              <a:gd name="connsiteY1457" fmla="*/ 361495 h 823468"/>
              <a:gd name="connsiteX1458" fmla="*/ 1406710 w 12248682"/>
              <a:gd name="connsiteY1458" fmla="*/ 340706 h 823468"/>
              <a:gd name="connsiteX1459" fmla="*/ 1427499 w 12248682"/>
              <a:gd name="connsiteY1459" fmla="*/ 319917 h 823468"/>
              <a:gd name="connsiteX1460" fmla="*/ 28874 w 12248682"/>
              <a:gd name="connsiteY1460" fmla="*/ 319917 h 823468"/>
              <a:gd name="connsiteX1461" fmla="*/ 49663 w 12248682"/>
              <a:gd name="connsiteY1461" fmla="*/ 340706 h 823468"/>
              <a:gd name="connsiteX1462" fmla="*/ 28874 w 12248682"/>
              <a:gd name="connsiteY1462" fmla="*/ 361495 h 823468"/>
              <a:gd name="connsiteX1463" fmla="*/ 8085 w 12248682"/>
              <a:gd name="connsiteY1463" fmla="*/ 340706 h 823468"/>
              <a:gd name="connsiteX1464" fmla="*/ 28874 w 12248682"/>
              <a:gd name="connsiteY1464" fmla="*/ 319917 h 823468"/>
              <a:gd name="connsiteX1465" fmla="*/ 11658510 w 12248682"/>
              <a:gd name="connsiteY1465" fmla="*/ 316452 h 823468"/>
              <a:gd name="connsiteX1466" fmla="*/ 11681609 w 12248682"/>
              <a:gd name="connsiteY1466" fmla="*/ 339551 h 823468"/>
              <a:gd name="connsiteX1467" fmla="*/ 11658510 w 12248682"/>
              <a:gd name="connsiteY1467" fmla="*/ 362649 h 823468"/>
              <a:gd name="connsiteX1468" fmla="*/ 11635412 w 12248682"/>
              <a:gd name="connsiteY1468" fmla="*/ 339551 h 823468"/>
              <a:gd name="connsiteX1469" fmla="*/ 11658510 w 12248682"/>
              <a:gd name="connsiteY1469" fmla="*/ 316452 h 823468"/>
              <a:gd name="connsiteX1470" fmla="*/ 10508196 w 12248682"/>
              <a:gd name="connsiteY1470" fmla="*/ 316452 h 823468"/>
              <a:gd name="connsiteX1471" fmla="*/ 10531295 w 12248682"/>
              <a:gd name="connsiteY1471" fmla="*/ 339551 h 823468"/>
              <a:gd name="connsiteX1472" fmla="*/ 10508196 w 12248682"/>
              <a:gd name="connsiteY1472" fmla="*/ 362649 h 823468"/>
              <a:gd name="connsiteX1473" fmla="*/ 10485098 w 12248682"/>
              <a:gd name="connsiteY1473" fmla="*/ 339551 h 823468"/>
              <a:gd name="connsiteX1474" fmla="*/ 10508196 w 12248682"/>
              <a:gd name="connsiteY1474" fmla="*/ 316452 h 823468"/>
              <a:gd name="connsiteX1475" fmla="*/ 9405233 w 12248682"/>
              <a:gd name="connsiteY1475" fmla="*/ 316452 h 823468"/>
              <a:gd name="connsiteX1476" fmla="*/ 9428332 w 12248682"/>
              <a:gd name="connsiteY1476" fmla="*/ 339551 h 823468"/>
              <a:gd name="connsiteX1477" fmla="*/ 9405233 w 12248682"/>
              <a:gd name="connsiteY1477" fmla="*/ 362649 h 823468"/>
              <a:gd name="connsiteX1478" fmla="*/ 9382135 w 12248682"/>
              <a:gd name="connsiteY1478" fmla="*/ 339551 h 823468"/>
              <a:gd name="connsiteX1479" fmla="*/ 9405233 w 12248682"/>
              <a:gd name="connsiteY1479" fmla="*/ 316452 h 823468"/>
              <a:gd name="connsiteX1480" fmla="*/ 8285498 w 12248682"/>
              <a:gd name="connsiteY1480" fmla="*/ 316452 h 823468"/>
              <a:gd name="connsiteX1481" fmla="*/ 8308598 w 12248682"/>
              <a:gd name="connsiteY1481" fmla="*/ 339551 h 823468"/>
              <a:gd name="connsiteX1482" fmla="*/ 8285498 w 12248682"/>
              <a:gd name="connsiteY1482" fmla="*/ 362649 h 823468"/>
              <a:gd name="connsiteX1483" fmla="*/ 8262401 w 12248682"/>
              <a:gd name="connsiteY1483" fmla="*/ 339551 h 823468"/>
              <a:gd name="connsiteX1484" fmla="*/ 8285498 w 12248682"/>
              <a:gd name="connsiteY1484" fmla="*/ 316452 h 823468"/>
              <a:gd name="connsiteX1485" fmla="*/ 7053184 w 12248682"/>
              <a:gd name="connsiteY1485" fmla="*/ 316452 h 823468"/>
              <a:gd name="connsiteX1486" fmla="*/ 7076283 w 12248682"/>
              <a:gd name="connsiteY1486" fmla="*/ 339551 h 823468"/>
              <a:gd name="connsiteX1487" fmla="*/ 7053184 w 12248682"/>
              <a:gd name="connsiteY1487" fmla="*/ 362649 h 823468"/>
              <a:gd name="connsiteX1488" fmla="*/ 7030086 w 12248682"/>
              <a:gd name="connsiteY1488" fmla="*/ 339551 h 823468"/>
              <a:gd name="connsiteX1489" fmla="*/ 7053184 w 12248682"/>
              <a:gd name="connsiteY1489" fmla="*/ 316452 h 823468"/>
              <a:gd name="connsiteX1490" fmla="*/ 5902869 w 12248682"/>
              <a:gd name="connsiteY1490" fmla="*/ 316452 h 823468"/>
              <a:gd name="connsiteX1491" fmla="*/ 5925969 w 12248682"/>
              <a:gd name="connsiteY1491" fmla="*/ 339551 h 823468"/>
              <a:gd name="connsiteX1492" fmla="*/ 5902869 w 12248682"/>
              <a:gd name="connsiteY1492" fmla="*/ 362649 h 823468"/>
              <a:gd name="connsiteX1493" fmla="*/ 5879771 w 12248682"/>
              <a:gd name="connsiteY1493" fmla="*/ 339551 h 823468"/>
              <a:gd name="connsiteX1494" fmla="*/ 5902869 w 12248682"/>
              <a:gd name="connsiteY1494" fmla="*/ 316452 h 823468"/>
              <a:gd name="connsiteX1495" fmla="*/ 4799906 w 12248682"/>
              <a:gd name="connsiteY1495" fmla="*/ 316452 h 823468"/>
              <a:gd name="connsiteX1496" fmla="*/ 4823006 w 12248682"/>
              <a:gd name="connsiteY1496" fmla="*/ 339551 h 823468"/>
              <a:gd name="connsiteX1497" fmla="*/ 4799906 w 12248682"/>
              <a:gd name="connsiteY1497" fmla="*/ 362649 h 823468"/>
              <a:gd name="connsiteX1498" fmla="*/ 4776809 w 12248682"/>
              <a:gd name="connsiteY1498" fmla="*/ 339551 h 823468"/>
              <a:gd name="connsiteX1499" fmla="*/ 4799906 w 12248682"/>
              <a:gd name="connsiteY1499" fmla="*/ 316452 h 823468"/>
              <a:gd name="connsiteX1500" fmla="*/ 3672691 w 12248682"/>
              <a:gd name="connsiteY1500" fmla="*/ 316452 h 823468"/>
              <a:gd name="connsiteX1501" fmla="*/ 3695791 w 12248682"/>
              <a:gd name="connsiteY1501" fmla="*/ 339551 h 823468"/>
              <a:gd name="connsiteX1502" fmla="*/ 3672691 w 12248682"/>
              <a:gd name="connsiteY1502" fmla="*/ 362649 h 823468"/>
              <a:gd name="connsiteX1503" fmla="*/ 3649592 w 12248682"/>
              <a:gd name="connsiteY1503" fmla="*/ 339551 h 823468"/>
              <a:gd name="connsiteX1504" fmla="*/ 3672691 w 12248682"/>
              <a:gd name="connsiteY1504" fmla="*/ 316452 h 823468"/>
              <a:gd name="connsiteX1505" fmla="*/ 2440377 w 12248682"/>
              <a:gd name="connsiteY1505" fmla="*/ 316452 h 823468"/>
              <a:gd name="connsiteX1506" fmla="*/ 2463475 w 12248682"/>
              <a:gd name="connsiteY1506" fmla="*/ 339551 h 823468"/>
              <a:gd name="connsiteX1507" fmla="*/ 2440377 w 12248682"/>
              <a:gd name="connsiteY1507" fmla="*/ 362649 h 823468"/>
              <a:gd name="connsiteX1508" fmla="*/ 2417278 w 12248682"/>
              <a:gd name="connsiteY1508" fmla="*/ 339551 h 823468"/>
              <a:gd name="connsiteX1509" fmla="*/ 2440377 w 12248682"/>
              <a:gd name="connsiteY1509" fmla="*/ 316452 h 823468"/>
              <a:gd name="connsiteX1510" fmla="*/ 1290062 w 12248682"/>
              <a:gd name="connsiteY1510" fmla="*/ 316452 h 823468"/>
              <a:gd name="connsiteX1511" fmla="*/ 1313161 w 12248682"/>
              <a:gd name="connsiteY1511" fmla="*/ 339551 h 823468"/>
              <a:gd name="connsiteX1512" fmla="*/ 1290062 w 12248682"/>
              <a:gd name="connsiteY1512" fmla="*/ 362649 h 823468"/>
              <a:gd name="connsiteX1513" fmla="*/ 1266964 w 12248682"/>
              <a:gd name="connsiteY1513" fmla="*/ 339551 h 823468"/>
              <a:gd name="connsiteX1514" fmla="*/ 1290062 w 12248682"/>
              <a:gd name="connsiteY1514" fmla="*/ 316452 h 823468"/>
              <a:gd name="connsiteX1515" fmla="*/ 187100 w 12248682"/>
              <a:gd name="connsiteY1515" fmla="*/ 316452 h 823468"/>
              <a:gd name="connsiteX1516" fmla="*/ 210198 w 12248682"/>
              <a:gd name="connsiteY1516" fmla="*/ 339551 h 823468"/>
              <a:gd name="connsiteX1517" fmla="*/ 187100 w 12248682"/>
              <a:gd name="connsiteY1517" fmla="*/ 362649 h 823468"/>
              <a:gd name="connsiteX1518" fmla="*/ 164001 w 12248682"/>
              <a:gd name="connsiteY1518" fmla="*/ 339551 h 823468"/>
              <a:gd name="connsiteX1519" fmla="*/ 187100 w 12248682"/>
              <a:gd name="connsiteY1519" fmla="*/ 316452 h 823468"/>
              <a:gd name="connsiteX1520" fmla="*/ 11521073 w 12248682"/>
              <a:gd name="connsiteY1520" fmla="*/ 310678 h 823468"/>
              <a:gd name="connsiteX1521" fmla="*/ 11549947 w 12248682"/>
              <a:gd name="connsiteY1521" fmla="*/ 339551 h 823468"/>
              <a:gd name="connsiteX1522" fmla="*/ 11521073 w 12248682"/>
              <a:gd name="connsiteY1522" fmla="*/ 368425 h 823468"/>
              <a:gd name="connsiteX1523" fmla="*/ 11492200 w 12248682"/>
              <a:gd name="connsiteY1523" fmla="*/ 339551 h 823468"/>
              <a:gd name="connsiteX1524" fmla="*/ 11521073 w 12248682"/>
              <a:gd name="connsiteY1524" fmla="*/ 310678 h 823468"/>
              <a:gd name="connsiteX1525" fmla="*/ 10369604 w 12248682"/>
              <a:gd name="connsiteY1525" fmla="*/ 310678 h 823468"/>
              <a:gd name="connsiteX1526" fmla="*/ 10398477 w 12248682"/>
              <a:gd name="connsiteY1526" fmla="*/ 339551 h 823468"/>
              <a:gd name="connsiteX1527" fmla="*/ 10369604 w 12248682"/>
              <a:gd name="connsiteY1527" fmla="*/ 368425 h 823468"/>
              <a:gd name="connsiteX1528" fmla="*/ 10340730 w 12248682"/>
              <a:gd name="connsiteY1528" fmla="*/ 339551 h 823468"/>
              <a:gd name="connsiteX1529" fmla="*/ 10369604 w 12248682"/>
              <a:gd name="connsiteY1529" fmla="*/ 310678 h 823468"/>
              <a:gd name="connsiteX1530" fmla="*/ 9543825 w 12248682"/>
              <a:gd name="connsiteY1530" fmla="*/ 310678 h 823468"/>
              <a:gd name="connsiteX1531" fmla="*/ 9572699 w 12248682"/>
              <a:gd name="connsiteY1531" fmla="*/ 339551 h 823468"/>
              <a:gd name="connsiteX1532" fmla="*/ 9543825 w 12248682"/>
              <a:gd name="connsiteY1532" fmla="*/ 368425 h 823468"/>
              <a:gd name="connsiteX1533" fmla="*/ 9514953 w 12248682"/>
              <a:gd name="connsiteY1533" fmla="*/ 339551 h 823468"/>
              <a:gd name="connsiteX1534" fmla="*/ 9543825 w 12248682"/>
              <a:gd name="connsiteY1534" fmla="*/ 310678 h 823468"/>
              <a:gd name="connsiteX1535" fmla="*/ 8422936 w 12248682"/>
              <a:gd name="connsiteY1535" fmla="*/ 310678 h 823468"/>
              <a:gd name="connsiteX1536" fmla="*/ 8451809 w 12248682"/>
              <a:gd name="connsiteY1536" fmla="*/ 339551 h 823468"/>
              <a:gd name="connsiteX1537" fmla="*/ 8422936 w 12248682"/>
              <a:gd name="connsiteY1537" fmla="*/ 368425 h 823468"/>
              <a:gd name="connsiteX1538" fmla="*/ 8394062 w 12248682"/>
              <a:gd name="connsiteY1538" fmla="*/ 339551 h 823468"/>
              <a:gd name="connsiteX1539" fmla="*/ 8422936 w 12248682"/>
              <a:gd name="connsiteY1539" fmla="*/ 310678 h 823468"/>
              <a:gd name="connsiteX1540" fmla="*/ 6915746 w 12248682"/>
              <a:gd name="connsiteY1540" fmla="*/ 310678 h 823468"/>
              <a:gd name="connsiteX1541" fmla="*/ 6944621 w 12248682"/>
              <a:gd name="connsiteY1541" fmla="*/ 339551 h 823468"/>
              <a:gd name="connsiteX1542" fmla="*/ 6915746 w 12248682"/>
              <a:gd name="connsiteY1542" fmla="*/ 368425 h 823468"/>
              <a:gd name="connsiteX1543" fmla="*/ 6886873 w 12248682"/>
              <a:gd name="connsiteY1543" fmla="*/ 339551 h 823468"/>
              <a:gd name="connsiteX1544" fmla="*/ 6915746 w 12248682"/>
              <a:gd name="connsiteY1544" fmla="*/ 310678 h 823468"/>
              <a:gd name="connsiteX1545" fmla="*/ 5764278 w 12248682"/>
              <a:gd name="connsiteY1545" fmla="*/ 310678 h 823468"/>
              <a:gd name="connsiteX1546" fmla="*/ 5793151 w 12248682"/>
              <a:gd name="connsiteY1546" fmla="*/ 339551 h 823468"/>
              <a:gd name="connsiteX1547" fmla="*/ 5764278 w 12248682"/>
              <a:gd name="connsiteY1547" fmla="*/ 368425 h 823468"/>
              <a:gd name="connsiteX1548" fmla="*/ 5735405 w 12248682"/>
              <a:gd name="connsiteY1548" fmla="*/ 339551 h 823468"/>
              <a:gd name="connsiteX1549" fmla="*/ 5764278 w 12248682"/>
              <a:gd name="connsiteY1549" fmla="*/ 310678 h 823468"/>
              <a:gd name="connsiteX1550" fmla="*/ 4938500 w 12248682"/>
              <a:gd name="connsiteY1550" fmla="*/ 310678 h 823468"/>
              <a:gd name="connsiteX1551" fmla="*/ 4967373 w 12248682"/>
              <a:gd name="connsiteY1551" fmla="*/ 339551 h 823468"/>
              <a:gd name="connsiteX1552" fmla="*/ 4938500 w 12248682"/>
              <a:gd name="connsiteY1552" fmla="*/ 368425 h 823468"/>
              <a:gd name="connsiteX1553" fmla="*/ 4909627 w 12248682"/>
              <a:gd name="connsiteY1553" fmla="*/ 339551 h 823468"/>
              <a:gd name="connsiteX1554" fmla="*/ 4938500 w 12248682"/>
              <a:gd name="connsiteY1554" fmla="*/ 310678 h 823468"/>
              <a:gd name="connsiteX1555" fmla="*/ 3810129 w 12248682"/>
              <a:gd name="connsiteY1555" fmla="*/ 310678 h 823468"/>
              <a:gd name="connsiteX1556" fmla="*/ 3839002 w 12248682"/>
              <a:gd name="connsiteY1556" fmla="*/ 339551 h 823468"/>
              <a:gd name="connsiteX1557" fmla="*/ 3810129 w 12248682"/>
              <a:gd name="connsiteY1557" fmla="*/ 368425 h 823468"/>
              <a:gd name="connsiteX1558" fmla="*/ 3781255 w 12248682"/>
              <a:gd name="connsiteY1558" fmla="*/ 339551 h 823468"/>
              <a:gd name="connsiteX1559" fmla="*/ 3810129 w 12248682"/>
              <a:gd name="connsiteY1559" fmla="*/ 310678 h 823468"/>
              <a:gd name="connsiteX1560" fmla="*/ 2302939 w 12248682"/>
              <a:gd name="connsiteY1560" fmla="*/ 310678 h 823468"/>
              <a:gd name="connsiteX1561" fmla="*/ 2331813 w 12248682"/>
              <a:gd name="connsiteY1561" fmla="*/ 339551 h 823468"/>
              <a:gd name="connsiteX1562" fmla="*/ 2302939 w 12248682"/>
              <a:gd name="connsiteY1562" fmla="*/ 368425 h 823468"/>
              <a:gd name="connsiteX1563" fmla="*/ 2274067 w 12248682"/>
              <a:gd name="connsiteY1563" fmla="*/ 339551 h 823468"/>
              <a:gd name="connsiteX1564" fmla="*/ 2302939 w 12248682"/>
              <a:gd name="connsiteY1564" fmla="*/ 310678 h 823468"/>
              <a:gd name="connsiteX1565" fmla="*/ 1151470 w 12248682"/>
              <a:gd name="connsiteY1565" fmla="*/ 310678 h 823468"/>
              <a:gd name="connsiteX1566" fmla="*/ 1180343 w 12248682"/>
              <a:gd name="connsiteY1566" fmla="*/ 339551 h 823468"/>
              <a:gd name="connsiteX1567" fmla="*/ 1151470 w 12248682"/>
              <a:gd name="connsiteY1567" fmla="*/ 368425 h 823468"/>
              <a:gd name="connsiteX1568" fmla="*/ 1122596 w 12248682"/>
              <a:gd name="connsiteY1568" fmla="*/ 339551 h 823468"/>
              <a:gd name="connsiteX1569" fmla="*/ 1151470 w 12248682"/>
              <a:gd name="connsiteY1569" fmla="*/ 310678 h 823468"/>
              <a:gd name="connsiteX1570" fmla="*/ 325692 w 12248682"/>
              <a:gd name="connsiteY1570" fmla="*/ 310678 h 823468"/>
              <a:gd name="connsiteX1571" fmla="*/ 354566 w 12248682"/>
              <a:gd name="connsiteY1571" fmla="*/ 339551 h 823468"/>
              <a:gd name="connsiteX1572" fmla="*/ 325692 w 12248682"/>
              <a:gd name="connsiteY1572" fmla="*/ 368425 h 823468"/>
              <a:gd name="connsiteX1573" fmla="*/ 296819 w 12248682"/>
              <a:gd name="connsiteY1573" fmla="*/ 339551 h 823468"/>
              <a:gd name="connsiteX1574" fmla="*/ 325692 w 12248682"/>
              <a:gd name="connsiteY1574" fmla="*/ 310678 h 823468"/>
              <a:gd name="connsiteX1575" fmla="*/ 11383636 w 12248682"/>
              <a:gd name="connsiteY1575" fmla="*/ 304903 h 823468"/>
              <a:gd name="connsiteX1576" fmla="*/ 11418284 w 12248682"/>
              <a:gd name="connsiteY1576" fmla="*/ 339551 h 823468"/>
              <a:gd name="connsiteX1577" fmla="*/ 11383636 w 12248682"/>
              <a:gd name="connsiteY1577" fmla="*/ 374199 h 823468"/>
              <a:gd name="connsiteX1578" fmla="*/ 11348988 w 12248682"/>
              <a:gd name="connsiteY1578" fmla="*/ 339551 h 823468"/>
              <a:gd name="connsiteX1579" fmla="*/ 11383636 w 12248682"/>
              <a:gd name="connsiteY1579" fmla="*/ 304903 h 823468"/>
              <a:gd name="connsiteX1580" fmla="*/ 10811943 w 12248682"/>
              <a:gd name="connsiteY1580" fmla="*/ 304903 h 823468"/>
              <a:gd name="connsiteX1581" fmla="*/ 10846591 w 12248682"/>
              <a:gd name="connsiteY1581" fmla="*/ 339551 h 823468"/>
              <a:gd name="connsiteX1582" fmla="*/ 10811943 w 12248682"/>
              <a:gd name="connsiteY1582" fmla="*/ 374199 h 823468"/>
              <a:gd name="connsiteX1583" fmla="*/ 10777295 w 12248682"/>
              <a:gd name="connsiteY1583" fmla="*/ 339551 h 823468"/>
              <a:gd name="connsiteX1584" fmla="*/ 10811943 w 12248682"/>
              <a:gd name="connsiteY1584" fmla="*/ 304903 h 823468"/>
              <a:gd name="connsiteX1585" fmla="*/ 10232166 w 12248682"/>
              <a:gd name="connsiteY1585" fmla="*/ 304903 h 823468"/>
              <a:gd name="connsiteX1586" fmla="*/ 10266814 w 12248682"/>
              <a:gd name="connsiteY1586" fmla="*/ 339551 h 823468"/>
              <a:gd name="connsiteX1587" fmla="*/ 10232166 w 12248682"/>
              <a:gd name="connsiteY1587" fmla="*/ 374199 h 823468"/>
              <a:gd name="connsiteX1588" fmla="*/ 10197518 w 12248682"/>
              <a:gd name="connsiteY1588" fmla="*/ 339551 h 823468"/>
              <a:gd name="connsiteX1589" fmla="*/ 10232166 w 12248682"/>
              <a:gd name="connsiteY1589" fmla="*/ 304903 h 823468"/>
              <a:gd name="connsiteX1590" fmla="*/ 9681263 w 12248682"/>
              <a:gd name="connsiteY1590" fmla="*/ 304903 h 823468"/>
              <a:gd name="connsiteX1591" fmla="*/ 9715911 w 12248682"/>
              <a:gd name="connsiteY1591" fmla="*/ 339551 h 823468"/>
              <a:gd name="connsiteX1592" fmla="*/ 9681263 w 12248682"/>
              <a:gd name="connsiteY1592" fmla="*/ 374199 h 823468"/>
              <a:gd name="connsiteX1593" fmla="*/ 9646615 w 12248682"/>
              <a:gd name="connsiteY1593" fmla="*/ 339551 h 823468"/>
              <a:gd name="connsiteX1594" fmla="*/ 9681263 w 12248682"/>
              <a:gd name="connsiteY1594" fmla="*/ 304903 h 823468"/>
              <a:gd name="connsiteX1595" fmla="*/ 9112431 w 12248682"/>
              <a:gd name="connsiteY1595" fmla="*/ 304903 h 823468"/>
              <a:gd name="connsiteX1596" fmla="*/ 9147079 w 12248682"/>
              <a:gd name="connsiteY1596" fmla="*/ 339551 h 823468"/>
              <a:gd name="connsiteX1597" fmla="*/ 9112431 w 12248682"/>
              <a:gd name="connsiteY1597" fmla="*/ 374199 h 823468"/>
              <a:gd name="connsiteX1598" fmla="*/ 9077783 w 12248682"/>
              <a:gd name="connsiteY1598" fmla="*/ 339551 h 823468"/>
              <a:gd name="connsiteX1599" fmla="*/ 9112431 w 12248682"/>
              <a:gd name="connsiteY1599" fmla="*/ 304903 h 823468"/>
              <a:gd name="connsiteX1600" fmla="*/ 8561528 w 12248682"/>
              <a:gd name="connsiteY1600" fmla="*/ 304903 h 823468"/>
              <a:gd name="connsiteX1601" fmla="*/ 8596176 w 12248682"/>
              <a:gd name="connsiteY1601" fmla="*/ 339551 h 823468"/>
              <a:gd name="connsiteX1602" fmla="*/ 8561528 w 12248682"/>
              <a:gd name="connsiteY1602" fmla="*/ 374199 h 823468"/>
              <a:gd name="connsiteX1603" fmla="*/ 8526880 w 12248682"/>
              <a:gd name="connsiteY1603" fmla="*/ 339551 h 823468"/>
              <a:gd name="connsiteX1604" fmla="*/ 8561528 w 12248682"/>
              <a:gd name="connsiteY1604" fmla="*/ 304903 h 823468"/>
              <a:gd name="connsiteX1605" fmla="*/ 6778310 w 12248682"/>
              <a:gd name="connsiteY1605" fmla="*/ 304903 h 823468"/>
              <a:gd name="connsiteX1606" fmla="*/ 6812959 w 12248682"/>
              <a:gd name="connsiteY1606" fmla="*/ 339551 h 823468"/>
              <a:gd name="connsiteX1607" fmla="*/ 6778310 w 12248682"/>
              <a:gd name="connsiteY1607" fmla="*/ 374199 h 823468"/>
              <a:gd name="connsiteX1608" fmla="*/ 6743662 w 12248682"/>
              <a:gd name="connsiteY1608" fmla="*/ 339551 h 823468"/>
              <a:gd name="connsiteX1609" fmla="*/ 6778310 w 12248682"/>
              <a:gd name="connsiteY1609" fmla="*/ 304903 h 823468"/>
              <a:gd name="connsiteX1610" fmla="*/ 6206618 w 12248682"/>
              <a:gd name="connsiteY1610" fmla="*/ 304903 h 823468"/>
              <a:gd name="connsiteX1611" fmla="*/ 6241265 w 12248682"/>
              <a:gd name="connsiteY1611" fmla="*/ 339551 h 823468"/>
              <a:gd name="connsiteX1612" fmla="*/ 6206618 w 12248682"/>
              <a:gd name="connsiteY1612" fmla="*/ 374199 h 823468"/>
              <a:gd name="connsiteX1613" fmla="*/ 6171969 w 12248682"/>
              <a:gd name="connsiteY1613" fmla="*/ 339551 h 823468"/>
              <a:gd name="connsiteX1614" fmla="*/ 6206618 w 12248682"/>
              <a:gd name="connsiteY1614" fmla="*/ 304903 h 823468"/>
              <a:gd name="connsiteX1615" fmla="*/ 5626840 w 12248682"/>
              <a:gd name="connsiteY1615" fmla="*/ 304903 h 823468"/>
              <a:gd name="connsiteX1616" fmla="*/ 5661488 w 12248682"/>
              <a:gd name="connsiteY1616" fmla="*/ 339551 h 823468"/>
              <a:gd name="connsiteX1617" fmla="*/ 5626840 w 12248682"/>
              <a:gd name="connsiteY1617" fmla="*/ 374199 h 823468"/>
              <a:gd name="connsiteX1618" fmla="*/ 5592192 w 12248682"/>
              <a:gd name="connsiteY1618" fmla="*/ 339551 h 823468"/>
              <a:gd name="connsiteX1619" fmla="*/ 5626840 w 12248682"/>
              <a:gd name="connsiteY1619" fmla="*/ 304903 h 823468"/>
              <a:gd name="connsiteX1620" fmla="*/ 5075938 w 12248682"/>
              <a:gd name="connsiteY1620" fmla="*/ 304903 h 823468"/>
              <a:gd name="connsiteX1621" fmla="*/ 5110584 w 12248682"/>
              <a:gd name="connsiteY1621" fmla="*/ 339551 h 823468"/>
              <a:gd name="connsiteX1622" fmla="*/ 5075938 w 12248682"/>
              <a:gd name="connsiteY1622" fmla="*/ 374199 h 823468"/>
              <a:gd name="connsiteX1623" fmla="*/ 5041289 w 12248682"/>
              <a:gd name="connsiteY1623" fmla="*/ 339551 h 823468"/>
              <a:gd name="connsiteX1624" fmla="*/ 5075938 w 12248682"/>
              <a:gd name="connsiteY1624" fmla="*/ 304903 h 823468"/>
              <a:gd name="connsiteX1625" fmla="*/ 4499625 w 12248682"/>
              <a:gd name="connsiteY1625" fmla="*/ 304903 h 823468"/>
              <a:gd name="connsiteX1626" fmla="*/ 4534273 w 12248682"/>
              <a:gd name="connsiteY1626" fmla="*/ 339551 h 823468"/>
              <a:gd name="connsiteX1627" fmla="*/ 4499625 w 12248682"/>
              <a:gd name="connsiteY1627" fmla="*/ 374199 h 823468"/>
              <a:gd name="connsiteX1628" fmla="*/ 4464976 w 12248682"/>
              <a:gd name="connsiteY1628" fmla="*/ 339551 h 823468"/>
              <a:gd name="connsiteX1629" fmla="*/ 4499625 w 12248682"/>
              <a:gd name="connsiteY1629" fmla="*/ 304903 h 823468"/>
              <a:gd name="connsiteX1630" fmla="*/ 3948721 w 12248682"/>
              <a:gd name="connsiteY1630" fmla="*/ 304903 h 823468"/>
              <a:gd name="connsiteX1631" fmla="*/ 3983369 w 12248682"/>
              <a:gd name="connsiteY1631" fmla="*/ 339551 h 823468"/>
              <a:gd name="connsiteX1632" fmla="*/ 3948721 w 12248682"/>
              <a:gd name="connsiteY1632" fmla="*/ 374199 h 823468"/>
              <a:gd name="connsiteX1633" fmla="*/ 3914073 w 12248682"/>
              <a:gd name="connsiteY1633" fmla="*/ 339551 h 823468"/>
              <a:gd name="connsiteX1634" fmla="*/ 3948721 w 12248682"/>
              <a:gd name="connsiteY1634" fmla="*/ 304903 h 823468"/>
              <a:gd name="connsiteX1635" fmla="*/ 2165502 w 12248682"/>
              <a:gd name="connsiteY1635" fmla="*/ 304903 h 823468"/>
              <a:gd name="connsiteX1636" fmla="*/ 2200150 w 12248682"/>
              <a:gd name="connsiteY1636" fmla="*/ 339551 h 823468"/>
              <a:gd name="connsiteX1637" fmla="*/ 2165502 w 12248682"/>
              <a:gd name="connsiteY1637" fmla="*/ 374199 h 823468"/>
              <a:gd name="connsiteX1638" fmla="*/ 2130854 w 12248682"/>
              <a:gd name="connsiteY1638" fmla="*/ 339551 h 823468"/>
              <a:gd name="connsiteX1639" fmla="*/ 2165502 w 12248682"/>
              <a:gd name="connsiteY1639" fmla="*/ 304903 h 823468"/>
              <a:gd name="connsiteX1640" fmla="*/ 1593810 w 12248682"/>
              <a:gd name="connsiteY1640" fmla="*/ 304903 h 823468"/>
              <a:gd name="connsiteX1641" fmla="*/ 1628457 w 12248682"/>
              <a:gd name="connsiteY1641" fmla="*/ 339551 h 823468"/>
              <a:gd name="connsiteX1642" fmla="*/ 1593810 w 12248682"/>
              <a:gd name="connsiteY1642" fmla="*/ 374199 h 823468"/>
              <a:gd name="connsiteX1643" fmla="*/ 1559161 w 12248682"/>
              <a:gd name="connsiteY1643" fmla="*/ 339551 h 823468"/>
              <a:gd name="connsiteX1644" fmla="*/ 1593810 w 12248682"/>
              <a:gd name="connsiteY1644" fmla="*/ 304903 h 823468"/>
              <a:gd name="connsiteX1645" fmla="*/ 1014032 w 12248682"/>
              <a:gd name="connsiteY1645" fmla="*/ 304903 h 823468"/>
              <a:gd name="connsiteX1646" fmla="*/ 1048681 w 12248682"/>
              <a:gd name="connsiteY1646" fmla="*/ 339551 h 823468"/>
              <a:gd name="connsiteX1647" fmla="*/ 1014032 w 12248682"/>
              <a:gd name="connsiteY1647" fmla="*/ 374199 h 823468"/>
              <a:gd name="connsiteX1648" fmla="*/ 979384 w 12248682"/>
              <a:gd name="connsiteY1648" fmla="*/ 339551 h 823468"/>
              <a:gd name="connsiteX1649" fmla="*/ 1014032 w 12248682"/>
              <a:gd name="connsiteY1649" fmla="*/ 304903 h 823468"/>
              <a:gd name="connsiteX1650" fmla="*/ 463129 w 12248682"/>
              <a:gd name="connsiteY1650" fmla="*/ 304903 h 823468"/>
              <a:gd name="connsiteX1651" fmla="*/ 497778 w 12248682"/>
              <a:gd name="connsiteY1651" fmla="*/ 339551 h 823468"/>
              <a:gd name="connsiteX1652" fmla="*/ 463129 w 12248682"/>
              <a:gd name="connsiteY1652" fmla="*/ 374199 h 823468"/>
              <a:gd name="connsiteX1653" fmla="*/ 428481 w 12248682"/>
              <a:gd name="connsiteY1653" fmla="*/ 339551 h 823468"/>
              <a:gd name="connsiteX1654" fmla="*/ 463129 w 12248682"/>
              <a:gd name="connsiteY1654" fmla="*/ 304903 h 823468"/>
              <a:gd name="connsiteX1655" fmla="*/ 11245044 w 12248682"/>
              <a:gd name="connsiteY1655" fmla="*/ 299129 h 823468"/>
              <a:gd name="connsiteX1656" fmla="*/ 11285466 w 12248682"/>
              <a:gd name="connsiteY1656" fmla="*/ 339551 h 823468"/>
              <a:gd name="connsiteX1657" fmla="*/ 11245044 w 12248682"/>
              <a:gd name="connsiteY1657" fmla="*/ 379974 h 823468"/>
              <a:gd name="connsiteX1658" fmla="*/ 11204621 w 12248682"/>
              <a:gd name="connsiteY1658" fmla="*/ 339551 h 823468"/>
              <a:gd name="connsiteX1659" fmla="*/ 11245044 w 12248682"/>
              <a:gd name="connsiteY1659" fmla="*/ 299129 h 823468"/>
              <a:gd name="connsiteX1660" fmla="*/ 10970170 w 12248682"/>
              <a:gd name="connsiteY1660" fmla="*/ 299129 h 823468"/>
              <a:gd name="connsiteX1661" fmla="*/ 11010592 w 12248682"/>
              <a:gd name="connsiteY1661" fmla="*/ 339551 h 823468"/>
              <a:gd name="connsiteX1662" fmla="*/ 10970170 w 12248682"/>
              <a:gd name="connsiteY1662" fmla="*/ 379974 h 823468"/>
              <a:gd name="connsiteX1663" fmla="*/ 10929746 w 12248682"/>
              <a:gd name="connsiteY1663" fmla="*/ 339551 h 823468"/>
              <a:gd name="connsiteX1664" fmla="*/ 10970170 w 12248682"/>
              <a:gd name="connsiteY1664" fmla="*/ 299129 h 823468"/>
              <a:gd name="connsiteX1665" fmla="*/ 10094730 w 12248682"/>
              <a:gd name="connsiteY1665" fmla="*/ 299129 h 823468"/>
              <a:gd name="connsiteX1666" fmla="*/ 10135152 w 12248682"/>
              <a:gd name="connsiteY1666" fmla="*/ 339551 h 823468"/>
              <a:gd name="connsiteX1667" fmla="*/ 10094730 w 12248682"/>
              <a:gd name="connsiteY1667" fmla="*/ 379974 h 823468"/>
              <a:gd name="connsiteX1668" fmla="*/ 10054306 w 12248682"/>
              <a:gd name="connsiteY1668" fmla="*/ 339551 h 823468"/>
              <a:gd name="connsiteX1669" fmla="*/ 10094730 w 12248682"/>
              <a:gd name="connsiteY1669" fmla="*/ 299129 h 823468"/>
              <a:gd name="connsiteX1670" fmla="*/ 9818700 w 12248682"/>
              <a:gd name="connsiteY1670" fmla="*/ 299129 h 823468"/>
              <a:gd name="connsiteX1671" fmla="*/ 9859123 w 12248682"/>
              <a:gd name="connsiteY1671" fmla="*/ 340706 h 823468"/>
              <a:gd name="connsiteX1672" fmla="*/ 9818700 w 12248682"/>
              <a:gd name="connsiteY1672" fmla="*/ 381128 h 823468"/>
              <a:gd name="connsiteX1673" fmla="*/ 9778278 w 12248682"/>
              <a:gd name="connsiteY1673" fmla="*/ 339551 h 823468"/>
              <a:gd name="connsiteX1674" fmla="*/ 9818700 w 12248682"/>
              <a:gd name="connsiteY1674" fmla="*/ 299129 h 823468"/>
              <a:gd name="connsiteX1675" fmla="*/ 8974994 w 12248682"/>
              <a:gd name="connsiteY1675" fmla="*/ 299129 h 823468"/>
              <a:gd name="connsiteX1676" fmla="*/ 9015416 w 12248682"/>
              <a:gd name="connsiteY1676" fmla="*/ 339551 h 823468"/>
              <a:gd name="connsiteX1677" fmla="*/ 8974994 w 12248682"/>
              <a:gd name="connsiteY1677" fmla="*/ 379974 h 823468"/>
              <a:gd name="connsiteX1678" fmla="*/ 8934571 w 12248682"/>
              <a:gd name="connsiteY1678" fmla="*/ 339551 h 823468"/>
              <a:gd name="connsiteX1679" fmla="*/ 8974994 w 12248682"/>
              <a:gd name="connsiteY1679" fmla="*/ 299129 h 823468"/>
              <a:gd name="connsiteX1680" fmla="*/ 8698965 w 12248682"/>
              <a:gd name="connsiteY1680" fmla="*/ 299129 h 823468"/>
              <a:gd name="connsiteX1681" fmla="*/ 8739388 w 12248682"/>
              <a:gd name="connsiteY1681" fmla="*/ 339551 h 823468"/>
              <a:gd name="connsiteX1682" fmla="*/ 8698965 w 12248682"/>
              <a:gd name="connsiteY1682" fmla="*/ 379974 h 823468"/>
              <a:gd name="connsiteX1683" fmla="*/ 8658542 w 12248682"/>
              <a:gd name="connsiteY1683" fmla="*/ 339551 h 823468"/>
              <a:gd name="connsiteX1684" fmla="*/ 8698965 w 12248682"/>
              <a:gd name="connsiteY1684" fmla="*/ 299129 h 823468"/>
              <a:gd name="connsiteX1685" fmla="*/ 6639717 w 12248682"/>
              <a:gd name="connsiteY1685" fmla="*/ 299129 h 823468"/>
              <a:gd name="connsiteX1686" fmla="*/ 6680139 w 12248682"/>
              <a:gd name="connsiteY1686" fmla="*/ 339551 h 823468"/>
              <a:gd name="connsiteX1687" fmla="*/ 6639717 w 12248682"/>
              <a:gd name="connsiteY1687" fmla="*/ 379974 h 823468"/>
              <a:gd name="connsiteX1688" fmla="*/ 6599295 w 12248682"/>
              <a:gd name="connsiteY1688" fmla="*/ 339551 h 823468"/>
              <a:gd name="connsiteX1689" fmla="*/ 6639717 w 12248682"/>
              <a:gd name="connsiteY1689" fmla="*/ 299129 h 823468"/>
              <a:gd name="connsiteX1690" fmla="*/ 6364844 w 12248682"/>
              <a:gd name="connsiteY1690" fmla="*/ 299129 h 823468"/>
              <a:gd name="connsiteX1691" fmla="*/ 6405265 w 12248682"/>
              <a:gd name="connsiteY1691" fmla="*/ 339551 h 823468"/>
              <a:gd name="connsiteX1692" fmla="*/ 6364844 w 12248682"/>
              <a:gd name="connsiteY1692" fmla="*/ 379974 h 823468"/>
              <a:gd name="connsiteX1693" fmla="*/ 6324420 w 12248682"/>
              <a:gd name="connsiteY1693" fmla="*/ 339551 h 823468"/>
              <a:gd name="connsiteX1694" fmla="*/ 6364844 w 12248682"/>
              <a:gd name="connsiteY1694" fmla="*/ 299129 h 823468"/>
              <a:gd name="connsiteX1695" fmla="*/ 5489404 w 12248682"/>
              <a:gd name="connsiteY1695" fmla="*/ 299129 h 823468"/>
              <a:gd name="connsiteX1696" fmla="*/ 5529826 w 12248682"/>
              <a:gd name="connsiteY1696" fmla="*/ 339551 h 823468"/>
              <a:gd name="connsiteX1697" fmla="*/ 5489404 w 12248682"/>
              <a:gd name="connsiteY1697" fmla="*/ 379974 h 823468"/>
              <a:gd name="connsiteX1698" fmla="*/ 5448980 w 12248682"/>
              <a:gd name="connsiteY1698" fmla="*/ 339551 h 823468"/>
              <a:gd name="connsiteX1699" fmla="*/ 5489404 w 12248682"/>
              <a:gd name="connsiteY1699" fmla="*/ 299129 h 823468"/>
              <a:gd name="connsiteX1700" fmla="*/ 5213373 w 12248682"/>
              <a:gd name="connsiteY1700" fmla="*/ 299129 h 823468"/>
              <a:gd name="connsiteX1701" fmla="*/ 5253797 w 12248682"/>
              <a:gd name="connsiteY1701" fmla="*/ 339551 h 823468"/>
              <a:gd name="connsiteX1702" fmla="*/ 5213373 w 12248682"/>
              <a:gd name="connsiteY1702" fmla="*/ 379974 h 823468"/>
              <a:gd name="connsiteX1703" fmla="*/ 5172952 w 12248682"/>
              <a:gd name="connsiteY1703" fmla="*/ 339551 h 823468"/>
              <a:gd name="connsiteX1704" fmla="*/ 5213373 w 12248682"/>
              <a:gd name="connsiteY1704" fmla="*/ 299129 h 823468"/>
              <a:gd name="connsiteX1705" fmla="*/ 4361031 w 12248682"/>
              <a:gd name="connsiteY1705" fmla="*/ 299129 h 823468"/>
              <a:gd name="connsiteX1706" fmla="*/ 4401455 w 12248682"/>
              <a:gd name="connsiteY1706" fmla="*/ 339551 h 823468"/>
              <a:gd name="connsiteX1707" fmla="*/ 4361031 w 12248682"/>
              <a:gd name="connsiteY1707" fmla="*/ 379974 h 823468"/>
              <a:gd name="connsiteX1708" fmla="*/ 4320610 w 12248682"/>
              <a:gd name="connsiteY1708" fmla="*/ 339551 h 823468"/>
              <a:gd name="connsiteX1709" fmla="*/ 4361031 w 12248682"/>
              <a:gd name="connsiteY1709" fmla="*/ 299129 h 823468"/>
              <a:gd name="connsiteX1710" fmla="*/ 4086158 w 12248682"/>
              <a:gd name="connsiteY1710" fmla="*/ 299129 h 823468"/>
              <a:gd name="connsiteX1711" fmla="*/ 4126582 w 12248682"/>
              <a:gd name="connsiteY1711" fmla="*/ 339551 h 823468"/>
              <a:gd name="connsiteX1712" fmla="*/ 4086158 w 12248682"/>
              <a:gd name="connsiteY1712" fmla="*/ 379974 h 823468"/>
              <a:gd name="connsiteX1713" fmla="*/ 4045735 w 12248682"/>
              <a:gd name="connsiteY1713" fmla="*/ 339551 h 823468"/>
              <a:gd name="connsiteX1714" fmla="*/ 4086158 w 12248682"/>
              <a:gd name="connsiteY1714" fmla="*/ 299129 h 823468"/>
              <a:gd name="connsiteX1715" fmla="*/ 2026910 w 12248682"/>
              <a:gd name="connsiteY1715" fmla="*/ 299129 h 823468"/>
              <a:gd name="connsiteX1716" fmla="*/ 2067332 w 12248682"/>
              <a:gd name="connsiteY1716" fmla="*/ 339551 h 823468"/>
              <a:gd name="connsiteX1717" fmla="*/ 2026910 w 12248682"/>
              <a:gd name="connsiteY1717" fmla="*/ 379974 h 823468"/>
              <a:gd name="connsiteX1718" fmla="*/ 1986487 w 12248682"/>
              <a:gd name="connsiteY1718" fmla="*/ 339551 h 823468"/>
              <a:gd name="connsiteX1719" fmla="*/ 2026910 w 12248682"/>
              <a:gd name="connsiteY1719" fmla="*/ 299129 h 823468"/>
              <a:gd name="connsiteX1720" fmla="*/ 1752036 w 12248682"/>
              <a:gd name="connsiteY1720" fmla="*/ 299129 h 823468"/>
              <a:gd name="connsiteX1721" fmla="*/ 1792458 w 12248682"/>
              <a:gd name="connsiteY1721" fmla="*/ 339551 h 823468"/>
              <a:gd name="connsiteX1722" fmla="*/ 1752036 w 12248682"/>
              <a:gd name="connsiteY1722" fmla="*/ 379974 h 823468"/>
              <a:gd name="connsiteX1723" fmla="*/ 1711613 w 12248682"/>
              <a:gd name="connsiteY1723" fmla="*/ 339551 h 823468"/>
              <a:gd name="connsiteX1724" fmla="*/ 1752036 w 12248682"/>
              <a:gd name="connsiteY1724" fmla="*/ 299129 h 823468"/>
              <a:gd name="connsiteX1725" fmla="*/ 876596 w 12248682"/>
              <a:gd name="connsiteY1725" fmla="*/ 299129 h 823468"/>
              <a:gd name="connsiteX1726" fmla="*/ 917018 w 12248682"/>
              <a:gd name="connsiteY1726" fmla="*/ 339551 h 823468"/>
              <a:gd name="connsiteX1727" fmla="*/ 876596 w 12248682"/>
              <a:gd name="connsiteY1727" fmla="*/ 379974 h 823468"/>
              <a:gd name="connsiteX1728" fmla="*/ 836172 w 12248682"/>
              <a:gd name="connsiteY1728" fmla="*/ 339551 h 823468"/>
              <a:gd name="connsiteX1729" fmla="*/ 876596 w 12248682"/>
              <a:gd name="connsiteY1729" fmla="*/ 299129 h 823468"/>
              <a:gd name="connsiteX1730" fmla="*/ 600566 w 12248682"/>
              <a:gd name="connsiteY1730" fmla="*/ 299129 h 823468"/>
              <a:gd name="connsiteX1731" fmla="*/ 640989 w 12248682"/>
              <a:gd name="connsiteY1731" fmla="*/ 340706 h 823468"/>
              <a:gd name="connsiteX1732" fmla="*/ 600566 w 12248682"/>
              <a:gd name="connsiteY1732" fmla="*/ 381128 h 823468"/>
              <a:gd name="connsiteX1733" fmla="*/ 560144 w 12248682"/>
              <a:gd name="connsiteY1733" fmla="*/ 339551 h 823468"/>
              <a:gd name="connsiteX1734" fmla="*/ 600566 w 12248682"/>
              <a:gd name="connsiteY1734" fmla="*/ 299129 h 823468"/>
              <a:gd name="connsiteX1735" fmla="*/ 11107606 w 12248682"/>
              <a:gd name="connsiteY1735" fmla="*/ 288734 h 823468"/>
              <a:gd name="connsiteX1736" fmla="*/ 11158424 w 12248682"/>
              <a:gd name="connsiteY1736" fmla="*/ 339551 h 823468"/>
              <a:gd name="connsiteX1737" fmla="*/ 11107606 w 12248682"/>
              <a:gd name="connsiteY1737" fmla="*/ 390368 h 823468"/>
              <a:gd name="connsiteX1738" fmla="*/ 11056789 w 12248682"/>
              <a:gd name="connsiteY1738" fmla="*/ 339551 h 823468"/>
              <a:gd name="connsiteX1739" fmla="*/ 11107606 w 12248682"/>
              <a:gd name="connsiteY1739" fmla="*/ 288734 h 823468"/>
              <a:gd name="connsiteX1740" fmla="*/ 9957292 w 12248682"/>
              <a:gd name="connsiteY1740" fmla="*/ 288734 h 823468"/>
              <a:gd name="connsiteX1741" fmla="*/ 10008109 w 12248682"/>
              <a:gd name="connsiteY1741" fmla="*/ 339551 h 823468"/>
              <a:gd name="connsiteX1742" fmla="*/ 9957292 w 12248682"/>
              <a:gd name="connsiteY1742" fmla="*/ 390368 h 823468"/>
              <a:gd name="connsiteX1743" fmla="*/ 9906475 w 12248682"/>
              <a:gd name="connsiteY1743" fmla="*/ 339551 h 823468"/>
              <a:gd name="connsiteX1744" fmla="*/ 9957292 w 12248682"/>
              <a:gd name="connsiteY1744" fmla="*/ 288734 h 823468"/>
              <a:gd name="connsiteX1745" fmla="*/ 8836402 w 12248682"/>
              <a:gd name="connsiteY1745" fmla="*/ 288734 h 823468"/>
              <a:gd name="connsiteX1746" fmla="*/ 8887219 w 12248682"/>
              <a:gd name="connsiteY1746" fmla="*/ 339551 h 823468"/>
              <a:gd name="connsiteX1747" fmla="*/ 8836402 w 12248682"/>
              <a:gd name="connsiteY1747" fmla="*/ 390368 h 823468"/>
              <a:gd name="connsiteX1748" fmla="*/ 8785585 w 12248682"/>
              <a:gd name="connsiteY1748" fmla="*/ 339551 h 823468"/>
              <a:gd name="connsiteX1749" fmla="*/ 8836402 w 12248682"/>
              <a:gd name="connsiteY1749" fmla="*/ 288734 h 823468"/>
              <a:gd name="connsiteX1750" fmla="*/ 6502281 w 12248682"/>
              <a:gd name="connsiteY1750" fmla="*/ 288734 h 823468"/>
              <a:gd name="connsiteX1751" fmla="*/ 6553098 w 12248682"/>
              <a:gd name="connsiteY1751" fmla="*/ 339551 h 823468"/>
              <a:gd name="connsiteX1752" fmla="*/ 6502281 w 12248682"/>
              <a:gd name="connsiteY1752" fmla="*/ 390368 h 823468"/>
              <a:gd name="connsiteX1753" fmla="*/ 6451462 w 12248682"/>
              <a:gd name="connsiteY1753" fmla="*/ 339551 h 823468"/>
              <a:gd name="connsiteX1754" fmla="*/ 6502281 w 12248682"/>
              <a:gd name="connsiteY1754" fmla="*/ 288734 h 823468"/>
              <a:gd name="connsiteX1755" fmla="*/ 5351966 w 12248682"/>
              <a:gd name="connsiteY1755" fmla="*/ 288734 h 823468"/>
              <a:gd name="connsiteX1756" fmla="*/ 5402784 w 12248682"/>
              <a:gd name="connsiteY1756" fmla="*/ 339551 h 823468"/>
              <a:gd name="connsiteX1757" fmla="*/ 5351966 w 12248682"/>
              <a:gd name="connsiteY1757" fmla="*/ 390368 h 823468"/>
              <a:gd name="connsiteX1758" fmla="*/ 5301149 w 12248682"/>
              <a:gd name="connsiteY1758" fmla="*/ 339551 h 823468"/>
              <a:gd name="connsiteX1759" fmla="*/ 5351966 w 12248682"/>
              <a:gd name="connsiteY1759" fmla="*/ 288734 h 823468"/>
              <a:gd name="connsiteX1760" fmla="*/ 4223596 w 12248682"/>
              <a:gd name="connsiteY1760" fmla="*/ 288734 h 823468"/>
              <a:gd name="connsiteX1761" fmla="*/ 4274413 w 12248682"/>
              <a:gd name="connsiteY1761" fmla="*/ 339551 h 823468"/>
              <a:gd name="connsiteX1762" fmla="*/ 4223596 w 12248682"/>
              <a:gd name="connsiteY1762" fmla="*/ 390368 h 823468"/>
              <a:gd name="connsiteX1763" fmla="*/ 4172779 w 12248682"/>
              <a:gd name="connsiteY1763" fmla="*/ 339551 h 823468"/>
              <a:gd name="connsiteX1764" fmla="*/ 4223596 w 12248682"/>
              <a:gd name="connsiteY1764" fmla="*/ 288734 h 823468"/>
              <a:gd name="connsiteX1765" fmla="*/ 1889473 w 12248682"/>
              <a:gd name="connsiteY1765" fmla="*/ 288734 h 823468"/>
              <a:gd name="connsiteX1766" fmla="*/ 1940290 w 12248682"/>
              <a:gd name="connsiteY1766" fmla="*/ 339551 h 823468"/>
              <a:gd name="connsiteX1767" fmla="*/ 1889473 w 12248682"/>
              <a:gd name="connsiteY1767" fmla="*/ 390368 h 823468"/>
              <a:gd name="connsiteX1768" fmla="*/ 1838656 w 12248682"/>
              <a:gd name="connsiteY1768" fmla="*/ 339551 h 823468"/>
              <a:gd name="connsiteX1769" fmla="*/ 1889473 w 12248682"/>
              <a:gd name="connsiteY1769" fmla="*/ 288734 h 823468"/>
              <a:gd name="connsiteX1770" fmla="*/ 739158 w 12248682"/>
              <a:gd name="connsiteY1770" fmla="*/ 288734 h 823468"/>
              <a:gd name="connsiteX1771" fmla="*/ 789975 w 12248682"/>
              <a:gd name="connsiteY1771" fmla="*/ 339551 h 823468"/>
              <a:gd name="connsiteX1772" fmla="*/ 739158 w 12248682"/>
              <a:gd name="connsiteY1772" fmla="*/ 390368 h 823468"/>
              <a:gd name="connsiteX1773" fmla="*/ 688341 w 12248682"/>
              <a:gd name="connsiteY1773" fmla="*/ 339551 h 823468"/>
              <a:gd name="connsiteX1774" fmla="*/ 739158 w 12248682"/>
              <a:gd name="connsiteY1774" fmla="*/ 288734 h 823468"/>
              <a:gd name="connsiteX1775" fmla="*/ 12227892 w 12248682"/>
              <a:gd name="connsiteY1775" fmla="*/ 175550 h 823468"/>
              <a:gd name="connsiteX1776" fmla="*/ 12248682 w 12248682"/>
              <a:gd name="connsiteY1776" fmla="*/ 196339 h 823468"/>
              <a:gd name="connsiteX1777" fmla="*/ 12227892 w 12248682"/>
              <a:gd name="connsiteY1777" fmla="*/ 217128 h 823468"/>
              <a:gd name="connsiteX1778" fmla="*/ 12207104 w 12248682"/>
              <a:gd name="connsiteY1778" fmla="*/ 196339 h 823468"/>
              <a:gd name="connsiteX1779" fmla="*/ 12227892 w 12248682"/>
              <a:gd name="connsiteY1779" fmla="*/ 175550 h 823468"/>
              <a:gd name="connsiteX1780" fmla="*/ 12091610 w 12248682"/>
              <a:gd name="connsiteY1780" fmla="*/ 175550 h 823468"/>
              <a:gd name="connsiteX1781" fmla="*/ 12112399 w 12248682"/>
              <a:gd name="connsiteY1781" fmla="*/ 196339 h 823468"/>
              <a:gd name="connsiteX1782" fmla="*/ 12091610 w 12248682"/>
              <a:gd name="connsiteY1782" fmla="*/ 217128 h 823468"/>
              <a:gd name="connsiteX1783" fmla="*/ 12070822 w 12248682"/>
              <a:gd name="connsiteY1783" fmla="*/ 196339 h 823468"/>
              <a:gd name="connsiteX1784" fmla="*/ 12091610 w 12248682"/>
              <a:gd name="connsiteY1784" fmla="*/ 175550 h 823468"/>
              <a:gd name="connsiteX1785" fmla="*/ 11956484 w 12248682"/>
              <a:gd name="connsiteY1785" fmla="*/ 175550 h 823468"/>
              <a:gd name="connsiteX1786" fmla="*/ 11977272 w 12248682"/>
              <a:gd name="connsiteY1786" fmla="*/ 196339 h 823468"/>
              <a:gd name="connsiteX1787" fmla="*/ 11956484 w 12248682"/>
              <a:gd name="connsiteY1787" fmla="*/ 217128 h 823468"/>
              <a:gd name="connsiteX1788" fmla="*/ 11935695 w 12248682"/>
              <a:gd name="connsiteY1788" fmla="*/ 196339 h 823468"/>
              <a:gd name="connsiteX1789" fmla="*/ 11956484 w 12248682"/>
              <a:gd name="connsiteY1789" fmla="*/ 175550 h 823468"/>
              <a:gd name="connsiteX1790" fmla="*/ 11821356 w 12248682"/>
              <a:gd name="connsiteY1790" fmla="*/ 175550 h 823468"/>
              <a:gd name="connsiteX1791" fmla="*/ 11842144 w 12248682"/>
              <a:gd name="connsiteY1791" fmla="*/ 196339 h 823468"/>
              <a:gd name="connsiteX1792" fmla="*/ 11821356 w 12248682"/>
              <a:gd name="connsiteY1792" fmla="*/ 217128 h 823468"/>
              <a:gd name="connsiteX1793" fmla="*/ 11800567 w 12248682"/>
              <a:gd name="connsiteY1793" fmla="*/ 196339 h 823468"/>
              <a:gd name="connsiteX1794" fmla="*/ 11821356 w 12248682"/>
              <a:gd name="connsiteY1794" fmla="*/ 175550 h 823468"/>
              <a:gd name="connsiteX1795" fmla="*/ 11685074 w 12248682"/>
              <a:gd name="connsiteY1795" fmla="*/ 175550 h 823468"/>
              <a:gd name="connsiteX1796" fmla="*/ 11705862 w 12248682"/>
              <a:gd name="connsiteY1796" fmla="*/ 196339 h 823468"/>
              <a:gd name="connsiteX1797" fmla="*/ 11685074 w 12248682"/>
              <a:gd name="connsiteY1797" fmla="*/ 217128 h 823468"/>
              <a:gd name="connsiteX1798" fmla="*/ 11664285 w 12248682"/>
              <a:gd name="connsiteY1798" fmla="*/ 196339 h 823468"/>
              <a:gd name="connsiteX1799" fmla="*/ 11685074 w 12248682"/>
              <a:gd name="connsiteY1799" fmla="*/ 175550 h 823468"/>
              <a:gd name="connsiteX1800" fmla="*/ 10736873 w 12248682"/>
              <a:gd name="connsiteY1800" fmla="*/ 175550 h 823468"/>
              <a:gd name="connsiteX1801" fmla="*/ 10757662 w 12248682"/>
              <a:gd name="connsiteY1801" fmla="*/ 196339 h 823468"/>
              <a:gd name="connsiteX1802" fmla="*/ 10736873 w 12248682"/>
              <a:gd name="connsiteY1802" fmla="*/ 217128 h 823468"/>
              <a:gd name="connsiteX1803" fmla="*/ 10716084 w 12248682"/>
              <a:gd name="connsiteY1803" fmla="*/ 196339 h 823468"/>
              <a:gd name="connsiteX1804" fmla="*/ 10736873 w 12248682"/>
              <a:gd name="connsiteY1804" fmla="*/ 175550 h 823468"/>
              <a:gd name="connsiteX1805" fmla="*/ 10601745 w 12248682"/>
              <a:gd name="connsiteY1805" fmla="*/ 175550 h 823468"/>
              <a:gd name="connsiteX1806" fmla="*/ 10622534 w 12248682"/>
              <a:gd name="connsiteY1806" fmla="*/ 196339 h 823468"/>
              <a:gd name="connsiteX1807" fmla="*/ 10601745 w 12248682"/>
              <a:gd name="connsiteY1807" fmla="*/ 217128 h 823468"/>
              <a:gd name="connsiteX1808" fmla="*/ 10580956 w 12248682"/>
              <a:gd name="connsiteY1808" fmla="*/ 196339 h 823468"/>
              <a:gd name="connsiteX1809" fmla="*/ 10601745 w 12248682"/>
              <a:gd name="connsiteY1809" fmla="*/ 175550 h 823468"/>
              <a:gd name="connsiteX1810" fmla="*/ 8027949 w 12248682"/>
              <a:gd name="connsiteY1810" fmla="*/ 175550 h 823468"/>
              <a:gd name="connsiteX1811" fmla="*/ 8048737 w 12248682"/>
              <a:gd name="connsiteY1811" fmla="*/ 196339 h 823468"/>
              <a:gd name="connsiteX1812" fmla="*/ 8027949 w 12248682"/>
              <a:gd name="connsiteY1812" fmla="*/ 217128 h 823468"/>
              <a:gd name="connsiteX1813" fmla="*/ 8007160 w 12248682"/>
              <a:gd name="connsiteY1813" fmla="*/ 196339 h 823468"/>
              <a:gd name="connsiteX1814" fmla="*/ 8027949 w 12248682"/>
              <a:gd name="connsiteY1814" fmla="*/ 175550 h 823468"/>
              <a:gd name="connsiteX1815" fmla="*/ 7892822 w 12248682"/>
              <a:gd name="connsiteY1815" fmla="*/ 175550 h 823468"/>
              <a:gd name="connsiteX1816" fmla="*/ 7913611 w 12248682"/>
              <a:gd name="connsiteY1816" fmla="*/ 196339 h 823468"/>
              <a:gd name="connsiteX1817" fmla="*/ 7892822 w 12248682"/>
              <a:gd name="connsiteY1817" fmla="*/ 217128 h 823468"/>
              <a:gd name="connsiteX1818" fmla="*/ 7872031 w 12248682"/>
              <a:gd name="connsiteY1818" fmla="*/ 196339 h 823468"/>
              <a:gd name="connsiteX1819" fmla="*/ 7892822 w 12248682"/>
              <a:gd name="connsiteY1819" fmla="*/ 175550 h 823468"/>
              <a:gd name="connsiteX1820" fmla="*/ 7757693 w 12248682"/>
              <a:gd name="connsiteY1820" fmla="*/ 175550 h 823468"/>
              <a:gd name="connsiteX1821" fmla="*/ 7778483 w 12248682"/>
              <a:gd name="connsiteY1821" fmla="*/ 196339 h 823468"/>
              <a:gd name="connsiteX1822" fmla="*/ 7757693 w 12248682"/>
              <a:gd name="connsiteY1822" fmla="*/ 217128 h 823468"/>
              <a:gd name="connsiteX1823" fmla="*/ 7736906 w 12248682"/>
              <a:gd name="connsiteY1823" fmla="*/ 196339 h 823468"/>
              <a:gd name="connsiteX1824" fmla="*/ 7757693 w 12248682"/>
              <a:gd name="connsiteY1824" fmla="*/ 175550 h 823468"/>
              <a:gd name="connsiteX1825" fmla="*/ 7622566 w 12248682"/>
              <a:gd name="connsiteY1825" fmla="*/ 175550 h 823468"/>
              <a:gd name="connsiteX1826" fmla="*/ 7643355 w 12248682"/>
              <a:gd name="connsiteY1826" fmla="*/ 196339 h 823468"/>
              <a:gd name="connsiteX1827" fmla="*/ 7622566 w 12248682"/>
              <a:gd name="connsiteY1827" fmla="*/ 217128 h 823468"/>
              <a:gd name="connsiteX1828" fmla="*/ 7601778 w 12248682"/>
              <a:gd name="connsiteY1828" fmla="*/ 196339 h 823468"/>
              <a:gd name="connsiteX1829" fmla="*/ 7622566 w 12248682"/>
              <a:gd name="connsiteY1829" fmla="*/ 175550 h 823468"/>
              <a:gd name="connsiteX1830" fmla="*/ 7486284 w 12248682"/>
              <a:gd name="connsiteY1830" fmla="*/ 175550 h 823468"/>
              <a:gd name="connsiteX1831" fmla="*/ 7507074 w 12248682"/>
              <a:gd name="connsiteY1831" fmla="*/ 196339 h 823468"/>
              <a:gd name="connsiteX1832" fmla="*/ 7486284 w 12248682"/>
              <a:gd name="connsiteY1832" fmla="*/ 217128 h 823468"/>
              <a:gd name="connsiteX1833" fmla="*/ 7465495 w 12248682"/>
              <a:gd name="connsiteY1833" fmla="*/ 196339 h 823468"/>
              <a:gd name="connsiteX1834" fmla="*/ 7486284 w 12248682"/>
              <a:gd name="connsiteY1834" fmla="*/ 175550 h 823468"/>
              <a:gd name="connsiteX1835" fmla="*/ 7351157 w 12248682"/>
              <a:gd name="connsiteY1835" fmla="*/ 175550 h 823468"/>
              <a:gd name="connsiteX1836" fmla="*/ 7371946 w 12248682"/>
              <a:gd name="connsiteY1836" fmla="*/ 196339 h 823468"/>
              <a:gd name="connsiteX1837" fmla="*/ 7351157 w 12248682"/>
              <a:gd name="connsiteY1837" fmla="*/ 217128 h 823468"/>
              <a:gd name="connsiteX1838" fmla="*/ 7330369 w 12248682"/>
              <a:gd name="connsiteY1838" fmla="*/ 196339 h 823468"/>
              <a:gd name="connsiteX1839" fmla="*/ 7351157 w 12248682"/>
              <a:gd name="connsiteY1839" fmla="*/ 175550 h 823468"/>
              <a:gd name="connsiteX1840" fmla="*/ 7216030 w 12248682"/>
              <a:gd name="connsiteY1840" fmla="*/ 175550 h 823468"/>
              <a:gd name="connsiteX1841" fmla="*/ 7236819 w 12248682"/>
              <a:gd name="connsiteY1841" fmla="*/ 196339 h 823468"/>
              <a:gd name="connsiteX1842" fmla="*/ 7216030 w 12248682"/>
              <a:gd name="connsiteY1842" fmla="*/ 217128 h 823468"/>
              <a:gd name="connsiteX1843" fmla="*/ 7195241 w 12248682"/>
              <a:gd name="connsiteY1843" fmla="*/ 196339 h 823468"/>
              <a:gd name="connsiteX1844" fmla="*/ 7216030 w 12248682"/>
              <a:gd name="connsiteY1844" fmla="*/ 175550 h 823468"/>
              <a:gd name="connsiteX1845" fmla="*/ 7079748 w 12248682"/>
              <a:gd name="connsiteY1845" fmla="*/ 175550 h 823468"/>
              <a:gd name="connsiteX1846" fmla="*/ 7100537 w 12248682"/>
              <a:gd name="connsiteY1846" fmla="*/ 196339 h 823468"/>
              <a:gd name="connsiteX1847" fmla="*/ 7079748 w 12248682"/>
              <a:gd name="connsiteY1847" fmla="*/ 217128 h 823468"/>
              <a:gd name="connsiteX1848" fmla="*/ 7058959 w 12248682"/>
              <a:gd name="connsiteY1848" fmla="*/ 196339 h 823468"/>
              <a:gd name="connsiteX1849" fmla="*/ 7079748 w 12248682"/>
              <a:gd name="connsiteY1849" fmla="*/ 175550 h 823468"/>
              <a:gd name="connsiteX1850" fmla="*/ 6131548 w 12248682"/>
              <a:gd name="connsiteY1850" fmla="*/ 175550 h 823468"/>
              <a:gd name="connsiteX1851" fmla="*/ 6152336 w 12248682"/>
              <a:gd name="connsiteY1851" fmla="*/ 196339 h 823468"/>
              <a:gd name="connsiteX1852" fmla="*/ 6131548 w 12248682"/>
              <a:gd name="connsiteY1852" fmla="*/ 217128 h 823468"/>
              <a:gd name="connsiteX1853" fmla="*/ 6110759 w 12248682"/>
              <a:gd name="connsiteY1853" fmla="*/ 196339 h 823468"/>
              <a:gd name="connsiteX1854" fmla="*/ 6131548 w 12248682"/>
              <a:gd name="connsiteY1854" fmla="*/ 175550 h 823468"/>
              <a:gd name="connsiteX1855" fmla="*/ 5996418 w 12248682"/>
              <a:gd name="connsiteY1855" fmla="*/ 175550 h 823468"/>
              <a:gd name="connsiteX1856" fmla="*/ 6017209 w 12248682"/>
              <a:gd name="connsiteY1856" fmla="*/ 196339 h 823468"/>
              <a:gd name="connsiteX1857" fmla="*/ 5996418 w 12248682"/>
              <a:gd name="connsiteY1857" fmla="*/ 217128 h 823468"/>
              <a:gd name="connsiteX1858" fmla="*/ 5975630 w 12248682"/>
              <a:gd name="connsiteY1858" fmla="*/ 196339 h 823468"/>
              <a:gd name="connsiteX1859" fmla="*/ 5996418 w 12248682"/>
              <a:gd name="connsiteY1859" fmla="*/ 175550 h 823468"/>
              <a:gd name="connsiteX1860" fmla="*/ 3415142 w 12248682"/>
              <a:gd name="connsiteY1860" fmla="*/ 175550 h 823468"/>
              <a:gd name="connsiteX1861" fmla="*/ 3435930 w 12248682"/>
              <a:gd name="connsiteY1861" fmla="*/ 196339 h 823468"/>
              <a:gd name="connsiteX1862" fmla="*/ 3415142 w 12248682"/>
              <a:gd name="connsiteY1862" fmla="*/ 217128 h 823468"/>
              <a:gd name="connsiteX1863" fmla="*/ 3394352 w 12248682"/>
              <a:gd name="connsiteY1863" fmla="*/ 196339 h 823468"/>
              <a:gd name="connsiteX1864" fmla="*/ 3415142 w 12248682"/>
              <a:gd name="connsiteY1864" fmla="*/ 175550 h 823468"/>
              <a:gd name="connsiteX1865" fmla="*/ 3280013 w 12248682"/>
              <a:gd name="connsiteY1865" fmla="*/ 175550 h 823468"/>
              <a:gd name="connsiteX1866" fmla="*/ 3300802 w 12248682"/>
              <a:gd name="connsiteY1866" fmla="*/ 196339 h 823468"/>
              <a:gd name="connsiteX1867" fmla="*/ 3280013 w 12248682"/>
              <a:gd name="connsiteY1867" fmla="*/ 217128 h 823468"/>
              <a:gd name="connsiteX1868" fmla="*/ 3259224 w 12248682"/>
              <a:gd name="connsiteY1868" fmla="*/ 196339 h 823468"/>
              <a:gd name="connsiteX1869" fmla="*/ 3280013 w 12248682"/>
              <a:gd name="connsiteY1869" fmla="*/ 175550 h 823468"/>
              <a:gd name="connsiteX1870" fmla="*/ 3144887 w 12248682"/>
              <a:gd name="connsiteY1870" fmla="*/ 175550 h 823468"/>
              <a:gd name="connsiteX1871" fmla="*/ 3165675 w 12248682"/>
              <a:gd name="connsiteY1871" fmla="*/ 196339 h 823468"/>
              <a:gd name="connsiteX1872" fmla="*/ 3144887 w 12248682"/>
              <a:gd name="connsiteY1872" fmla="*/ 217128 h 823468"/>
              <a:gd name="connsiteX1873" fmla="*/ 3124098 w 12248682"/>
              <a:gd name="connsiteY1873" fmla="*/ 196339 h 823468"/>
              <a:gd name="connsiteX1874" fmla="*/ 3144887 w 12248682"/>
              <a:gd name="connsiteY1874" fmla="*/ 175550 h 823468"/>
              <a:gd name="connsiteX1875" fmla="*/ 3009759 w 12248682"/>
              <a:gd name="connsiteY1875" fmla="*/ 175550 h 823468"/>
              <a:gd name="connsiteX1876" fmla="*/ 3030548 w 12248682"/>
              <a:gd name="connsiteY1876" fmla="*/ 196339 h 823468"/>
              <a:gd name="connsiteX1877" fmla="*/ 3009759 w 12248682"/>
              <a:gd name="connsiteY1877" fmla="*/ 217128 h 823468"/>
              <a:gd name="connsiteX1878" fmla="*/ 2988971 w 12248682"/>
              <a:gd name="connsiteY1878" fmla="*/ 196339 h 823468"/>
              <a:gd name="connsiteX1879" fmla="*/ 3009759 w 12248682"/>
              <a:gd name="connsiteY1879" fmla="*/ 175550 h 823468"/>
              <a:gd name="connsiteX1880" fmla="*/ 2873476 w 12248682"/>
              <a:gd name="connsiteY1880" fmla="*/ 175550 h 823468"/>
              <a:gd name="connsiteX1881" fmla="*/ 2894265 w 12248682"/>
              <a:gd name="connsiteY1881" fmla="*/ 196339 h 823468"/>
              <a:gd name="connsiteX1882" fmla="*/ 2873476 w 12248682"/>
              <a:gd name="connsiteY1882" fmla="*/ 217128 h 823468"/>
              <a:gd name="connsiteX1883" fmla="*/ 2852688 w 12248682"/>
              <a:gd name="connsiteY1883" fmla="*/ 196339 h 823468"/>
              <a:gd name="connsiteX1884" fmla="*/ 2873476 w 12248682"/>
              <a:gd name="connsiteY1884" fmla="*/ 175550 h 823468"/>
              <a:gd name="connsiteX1885" fmla="*/ 2738350 w 12248682"/>
              <a:gd name="connsiteY1885" fmla="*/ 175550 h 823468"/>
              <a:gd name="connsiteX1886" fmla="*/ 2759139 w 12248682"/>
              <a:gd name="connsiteY1886" fmla="*/ 196339 h 823468"/>
              <a:gd name="connsiteX1887" fmla="*/ 2738350 w 12248682"/>
              <a:gd name="connsiteY1887" fmla="*/ 217128 h 823468"/>
              <a:gd name="connsiteX1888" fmla="*/ 2717562 w 12248682"/>
              <a:gd name="connsiteY1888" fmla="*/ 196339 h 823468"/>
              <a:gd name="connsiteX1889" fmla="*/ 2738350 w 12248682"/>
              <a:gd name="connsiteY1889" fmla="*/ 175550 h 823468"/>
              <a:gd name="connsiteX1890" fmla="*/ 2603222 w 12248682"/>
              <a:gd name="connsiteY1890" fmla="*/ 175550 h 823468"/>
              <a:gd name="connsiteX1891" fmla="*/ 2624011 w 12248682"/>
              <a:gd name="connsiteY1891" fmla="*/ 196339 h 823468"/>
              <a:gd name="connsiteX1892" fmla="*/ 2603222 w 12248682"/>
              <a:gd name="connsiteY1892" fmla="*/ 217128 h 823468"/>
              <a:gd name="connsiteX1893" fmla="*/ 2582433 w 12248682"/>
              <a:gd name="connsiteY1893" fmla="*/ 196339 h 823468"/>
              <a:gd name="connsiteX1894" fmla="*/ 2603222 w 12248682"/>
              <a:gd name="connsiteY1894" fmla="*/ 175550 h 823468"/>
              <a:gd name="connsiteX1895" fmla="*/ 2466940 w 12248682"/>
              <a:gd name="connsiteY1895" fmla="*/ 175550 h 823468"/>
              <a:gd name="connsiteX1896" fmla="*/ 2487729 w 12248682"/>
              <a:gd name="connsiteY1896" fmla="*/ 196339 h 823468"/>
              <a:gd name="connsiteX1897" fmla="*/ 2466940 w 12248682"/>
              <a:gd name="connsiteY1897" fmla="*/ 217128 h 823468"/>
              <a:gd name="connsiteX1898" fmla="*/ 2446151 w 12248682"/>
              <a:gd name="connsiteY1898" fmla="*/ 196339 h 823468"/>
              <a:gd name="connsiteX1899" fmla="*/ 2466940 w 12248682"/>
              <a:gd name="connsiteY1899" fmla="*/ 175550 h 823468"/>
              <a:gd name="connsiteX1900" fmla="*/ 1518739 w 12248682"/>
              <a:gd name="connsiteY1900" fmla="*/ 175550 h 823468"/>
              <a:gd name="connsiteX1901" fmla="*/ 1539528 w 12248682"/>
              <a:gd name="connsiteY1901" fmla="*/ 196339 h 823468"/>
              <a:gd name="connsiteX1902" fmla="*/ 1518739 w 12248682"/>
              <a:gd name="connsiteY1902" fmla="*/ 217128 h 823468"/>
              <a:gd name="connsiteX1903" fmla="*/ 1497951 w 12248682"/>
              <a:gd name="connsiteY1903" fmla="*/ 196339 h 823468"/>
              <a:gd name="connsiteX1904" fmla="*/ 1518739 w 12248682"/>
              <a:gd name="connsiteY1904" fmla="*/ 175550 h 823468"/>
              <a:gd name="connsiteX1905" fmla="*/ 1383611 w 12248682"/>
              <a:gd name="connsiteY1905" fmla="*/ 175550 h 823468"/>
              <a:gd name="connsiteX1906" fmla="*/ 1404400 w 12248682"/>
              <a:gd name="connsiteY1906" fmla="*/ 196339 h 823468"/>
              <a:gd name="connsiteX1907" fmla="*/ 1383611 w 12248682"/>
              <a:gd name="connsiteY1907" fmla="*/ 217128 h 823468"/>
              <a:gd name="connsiteX1908" fmla="*/ 1362823 w 12248682"/>
              <a:gd name="connsiteY1908" fmla="*/ 196339 h 823468"/>
              <a:gd name="connsiteX1909" fmla="*/ 1383611 w 12248682"/>
              <a:gd name="connsiteY1909" fmla="*/ 175550 h 823468"/>
              <a:gd name="connsiteX1910" fmla="*/ 11549947 w 12248682"/>
              <a:gd name="connsiteY1910" fmla="*/ 172086 h 823468"/>
              <a:gd name="connsiteX1911" fmla="*/ 11573046 w 12248682"/>
              <a:gd name="connsiteY1911" fmla="*/ 195185 h 823468"/>
              <a:gd name="connsiteX1912" fmla="*/ 11549947 w 12248682"/>
              <a:gd name="connsiteY1912" fmla="*/ 218283 h 823468"/>
              <a:gd name="connsiteX1913" fmla="*/ 11526848 w 12248682"/>
              <a:gd name="connsiteY1913" fmla="*/ 195185 h 823468"/>
              <a:gd name="connsiteX1914" fmla="*/ 11549947 w 12248682"/>
              <a:gd name="connsiteY1914" fmla="*/ 172086 h 823468"/>
              <a:gd name="connsiteX1915" fmla="*/ 10466618 w 12248682"/>
              <a:gd name="connsiteY1915" fmla="*/ 172086 h 823468"/>
              <a:gd name="connsiteX1916" fmla="*/ 10489717 w 12248682"/>
              <a:gd name="connsiteY1916" fmla="*/ 195185 h 823468"/>
              <a:gd name="connsiteX1917" fmla="*/ 10466618 w 12248682"/>
              <a:gd name="connsiteY1917" fmla="*/ 218283 h 823468"/>
              <a:gd name="connsiteX1918" fmla="*/ 10443520 w 12248682"/>
              <a:gd name="connsiteY1918" fmla="*/ 195185 h 823468"/>
              <a:gd name="connsiteX1919" fmla="*/ 10466618 w 12248682"/>
              <a:gd name="connsiteY1919" fmla="*/ 172086 h 823468"/>
              <a:gd name="connsiteX1920" fmla="*/ 9244698 w 12248682"/>
              <a:gd name="connsiteY1920" fmla="*/ 172086 h 823468"/>
              <a:gd name="connsiteX1921" fmla="*/ 9270107 w 12248682"/>
              <a:gd name="connsiteY1921" fmla="*/ 194029 h 823468"/>
              <a:gd name="connsiteX1922" fmla="*/ 9249318 w 12248682"/>
              <a:gd name="connsiteY1922" fmla="*/ 219438 h 823468"/>
              <a:gd name="connsiteX1923" fmla="*/ 9223909 w 12248682"/>
              <a:gd name="connsiteY1923" fmla="*/ 197494 h 823468"/>
              <a:gd name="connsiteX1924" fmla="*/ 9244698 w 12248682"/>
              <a:gd name="connsiteY1924" fmla="*/ 172086 h 823468"/>
              <a:gd name="connsiteX1925" fmla="*/ 8164231 w 12248682"/>
              <a:gd name="connsiteY1925" fmla="*/ 172086 h 823468"/>
              <a:gd name="connsiteX1926" fmla="*/ 8187331 w 12248682"/>
              <a:gd name="connsiteY1926" fmla="*/ 195185 h 823468"/>
              <a:gd name="connsiteX1927" fmla="*/ 8164231 w 12248682"/>
              <a:gd name="connsiteY1927" fmla="*/ 218283 h 823468"/>
              <a:gd name="connsiteX1928" fmla="*/ 8141133 w 12248682"/>
              <a:gd name="connsiteY1928" fmla="*/ 195185 h 823468"/>
              <a:gd name="connsiteX1929" fmla="*/ 8164231 w 12248682"/>
              <a:gd name="connsiteY1929" fmla="*/ 172086 h 823468"/>
              <a:gd name="connsiteX1930" fmla="*/ 6944621 w 12248682"/>
              <a:gd name="connsiteY1930" fmla="*/ 172086 h 823468"/>
              <a:gd name="connsiteX1931" fmla="*/ 6967719 w 12248682"/>
              <a:gd name="connsiteY1931" fmla="*/ 195185 h 823468"/>
              <a:gd name="connsiteX1932" fmla="*/ 6944621 w 12248682"/>
              <a:gd name="connsiteY1932" fmla="*/ 218283 h 823468"/>
              <a:gd name="connsiteX1933" fmla="*/ 6921522 w 12248682"/>
              <a:gd name="connsiteY1933" fmla="*/ 195185 h 823468"/>
              <a:gd name="connsiteX1934" fmla="*/ 6944621 w 12248682"/>
              <a:gd name="connsiteY1934" fmla="*/ 172086 h 823468"/>
              <a:gd name="connsiteX1935" fmla="*/ 5861292 w 12248682"/>
              <a:gd name="connsiteY1935" fmla="*/ 172086 h 823468"/>
              <a:gd name="connsiteX1936" fmla="*/ 5884392 w 12248682"/>
              <a:gd name="connsiteY1936" fmla="*/ 195185 h 823468"/>
              <a:gd name="connsiteX1937" fmla="*/ 5861292 w 12248682"/>
              <a:gd name="connsiteY1937" fmla="*/ 218283 h 823468"/>
              <a:gd name="connsiteX1938" fmla="*/ 5838194 w 12248682"/>
              <a:gd name="connsiteY1938" fmla="*/ 195185 h 823468"/>
              <a:gd name="connsiteX1939" fmla="*/ 5861292 w 12248682"/>
              <a:gd name="connsiteY1939" fmla="*/ 172086 h 823468"/>
              <a:gd name="connsiteX1940" fmla="*/ 4639373 w 12248682"/>
              <a:gd name="connsiteY1940" fmla="*/ 172086 h 823468"/>
              <a:gd name="connsiteX1941" fmla="*/ 4664780 w 12248682"/>
              <a:gd name="connsiteY1941" fmla="*/ 192875 h 823468"/>
              <a:gd name="connsiteX1942" fmla="*/ 4643991 w 12248682"/>
              <a:gd name="connsiteY1942" fmla="*/ 218283 h 823468"/>
              <a:gd name="connsiteX1943" fmla="*/ 4618583 w 12248682"/>
              <a:gd name="connsiteY1943" fmla="*/ 197494 h 823468"/>
              <a:gd name="connsiteX1944" fmla="*/ 4639373 w 12248682"/>
              <a:gd name="connsiteY1944" fmla="*/ 172086 h 823468"/>
              <a:gd name="connsiteX1945" fmla="*/ 3551423 w 12248682"/>
              <a:gd name="connsiteY1945" fmla="*/ 172086 h 823468"/>
              <a:gd name="connsiteX1946" fmla="*/ 3574522 w 12248682"/>
              <a:gd name="connsiteY1946" fmla="*/ 195185 h 823468"/>
              <a:gd name="connsiteX1947" fmla="*/ 3551423 w 12248682"/>
              <a:gd name="connsiteY1947" fmla="*/ 218283 h 823468"/>
              <a:gd name="connsiteX1948" fmla="*/ 3528325 w 12248682"/>
              <a:gd name="connsiteY1948" fmla="*/ 195185 h 823468"/>
              <a:gd name="connsiteX1949" fmla="*/ 3551423 w 12248682"/>
              <a:gd name="connsiteY1949" fmla="*/ 172086 h 823468"/>
              <a:gd name="connsiteX1950" fmla="*/ 2331813 w 12248682"/>
              <a:gd name="connsiteY1950" fmla="*/ 172086 h 823468"/>
              <a:gd name="connsiteX1951" fmla="*/ 2354912 w 12248682"/>
              <a:gd name="connsiteY1951" fmla="*/ 195185 h 823468"/>
              <a:gd name="connsiteX1952" fmla="*/ 2331813 w 12248682"/>
              <a:gd name="connsiteY1952" fmla="*/ 218283 h 823468"/>
              <a:gd name="connsiteX1953" fmla="*/ 2308714 w 12248682"/>
              <a:gd name="connsiteY1953" fmla="*/ 195185 h 823468"/>
              <a:gd name="connsiteX1954" fmla="*/ 2331813 w 12248682"/>
              <a:gd name="connsiteY1954" fmla="*/ 172086 h 823468"/>
              <a:gd name="connsiteX1955" fmla="*/ 1248485 w 12248682"/>
              <a:gd name="connsiteY1955" fmla="*/ 172086 h 823468"/>
              <a:gd name="connsiteX1956" fmla="*/ 1271583 w 12248682"/>
              <a:gd name="connsiteY1956" fmla="*/ 195185 h 823468"/>
              <a:gd name="connsiteX1957" fmla="*/ 1248485 w 12248682"/>
              <a:gd name="connsiteY1957" fmla="*/ 218283 h 823468"/>
              <a:gd name="connsiteX1958" fmla="*/ 1225386 w 12248682"/>
              <a:gd name="connsiteY1958" fmla="*/ 195185 h 823468"/>
              <a:gd name="connsiteX1959" fmla="*/ 1248485 w 12248682"/>
              <a:gd name="connsiteY1959" fmla="*/ 172086 h 823468"/>
              <a:gd name="connsiteX1960" fmla="*/ 26564 w 12248682"/>
              <a:gd name="connsiteY1960" fmla="*/ 172086 h 823468"/>
              <a:gd name="connsiteX1961" fmla="*/ 51973 w 12248682"/>
              <a:gd name="connsiteY1961" fmla="*/ 194029 h 823468"/>
              <a:gd name="connsiteX1962" fmla="*/ 31184 w 12248682"/>
              <a:gd name="connsiteY1962" fmla="*/ 219438 h 823468"/>
              <a:gd name="connsiteX1963" fmla="*/ 5776 w 12248682"/>
              <a:gd name="connsiteY1963" fmla="*/ 197494 h 823468"/>
              <a:gd name="connsiteX1964" fmla="*/ 26564 w 12248682"/>
              <a:gd name="connsiteY1964" fmla="*/ 172086 h 823468"/>
              <a:gd name="connsiteX1965" fmla="*/ 11414819 w 12248682"/>
              <a:gd name="connsiteY1965" fmla="*/ 166311 h 823468"/>
              <a:gd name="connsiteX1966" fmla="*/ 11443693 w 12248682"/>
              <a:gd name="connsiteY1966" fmla="*/ 195185 h 823468"/>
              <a:gd name="connsiteX1967" fmla="*/ 11414819 w 12248682"/>
              <a:gd name="connsiteY1967" fmla="*/ 224057 h 823468"/>
              <a:gd name="connsiteX1968" fmla="*/ 11385946 w 12248682"/>
              <a:gd name="connsiteY1968" fmla="*/ 195185 h 823468"/>
              <a:gd name="connsiteX1969" fmla="*/ 11414819 w 12248682"/>
              <a:gd name="connsiteY1969" fmla="*/ 166311 h 823468"/>
              <a:gd name="connsiteX1970" fmla="*/ 10330336 w 12248682"/>
              <a:gd name="connsiteY1970" fmla="*/ 166311 h 823468"/>
              <a:gd name="connsiteX1971" fmla="*/ 10359209 w 12248682"/>
              <a:gd name="connsiteY1971" fmla="*/ 195185 h 823468"/>
              <a:gd name="connsiteX1972" fmla="*/ 10330336 w 12248682"/>
              <a:gd name="connsiteY1972" fmla="*/ 224057 h 823468"/>
              <a:gd name="connsiteX1973" fmla="*/ 10301462 w 12248682"/>
              <a:gd name="connsiteY1973" fmla="*/ 195185 h 823468"/>
              <a:gd name="connsiteX1974" fmla="*/ 10330336 w 12248682"/>
              <a:gd name="connsiteY1974" fmla="*/ 166311 h 823468"/>
              <a:gd name="connsiteX1975" fmla="*/ 9382135 w 12248682"/>
              <a:gd name="connsiteY1975" fmla="*/ 166311 h 823468"/>
              <a:gd name="connsiteX1976" fmla="*/ 9411009 w 12248682"/>
              <a:gd name="connsiteY1976" fmla="*/ 195185 h 823468"/>
              <a:gd name="connsiteX1977" fmla="*/ 9382135 w 12248682"/>
              <a:gd name="connsiteY1977" fmla="*/ 224057 h 823468"/>
              <a:gd name="connsiteX1978" fmla="*/ 9353262 w 12248682"/>
              <a:gd name="connsiteY1978" fmla="*/ 195185 h 823468"/>
              <a:gd name="connsiteX1979" fmla="*/ 9382135 w 12248682"/>
              <a:gd name="connsiteY1979" fmla="*/ 166311 h 823468"/>
              <a:gd name="connsiteX1980" fmla="*/ 9112431 w 12248682"/>
              <a:gd name="connsiteY1980" fmla="*/ 166311 h 823468"/>
              <a:gd name="connsiteX1981" fmla="*/ 9141305 w 12248682"/>
              <a:gd name="connsiteY1981" fmla="*/ 195185 h 823468"/>
              <a:gd name="connsiteX1982" fmla="*/ 9112431 w 12248682"/>
              <a:gd name="connsiteY1982" fmla="*/ 224057 h 823468"/>
              <a:gd name="connsiteX1983" fmla="*/ 9083558 w 12248682"/>
              <a:gd name="connsiteY1983" fmla="*/ 195185 h 823468"/>
              <a:gd name="connsiteX1984" fmla="*/ 9112431 w 12248682"/>
              <a:gd name="connsiteY1984" fmla="*/ 166311 h 823468"/>
              <a:gd name="connsiteX1985" fmla="*/ 8299358 w 12248682"/>
              <a:gd name="connsiteY1985" fmla="*/ 166311 h 823468"/>
              <a:gd name="connsiteX1986" fmla="*/ 8328231 w 12248682"/>
              <a:gd name="connsiteY1986" fmla="*/ 195185 h 823468"/>
              <a:gd name="connsiteX1987" fmla="*/ 8299358 w 12248682"/>
              <a:gd name="connsiteY1987" fmla="*/ 224057 h 823468"/>
              <a:gd name="connsiteX1988" fmla="*/ 8270485 w 12248682"/>
              <a:gd name="connsiteY1988" fmla="*/ 195185 h 823468"/>
              <a:gd name="connsiteX1989" fmla="*/ 8299358 w 12248682"/>
              <a:gd name="connsiteY1989" fmla="*/ 166311 h 823468"/>
              <a:gd name="connsiteX1990" fmla="*/ 6809492 w 12248682"/>
              <a:gd name="connsiteY1990" fmla="*/ 166311 h 823468"/>
              <a:gd name="connsiteX1991" fmla="*/ 6838367 w 12248682"/>
              <a:gd name="connsiteY1991" fmla="*/ 195185 h 823468"/>
              <a:gd name="connsiteX1992" fmla="*/ 6809492 w 12248682"/>
              <a:gd name="connsiteY1992" fmla="*/ 224057 h 823468"/>
              <a:gd name="connsiteX1993" fmla="*/ 6780620 w 12248682"/>
              <a:gd name="connsiteY1993" fmla="*/ 195185 h 823468"/>
              <a:gd name="connsiteX1994" fmla="*/ 6809492 w 12248682"/>
              <a:gd name="connsiteY1994" fmla="*/ 166311 h 823468"/>
              <a:gd name="connsiteX1995" fmla="*/ 5726165 w 12248682"/>
              <a:gd name="connsiteY1995" fmla="*/ 166311 h 823468"/>
              <a:gd name="connsiteX1996" fmla="*/ 5755038 w 12248682"/>
              <a:gd name="connsiteY1996" fmla="*/ 195185 h 823468"/>
              <a:gd name="connsiteX1997" fmla="*/ 5726165 w 12248682"/>
              <a:gd name="connsiteY1997" fmla="*/ 224057 h 823468"/>
              <a:gd name="connsiteX1998" fmla="*/ 5697292 w 12248682"/>
              <a:gd name="connsiteY1998" fmla="*/ 195185 h 823468"/>
              <a:gd name="connsiteX1999" fmla="*/ 5726165 w 12248682"/>
              <a:gd name="connsiteY1999" fmla="*/ 166311 h 823468"/>
              <a:gd name="connsiteX2000" fmla="*/ 4776809 w 12248682"/>
              <a:gd name="connsiteY2000" fmla="*/ 166311 h 823468"/>
              <a:gd name="connsiteX2001" fmla="*/ 4805682 w 12248682"/>
              <a:gd name="connsiteY2001" fmla="*/ 195185 h 823468"/>
              <a:gd name="connsiteX2002" fmla="*/ 4776809 w 12248682"/>
              <a:gd name="connsiteY2002" fmla="*/ 224057 h 823468"/>
              <a:gd name="connsiteX2003" fmla="*/ 4747936 w 12248682"/>
              <a:gd name="connsiteY2003" fmla="*/ 195185 h 823468"/>
              <a:gd name="connsiteX2004" fmla="*/ 4776809 w 12248682"/>
              <a:gd name="connsiteY2004" fmla="*/ 166311 h 823468"/>
              <a:gd name="connsiteX2005" fmla="*/ 4499625 w 12248682"/>
              <a:gd name="connsiteY2005" fmla="*/ 166311 h 823468"/>
              <a:gd name="connsiteX2006" fmla="*/ 4528499 w 12248682"/>
              <a:gd name="connsiteY2006" fmla="*/ 195185 h 823468"/>
              <a:gd name="connsiteX2007" fmla="*/ 4499625 w 12248682"/>
              <a:gd name="connsiteY2007" fmla="*/ 224057 h 823468"/>
              <a:gd name="connsiteX2008" fmla="*/ 4470752 w 12248682"/>
              <a:gd name="connsiteY2008" fmla="*/ 195185 h 823468"/>
              <a:gd name="connsiteX2009" fmla="*/ 4499625 w 12248682"/>
              <a:gd name="connsiteY2009" fmla="*/ 166311 h 823468"/>
              <a:gd name="connsiteX2010" fmla="*/ 3686551 w 12248682"/>
              <a:gd name="connsiteY2010" fmla="*/ 166311 h 823468"/>
              <a:gd name="connsiteX2011" fmla="*/ 3715424 w 12248682"/>
              <a:gd name="connsiteY2011" fmla="*/ 195185 h 823468"/>
              <a:gd name="connsiteX2012" fmla="*/ 3686551 w 12248682"/>
              <a:gd name="connsiteY2012" fmla="*/ 224057 h 823468"/>
              <a:gd name="connsiteX2013" fmla="*/ 3657677 w 12248682"/>
              <a:gd name="connsiteY2013" fmla="*/ 195185 h 823468"/>
              <a:gd name="connsiteX2014" fmla="*/ 3686551 w 12248682"/>
              <a:gd name="connsiteY2014" fmla="*/ 166311 h 823468"/>
              <a:gd name="connsiteX2015" fmla="*/ 2196685 w 12248682"/>
              <a:gd name="connsiteY2015" fmla="*/ 166311 h 823468"/>
              <a:gd name="connsiteX2016" fmla="*/ 2225559 w 12248682"/>
              <a:gd name="connsiteY2016" fmla="*/ 195185 h 823468"/>
              <a:gd name="connsiteX2017" fmla="*/ 2196685 w 12248682"/>
              <a:gd name="connsiteY2017" fmla="*/ 224057 h 823468"/>
              <a:gd name="connsiteX2018" fmla="*/ 2167813 w 12248682"/>
              <a:gd name="connsiteY2018" fmla="*/ 195185 h 823468"/>
              <a:gd name="connsiteX2019" fmla="*/ 2196685 w 12248682"/>
              <a:gd name="connsiteY2019" fmla="*/ 166311 h 823468"/>
              <a:gd name="connsiteX2020" fmla="*/ 1112202 w 12248682"/>
              <a:gd name="connsiteY2020" fmla="*/ 166311 h 823468"/>
              <a:gd name="connsiteX2021" fmla="*/ 1141075 w 12248682"/>
              <a:gd name="connsiteY2021" fmla="*/ 195185 h 823468"/>
              <a:gd name="connsiteX2022" fmla="*/ 1112202 w 12248682"/>
              <a:gd name="connsiteY2022" fmla="*/ 224057 h 823468"/>
              <a:gd name="connsiteX2023" fmla="*/ 1083328 w 12248682"/>
              <a:gd name="connsiteY2023" fmla="*/ 195185 h 823468"/>
              <a:gd name="connsiteX2024" fmla="*/ 1112202 w 12248682"/>
              <a:gd name="connsiteY2024" fmla="*/ 166311 h 823468"/>
              <a:gd name="connsiteX2025" fmla="*/ 164001 w 12248682"/>
              <a:gd name="connsiteY2025" fmla="*/ 166311 h 823468"/>
              <a:gd name="connsiteX2026" fmla="*/ 192875 w 12248682"/>
              <a:gd name="connsiteY2026" fmla="*/ 195185 h 823468"/>
              <a:gd name="connsiteX2027" fmla="*/ 164001 w 12248682"/>
              <a:gd name="connsiteY2027" fmla="*/ 224057 h 823468"/>
              <a:gd name="connsiteX2028" fmla="*/ 135128 w 12248682"/>
              <a:gd name="connsiteY2028" fmla="*/ 195185 h 823468"/>
              <a:gd name="connsiteX2029" fmla="*/ 164001 w 12248682"/>
              <a:gd name="connsiteY2029" fmla="*/ 166311 h 823468"/>
              <a:gd name="connsiteX2030" fmla="*/ 11279692 w 12248682"/>
              <a:gd name="connsiteY2030" fmla="*/ 160537 h 823468"/>
              <a:gd name="connsiteX2031" fmla="*/ 11314340 w 12248682"/>
              <a:gd name="connsiteY2031" fmla="*/ 195185 h 823468"/>
              <a:gd name="connsiteX2032" fmla="*/ 11279692 w 12248682"/>
              <a:gd name="connsiteY2032" fmla="*/ 229833 h 823468"/>
              <a:gd name="connsiteX2033" fmla="*/ 11245044 w 12248682"/>
              <a:gd name="connsiteY2033" fmla="*/ 195185 h 823468"/>
              <a:gd name="connsiteX2034" fmla="*/ 11279692 w 12248682"/>
              <a:gd name="connsiteY2034" fmla="*/ 160537 h 823468"/>
              <a:gd name="connsiteX2035" fmla="*/ 10195208 w 12248682"/>
              <a:gd name="connsiteY2035" fmla="*/ 160537 h 823468"/>
              <a:gd name="connsiteX2036" fmla="*/ 10229856 w 12248682"/>
              <a:gd name="connsiteY2036" fmla="*/ 195185 h 823468"/>
              <a:gd name="connsiteX2037" fmla="*/ 10195208 w 12248682"/>
              <a:gd name="connsiteY2037" fmla="*/ 229833 h 823468"/>
              <a:gd name="connsiteX2038" fmla="*/ 10160560 w 12248682"/>
              <a:gd name="connsiteY2038" fmla="*/ 195185 h 823468"/>
              <a:gd name="connsiteX2039" fmla="*/ 10195208 w 12248682"/>
              <a:gd name="connsiteY2039" fmla="*/ 160537 h 823468"/>
              <a:gd name="connsiteX2040" fmla="*/ 9518417 w 12248682"/>
              <a:gd name="connsiteY2040" fmla="*/ 160537 h 823468"/>
              <a:gd name="connsiteX2041" fmla="*/ 9553065 w 12248682"/>
              <a:gd name="connsiteY2041" fmla="*/ 195185 h 823468"/>
              <a:gd name="connsiteX2042" fmla="*/ 9518417 w 12248682"/>
              <a:gd name="connsiteY2042" fmla="*/ 229833 h 823468"/>
              <a:gd name="connsiteX2043" fmla="*/ 9483769 w 12248682"/>
              <a:gd name="connsiteY2043" fmla="*/ 195185 h 823468"/>
              <a:gd name="connsiteX2044" fmla="*/ 9518417 w 12248682"/>
              <a:gd name="connsiteY2044" fmla="*/ 160537 h 823468"/>
              <a:gd name="connsiteX2045" fmla="*/ 8977304 w 12248682"/>
              <a:gd name="connsiteY2045" fmla="*/ 160537 h 823468"/>
              <a:gd name="connsiteX2046" fmla="*/ 9011952 w 12248682"/>
              <a:gd name="connsiteY2046" fmla="*/ 195185 h 823468"/>
              <a:gd name="connsiteX2047" fmla="*/ 8977304 w 12248682"/>
              <a:gd name="connsiteY2047" fmla="*/ 229833 h 823468"/>
              <a:gd name="connsiteX2048" fmla="*/ 8942656 w 12248682"/>
              <a:gd name="connsiteY2048" fmla="*/ 195185 h 823468"/>
              <a:gd name="connsiteX2049" fmla="*/ 8977304 w 12248682"/>
              <a:gd name="connsiteY2049" fmla="*/ 160537 h 823468"/>
              <a:gd name="connsiteX2050" fmla="*/ 8434485 w 12248682"/>
              <a:gd name="connsiteY2050" fmla="*/ 160537 h 823468"/>
              <a:gd name="connsiteX2051" fmla="*/ 8469133 w 12248682"/>
              <a:gd name="connsiteY2051" fmla="*/ 195185 h 823468"/>
              <a:gd name="connsiteX2052" fmla="*/ 8434485 w 12248682"/>
              <a:gd name="connsiteY2052" fmla="*/ 229833 h 823468"/>
              <a:gd name="connsiteX2053" fmla="*/ 8399837 w 12248682"/>
              <a:gd name="connsiteY2053" fmla="*/ 195185 h 823468"/>
              <a:gd name="connsiteX2054" fmla="*/ 8434485 w 12248682"/>
              <a:gd name="connsiteY2054" fmla="*/ 160537 h 823468"/>
              <a:gd name="connsiteX2055" fmla="*/ 6674366 w 12248682"/>
              <a:gd name="connsiteY2055" fmla="*/ 160537 h 823468"/>
              <a:gd name="connsiteX2056" fmla="*/ 6709014 w 12248682"/>
              <a:gd name="connsiteY2056" fmla="*/ 195185 h 823468"/>
              <a:gd name="connsiteX2057" fmla="*/ 6674366 w 12248682"/>
              <a:gd name="connsiteY2057" fmla="*/ 229833 h 823468"/>
              <a:gd name="connsiteX2058" fmla="*/ 6639717 w 12248682"/>
              <a:gd name="connsiteY2058" fmla="*/ 195185 h 823468"/>
              <a:gd name="connsiteX2059" fmla="*/ 6674366 w 12248682"/>
              <a:gd name="connsiteY2059" fmla="*/ 160537 h 823468"/>
              <a:gd name="connsiteX2060" fmla="*/ 5589882 w 12248682"/>
              <a:gd name="connsiteY2060" fmla="*/ 160537 h 823468"/>
              <a:gd name="connsiteX2061" fmla="*/ 5624531 w 12248682"/>
              <a:gd name="connsiteY2061" fmla="*/ 195185 h 823468"/>
              <a:gd name="connsiteX2062" fmla="*/ 5589882 w 12248682"/>
              <a:gd name="connsiteY2062" fmla="*/ 229833 h 823468"/>
              <a:gd name="connsiteX2063" fmla="*/ 5555234 w 12248682"/>
              <a:gd name="connsiteY2063" fmla="*/ 195185 h 823468"/>
              <a:gd name="connsiteX2064" fmla="*/ 5589882 w 12248682"/>
              <a:gd name="connsiteY2064" fmla="*/ 160537 h 823468"/>
              <a:gd name="connsiteX2065" fmla="*/ 4913091 w 12248682"/>
              <a:gd name="connsiteY2065" fmla="*/ 160537 h 823468"/>
              <a:gd name="connsiteX2066" fmla="*/ 4947739 w 12248682"/>
              <a:gd name="connsiteY2066" fmla="*/ 195185 h 823468"/>
              <a:gd name="connsiteX2067" fmla="*/ 4913091 w 12248682"/>
              <a:gd name="connsiteY2067" fmla="*/ 229833 h 823468"/>
              <a:gd name="connsiteX2068" fmla="*/ 4878443 w 12248682"/>
              <a:gd name="connsiteY2068" fmla="*/ 195185 h 823468"/>
              <a:gd name="connsiteX2069" fmla="*/ 4913091 w 12248682"/>
              <a:gd name="connsiteY2069" fmla="*/ 160537 h 823468"/>
              <a:gd name="connsiteX2070" fmla="*/ 4364498 w 12248682"/>
              <a:gd name="connsiteY2070" fmla="*/ 160537 h 823468"/>
              <a:gd name="connsiteX2071" fmla="*/ 4399146 w 12248682"/>
              <a:gd name="connsiteY2071" fmla="*/ 195185 h 823468"/>
              <a:gd name="connsiteX2072" fmla="*/ 4364498 w 12248682"/>
              <a:gd name="connsiteY2072" fmla="*/ 229833 h 823468"/>
              <a:gd name="connsiteX2073" fmla="*/ 4329850 w 12248682"/>
              <a:gd name="connsiteY2073" fmla="*/ 195185 h 823468"/>
              <a:gd name="connsiteX2074" fmla="*/ 4364498 w 12248682"/>
              <a:gd name="connsiteY2074" fmla="*/ 160537 h 823468"/>
              <a:gd name="connsiteX2075" fmla="*/ 3821678 w 12248682"/>
              <a:gd name="connsiteY2075" fmla="*/ 160537 h 823468"/>
              <a:gd name="connsiteX2076" fmla="*/ 3856326 w 12248682"/>
              <a:gd name="connsiteY2076" fmla="*/ 195185 h 823468"/>
              <a:gd name="connsiteX2077" fmla="*/ 3821678 w 12248682"/>
              <a:gd name="connsiteY2077" fmla="*/ 229833 h 823468"/>
              <a:gd name="connsiteX2078" fmla="*/ 3787030 w 12248682"/>
              <a:gd name="connsiteY2078" fmla="*/ 195185 h 823468"/>
              <a:gd name="connsiteX2079" fmla="*/ 3821678 w 12248682"/>
              <a:gd name="connsiteY2079" fmla="*/ 160537 h 823468"/>
              <a:gd name="connsiteX2080" fmla="*/ 2061558 w 12248682"/>
              <a:gd name="connsiteY2080" fmla="*/ 160537 h 823468"/>
              <a:gd name="connsiteX2081" fmla="*/ 2096206 w 12248682"/>
              <a:gd name="connsiteY2081" fmla="*/ 195185 h 823468"/>
              <a:gd name="connsiteX2082" fmla="*/ 2061558 w 12248682"/>
              <a:gd name="connsiteY2082" fmla="*/ 229833 h 823468"/>
              <a:gd name="connsiteX2083" fmla="*/ 2026910 w 12248682"/>
              <a:gd name="connsiteY2083" fmla="*/ 195185 h 823468"/>
              <a:gd name="connsiteX2084" fmla="*/ 2061558 w 12248682"/>
              <a:gd name="connsiteY2084" fmla="*/ 160537 h 823468"/>
              <a:gd name="connsiteX2085" fmla="*/ 977075 w 12248682"/>
              <a:gd name="connsiteY2085" fmla="*/ 160537 h 823468"/>
              <a:gd name="connsiteX2086" fmla="*/ 1011723 w 12248682"/>
              <a:gd name="connsiteY2086" fmla="*/ 195185 h 823468"/>
              <a:gd name="connsiteX2087" fmla="*/ 977075 w 12248682"/>
              <a:gd name="connsiteY2087" fmla="*/ 229833 h 823468"/>
              <a:gd name="connsiteX2088" fmla="*/ 942427 w 12248682"/>
              <a:gd name="connsiteY2088" fmla="*/ 195185 h 823468"/>
              <a:gd name="connsiteX2089" fmla="*/ 977075 w 12248682"/>
              <a:gd name="connsiteY2089" fmla="*/ 160537 h 823468"/>
              <a:gd name="connsiteX2090" fmla="*/ 300283 w 12248682"/>
              <a:gd name="connsiteY2090" fmla="*/ 160537 h 823468"/>
              <a:gd name="connsiteX2091" fmla="*/ 334931 w 12248682"/>
              <a:gd name="connsiteY2091" fmla="*/ 195185 h 823468"/>
              <a:gd name="connsiteX2092" fmla="*/ 300283 w 12248682"/>
              <a:gd name="connsiteY2092" fmla="*/ 229833 h 823468"/>
              <a:gd name="connsiteX2093" fmla="*/ 265635 w 12248682"/>
              <a:gd name="connsiteY2093" fmla="*/ 195185 h 823468"/>
              <a:gd name="connsiteX2094" fmla="*/ 300283 w 12248682"/>
              <a:gd name="connsiteY2094" fmla="*/ 160537 h 823468"/>
              <a:gd name="connsiteX2095" fmla="*/ 11143410 w 12248682"/>
              <a:gd name="connsiteY2095" fmla="*/ 154761 h 823468"/>
              <a:gd name="connsiteX2096" fmla="*/ 11183832 w 12248682"/>
              <a:gd name="connsiteY2096" fmla="*/ 195185 h 823468"/>
              <a:gd name="connsiteX2097" fmla="*/ 11143410 w 12248682"/>
              <a:gd name="connsiteY2097" fmla="*/ 235607 h 823468"/>
              <a:gd name="connsiteX2098" fmla="*/ 11102987 w 12248682"/>
              <a:gd name="connsiteY2098" fmla="*/ 195185 h 823468"/>
              <a:gd name="connsiteX2099" fmla="*/ 11143410 w 12248682"/>
              <a:gd name="connsiteY2099" fmla="*/ 154761 h 823468"/>
              <a:gd name="connsiteX2100" fmla="*/ 10873155 w 12248682"/>
              <a:gd name="connsiteY2100" fmla="*/ 154761 h 823468"/>
              <a:gd name="connsiteX2101" fmla="*/ 10913577 w 12248682"/>
              <a:gd name="connsiteY2101" fmla="*/ 195185 h 823468"/>
              <a:gd name="connsiteX2102" fmla="*/ 10873155 w 12248682"/>
              <a:gd name="connsiteY2102" fmla="*/ 235607 h 823468"/>
              <a:gd name="connsiteX2103" fmla="*/ 10832732 w 12248682"/>
              <a:gd name="connsiteY2103" fmla="*/ 195185 h 823468"/>
              <a:gd name="connsiteX2104" fmla="*/ 10873155 w 12248682"/>
              <a:gd name="connsiteY2104" fmla="*/ 154761 h 823468"/>
              <a:gd name="connsiteX2105" fmla="*/ 10060082 w 12248682"/>
              <a:gd name="connsiteY2105" fmla="*/ 154761 h 823468"/>
              <a:gd name="connsiteX2106" fmla="*/ 10100504 w 12248682"/>
              <a:gd name="connsiteY2106" fmla="*/ 195185 h 823468"/>
              <a:gd name="connsiteX2107" fmla="*/ 10060082 w 12248682"/>
              <a:gd name="connsiteY2107" fmla="*/ 235607 h 823468"/>
              <a:gd name="connsiteX2108" fmla="*/ 10019658 w 12248682"/>
              <a:gd name="connsiteY2108" fmla="*/ 195185 h 823468"/>
              <a:gd name="connsiteX2109" fmla="*/ 10060082 w 12248682"/>
              <a:gd name="connsiteY2109" fmla="*/ 154761 h 823468"/>
              <a:gd name="connsiteX2110" fmla="*/ 9653545 w 12248682"/>
              <a:gd name="connsiteY2110" fmla="*/ 154761 h 823468"/>
              <a:gd name="connsiteX2111" fmla="*/ 9693967 w 12248682"/>
              <a:gd name="connsiteY2111" fmla="*/ 195185 h 823468"/>
              <a:gd name="connsiteX2112" fmla="*/ 9653545 w 12248682"/>
              <a:gd name="connsiteY2112" fmla="*/ 235607 h 823468"/>
              <a:gd name="connsiteX2113" fmla="*/ 9613122 w 12248682"/>
              <a:gd name="connsiteY2113" fmla="*/ 195185 h 823468"/>
              <a:gd name="connsiteX2114" fmla="*/ 9653545 w 12248682"/>
              <a:gd name="connsiteY2114" fmla="*/ 154761 h 823468"/>
              <a:gd name="connsiteX2115" fmla="*/ 8841022 w 12248682"/>
              <a:gd name="connsiteY2115" fmla="*/ 154761 h 823468"/>
              <a:gd name="connsiteX2116" fmla="*/ 8881444 w 12248682"/>
              <a:gd name="connsiteY2116" fmla="*/ 195185 h 823468"/>
              <a:gd name="connsiteX2117" fmla="*/ 8841022 w 12248682"/>
              <a:gd name="connsiteY2117" fmla="*/ 235607 h 823468"/>
              <a:gd name="connsiteX2118" fmla="*/ 8800599 w 12248682"/>
              <a:gd name="connsiteY2118" fmla="*/ 195185 h 823468"/>
              <a:gd name="connsiteX2119" fmla="*/ 8841022 w 12248682"/>
              <a:gd name="connsiteY2119" fmla="*/ 154761 h 823468"/>
              <a:gd name="connsiteX2120" fmla="*/ 8570767 w 12248682"/>
              <a:gd name="connsiteY2120" fmla="*/ 154761 h 823468"/>
              <a:gd name="connsiteX2121" fmla="*/ 8611190 w 12248682"/>
              <a:gd name="connsiteY2121" fmla="*/ 195185 h 823468"/>
              <a:gd name="connsiteX2122" fmla="*/ 8570767 w 12248682"/>
              <a:gd name="connsiteY2122" fmla="*/ 235607 h 823468"/>
              <a:gd name="connsiteX2123" fmla="*/ 8530344 w 12248682"/>
              <a:gd name="connsiteY2123" fmla="*/ 195185 h 823468"/>
              <a:gd name="connsiteX2124" fmla="*/ 8570767 w 12248682"/>
              <a:gd name="connsiteY2124" fmla="*/ 154761 h 823468"/>
              <a:gd name="connsiteX2125" fmla="*/ 6538083 w 12248682"/>
              <a:gd name="connsiteY2125" fmla="*/ 154761 h 823468"/>
              <a:gd name="connsiteX2126" fmla="*/ 6578507 w 12248682"/>
              <a:gd name="connsiteY2126" fmla="*/ 195185 h 823468"/>
              <a:gd name="connsiteX2127" fmla="*/ 6538083 w 12248682"/>
              <a:gd name="connsiteY2127" fmla="*/ 235607 h 823468"/>
              <a:gd name="connsiteX2128" fmla="*/ 6497661 w 12248682"/>
              <a:gd name="connsiteY2128" fmla="*/ 195185 h 823468"/>
              <a:gd name="connsiteX2129" fmla="*/ 6538083 w 12248682"/>
              <a:gd name="connsiteY2129" fmla="*/ 154761 h 823468"/>
              <a:gd name="connsiteX2130" fmla="*/ 6267830 w 12248682"/>
              <a:gd name="connsiteY2130" fmla="*/ 154761 h 823468"/>
              <a:gd name="connsiteX2131" fmla="*/ 6308251 w 12248682"/>
              <a:gd name="connsiteY2131" fmla="*/ 195185 h 823468"/>
              <a:gd name="connsiteX2132" fmla="*/ 6267830 w 12248682"/>
              <a:gd name="connsiteY2132" fmla="*/ 235607 h 823468"/>
              <a:gd name="connsiteX2133" fmla="*/ 6227406 w 12248682"/>
              <a:gd name="connsiteY2133" fmla="*/ 195185 h 823468"/>
              <a:gd name="connsiteX2134" fmla="*/ 6267830 w 12248682"/>
              <a:gd name="connsiteY2134" fmla="*/ 154761 h 823468"/>
              <a:gd name="connsiteX2135" fmla="*/ 5454756 w 12248682"/>
              <a:gd name="connsiteY2135" fmla="*/ 154761 h 823468"/>
              <a:gd name="connsiteX2136" fmla="*/ 5495178 w 12248682"/>
              <a:gd name="connsiteY2136" fmla="*/ 195185 h 823468"/>
              <a:gd name="connsiteX2137" fmla="*/ 5454756 w 12248682"/>
              <a:gd name="connsiteY2137" fmla="*/ 235607 h 823468"/>
              <a:gd name="connsiteX2138" fmla="*/ 5414332 w 12248682"/>
              <a:gd name="connsiteY2138" fmla="*/ 195185 h 823468"/>
              <a:gd name="connsiteX2139" fmla="*/ 5454756 w 12248682"/>
              <a:gd name="connsiteY2139" fmla="*/ 154761 h 823468"/>
              <a:gd name="connsiteX2140" fmla="*/ 5048218 w 12248682"/>
              <a:gd name="connsiteY2140" fmla="*/ 154761 h 823468"/>
              <a:gd name="connsiteX2141" fmla="*/ 5088641 w 12248682"/>
              <a:gd name="connsiteY2141" fmla="*/ 195185 h 823468"/>
              <a:gd name="connsiteX2142" fmla="*/ 5048218 w 12248682"/>
              <a:gd name="connsiteY2142" fmla="*/ 235607 h 823468"/>
              <a:gd name="connsiteX2143" fmla="*/ 5007796 w 12248682"/>
              <a:gd name="connsiteY2143" fmla="*/ 195185 h 823468"/>
              <a:gd name="connsiteX2144" fmla="*/ 5048218 w 12248682"/>
              <a:gd name="connsiteY2144" fmla="*/ 154761 h 823468"/>
              <a:gd name="connsiteX2145" fmla="*/ 4228216 w 12248682"/>
              <a:gd name="connsiteY2145" fmla="*/ 154761 h 823468"/>
              <a:gd name="connsiteX2146" fmla="*/ 4268637 w 12248682"/>
              <a:gd name="connsiteY2146" fmla="*/ 195185 h 823468"/>
              <a:gd name="connsiteX2147" fmla="*/ 4228216 w 12248682"/>
              <a:gd name="connsiteY2147" fmla="*/ 235607 h 823468"/>
              <a:gd name="connsiteX2148" fmla="*/ 4187792 w 12248682"/>
              <a:gd name="connsiteY2148" fmla="*/ 195185 h 823468"/>
              <a:gd name="connsiteX2149" fmla="*/ 4228216 w 12248682"/>
              <a:gd name="connsiteY2149" fmla="*/ 154761 h 823468"/>
              <a:gd name="connsiteX2150" fmla="*/ 3957960 w 12248682"/>
              <a:gd name="connsiteY2150" fmla="*/ 154761 h 823468"/>
              <a:gd name="connsiteX2151" fmla="*/ 3998382 w 12248682"/>
              <a:gd name="connsiteY2151" fmla="*/ 195185 h 823468"/>
              <a:gd name="connsiteX2152" fmla="*/ 3957960 w 12248682"/>
              <a:gd name="connsiteY2152" fmla="*/ 235607 h 823468"/>
              <a:gd name="connsiteX2153" fmla="*/ 3917537 w 12248682"/>
              <a:gd name="connsiteY2153" fmla="*/ 195185 h 823468"/>
              <a:gd name="connsiteX2154" fmla="*/ 3957960 w 12248682"/>
              <a:gd name="connsiteY2154" fmla="*/ 154761 h 823468"/>
              <a:gd name="connsiteX2155" fmla="*/ 1925276 w 12248682"/>
              <a:gd name="connsiteY2155" fmla="*/ 154761 h 823468"/>
              <a:gd name="connsiteX2156" fmla="*/ 1965698 w 12248682"/>
              <a:gd name="connsiteY2156" fmla="*/ 195185 h 823468"/>
              <a:gd name="connsiteX2157" fmla="*/ 1925276 w 12248682"/>
              <a:gd name="connsiteY2157" fmla="*/ 235607 h 823468"/>
              <a:gd name="connsiteX2158" fmla="*/ 1884853 w 12248682"/>
              <a:gd name="connsiteY2158" fmla="*/ 195185 h 823468"/>
              <a:gd name="connsiteX2159" fmla="*/ 1925276 w 12248682"/>
              <a:gd name="connsiteY2159" fmla="*/ 154761 h 823468"/>
              <a:gd name="connsiteX2160" fmla="*/ 1655022 w 12248682"/>
              <a:gd name="connsiteY2160" fmla="*/ 154761 h 823468"/>
              <a:gd name="connsiteX2161" fmla="*/ 1695444 w 12248682"/>
              <a:gd name="connsiteY2161" fmla="*/ 195185 h 823468"/>
              <a:gd name="connsiteX2162" fmla="*/ 1655022 w 12248682"/>
              <a:gd name="connsiteY2162" fmla="*/ 235607 h 823468"/>
              <a:gd name="connsiteX2163" fmla="*/ 1614598 w 12248682"/>
              <a:gd name="connsiteY2163" fmla="*/ 195185 h 823468"/>
              <a:gd name="connsiteX2164" fmla="*/ 1655022 w 12248682"/>
              <a:gd name="connsiteY2164" fmla="*/ 154761 h 823468"/>
              <a:gd name="connsiteX2165" fmla="*/ 841948 w 12248682"/>
              <a:gd name="connsiteY2165" fmla="*/ 154761 h 823468"/>
              <a:gd name="connsiteX2166" fmla="*/ 882370 w 12248682"/>
              <a:gd name="connsiteY2166" fmla="*/ 195185 h 823468"/>
              <a:gd name="connsiteX2167" fmla="*/ 841948 w 12248682"/>
              <a:gd name="connsiteY2167" fmla="*/ 235607 h 823468"/>
              <a:gd name="connsiteX2168" fmla="*/ 801525 w 12248682"/>
              <a:gd name="connsiteY2168" fmla="*/ 195185 h 823468"/>
              <a:gd name="connsiteX2169" fmla="*/ 841948 w 12248682"/>
              <a:gd name="connsiteY2169" fmla="*/ 154761 h 823468"/>
              <a:gd name="connsiteX2170" fmla="*/ 435411 w 12248682"/>
              <a:gd name="connsiteY2170" fmla="*/ 154761 h 823468"/>
              <a:gd name="connsiteX2171" fmla="*/ 475833 w 12248682"/>
              <a:gd name="connsiteY2171" fmla="*/ 195185 h 823468"/>
              <a:gd name="connsiteX2172" fmla="*/ 435411 w 12248682"/>
              <a:gd name="connsiteY2172" fmla="*/ 235607 h 823468"/>
              <a:gd name="connsiteX2173" fmla="*/ 394988 w 12248682"/>
              <a:gd name="connsiteY2173" fmla="*/ 195185 h 823468"/>
              <a:gd name="connsiteX2174" fmla="*/ 435411 w 12248682"/>
              <a:gd name="connsiteY2174" fmla="*/ 154761 h 823468"/>
              <a:gd name="connsiteX2175" fmla="*/ 11008282 w 12248682"/>
              <a:gd name="connsiteY2175" fmla="*/ 144368 h 823468"/>
              <a:gd name="connsiteX2176" fmla="*/ 11059099 w 12248682"/>
              <a:gd name="connsiteY2176" fmla="*/ 195185 h 823468"/>
              <a:gd name="connsiteX2177" fmla="*/ 11008282 w 12248682"/>
              <a:gd name="connsiteY2177" fmla="*/ 246002 h 823468"/>
              <a:gd name="connsiteX2178" fmla="*/ 10957465 w 12248682"/>
              <a:gd name="connsiteY2178" fmla="*/ 195185 h 823468"/>
              <a:gd name="connsiteX2179" fmla="*/ 11008282 w 12248682"/>
              <a:gd name="connsiteY2179" fmla="*/ 144368 h 823468"/>
              <a:gd name="connsiteX2180" fmla="*/ 9924954 w 12248682"/>
              <a:gd name="connsiteY2180" fmla="*/ 144368 h 823468"/>
              <a:gd name="connsiteX2181" fmla="*/ 9975771 w 12248682"/>
              <a:gd name="connsiteY2181" fmla="*/ 195185 h 823468"/>
              <a:gd name="connsiteX2182" fmla="*/ 9924954 w 12248682"/>
              <a:gd name="connsiteY2182" fmla="*/ 246002 h 823468"/>
              <a:gd name="connsiteX2183" fmla="*/ 9874137 w 12248682"/>
              <a:gd name="connsiteY2183" fmla="*/ 195185 h 823468"/>
              <a:gd name="connsiteX2184" fmla="*/ 9924954 w 12248682"/>
              <a:gd name="connsiteY2184" fmla="*/ 144368 h 823468"/>
              <a:gd name="connsiteX2185" fmla="*/ 9788672 w 12248682"/>
              <a:gd name="connsiteY2185" fmla="*/ 144368 h 823468"/>
              <a:gd name="connsiteX2186" fmla="*/ 9839489 w 12248682"/>
              <a:gd name="connsiteY2186" fmla="*/ 195185 h 823468"/>
              <a:gd name="connsiteX2187" fmla="*/ 9788672 w 12248682"/>
              <a:gd name="connsiteY2187" fmla="*/ 246002 h 823468"/>
              <a:gd name="connsiteX2188" fmla="*/ 9737854 w 12248682"/>
              <a:gd name="connsiteY2188" fmla="*/ 195185 h 823468"/>
              <a:gd name="connsiteX2189" fmla="*/ 9788672 w 12248682"/>
              <a:gd name="connsiteY2189" fmla="*/ 144368 h 823468"/>
              <a:gd name="connsiteX2190" fmla="*/ 8705894 w 12248682"/>
              <a:gd name="connsiteY2190" fmla="*/ 144368 h 823468"/>
              <a:gd name="connsiteX2191" fmla="*/ 8756711 w 12248682"/>
              <a:gd name="connsiteY2191" fmla="*/ 195185 h 823468"/>
              <a:gd name="connsiteX2192" fmla="*/ 8705894 w 12248682"/>
              <a:gd name="connsiteY2192" fmla="*/ 246002 h 823468"/>
              <a:gd name="connsiteX2193" fmla="*/ 8655077 w 12248682"/>
              <a:gd name="connsiteY2193" fmla="*/ 195185 h 823468"/>
              <a:gd name="connsiteX2194" fmla="*/ 8705894 w 12248682"/>
              <a:gd name="connsiteY2194" fmla="*/ 144368 h 823468"/>
              <a:gd name="connsiteX2195" fmla="*/ 6402956 w 12248682"/>
              <a:gd name="connsiteY2195" fmla="*/ 144368 h 823468"/>
              <a:gd name="connsiteX2196" fmla="*/ 6453773 w 12248682"/>
              <a:gd name="connsiteY2196" fmla="*/ 195185 h 823468"/>
              <a:gd name="connsiteX2197" fmla="*/ 6402956 w 12248682"/>
              <a:gd name="connsiteY2197" fmla="*/ 246002 h 823468"/>
              <a:gd name="connsiteX2198" fmla="*/ 6352139 w 12248682"/>
              <a:gd name="connsiteY2198" fmla="*/ 195185 h 823468"/>
              <a:gd name="connsiteX2199" fmla="*/ 6402956 w 12248682"/>
              <a:gd name="connsiteY2199" fmla="*/ 144368 h 823468"/>
              <a:gd name="connsiteX2200" fmla="*/ 5319627 w 12248682"/>
              <a:gd name="connsiteY2200" fmla="*/ 144368 h 823468"/>
              <a:gd name="connsiteX2201" fmla="*/ 5370444 w 12248682"/>
              <a:gd name="connsiteY2201" fmla="*/ 195185 h 823468"/>
              <a:gd name="connsiteX2202" fmla="*/ 5319627 w 12248682"/>
              <a:gd name="connsiteY2202" fmla="*/ 246002 h 823468"/>
              <a:gd name="connsiteX2203" fmla="*/ 5268810 w 12248682"/>
              <a:gd name="connsiteY2203" fmla="*/ 195185 h 823468"/>
              <a:gd name="connsiteX2204" fmla="*/ 5319627 w 12248682"/>
              <a:gd name="connsiteY2204" fmla="*/ 144368 h 823468"/>
              <a:gd name="connsiteX2205" fmla="*/ 5183345 w 12248682"/>
              <a:gd name="connsiteY2205" fmla="*/ 144368 h 823468"/>
              <a:gd name="connsiteX2206" fmla="*/ 5234162 w 12248682"/>
              <a:gd name="connsiteY2206" fmla="*/ 195185 h 823468"/>
              <a:gd name="connsiteX2207" fmla="*/ 5183345 w 12248682"/>
              <a:gd name="connsiteY2207" fmla="*/ 246002 h 823468"/>
              <a:gd name="connsiteX2208" fmla="*/ 5132528 w 12248682"/>
              <a:gd name="connsiteY2208" fmla="*/ 195185 h 823468"/>
              <a:gd name="connsiteX2209" fmla="*/ 5183345 w 12248682"/>
              <a:gd name="connsiteY2209" fmla="*/ 144368 h 823468"/>
              <a:gd name="connsiteX2210" fmla="*/ 4093087 w 12248682"/>
              <a:gd name="connsiteY2210" fmla="*/ 144368 h 823468"/>
              <a:gd name="connsiteX2211" fmla="*/ 4143904 w 12248682"/>
              <a:gd name="connsiteY2211" fmla="*/ 195185 h 823468"/>
              <a:gd name="connsiteX2212" fmla="*/ 4093087 w 12248682"/>
              <a:gd name="connsiteY2212" fmla="*/ 246002 h 823468"/>
              <a:gd name="connsiteX2213" fmla="*/ 4042270 w 12248682"/>
              <a:gd name="connsiteY2213" fmla="*/ 195185 h 823468"/>
              <a:gd name="connsiteX2214" fmla="*/ 4093087 w 12248682"/>
              <a:gd name="connsiteY2214" fmla="*/ 144368 h 823468"/>
              <a:gd name="connsiteX2215" fmla="*/ 1790148 w 12248682"/>
              <a:gd name="connsiteY2215" fmla="*/ 144368 h 823468"/>
              <a:gd name="connsiteX2216" fmla="*/ 1840965 w 12248682"/>
              <a:gd name="connsiteY2216" fmla="*/ 195185 h 823468"/>
              <a:gd name="connsiteX2217" fmla="*/ 1790148 w 12248682"/>
              <a:gd name="connsiteY2217" fmla="*/ 246002 h 823468"/>
              <a:gd name="connsiteX2218" fmla="*/ 1739331 w 12248682"/>
              <a:gd name="connsiteY2218" fmla="*/ 195185 h 823468"/>
              <a:gd name="connsiteX2219" fmla="*/ 1790148 w 12248682"/>
              <a:gd name="connsiteY2219" fmla="*/ 144368 h 823468"/>
              <a:gd name="connsiteX2220" fmla="*/ 706820 w 12248682"/>
              <a:gd name="connsiteY2220" fmla="*/ 144368 h 823468"/>
              <a:gd name="connsiteX2221" fmla="*/ 757637 w 12248682"/>
              <a:gd name="connsiteY2221" fmla="*/ 195185 h 823468"/>
              <a:gd name="connsiteX2222" fmla="*/ 706820 w 12248682"/>
              <a:gd name="connsiteY2222" fmla="*/ 246002 h 823468"/>
              <a:gd name="connsiteX2223" fmla="*/ 656003 w 12248682"/>
              <a:gd name="connsiteY2223" fmla="*/ 195185 h 823468"/>
              <a:gd name="connsiteX2224" fmla="*/ 706820 w 12248682"/>
              <a:gd name="connsiteY2224" fmla="*/ 144368 h 823468"/>
              <a:gd name="connsiteX2225" fmla="*/ 570538 w 12248682"/>
              <a:gd name="connsiteY2225" fmla="*/ 144368 h 823468"/>
              <a:gd name="connsiteX2226" fmla="*/ 621355 w 12248682"/>
              <a:gd name="connsiteY2226" fmla="*/ 195185 h 823468"/>
              <a:gd name="connsiteX2227" fmla="*/ 570538 w 12248682"/>
              <a:gd name="connsiteY2227" fmla="*/ 246002 h 823468"/>
              <a:gd name="connsiteX2228" fmla="*/ 519721 w 12248682"/>
              <a:gd name="connsiteY2228" fmla="*/ 195185 h 823468"/>
              <a:gd name="connsiteX2229" fmla="*/ 570538 w 12248682"/>
              <a:gd name="connsiteY2229" fmla="*/ 144368 h 823468"/>
              <a:gd name="connsiteX2230" fmla="*/ 12180541 w 12248682"/>
              <a:gd name="connsiteY2230" fmla="*/ 31184 h 823468"/>
              <a:gd name="connsiteX2231" fmla="*/ 12201330 w 12248682"/>
              <a:gd name="connsiteY2231" fmla="*/ 51973 h 823468"/>
              <a:gd name="connsiteX2232" fmla="*/ 12180541 w 12248682"/>
              <a:gd name="connsiteY2232" fmla="*/ 72762 h 823468"/>
              <a:gd name="connsiteX2233" fmla="*/ 12159752 w 12248682"/>
              <a:gd name="connsiteY2233" fmla="*/ 51973 h 823468"/>
              <a:gd name="connsiteX2234" fmla="*/ 12180541 w 12248682"/>
              <a:gd name="connsiteY2234" fmla="*/ 31184 h 823468"/>
              <a:gd name="connsiteX2235" fmla="*/ 12040793 w 12248682"/>
              <a:gd name="connsiteY2235" fmla="*/ 31184 h 823468"/>
              <a:gd name="connsiteX2236" fmla="*/ 12061582 w 12248682"/>
              <a:gd name="connsiteY2236" fmla="*/ 51973 h 823468"/>
              <a:gd name="connsiteX2237" fmla="*/ 12040793 w 12248682"/>
              <a:gd name="connsiteY2237" fmla="*/ 72762 h 823468"/>
              <a:gd name="connsiteX2238" fmla="*/ 12020004 w 12248682"/>
              <a:gd name="connsiteY2238" fmla="*/ 51973 h 823468"/>
              <a:gd name="connsiteX2239" fmla="*/ 12040793 w 12248682"/>
              <a:gd name="connsiteY2239" fmla="*/ 31184 h 823468"/>
              <a:gd name="connsiteX2240" fmla="*/ 11901047 w 12248682"/>
              <a:gd name="connsiteY2240" fmla="*/ 31184 h 823468"/>
              <a:gd name="connsiteX2241" fmla="*/ 11921836 w 12248682"/>
              <a:gd name="connsiteY2241" fmla="*/ 51973 h 823468"/>
              <a:gd name="connsiteX2242" fmla="*/ 11901047 w 12248682"/>
              <a:gd name="connsiteY2242" fmla="*/ 72762 h 823468"/>
              <a:gd name="connsiteX2243" fmla="*/ 11880258 w 12248682"/>
              <a:gd name="connsiteY2243" fmla="*/ 51973 h 823468"/>
              <a:gd name="connsiteX2244" fmla="*/ 11901047 w 12248682"/>
              <a:gd name="connsiteY2244" fmla="*/ 31184 h 823468"/>
              <a:gd name="connsiteX2245" fmla="*/ 11761299 w 12248682"/>
              <a:gd name="connsiteY2245" fmla="*/ 31184 h 823468"/>
              <a:gd name="connsiteX2246" fmla="*/ 11782088 w 12248682"/>
              <a:gd name="connsiteY2246" fmla="*/ 51973 h 823468"/>
              <a:gd name="connsiteX2247" fmla="*/ 11761299 w 12248682"/>
              <a:gd name="connsiteY2247" fmla="*/ 72762 h 823468"/>
              <a:gd name="connsiteX2248" fmla="*/ 11740510 w 12248682"/>
              <a:gd name="connsiteY2248" fmla="*/ 51973 h 823468"/>
              <a:gd name="connsiteX2249" fmla="*/ 11761299 w 12248682"/>
              <a:gd name="connsiteY2249" fmla="*/ 31184 h 823468"/>
              <a:gd name="connsiteX2250" fmla="*/ 11621553 w 12248682"/>
              <a:gd name="connsiteY2250" fmla="*/ 31184 h 823468"/>
              <a:gd name="connsiteX2251" fmla="*/ 11642342 w 12248682"/>
              <a:gd name="connsiteY2251" fmla="*/ 51973 h 823468"/>
              <a:gd name="connsiteX2252" fmla="*/ 11621553 w 12248682"/>
              <a:gd name="connsiteY2252" fmla="*/ 72762 h 823468"/>
              <a:gd name="connsiteX2253" fmla="*/ 11600764 w 12248682"/>
              <a:gd name="connsiteY2253" fmla="*/ 51973 h 823468"/>
              <a:gd name="connsiteX2254" fmla="*/ 11621553 w 12248682"/>
              <a:gd name="connsiteY2254" fmla="*/ 31184 h 823468"/>
              <a:gd name="connsiteX2255" fmla="*/ 11481805 w 12248682"/>
              <a:gd name="connsiteY2255" fmla="*/ 31184 h 823468"/>
              <a:gd name="connsiteX2256" fmla="*/ 11502594 w 12248682"/>
              <a:gd name="connsiteY2256" fmla="*/ 51973 h 823468"/>
              <a:gd name="connsiteX2257" fmla="*/ 11481805 w 12248682"/>
              <a:gd name="connsiteY2257" fmla="*/ 72762 h 823468"/>
              <a:gd name="connsiteX2258" fmla="*/ 11461016 w 12248682"/>
              <a:gd name="connsiteY2258" fmla="*/ 51973 h 823468"/>
              <a:gd name="connsiteX2259" fmla="*/ 11481805 w 12248682"/>
              <a:gd name="connsiteY2259" fmla="*/ 31184 h 823468"/>
              <a:gd name="connsiteX2260" fmla="*/ 10644478 w 12248682"/>
              <a:gd name="connsiteY2260" fmla="*/ 31184 h 823468"/>
              <a:gd name="connsiteX2261" fmla="*/ 10665267 w 12248682"/>
              <a:gd name="connsiteY2261" fmla="*/ 51973 h 823468"/>
              <a:gd name="connsiteX2262" fmla="*/ 10644478 w 12248682"/>
              <a:gd name="connsiteY2262" fmla="*/ 72762 h 823468"/>
              <a:gd name="connsiteX2263" fmla="*/ 10623690 w 12248682"/>
              <a:gd name="connsiteY2263" fmla="*/ 51973 h 823468"/>
              <a:gd name="connsiteX2264" fmla="*/ 10644478 w 12248682"/>
              <a:gd name="connsiteY2264" fmla="*/ 31184 h 823468"/>
              <a:gd name="connsiteX2265" fmla="*/ 10504731 w 12248682"/>
              <a:gd name="connsiteY2265" fmla="*/ 31184 h 823468"/>
              <a:gd name="connsiteX2266" fmla="*/ 10525520 w 12248682"/>
              <a:gd name="connsiteY2266" fmla="*/ 51973 h 823468"/>
              <a:gd name="connsiteX2267" fmla="*/ 10504731 w 12248682"/>
              <a:gd name="connsiteY2267" fmla="*/ 72762 h 823468"/>
              <a:gd name="connsiteX2268" fmla="*/ 10483942 w 12248682"/>
              <a:gd name="connsiteY2268" fmla="*/ 51973 h 823468"/>
              <a:gd name="connsiteX2269" fmla="*/ 10504731 w 12248682"/>
              <a:gd name="connsiteY2269" fmla="*/ 31184 h 823468"/>
              <a:gd name="connsiteX2270" fmla="*/ 10364984 w 12248682"/>
              <a:gd name="connsiteY2270" fmla="*/ 31184 h 823468"/>
              <a:gd name="connsiteX2271" fmla="*/ 10385773 w 12248682"/>
              <a:gd name="connsiteY2271" fmla="*/ 51973 h 823468"/>
              <a:gd name="connsiteX2272" fmla="*/ 10364984 w 12248682"/>
              <a:gd name="connsiteY2272" fmla="*/ 72762 h 823468"/>
              <a:gd name="connsiteX2273" fmla="*/ 10344196 w 12248682"/>
              <a:gd name="connsiteY2273" fmla="*/ 51973 h 823468"/>
              <a:gd name="connsiteX2274" fmla="*/ 10364984 w 12248682"/>
              <a:gd name="connsiteY2274" fmla="*/ 31184 h 823468"/>
              <a:gd name="connsiteX2275" fmla="*/ 7854709 w 12248682"/>
              <a:gd name="connsiteY2275" fmla="*/ 31184 h 823468"/>
              <a:gd name="connsiteX2276" fmla="*/ 7875498 w 12248682"/>
              <a:gd name="connsiteY2276" fmla="*/ 51973 h 823468"/>
              <a:gd name="connsiteX2277" fmla="*/ 7854709 w 12248682"/>
              <a:gd name="connsiteY2277" fmla="*/ 72762 h 823468"/>
              <a:gd name="connsiteX2278" fmla="*/ 7833921 w 12248682"/>
              <a:gd name="connsiteY2278" fmla="*/ 51973 h 823468"/>
              <a:gd name="connsiteX2279" fmla="*/ 7854709 w 12248682"/>
              <a:gd name="connsiteY2279" fmla="*/ 31184 h 823468"/>
              <a:gd name="connsiteX2280" fmla="*/ 7714960 w 12248682"/>
              <a:gd name="connsiteY2280" fmla="*/ 31184 h 823468"/>
              <a:gd name="connsiteX2281" fmla="*/ 7735749 w 12248682"/>
              <a:gd name="connsiteY2281" fmla="*/ 51973 h 823468"/>
              <a:gd name="connsiteX2282" fmla="*/ 7714960 w 12248682"/>
              <a:gd name="connsiteY2282" fmla="*/ 72762 h 823468"/>
              <a:gd name="connsiteX2283" fmla="*/ 7694172 w 12248682"/>
              <a:gd name="connsiteY2283" fmla="*/ 51973 h 823468"/>
              <a:gd name="connsiteX2284" fmla="*/ 7714960 w 12248682"/>
              <a:gd name="connsiteY2284" fmla="*/ 31184 h 823468"/>
              <a:gd name="connsiteX2285" fmla="*/ 7575214 w 12248682"/>
              <a:gd name="connsiteY2285" fmla="*/ 31184 h 823468"/>
              <a:gd name="connsiteX2286" fmla="*/ 7596004 w 12248682"/>
              <a:gd name="connsiteY2286" fmla="*/ 51973 h 823468"/>
              <a:gd name="connsiteX2287" fmla="*/ 7575214 w 12248682"/>
              <a:gd name="connsiteY2287" fmla="*/ 72762 h 823468"/>
              <a:gd name="connsiteX2288" fmla="*/ 7554427 w 12248682"/>
              <a:gd name="connsiteY2288" fmla="*/ 51973 h 823468"/>
              <a:gd name="connsiteX2289" fmla="*/ 7575214 w 12248682"/>
              <a:gd name="connsiteY2289" fmla="*/ 31184 h 823468"/>
              <a:gd name="connsiteX2290" fmla="*/ 7435467 w 12248682"/>
              <a:gd name="connsiteY2290" fmla="*/ 31184 h 823468"/>
              <a:gd name="connsiteX2291" fmla="*/ 7456257 w 12248682"/>
              <a:gd name="connsiteY2291" fmla="*/ 51973 h 823468"/>
              <a:gd name="connsiteX2292" fmla="*/ 7435467 w 12248682"/>
              <a:gd name="connsiteY2292" fmla="*/ 72762 h 823468"/>
              <a:gd name="connsiteX2293" fmla="*/ 7414678 w 12248682"/>
              <a:gd name="connsiteY2293" fmla="*/ 51973 h 823468"/>
              <a:gd name="connsiteX2294" fmla="*/ 7435467 w 12248682"/>
              <a:gd name="connsiteY2294" fmla="*/ 31184 h 823468"/>
              <a:gd name="connsiteX2295" fmla="*/ 7295720 w 12248682"/>
              <a:gd name="connsiteY2295" fmla="*/ 31184 h 823468"/>
              <a:gd name="connsiteX2296" fmla="*/ 7316509 w 12248682"/>
              <a:gd name="connsiteY2296" fmla="*/ 51973 h 823468"/>
              <a:gd name="connsiteX2297" fmla="*/ 7295720 w 12248682"/>
              <a:gd name="connsiteY2297" fmla="*/ 72762 h 823468"/>
              <a:gd name="connsiteX2298" fmla="*/ 7274932 w 12248682"/>
              <a:gd name="connsiteY2298" fmla="*/ 51973 h 823468"/>
              <a:gd name="connsiteX2299" fmla="*/ 7295720 w 12248682"/>
              <a:gd name="connsiteY2299" fmla="*/ 31184 h 823468"/>
              <a:gd name="connsiteX2300" fmla="*/ 7155974 w 12248682"/>
              <a:gd name="connsiteY2300" fmla="*/ 31184 h 823468"/>
              <a:gd name="connsiteX2301" fmla="*/ 7176762 w 12248682"/>
              <a:gd name="connsiteY2301" fmla="*/ 51973 h 823468"/>
              <a:gd name="connsiteX2302" fmla="*/ 7155974 w 12248682"/>
              <a:gd name="connsiteY2302" fmla="*/ 72762 h 823468"/>
              <a:gd name="connsiteX2303" fmla="*/ 7135183 w 12248682"/>
              <a:gd name="connsiteY2303" fmla="*/ 51973 h 823468"/>
              <a:gd name="connsiteX2304" fmla="*/ 7155974 w 12248682"/>
              <a:gd name="connsiteY2304" fmla="*/ 31184 h 823468"/>
              <a:gd name="connsiteX2305" fmla="*/ 7016227 w 12248682"/>
              <a:gd name="connsiteY2305" fmla="*/ 31184 h 823468"/>
              <a:gd name="connsiteX2306" fmla="*/ 7037016 w 12248682"/>
              <a:gd name="connsiteY2306" fmla="*/ 51973 h 823468"/>
              <a:gd name="connsiteX2307" fmla="*/ 7016227 w 12248682"/>
              <a:gd name="connsiteY2307" fmla="*/ 72762 h 823468"/>
              <a:gd name="connsiteX2308" fmla="*/ 6995438 w 12248682"/>
              <a:gd name="connsiteY2308" fmla="*/ 51973 h 823468"/>
              <a:gd name="connsiteX2309" fmla="*/ 7016227 w 12248682"/>
              <a:gd name="connsiteY2309" fmla="*/ 31184 h 823468"/>
              <a:gd name="connsiteX2310" fmla="*/ 6877634 w 12248682"/>
              <a:gd name="connsiteY2310" fmla="*/ 31184 h 823468"/>
              <a:gd name="connsiteX2311" fmla="*/ 6898424 w 12248682"/>
              <a:gd name="connsiteY2311" fmla="*/ 51973 h 823468"/>
              <a:gd name="connsiteX2312" fmla="*/ 6877634 w 12248682"/>
              <a:gd name="connsiteY2312" fmla="*/ 72762 h 823468"/>
              <a:gd name="connsiteX2313" fmla="*/ 6856845 w 12248682"/>
              <a:gd name="connsiteY2313" fmla="*/ 51973 h 823468"/>
              <a:gd name="connsiteX2314" fmla="*/ 6877634 w 12248682"/>
              <a:gd name="connsiteY2314" fmla="*/ 31184 h 823468"/>
              <a:gd name="connsiteX2315" fmla="*/ 6039151 w 12248682"/>
              <a:gd name="connsiteY2315" fmla="*/ 31184 h 823468"/>
              <a:gd name="connsiteX2316" fmla="*/ 6059942 w 12248682"/>
              <a:gd name="connsiteY2316" fmla="*/ 51973 h 823468"/>
              <a:gd name="connsiteX2317" fmla="*/ 6039151 w 12248682"/>
              <a:gd name="connsiteY2317" fmla="*/ 72762 h 823468"/>
              <a:gd name="connsiteX2318" fmla="*/ 6018363 w 12248682"/>
              <a:gd name="connsiteY2318" fmla="*/ 51973 h 823468"/>
              <a:gd name="connsiteX2319" fmla="*/ 6039151 w 12248682"/>
              <a:gd name="connsiteY2319" fmla="*/ 31184 h 823468"/>
              <a:gd name="connsiteX2320" fmla="*/ 5899405 w 12248682"/>
              <a:gd name="connsiteY2320" fmla="*/ 31184 h 823468"/>
              <a:gd name="connsiteX2321" fmla="*/ 5920193 w 12248682"/>
              <a:gd name="connsiteY2321" fmla="*/ 51973 h 823468"/>
              <a:gd name="connsiteX2322" fmla="*/ 5899405 w 12248682"/>
              <a:gd name="connsiteY2322" fmla="*/ 72762 h 823468"/>
              <a:gd name="connsiteX2323" fmla="*/ 5878616 w 12248682"/>
              <a:gd name="connsiteY2323" fmla="*/ 51973 h 823468"/>
              <a:gd name="connsiteX2324" fmla="*/ 5899405 w 12248682"/>
              <a:gd name="connsiteY2324" fmla="*/ 31184 h 823468"/>
              <a:gd name="connsiteX2325" fmla="*/ 5759658 w 12248682"/>
              <a:gd name="connsiteY2325" fmla="*/ 31184 h 823468"/>
              <a:gd name="connsiteX2326" fmla="*/ 5780447 w 12248682"/>
              <a:gd name="connsiteY2326" fmla="*/ 51973 h 823468"/>
              <a:gd name="connsiteX2327" fmla="*/ 5759658 w 12248682"/>
              <a:gd name="connsiteY2327" fmla="*/ 72762 h 823468"/>
              <a:gd name="connsiteX2328" fmla="*/ 5738869 w 12248682"/>
              <a:gd name="connsiteY2328" fmla="*/ 51973 h 823468"/>
              <a:gd name="connsiteX2329" fmla="*/ 5759658 w 12248682"/>
              <a:gd name="connsiteY2329" fmla="*/ 31184 h 823468"/>
              <a:gd name="connsiteX2330" fmla="*/ 3241901 w 12248682"/>
              <a:gd name="connsiteY2330" fmla="*/ 31184 h 823468"/>
              <a:gd name="connsiteX2331" fmla="*/ 3262690 w 12248682"/>
              <a:gd name="connsiteY2331" fmla="*/ 51973 h 823468"/>
              <a:gd name="connsiteX2332" fmla="*/ 3241901 w 12248682"/>
              <a:gd name="connsiteY2332" fmla="*/ 72762 h 823468"/>
              <a:gd name="connsiteX2333" fmla="*/ 3221112 w 12248682"/>
              <a:gd name="connsiteY2333" fmla="*/ 51973 h 823468"/>
              <a:gd name="connsiteX2334" fmla="*/ 3241901 w 12248682"/>
              <a:gd name="connsiteY2334" fmla="*/ 31184 h 823468"/>
              <a:gd name="connsiteX2335" fmla="*/ 3102153 w 12248682"/>
              <a:gd name="connsiteY2335" fmla="*/ 31184 h 823468"/>
              <a:gd name="connsiteX2336" fmla="*/ 3122942 w 12248682"/>
              <a:gd name="connsiteY2336" fmla="*/ 51973 h 823468"/>
              <a:gd name="connsiteX2337" fmla="*/ 3102153 w 12248682"/>
              <a:gd name="connsiteY2337" fmla="*/ 72762 h 823468"/>
              <a:gd name="connsiteX2338" fmla="*/ 3081365 w 12248682"/>
              <a:gd name="connsiteY2338" fmla="*/ 51973 h 823468"/>
              <a:gd name="connsiteX2339" fmla="*/ 3102153 w 12248682"/>
              <a:gd name="connsiteY2339" fmla="*/ 31184 h 823468"/>
              <a:gd name="connsiteX2340" fmla="*/ 2962407 w 12248682"/>
              <a:gd name="connsiteY2340" fmla="*/ 31184 h 823468"/>
              <a:gd name="connsiteX2341" fmla="*/ 2983196 w 12248682"/>
              <a:gd name="connsiteY2341" fmla="*/ 51973 h 823468"/>
              <a:gd name="connsiteX2342" fmla="*/ 2962407 w 12248682"/>
              <a:gd name="connsiteY2342" fmla="*/ 72762 h 823468"/>
              <a:gd name="connsiteX2343" fmla="*/ 2941618 w 12248682"/>
              <a:gd name="connsiteY2343" fmla="*/ 51973 h 823468"/>
              <a:gd name="connsiteX2344" fmla="*/ 2962407 w 12248682"/>
              <a:gd name="connsiteY2344" fmla="*/ 31184 h 823468"/>
              <a:gd name="connsiteX2345" fmla="*/ 2822659 w 12248682"/>
              <a:gd name="connsiteY2345" fmla="*/ 31184 h 823468"/>
              <a:gd name="connsiteX2346" fmla="*/ 2843448 w 12248682"/>
              <a:gd name="connsiteY2346" fmla="*/ 51973 h 823468"/>
              <a:gd name="connsiteX2347" fmla="*/ 2822659 w 12248682"/>
              <a:gd name="connsiteY2347" fmla="*/ 72762 h 823468"/>
              <a:gd name="connsiteX2348" fmla="*/ 2801871 w 12248682"/>
              <a:gd name="connsiteY2348" fmla="*/ 51973 h 823468"/>
              <a:gd name="connsiteX2349" fmla="*/ 2822659 w 12248682"/>
              <a:gd name="connsiteY2349" fmla="*/ 31184 h 823468"/>
              <a:gd name="connsiteX2350" fmla="*/ 2682913 w 12248682"/>
              <a:gd name="connsiteY2350" fmla="*/ 31184 h 823468"/>
              <a:gd name="connsiteX2351" fmla="*/ 2703702 w 12248682"/>
              <a:gd name="connsiteY2351" fmla="*/ 51973 h 823468"/>
              <a:gd name="connsiteX2352" fmla="*/ 2682913 w 12248682"/>
              <a:gd name="connsiteY2352" fmla="*/ 72762 h 823468"/>
              <a:gd name="connsiteX2353" fmla="*/ 2662124 w 12248682"/>
              <a:gd name="connsiteY2353" fmla="*/ 51973 h 823468"/>
              <a:gd name="connsiteX2354" fmla="*/ 2682913 w 12248682"/>
              <a:gd name="connsiteY2354" fmla="*/ 31184 h 823468"/>
              <a:gd name="connsiteX2355" fmla="*/ 2543167 w 12248682"/>
              <a:gd name="connsiteY2355" fmla="*/ 31184 h 823468"/>
              <a:gd name="connsiteX2356" fmla="*/ 2563954 w 12248682"/>
              <a:gd name="connsiteY2356" fmla="*/ 51973 h 823468"/>
              <a:gd name="connsiteX2357" fmla="*/ 2543167 w 12248682"/>
              <a:gd name="connsiteY2357" fmla="*/ 72762 h 823468"/>
              <a:gd name="connsiteX2358" fmla="*/ 2522376 w 12248682"/>
              <a:gd name="connsiteY2358" fmla="*/ 51973 h 823468"/>
              <a:gd name="connsiteX2359" fmla="*/ 2543167 w 12248682"/>
              <a:gd name="connsiteY2359" fmla="*/ 31184 h 823468"/>
              <a:gd name="connsiteX2360" fmla="*/ 2403419 w 12248682"/>
              <a:gd name="connsiteY2360" fmla="*/ 31184 h 823468"/>
              <a:gd name="connsiteX2361" fmla="*/ 2424209 w 12248682"/>
              <a:gd name="connsiteY2361" fmla="*/ 51973 h 823468"/>
              <a:gd name="connsiteX2362" fmla="*/ 2403419 w 12248682"/>
              <a:gd name="connsiteY2362" fmla="*/ 72762 h 823468"/>
              <a:gd name="connsiteX2363" fmla="*/ 2382630 w 12248682"/>
              <a:gd name="connsiteY2363" fmla="*/ 51973 h 823468"/>
              <a:gd name="connsiteX2364" fmla="*/ 2403419 w 12248682"/>
              <a:gd name="connsiteY2364" fmla="*/ 31184 h 823468"/>
              <a:gd name="connsiteX2365" fmla="*/ 2263671 w 12248682"/>
              <a:gd name="connsiteY2365" fmla="*/ 31184 h 823468"/>
              <a:gd name="connsiteX2366" fmla="*/ 2284460 w 12248682"/>
              <a:gd name="connsiteY2366" fmla="*/ 51973 h 823468"/>
              <a:gd name="connsiteX2367" fmla="*/ 2263671 w 12248682"/>
              <a:gd name="connsiteY2367" fmla="*/ 72762 h 823468"/>
              <a:gd name="connsiteX2368" fmla="*/ 2242883 w 12248682"/>
              <a:gd name="connsiteY2368" fmla="*/ 51973 h 823468"/>
              <a:gd name="connsiteX2369" fmla="*/ 2263671 w 12248682"/>
              <a:gd name="connsiteY2369" fmla="*/ 31184 h 823468"/>
              <a:gd name="connsiteX2370" fmla="*/ 1426344 w 12248682"/>
              <a:gd name="connsiteY2370" fmla="*/ 31184 h 823468"/>
              <a:gd name="connsiteX2371" fmla="*/ 1447133 w 12248682"/>
              <a:gd name="connsiteY2371" fmla="*/ 51973 h 823468"/>
              <a:gd name="connsiteX2372" fmla="*/ 1426344 w 12248682"/>
              <a:gd name="connsiteY2372" fmla="*/ 72762 h 823468"/>
              <a:gd name="connsiteX2373" fmla="*/ 1405556 w 12248682"/>
              <a:gd name="connsiteY2373" fmla="*/ 51973 h 823468"/>
              <a:gd name="connsiteX2374" fmla="*/ 1426344 w 12248682"/>
              <a:gd name="connsiteY2374" fmla="*/ 31184 h 823468"/>
              <a:gd name="connsiteX2375" fmla="*/ 1286597 w 12248682"/>
              <a:gd name="connsiteY2375" fmla="*/ 31184 h 823468"/>
              <a:gd name="connsiteX2376" fmla="*/ 1307386 w 12248682"/>
              <a:gd name="connsiteY2376" fmla="*/ 51973 h 823468"/>
              <a:gd name="connsiteX2377" fmla="*/ 1286597 w 12248682"/>
              <a:gd name="connsiteY2377" fmla="*/ 72762 h 823468"/>
              <a:gd name="connsiteX2378" fmla="*/ 1265808 w 12248682"/>
              <a:gd name="connsiteY2378" fmla="*/ 51973 h 823468"/>
              <a:gd name="connsiteX2379" fmla="*/ 1286597 w 12248682"/>
              <a:gd name="connsiteY2379" fmla="*/ 31184 h 823468"/>
              <a:gd name="connsiteX2380" fmla="*/ 1146851 w 12248682"/>
              <a:gd name="connsiteY2380" fmla="*/ 31184 h 823468"/>
              <a:gd name="connsiteX2381" fmla="*/ 1167639 w 12248682"/>
              <a:gd name="connsiteY2381" fmla="*/ 51973 h 823468"/>
              <a:gd name="connsiteX2382" fmla="*/ 1146851 w 12248682"/>
              <a:gd name="connsiteY2382" fmla="*/ 72762 h 823468"/>
              <a:gd name="connsiteX2383" fmla="*/ 1126062 w 12248682"/>
              <a:gd name="connsiteY2383" fmla="*/ 51973 h 823468"/>
              <a:gd name="connsiteX2384" fmla="*/ 1146851 w 12248682"/>
              <a:gd name="connsiteY2384" fmla="*/ 31184 h 823468"/>
              <a:gd name="connsiteX2385" fmla="*/ 11343213 w 12248682"/>
              <a:gd name="connsiteY2385" fmla="*/ 27719 h 823468"/>
              <a:gd name="connsiteX2386" fmla="*/ 11366312 w 12248682"/>
              <a:gd name="connsiteY2386" fmla="*/ 50817 h 823468"/>
              <a:gd name="connsiteX2387" fmla="*/ 11343213 w 12248682"/>
              <a:gd name="connsiteY2387" fmla="*/ 73916 h 823468"/>
              <a:gd name="connsiteX2388" fmla="*/ 11320114 w 12248682"/>
              <a:gd name="connsiteY2388" fmla="*/ 50817 h 823468"/>
              <a:gd name="connsiteX2389" fmla="*/ 11343213 w 12248682"/>
              <a:gd name="connsiteY2389" fmla="*/ 27719 h 823468"/>
              <a:gd name="connsiteX2390" fmla="*/ 10225237 w 12248682"/>
              <a:gd name="connsiteY2390" fmla="*/ 27719 h 823468"/>
              <a:gd name="connsiteX2391" fmla="*/ 10248335 w 12248682"/>
              <a:gd name="connsiteY2391" fmla="*/ 50817 h 823468"/>
              <a:gd name="connsiteX2392" fmla="*/ 10225237 w 12248682"/>
              <a:gd name="connsiteY2392" fmla="*/ 73916 h 823468"/>
              <a:gd name="connsiteX2393" fmla="*/ 10202138 w 12248682"/>
              <a:gd name="connsiteY2393" fmla="*/ 50817 h 823468"/>
              <a:gd name="connsiteX2394" fmla="*/ 10225237 w 12248682"/>
              <a:gd name="connsiteY2394" fmla="*/ 27719 h 823468"/>
              <a:gd name="connsiteX2395" fmla="*/ 9112431 w 12248682"/>
              <a:gd name="connsiteY2395" fmla="*/ 27719 h 823468"/>
              <a:gd name="connsiteX2396" fmla="*/ 9135530 w 12248682"/>
              <a:gd name="connsiteY2396" fmla="*/ 50817 h 823468"/>
              <a:gd name="connsiteX2397" fmla="*/ 9112431 w 12248682"/>
              <a:gd name="connsiteY2397" fmla="*/ 73916 h 823468"/>
              <a:gd name="connsiteX2398" fmla="*/ 9089332 w 12248682"/>
              <a:gd name="connsiteY2398" fmla="*/ 50817 h 823468"/>
              <a:gd name="connsiteX2399" fmla="*/ 9112431 w 12248682"/>
              <a:gd name="connsiteY2399" fmla="*/ 27719 h 823468"/>
              <a:gd name="connsiteX2400" fmla="*/ 7994456 w 12248682"/>
              <a:gd name="connsiteY2400" fmla="*/ 27719 h 823468"/>
              <a:gd name="connsiteX2401" fmla="*/ 8017555 w 12248682"/>
              <a:gd name="connsiteY2401" fmla="*/ 50817 h 823468"/>
              <a:gd name="connsiteX2402" fmla="*/ 7994456 w 12248682"/>
              <a:gd name="connsiteY2402" fmla="*/ 73916 h 823468"/>
              <a:gd name="connsiteX2403" fmla="*/ 7971356 w 12248682"/>
              <a:gd name="connsiteY2403" fmla="*/ 50817 h 823468"/>
              <a:gd name="connsiteX2404" fmla="*/ 7994456 w 12248682"/>
              <a:gd name="connsiteY2404" fmla="*/ 27719 h 823468"/>
              <a:gd name="connsiteX2405" fmla="*/ 6737887 w 12248682"/>
              <a:gd name="connsiteY2405" fmla="*/ 27719 h 823468"/>
              <a:gd name="connsiteX2406" fmla="*/ 6760986 w 12248682"/>
              <a:gd name="connsiteY2406" fmla="*/ 50817 h 823468"/>
              <a:gd name="connsiteX2407" fmla="*/ 6737887 w 12248682"/>
              <a:gd name="connsiteY2407" fmla="*/ 73916 h 823468"/>
              <a:gd name="connsiteX2408" fmla="*/ 6714789 w 12248682"/>
              <a:gd name="connsiteY2408" fmla="*/ 50817 h 823468"/>
              <a:gd name="connsiteX2409" fmla="*/ 6737887 w 12248682"/>
              <a:gd name="connsiteY2409" fmla="*/ 27719 h 823468"/>
              <a:gd name="connsiteX2410" fmla="*/ 5619911 w 12248682"/>
              <a:gd name="connsiteY2410" fmla="*/ 27719 h 823468"/>
              <a:gd name="connsiteX2411" fmla="*/ 5643008 w 12248682"/>
              <a:gd name="connsiteY2411" fmla="*/ 50817 h 823468"/>
              <a:gd name="connsiteX2412" fmla="*/ 5619911 w 12248682"/>
              <a:gd name="connsiteY2412" fmla="*/ 73916 h 823468"/>
              <a:gd name="connsiteX2413" fmla="*/ 5596812 w 12248682"/>
              <a:gd name="connsiteY2413" fmla="*/ 50817 h 823468"/>
              <a:gd name="connsiteX2414" fmla="*/ 5619911 w 12248682"/>
              <a:gd name="connsiteY2414" fmla="*/ 27719 h 823468"/>
              <a:gd name="connsiteX2415" fmla="*/ 4499625 w 12248682"/>
              <a:gd name="connsiteY2415" fmla="*/ 27719 h 823468"/>
              <a:gd name="connsiteX2416" fmla="*/ 4522722 w 12248682"/>
              <a:gd name="connsiteY2416" fmla="*/ 50817 h 823468"/>
              <a:gd name="connsiteX2417" fmla="*/ 4499625 w 12248682"/>
              <a:gd name="connsiteY2417" fmla="*/ 73916 h 823468"/>
              <a:gd name="connsiteX2418" fmla="*/ 4476525 w 12248682"/>
              <a:gd name="connsiteY2418" fmla="*/ 50817 h 823468"/>
              <a:gd name="connsiteX2419" fmla="*/ 4499625 w 12248682"/>
              <a:gd name="connsiteY2419" fmla="*/ 27719 h 823468"/>
              <a:gd name="connsiteX2420" fmla="*/ 3381648 w 12248682"/>
              <a:gd name="connsiteY2420" fmla="*/ 27719 h 823468"/>
              <a:gd name="connsiteX2421" fmla="*/ 3404746 w 12248682"/>
              <a:gd name="connsiteY2421" fmla="*/ 50817 h 823468"/>
              <a:gd name="connsiteX2422" fmla="*/ 3381648 w 12248682"/>
              <a:gd name="connsiteY2422" fmla="*/ 73916 h 823468"/>
              <a:gd name="connsiteX2423" fmla="*/ 3358549 w 12248682"/>
              <a:gd name="connsiteY2423" fmla="*/ 50817 h 823468"/>
              <a:gd name="connsiteX2424" fmla="*/ 3381648 w 12248682"/>
              <a:gd name="connsiteY2424" fmla="*/ 27719 h 823468"/>
              <a:gd name="connsiteX2425" fmla="*/ 2125079 w 12248682"/>
              <a:gd name="connsiteY2425" fmla="*/ 27719 h 823468"/>
              <a:gd name="connsiteX2426" fmla="*/ 2148178 w 12248682"/>
              <a:gd name="connsiteY2426" fmla="*/ 50817 h 823468"/>
              <a:gd name="connsiteX2427" fmla="*/ 2125079 w 12248682"/>
              <a:gd name="connsiteY2427" fmla="*/ 73916 h 823468"/>
              <a:gd name="connsiteX2428" fmla="*/ 2101980 w 12248682"/>
              <a:gd name="connsiteY2428" fmla="*/ 50817 h 823468"/>
              <a:gd name="connsiteX2429" fmla="*/ 2125079 w 12248682"/>
              <a:gd name="connsiteY2429" fmla="*/ 27719 h 823468"/>
              <a:gd name="connsiteX2430" fmla="*/ 1007103 w 12248682"/>
              <a:gd name="connsiteY2430" fmla="*/ 27719 h 823468"/>
              <a:gd name="connsiteX2431" fmla="*/ 1030201 w 12248682"/>
              <a:gd name="connsiteY2431" fmla="*/ 50817 h 823468"/>
              <a:gd name="connsiteX2432" fmla="*/ 1007103 w 12248682"/>
              <a:gd name="connsiteY2432" fmla="*/ 73916 h 823468"/>
              <a:gd name="connsiteX2433" fmla="*/ 984004 w 12248682"/>
              <a:gd name="connsiteY2433" fmla="*/ 50817 h 823468"/>
              <a:gd name="connsiteX2434" fmla="*/ 1007103 w 12248682"/>
              <a:gd name="connsiteY2434" fmla="*/ 27719 h 823468"/>
              <a:gd name="connsiteX2435" fmla="*/ 11203466 w 12248682"/>
              <a:gd name="connsiteY2435" fmla="*/ 21945 h 823468"/>
              <a:gd name="connsiteX2436" fmla="*/ 11232339 w 12248682"/>
              <a:gd name="connsiteY2436" fmla="*/ 50817 h 823468"/>
              <a:gd name="connsiteX2437" fmla="*/ 11203466 w 12248682"/>
              <a:gd name="connsiteY2437" fmla="*/ 79691 h 823468"/>
              <a:gd name="connsiteX2438" fmla="*/ 11174593 w 12248682"/>
              <a:gd name="connsiteY2438" fmla="*/ 50817 h 823468"/>
              <a:gd name="connsiteX2439" fmla="*/ 11203466 w 12248682"/>
              <a:gd name="connsiteY2439" fmla="*/ 21945 h 823468"/>
              <a:gd name="connsiteX2440" fmla="*/ 10085490 w 12248682"/>
              <a:gd name="connsiteY2440" fmla="*/ 21945 h 823468"/>
              <a:gd name="connsiteX2441" fmla="*/ 10114363 w 12248682"/>
              <a:gd name="connsiteY2441" fmla="*/ 51973 h 823468"/>
              <a:gd name="connsiteX2442" fmla="*/ 10085490 w 12248682"/>
              <a:gd name="connsiteY2442" fmla="*/ 80846 h 823468"/>
              <a:gd name="connsiteX2443" fmla="*/ 10056616 w 12248682"/>
              <a:gd name="connsiteY2443" fmla="*/ 50817 h 823468"/>
              <a:gd name="connsiteX2444" fmla="*/ 10085490 w 12248682"/>
              <a:gd name="connsiteY2444" fmla="*/ 21945 h 823468"/>
              <a:gd name="connsiteX2445" fmla="*/ 9247008 w 12248682"/>
              <a:gd name="connsiteY2445" fmla="*/ 21945 h 823468"/>
              <a:gd name="connsiteX2446" fmla="*/ 9275881 w 12248682"/>
              <a:gd name="connsiteY2446" fmla="*/ 50817 h 823468"/>
              <a:gd name="connsiteX2447" fmla="*/ 9247008 w 12248682"/>
              <a:gd name="connsiteY2447" fmla="*/ 80846 h 823468"/>
              <a:gd name="connsiteX2448" fmla="*/ 9218134 w 12248682"/>
              <a:gd name="connsiteY2448" fmla="*/ 50817 h 823468"/>
              <a:gd name="connsiteX2449" fmla="*/ 9247008 w 12248682"/>
              <a:gd name="connsiteY2449" fmla="*/ 21945 h 823468"/>
              <a:gd name="connsiteX2450" fmla="*/ 8972685 w 12248682"/>
              <a:gd name="connsiteY2450" fmla="*/ 21945 h 823468"/>
              <a:gd name="connsiteX2451" fmla="*/ 9001557 w 12248682"/>
              <a:gd name="connsiteY2451" fmla="*/ 50817 h 823468"/>
              <a:gd name="connsiteX2452" fmla="*/ 8972685 w 12248682"/>
              <a:gd name="connsiteY2452" fmla="*/ 79691 h 823468"/>
              <a:gd name="connsiteX2453" fmla="*/ 8943811 w 12248682"/>
              <a:gd name="connsiteY2453" fmla="*/ 50817 h 823468"/>
              <a:gd name="connsiteX2454" fmla="*/ 8972685 w 12248682"/>
              <a:gd name="connsiteY2454" fmla="*/ 21945 h 823468"/>
              <a:gd name="connsiteX2455" fmla="*/ 8134203 w 12248682"/>
              <a:gd name="connsiteY2455" fmla="*/ 21945 h 823468"/>
              <a:gd name="connsiteX2456" fmla="*/ 8163075 w 12248682"/>
              <a:gd name="connsiteY2456" fmla="*/ 50817 h 823468"/>
              <a:gd name="connsiteX2457" fmla="*/ 8134203 w 12248682"/>
              <a:gd name="connsiteY2457" fmla="*/ 79691 h 823468"/>
              <a:gd name="connsiteX2458" fmla="*/ 8105330 w 12248682"/>
              <a:gd name="connsiteY2458" fmla="*/ 50817 h 823468"/>
              <a:gd name="connsiteX2459" fmla="*/ 8134203 w 12248682"/>
              <a:gd name="connsiteY2459" fmla="*/ 21945 h 823468"/>
              <a:gd name="connsiteX2460" fmla="*/ 6598140 w 12248682"/>
              <a:gd name="connsiteY2460" fmla="*/ 21945 h 823468"/>
              <a:gd name="connsiteX2461" fmla="*/ 6627013 w 12248682"/>
              <a:gd name="connsiteY2461" fmla="*/ 50817 h 823468"/>
              <a:gd name="connsiteX2462" fmla="*/ 6598140 w 12248682"/>
              <a:gd name="connsiteY2462" fmla="*/ 79691 h 823468"/>
              <a:gd name="connsiteX2463" fmla="*/ 6569267 w 12248682"/>
              <a:gd name="connsiteY2463" fmla="*/ 50817 h 823468"/>
              <a:gd name="connsiteX2464" fmla="*/ 6598140 w 12248682"/>
              <a:gd name="connsiteY2464" fmla="*/ 21945 h 823468"/>
              <a:gd name="connsiteX2465" fmla="*/ 5480165 w 12248682"/>
              <a:gd name="connsiteY2465" fmla="*/ 21945 h 823468"/>
              <a:gd name="connsiteX2466" fmla="*/ 5509037 w 12248682"/>
              <a:gd name="connsiteY2466" fmla="*/ 50817 h 823468"/>
              <a:gd name="connsiteX2467" fmla="*/ 5480165 w 12248682"/>
              <a:gd name="connsiteY2467" fmla="*/ 79691 h 823468"/>
              <a:gd name="connsiteX2468" fmla="*/ 5451289 w 12248682"/>
              <a:gd name="connsiteY2468" fmla="*/ 50817 h 823468"/>
              <a:gd name="connsiteX2469" fmla="*/ 5480165 w 12248682"/>
              <a:gd name="connsiteY2469" fmla="*/ 21945 h 823468"/>
              <a:gd name="connsiteX2470" fmla="*/ 4641682 w 12248682"/>
              <a:gd name="connsiteY2470" fmla="*/ 21945 h 823468"/>
              <a:gd name="connsiteX2471" fmla="*/ 4670555 w 12248682"/>
              <a:gd name="connsiteY2471" fmla="*/ 50817 h 823468"/>
              <a:gd name="connsiteX2472" fmla="*/ 4641682 w 12248682"/>
              <a:gd name="connsiteY2472" fmla="*/ 79691 h 823468"/>
              <a:gd name="connsiteX2473" fmla="*/ 4612809 w 12248682"/>
              <a:gd name="connsiteY2473" fmla="*/ 50817 h 823468"/>
              <a:gd name="connsiteX2474" fmla="*/ 4641682 w 12248682"/>
              <a:gd name="connsiteY2474" fmla="*/ 21945 h 823468"/>
              <a:gd name="connsiteX2475" fmla="*/ 4359878 w 12248682"/>
              <a:gd name="connsiteY2475" fmla="*/ 21945 h 823468"/>
              <a:gd name="connsiteX2476" fmla="*/ 4388751 w 12248682"/>
              <a:gd name="connsiteY2476" fmla="*/ 50817 h 823468"/>
              <a:gd name="connsiteX2477" fmla="*/ 4359878 w 12248682"/>
              <a:gd name="connsiteY2477" fmla="*/ 79691 h 823468"/>
              <a:gd name="connsiteX2478" fmla="*/ 4331003 w 12248682"/>
              <a:gd name="connsiteY2478" fmla="*/ 50817 h 823468"/>
              <a:gd name="connsiteX2479" fmla="*/ 4359878 w 12248682"/>
              <a:gd name="connsiteY2479" fmla="*/ 21945 h 823468"/>
              <a:gd name="connsiteX2480" fmla="*/ 3521396 w 12248682"/>
              <a:gd name="connsiteY2480" fmla="*/ 21945 h 823468"/>
              <a:gd name="connsiteX2481" fmla="*/ 3550268 w 12248682"/>
              <a:gd name="connsiteY2481" fmla="*/ 50817 h 823468"/>
              <a:gd name="connsiteX2482" fmla="*/ 3521396 w 12248682"/>
              <a:gd name="connsiteY2482" fmla="*/ 79691 h 823468"/>
              <a:gd name="connsiteX2483" fmla="*/ 3492521 w 12248682"/>
              <a:gd name="connsiteY2483" fmla="*/ 50817 h 823468"/>
              <a:gd name="connsiteX2484" fmla="*/ 3521396 w 12248682"/>
              <a:gd name="connsiteY2484" fmla="*/ 21945 h 823468"/>
              <a:gd name="connsiteX2485" fmla="*/ 1985333 w 12248682"/>
              <a:gd name="connsiteY2485" fmla="*/ 21945 h 823468"/>
              <a:gd name="connsiteX2486" fmla="*/ 2014205 w 12248682"/>
              <a:gd name="connsiteY2486" fmla="*/ 50817 h 823468"/>
              <a:gd name="connsiteX2487" fmla="*/ 1985333 w 12248682"/>
              <a:gd name="connsiteY2487" fmla="*/ 79691 h 823468"/>
              <a:gd name="connsiteX2488" fmla="*/ 1956459 w 12248682"/>
              <a:gd name="connsiteY2488" fmla="*/ 50817 h 823468"/>
              <a:gd name="connsiteX2489" fmla="*/ 1985333 w 12248682"/>
              <a:gd name="connsiteY2489" fmla="*/ 21945 h 823468"/>
              <a:gd name="connsiteX2490" fmla="*/ 867356 w 12248682"/>
              <a:gd name="connsiteY2490" fmla="*/ 21945 h 823468"/>
              <a:gd name="connsiteX2491" fmla="*/ 896229 w 12248682"/>
              <a:gd name="connsiteY2491" fmla="*/ 51973 h 823468"/>
              <a:gd name="connsiteX2492" fmla="*/ 867356 w 12248682"/>
              <a:gd name="connsiteY2492" fmla="*/ 80846 h 823468"/>
              <a:gd name="connsiteX2493" fmla="*/ 838482 w 12248682"/>
              <a:gd name="connsiteY2493" fmla="*/ 50817 h 823468"/>
              <a:gd name="connsiteX2494" fmla="*/ 867356 w 12248682"/>
              <a:gd name="connsiteY2494" fmla="*/ 21945 h 823468"/>
              <a:gd name="connsiteX2495" fmla="*/ 28874 w 12248682"/>
              <a:gd name="connsiteY2495" fmla="*/ 21945 h 823468"/>
              <a:gd name="connsiteX2496" fmla="*/ 57747 w 12248682"/>
              <a:gd name="connsiteY2496" fmla="*/ 50817 h 823468"/>
              <a:gd name="connsiteX2497" fmla="*/ 28874 w 12248682"/>
              <a:gd name="connsiteY2497" fmla="*/ 80846 h 823468"/>
              <a:gd name="connsiteX2498" fmla="*/ 0 w 12248682"/>
              <a:gd name="connsiteY2498" fmla="*/ 50817 h 823468"/>
              <a:gd name="connsiteX2499" fmla="*/ 28874 w 12248682"/>
              <a:gd name="connsiteY2499" fmla="*/ 21945 h 823468"/>
              <a:gd name="connsiteX2500" fmla="*/ 11063719 w 12248682"/>
              <a:gd name="connsiteY2500" fmla="*/ 16169 h 823468"/>
              <a:gd name="connsiteX2501" fmla="*/ 11098367 w 12248682"/>
              <a:gd name="connsiteY2501" fmla="*/ 50817 h 823468"/>
              <a:gd name="connsiteX2502" fmla="*/ 11063719 w 12248682"/>
              <a:gd name="connsiteY2502" fmla="*/ 85465 h 823468"/>
              <a:gd name="connsiteX2503" fmla="*/ 11029071 w 12248682"/>
              <a:gd name="connsiteY2503" fmla="*/ 50817 h 823468"/>
              <a:gd name="connsiteX2504" fmla="*/ 11063719 w 12248682"/>
              <a:gd name="connsiteY2504" fmla="*/ 16169 h 823468"/>
              <a:gd name="connsiteX2505" fmla="*/ 9945743 w 12248682"/>
              <a:gd name="connsiteY2505" fmla="*/ 16169 h 823468"/>
              <a:gd name="connsiteX2506" fmla="*/ 9980391 w 12248682"/>
              <a:gd name="connsiteY2506" fmla="*/ 50817 h 823468"/>
              <a:gd name="connsiteX2507" fmla="*/ 9945743 w 12248682"/>
              <a:gd name="connsiteY2507" fmla="*/ 85465 h 823468"/>
              <a:gd name="connsiteX2508" fmla="*/ 9911094 w 12248682"/>
              <a:gd name="connsiteY2508" fmla="*/ 50817 h 823468"/>
              <a:gd name="connsiteX2509" fmla="*/ 9945743 w 12248682"/>
              <a:gd name="connsiteY2509" fmla="*/ 16169 h 823468"/>
              <a:gd name="connsiteX2510" fmla="*/ 9386754 w 12248682"/>
              <a:gd name="connsiteY2510" fmla="*/ 16169 h 823468"/>
              <a:gd name="connsiteX2511" fmla="*/ 9421402 w 12248682"/>
              <a:gd name="connsiteY2511" fmla="*/ 50817 h 823468"/>
              <a:gd name="connsiteX2512" fmla="*/ 9386754 w 12248682"/>
              <a:gd name="connsiteY2512" fmla="*/ 85465 h 823468"/>
              <a:gd name="connsiteX2513" fmla="*/ 9352106 w 12248682"/>
              <a:gd name="connsiteY2513" fmla="*/ 50817 h 823468"/>
              <a:gd name="connsiteX2514" fmla="*/ 9386754 w 12248682"/>
              <a:gd name="connsiteY2514" fmla="*/ 16169 h 823468"/>
              <a:gd name="connsiteX2515" fmla="*/ 8832937 w 12248682"/>
              <a:gd name="connsiteY2515" fmla="*/ 16169 h 823468"/>
              <a:gd name="connsiteX2516" fmla="*/ 8867585 w 12248682"/>
              <a:gd name="connsiteY2516" fmla="*/ 50817 h 823468"/>
              <a:gd name="connsiteX2517" fmla="*/ 8832937 w 12248682"/>
              <a:gd name="connsiteY2517" fmla="*/ 85465 h 823468"/>
              <a:gd name="connsiteX2518" fmla="*/ 8798289 w 12248682"/>
              <a:gd name="connsiteY2518" fmla="*/ 50817 h 823468"/>
              <a:gd name="connsiteX2519" fmla="*/ 8832937 w 12248682"/>
              <a:gd name="connsiteY2519" fmla="*/ 16169 h 823468"/>
              <a:gd name="connsiteX2520" fmla="*/ 8273949 w 12248682"/>
              <a:gd name="connsiteY2520" fmla="*/ 16169 h 823468"/>
              <a:gd name="connsiteX2521" fmla="*/ 8308598 w 12248682"/>
              <a:gd name="connsiteY2521" fmla="*/ 50817 h 823468"/>
              <a:gd name="connsiteX2522" fmla="*/ 8273949 w 12248682"/>
              <a:gd name="connsiteY2522" fmla="*/ 85465 h 823468"/>
              <a:gd name="connsiteX2523" fmla="*/ 8239301 w 12248682"/>
              <a:gd name="connsiteY2523" fmla="*/ 50817 h 823468"/>
              <a:gd name="connsiteX2524" fmla="*/ 8273949 w 12248682"/>
              <a:gd name="connsiteY2524" fmla="*/ 16169 h 823468"/>
              <a:gd name="connsiteX2525" fmla="*/ 6458393 w 12248682"/>
              <a:gd name="connsiteY2525" fmla="*/ 16169 h 823468"/>
              <a:gd name="connsiteX2526" fmla="*/ 6493041 w 12248682"/>
              <a:gd name="connsiteY2526" fmla="*/ 50817 h 823468"/>
              <a:gd name="connsiteX2527" fmla="*/ 6458393 w 12248682"/>
              <a:gd name="connsiteY2527" fmla="*/ 85465 h 823468"/>
              <a:gd name="connsiteX2528" fmla="*/ 6423745 w 12248682"/>
              <a:gd name="connsiteY2528" fmla="*/ 50817 h 823468"/>
              <a:gd name="connsiteX2529" fmla="*/ 6458393 w 12248682"/>
              <a:gd name="connsiteY2529" fmla="*/ 16169 h 823468"/>
              <a:gd name="connsiteX2530" fmla="*/ 5340416 w 12248682"/>
              <a:gd name="connsiteY2530" fmla="*/ 16169 h 823468"/>
              <a:gd name="connsiteX2531" fmla="*/ 5375064 w 12248682"/>
              <a:gd name="connsiteY2531" fmla="*/ 50817 h 823468"/>
              <a:gd name="connsiteX2532" fmla="*/ 5340416 w 12248682"/>
              <a:gd name="connsiteY2532" fmla="*/ 85465 h 823468"/>
              <a:gd name="connsiteX2533" fmla="*/ 5305769 w 12248682"/>
              <a:gd name="connsiteY2533" fmla="*/ 50817 h 823468"/>
              <a:gd name="connsiteX2534" fmla="*/ 5340416 w 12248682"/>
              <a:gd name="connsiteY2534" fmla="*/ 16169 h 823468"/>
              <a:gd name="connsiteX2535" fmla="*/ 4781429 w 12248682"/>
              <a:gd name="connsiteY2535" fmla="*/ 16169 h 823468"/>
              <a:gd name="connsiteX2536" fmla="*/ 4816075 w 12248682"/>
              <a:gd name="connsiteY2536" fmla="*/ 50817 h 823468"/>
              <a:gd name="connsiteX2537" fmla="*/ 4781429 w 12248682"/>
              <a:gd name="connsiteY2537" fmla="*/ 85465 h 823468"/>
              <a:gd name="connsiteX2538" fmla="*/ 4746781 w 12248682"/>
              <a:gd name="connsiteY2538" fmla="*/ 50817 h 823468"/>
              <a:gd name="connsiteX2539" fmla="*/ 4781429 w 12248682"/>
              <a:gd name="connsiteY2539" fmla="*/ 16169 h 823468"/>
              <a:gd name="connsiteX2540" fmla="*/ 4220129 w 12248682"/>
              <a:gd name="connsiteY2540" fmla="*/ 16169 h 823468"/>
              <a:gd name="connsiteX2541" fmla="*/ 4254779 w 12248682"/>
              <a:gd name="connsiteY2541" fmla="*/ 50817 h 823468"/>
              <a:gd name="connsiteX2542" fmla="*/ 4220129 w 12248682"/>
              <a:gd name="connsiteY2542" fmla="*/ 85465 h 823468"/>
              <a:gd name="connsiteX2543" fmla="*/ 4185482 w 12248682"/>
              <a:gd name="connsiteY2543" fmla="*/ 50817 h 823468"/>
              <a:gd name="connsiteX2544" fmla="*/ 4220129 w 12248682"/>
              <a:gd name="connsiteY2544" fmla="*/ 16169 h 823468"/>
              <a:gd name="connsiteX2545" fmla="*/ 3661142 w 12248682"/>
              <a:gd name="connsiteY2545" fmla="*/ 16169 h 823468"/>
              <a:gd name="connsiteX2546" fmla="*/ 3695791 w 12248682"/>
              <a:gd name="connsiteY2546" fmla="*/ 50817 h 823468"/>
              <a:gd name="connsiteX2547" fmla="*/ 3661142 w 12248682"/>
              <a:gd name="connsiteY2547" fmla="*/ 85465 h 823468"/>
              <a:gd name="connsiteX2548" fmla="*/ 3626494 w 12248682"/>
              <a:gd name="connsiteY2548" fmla="*/ 50817 h 823468"/>
              <a:gd name="connsiteX2549" fmla="*/ 3661142 w 12248682"/>
              <a:gd name="connsiteY2549" fmla="*/ 16169 h 823468"/>
              <a:gd name="connsiteX2550" fmla="*/ 1845585 w 12248682"/>
              <a:gd name="connsiteY2550" fmla="*/ 16169 h 823468"/>
              <a:gd name="connsiteX2551" fmla="*/ 1880233 w 12248682"/>
              <a:gd name="connsiteY2551" fmla="*/ 50817 h 823468"/>
              <a:gd name="connsiteX2552" fmla="*/ 1845585 w 12248682"/>
              <a:gd name="connsiteY2552" fmla="*/ 85465 h 823468"/>
              <a:gd name="connsiteX2553" fmla="*/ 1810937 w 12248682"/>
              <a:gd name="connsiteY2553" fmla="*/ 50817 h 823468"/>
              <a:gd name="connsiteX2554" fmla="*/ 1845585 w 12248682"/>
              <a:gd name="connsiteY2554" fmla="*/ 16169 h 823468"/>
              <a:gd name="connsiteX2555" fmla="*/ 727609 w 12248682"/>
              <a:gd name="connsiteY2555" fmla="*/ 16169 h 823468"/>
              <a:gd name="connsiteX2556" fmla="*/ 762257 w 12248682"/>
              <a:gd name="connsiteY2556" fmla="*/ 50817 h 823468"/>
              <a:gd name="connsiteX2557" fmla="*/ 727609 w 12248682"/>
              <a:gd name="connsiteY2557" fmla="*/ 85465 h 823468"/>
              <a:gd name="connsiteX2558" fmla="*/ 692961 w 12248682"/>
              <a:gd name="connsiteY2558" fmla="*/ 50817 h 823468"/>
              <a:gd name="connsiteX2559" fmla="*/ 727609 w 12248682"/>
              <a:gd name="connsiteY2559" fmla="*/ 16169 h 823468"/>
              <a:gd name="connsiteX2560" fmla="*/ 168621 w 12248682"/>
              <a:gd name="connsiteY2560" fmla="*/ 16169 h 823468"/>
              <a:gd name="connsiteX2561" fmla="*/ 203269 w 12248682"/>
              <a:gd name="connsiteY2561" fmla="*/ 50817 h 823468"/>
              <a:gd name="connsiteX2562" fmla="*/ 168621 w 12248682"/>
              <a:gd name="connsiteY2562" fmla="*/ 85465 h 823468"/>
              <a:gd name="connsiteX2563" fmla="*/ 133973 w 12248682"/>
              <a:gd name="connsiteY2563" fmla="*/ 50817 h 823468"/>
              <a:gd name="connsiteX2564" fmla="*/ 168621 w 12248682"/>
              <a:gd name="connsiteY2564" fmla="*/ 16169 h 823468"/>
              <a:gd name="connsiteX2565" fmla="*/ 10923972 w 12248682"/>
              <a:gd name="connsiteY2565" fmla="*/ 10395 h 823468"/>
              <a:gd name="connsiteX2566" fmla="*/ 10964394 w 12248682"/>
              <a:gd name="connsiteY2566" fmla="*/ 50817 h 823468"/>
              <a:gd name="connsiteX2567" fmla="*/ 10923972 w 12248682"/>
              <a:gd name="connsiteY2567" fmla="*/ 91241 h 823468"/>
              <a:gd name="connsiteX2568" fmla="*/ 10883549 w 12248682"/>
              <a:gd name="connsiteY2568" fmla="*/ 50817 h 823468"/>
              <a:gd name="connsiteX2569" fmla="*/ 10923972 w 12248682"/>
              <a:gd name="connsiteY2569" fmla="*/ 10395 h 823468"/>
              <a:gd name="connsiteX2570" fmla="*/ 9805996 w 12248682"/>
              <a:gd name="connsiteY2570" fmla="*/ 10395 h 823468"/>
              <a:gd name="connsiteX2571" fmla="*/ 9846418 w 12248682"/>
              <a:gd name="connsiteY2571" fmla="*/ 51973 h 823468"/>
              <a:gd name="connsiteX2572" fmla="*/ 9805996 w 12248682"/>
              <a:gd name="connsiteY2572" fmla="*/ 92395 h 823468"/>
              <a:gd name="connsiteX2573" fmla="*/ 9765573 w 12248682"/>
              <a:gd name="connsiteY2573" fmla="*/ 50817 h 823468"/>
              <a:gd name="connsiteX2574" fmla="*/ 9805996 w 12248682"/>
              <a:gd name="connsiteY2574" fmla="*/ 10395 h 823468"/>
              <a:gd name="connsiteX2575" fmla="*/ 9526502 w 12248682"/>
              <a:gd name="connsiteY2575" fmla="*/ 10395 h 823468"/>
              <a:gd name="connsiteX2576" fmla="*/ 9566924 w 12248682"/>
              <a:gd name="connsiteY2576" fmla="*/ 51973 h 823468"/>
              <a:gd name="connsiteX2577" fmla="*/ 9526502 w 12248682"/>
              <a:gd name="connsiteY2577" fmla="*/ 92395 h 823468"/>
              <a:gd name="connsiteX2578" fmla="*/ 9486079 w 12248682"/>
              <a:gd name="connsiteY2578" fmla="*/ 50817 h 823468"/>
              <a:gd name="connsiteX2579" fmla="*/ 9526502 w 12248682"/>
              <a:gd name="connsiteY2579" fmla="*/ 10395 h 823468"/>
              <a:gd name="connsiteX2580" fmla="*/ 8693190 w 12248682"/>
              <a:gd name="connsiteY2580" fmla="*/ 10395 h 823468"/>
              <a:gd name="connsiteX2581" fmla="*/ 8733613 w 12248682"/>
              <a:gd name="connsiteY2581" fmla="*/ 50817 h 823468"/>
              <a:gd name="connsiteX2582" fmla="*/ 8693190 w 12248682"/>
              <a:gd name="connsiteY2582" fmla="*/ 91241 h 823468"/>
              <a:gd name="connsiteX2583" fmla="*/ 8652767 w 12248682"/>
              <a:gd name="connsiteY2583" fmla="*/ 50817 h 823468"/>
              <a:gd name="connsiteX2584" fmla="*/ 8693190 w 12248682"/>
              <a:gd name="connsiteY2584" fmla="*/ 10395 h 823468"/>
              <a:gd name="connsiteX2585" fmla="*/ 8413696 w 12248682"/>
              <a:gd name="connsiteY2585" fmla="*/ 10395 h 823468"/>
              <a:gd name="connsiteX2586" fmla="*/ 8454118 w 12248682"/>
              <a:gd name="connsiteY2586" fmla="*/ 50817 h 823468"/>
              <a:gd name="connsiteX2587" fmla="*/ 8413696 w 12248682"/>
              <a:gd name="connsiteY2587" fmla="*/ 91241 h 823468"/>
              <a:gd name="connsiteX2588" fmla="*/ 8373274 w 12248682"/>
              <a:gd name="connsiteY2588" fmla="*/ 50817 h 823468"/>
              <a:gd name="connsiteX2589" fmla="*/ 8413696 w 12248682"/>
              <a:gd name="connsiteY2589" fmla="*/ 10395 h 823468"/>
              <a:gd name="connsiteX2590" fmla="*/ 6318647 w 12248682"/>
              <a:gd name="connsiteY2590" fmla="*/ 10395 h 823468"/>
              <a:gd name="connsiteX2591" fmla="*/ 6359068 w 12248682"/>
              <a:gd name="connsiteY2591" fmla="*/ 50817 h 823468"/>
              <a:gd name="connsiteX2592" fmla="*/ 6318647 w 12248682"/>
              <a:gd name="connsiteY2592" fmla="*/ 91241 h 823468"/>
              <a:gd name="connsiteX2593" fmla="*/ 6278223 w 12248682"/>
              <a:gd name="connsiteY2593" fmla="*/ 50817 h 823468"/>
              <a:gd name="connsiteX2594" fmla="*/ 6318647 w 12248682"/>
              <a:gd name="connsiteY2594" fmla="*/ 10395 h 823468"/>
              <a:gd name="connsiteX2595" fmla="*/ 5200669 w 12248682"/>
              <a:gd name="connsiteY2595" fmla="*/ 10395 h 823468"/>
              <a:gd name="connsiteX2596" fmla="*/ 5241093 w 12248682"/>
              <a:gd name="connsiteY2596" fmla="*/ 50817 h 823468"/>
              <a:gd name="connsiteX2597" fmla="*/ 5200669 w 12248682"/>
              <a:gd name="connsiteY2597" fmla="*/ 91241 h 823468"/>
              <a:gd name="connsiteX2598" fmla="*/ 5160247 w 12248682"/>
              <a:gd name="connsiteY2598" fmla="*/ 50817 h 823468"/>
              <a:gd name="connsiteX2599" fmla="*/ 5200669 w 12248682"/>
              <a:gd name="connsiteY2599" fmla="*/ 10395 h 823468"/>
              <a:gd name="connsiteX2600" fmla="*/ 4921176 w 12248682"/>
              <a:gd name="connsiteY2600" fmla="*/ 10395 h 823468"/>
              <a:gd name="connsiteX2601" fmla="*/ 4961597 w 12248682"/>
              <a:gd name="connsiteY2601" fmla="*/ 50817 h 823468"/>
              <a:gd name="connsiteX2602" fmla="*/ 4921176 w 12248682"/>
              <a:gd name="connsiteY2602" fmla="*/ 91241 h 823468"/>
              <a:gd name="connsiteX2603" fmla="*/ 4880752 w 12248682"/>
              <a:gd name="connsiteY2603" fmla="*/ 50817 h 823468"/>
              <a:gd name="connsiteX2604" fmla="*/ 4921176 w 12248682"/>
              <a:gd name="connsiteY2604" fmla="*/ 10395 h 823468"/>
              <a:gd name="connsiteX2605" fmla="*/ 4080383 w 12248682"/>
              <a:gd name="connsiteY2605" fmla="*/ 10395 h 823468"/>
              <a:gd name="connsiteX2606" fmla="*/ 4120806 w 12248682"/>
              <a:gd name="connsiteY2606" fmla="*/ 50817 h 823468"/>
              <a:gd name="connsiteX2607" fmla="*/ 4080383 w 12248682"/>
              <a:gd name="connsiteY2607" fmla="*/ 91241 h 823468"/>
              <a:gd name="connsiteX2608" fmla="*/ 4039961 w 12248682"/>
              <a:gd name="connsiteY2608" fmla="*/ 50817 h 823468"/>
              <a:gd name="connsiteX2609" fmla="*/ 4080383 w 12248682"/>
              <a:gd name="connsiteY2609" fmla="*/ 10395 h 823468"/>
              <a:gd name="connsiteX2610" fmla="*/ 3800889 w 12248682"/>
              <a:gd name="connsiteY2610" fmla="*/ 10395 h 823468"/>
              <a:gd name="connsiteX2611" fmla="*/ 3841311 w 12248682"/>
              <a:gd name="connsiteY2611" fmla="*/ 50817 h 823468"/>
              <a:gd name="connsiteX2612" fmla="*/ 3800889 w 12248682"/>
              <a:gd name="connsiteY2612" fmla="*/ 91241 h 823468"/>
              <a:gd name="connsiteX2613" fmla="*/ 3760466 w 12248682"/>
              <a:gd name="connsiteY2613" fmla="*/ 50817 h 823468"/>
              <a:gd name="connsiteX2614" fmla="*/ 3800889 w 12248682"/>
              <a:gd name="connsiteY2614" fmla="*/ 10395 h 823468"/>
              <a:gd name="connsiteX2615" fmla="*/ 1705839 w 12248682"/>
              <a:gd name="connsiteY2615" fmla="*/ 10395 h 823468"/>
              <a:gd name="connsiteX2616" fmla="*/ 1746261 w 12248682"/>
              <a:gd name="connsiteY2616" fmla="*/ 50817 h 823468"/>
              <a:gd name="connsiteX2617" fmla="*/ 1705839 w 12248682"/>
              <a:gd name="connsiteY2617" fmla="*/ 91241 h 823468"/>
              <a:gd name="connsiteX2618" fmla="*/ 1665415 w 12248682"/>
              <a:gd name="connsiteY2618" fmla="*/ 50817 h 823468"/>
              <a:gd name="connsiteX2619" fmla="*/ 1705839 w 12248682"/>
              <a:gd name="connsiteY2619" fmla="*/ 10395 h 823468"/>
              <a:gd name="connsiteX2620" fmla="*/ 587862 w 12248682"/>
              <a:gd name="connsiteY2620" fmla="*/ 10395 h 823468"/>
              <a:gd name="connsiteX2621" fmla="*/ 628284 w 12248682"/>
              <a:gd name="connsiteY2621" fmla="*/ 51973 h 823468"/>
              <a:gd name="connsiteX2622" fmla="*/ 587862 w 12248682"/>
              <a:gd name="connsiteY2622" fmla="*/ 92395 h 823468"/>
              <a:gd name="connsiteX2623" fmla="*/ 547439 w 12248682"/>
              <a:gd name="connsiteY2623" fmla="*/ 50817 h 823468"/>
              <a:gd name="connsiteX2624" fmla="*/ 587862 w 12248682"/>
              <a:gd name="connsiteY2624" fmla="*/ 10395 h 823468"/>
              <a:gd name="connsiteX2625" fmla="*/ 308368 w 12248682"/>
              <a:gd name="connsiteY2625" fmla="*/ 10395 h 823468"/>
              <a:gd name="connsiteX2626" fmla="*/ 348790 w 12248682"/>
              <a:gd name="connsiteY2626" fmla="*/ 51973 h 823468"/>
              <a:gd name="connsiteX2627" fmla="*/ 308368 w 12248682"/>
              <a:gd name="connsiteY2627" fmla="*/ 92395 h 823468"/>
              <a:gd name="connsiteX2628" fmla="*/ 267945 w 12248682"/>
              <a:gd name="connsiteY2628" fmla="*/ 50817 h 823468"/>
              <a:gd name="connsiteX2629" fmla="*/ 308368 w 12248682"/>
              <a:gd name="connsiteY2629" fmla="*/ 10395 h 823468"/>
              <a:gd name="connsiteX2630" fmla="*/ 10784225 w 12248682"/>
              <a:gd name="connsiteY2630" fmla="*/ 0 h 823468"/>
              <a:gd name="connsiteX2631" fmla="*/ 10835042 w 12248682"/>
              <a:gd name="connsiteY2631" fmla="*/ 50817 h 823468"/>
              <a:gd name="connsiteX2632" fmla="*/ 10784225 w 12248682"/>
              <a:gd name="connsiteY2632" fmla="*/ 101634 h 823468"/>
              <a:gd name="connsiteX2633" fmla="*/ 10733408 w 12248682"/>
              <a:gd name="connsiteY2633" fmla="*/ 50817 h 823468"/>
              <a:gd name="connsiteX2634" fmla="*/ 10784225 w 12248682"/>
              <a:gd name="connsiteY2634" fmla="*/ 0 h 823468"/>
              <a:gd name="connsiteX2635" fmla="*/ 9666248 w 12248682"/>
              <a:gd name="connsiteY2635" fmla="*/ 0 h 823468"/>
              <a:gd name="connsiteX2636" fmla="*/ 9717066 w 12248682"/>
              <a:gd name="connsiteY2636" fmla="*/ 50817 h 823468"/>
              <a:gd name="connsiteX2637" fmla="*/ 9666248 w 12248682"/>
              <a:gd name="connsiteY2637" fmla="*/ 101634 h 823468"/>
              <a:gd name="connsiteX2638" fmla="*/ 9615431 w 12248682"/>
              <a:gd name="connsiteY2638" fmla="*/ 50817 h 823468"/>
              <a:gd name="connsiteX2639" fmla="*/ 9666248 w 12248682"/>
              <a:gd name="connsiteY2639" fmla="*/ 0 h 823468"/>
              <a:gd name="connsiteX2640" fmla="*/ 8553443 w 12248682"/>
              <a:gd name="connsiteY2640" fmla="*/ 0 h 823468"/>
              <a:gd name="connsiteX2641" fmla="*/ 8604260 w 12248682"/>
              <a:gd name="connsiteY2641" fmla="*/ 50817 h 823468"/>
              <a:gd name="connsiteX2642" fmla="*/ 8553443 w 12248682"/>
              <a:gd name="connsiteY2642" fmla="*/ 101634 h 823468"/>
              <a:gd name="connsiteX2643" fmla="*/ 8502626 w 12248682"/>
              <a:gd name="connsiteY2643" fmla="*/ 50817 h 823468"/>
              <a:gd name="connsiteX2644" fmla="*/ 8553443 w 12248682"/>
              <a:gd name="connsiteY2644" fmla="*/ 0 h 823468"/>
              <a:gd name="connsiteX2645" fmla="*/ 6178898 w 12248682"/>
              <a:gd name="connsiteY2645" fmla="*/ 0 h 823468"/>
              <a:gd name="connsiteX2646" fmla="*/ 6229715 w 12248682"/>
              <a:gd name="connsiteY2646" fmla="*/ 50817 h 823468"/>
              <a:gd name="connsiteX2647" fmla="*/ 6178898 w 12248682"/>
              <a:gd name="connsiteY2647" fmla="*/ 101634 h 823468"/>
              <a:gd name="connsiteX2648" fmla="*/ 6128081 w 12248682"/>
              <a:gd name="connsiteY2648" fmla="*/ 50817 h 823468"/>
              <a:gd name="connsiteX2649" fmla="*/ 6178898 w 12248682"/>
              <a:gd name="connsiteY2649" fmla="*/ 0 h 823468"/>
              <a:gd name="connsiteX2650" fmla="*/ 5060922 w 12248682"/>
              <a:gd name="connsiteY2650" fmla="*/ 0 h 823468"/>
              <a:gd name="connsiteX2651" fmla="*/ 5111739 w 12248682"/>
              <a:gd name="connsiteY2651" fmla="*/ 50817 h 823468"/>
              <a:gd name="connsiteX2652" fmla="*/ 5060922 w 12248682"/>
              <a:gd name="connsiteY2652" fmla="*/ 101634 h 823468"/>
              <a:gd name="connsiteX2653" fmla="*/ 5010105 w 12248682"/>
              <a:gd name="connsiteY2653" fmla="*/ 50817 h 823468"/>
              <a:gd name="connsiteX2654" fmla="*/ 5060922 w 12248682"/>
              <a:gd name="connsiteY2654" fmla="*/ 0 h 823468"/>
              <a:gd name="connsiteX2655" fmla="*/ 3940636 w 12248682"/>
              <a:gd name="connsiteY2655" fmla="*/ 0 h 823468"/>
              <a:gd name="connsiteX2656" fmla="*/ 3991453 w 12248682"/>
              <a:gd name="connsiteY2656" fmla="*/ 50817 h 823468"/>
              <a:gd name="connsiteX2657" fmla="*/ 3940636 w 12248682"/>
              <a:gd name="connsiteY2657" fmla="*/ 101634 h 823468"/>
              <a:gd name="connsiteX2658" fmla="*/ 3889819 w 12248682"/>
              <a:gd name="connsiteY2658" fmla="*/ 50817 h 823468"/>
              <a:gd name="connsiteX2659" fmla="*/ 3940636 w 12248682"/>
              <a:gd name="connsiteY2659" fmla="*/ 0 h 823468"/>
              <a:gd name="connsiteX2660" fmla="*/ 1566091 w 12248682"/>
              <a:gd name="connsiteY2660" fmla="*/ 0 h 823468"/>
              <a:gd name="connsiteX2661" fmla="*/ 1616908 w 12248682"/>
              <a:gd name="connsiteY2661" fmla="*/ 50817 h 823468"/>
              <a:gd name="connsiteX2662" fmla="*/ 1566091 w 12248682"/>
              <a:gd name="connsiteY2662" fmla="*/ 101634 h 823468"/>
              <a:gd name="connsiteX2663" fmla="*/ 1515274 w 12248682"/>
              <a:gd name="connsiteY2663" fmla="*/ 50817 h 823468"/>
              <a:gd name="connsiteX2664" fmla="*/ 1566091 w 12248682"/>
              <a:gd name="connsiteY2664" fmla="*/ 0 h 823468"/>
              <a:gd name="connsiteX2665" fmla="*/ 448115 w 12248682"/>
              <a:gd name="connsiteY2665" fmla="*/ 0 h 823468"/>
              <a:gd name="connsiteX2666" fmla="*/ 498932 w 12248682"/>
              <a:gd name="connsiteY2666" fmla="*/ 50817 h 823468"/>
              <a:gd name="connsiteX2667" fmla="*/ 448115 w 12248682"/>
              <a:gd name="connsiteY2667" fmla="*/ 101634 h 823468"/>
              <a:gd name="connsiteX2668" fmla="*/ 397298 w 12248682"/>
              <a:gd name="connsiteY2668" fmla="*/ 50817 h 823468"/>
              <a:gd name="connsiteX2669" fmla="*/ 448115 w 12248682"/>
              <a:gd name="connsiteY2669" fmla="*/ 0 h 823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</a:cxnLst>
            <a:rect l="l" t="t" r="r" b="b"/>
            <a:pathLst>
              <a:path w="12248682" h="823468">
                <a:moveTo>
                  <a:pt x="12210569" y="753017"/>
                </a:moveTo>
                <a:cubicBezTo>
                  <a:pt x="12220963" y="753017"/>
                  <a:pt x="12230202" y="762256"/>
                  <a:pt x="12231358" y="773806"/>
                </a:cubicBezTo>
                <a:cubicBezTo>
                  <a:pt x="12231358" y="785355"/>
                  <a:pt x="12222118" y="794594"/>
                  <a:pt x="12210569" y="794594"/>
                </a:cubicBezTo>
                <a:cubicBezTo>
                  <a:pt x="12199020" y="794594"/>
                  <a:pt x="12189780" y="785355"/>
                  <a:pt x="12189780" y="773806"/>
                </a:cubicBezTo>
                <a:cubicBezTo>
                  <a:pt x="12189780" y="762256"/>
                  <a:pt x="12199020" y="753017"/>
                  <a:pt x="12210569" y="753017"/>
                </a:cubicBezTo>
                <a:close/>
                <a:moveTo>
                  <a:pt x="12071977" y="753017"/>
                </a:moveTo>
                <a:cubicBezTo>
                  <a:pt x="12083526" y="753017"/>
                  <a:pt x="12092766" y="762256"/>
                  <a:pt x="12092766" y="773806"/>
                </a:cubicBezTo>
                <a:cubicBezTo>
                  <a:pt x="12092766" y="785355"/>
                  <a:pt x="12083526" y="794594"/>
                  <a:pt x="12071977" y="794594"/>
                </a:cubicBezTo>
                <a:cubicBezTo>
                  <a:pt x="12060428" y="794594"/>
                  <a:pt x="12051188" y="785355"/>
                  <a:pt x="12051188" y="773806"/>
                </a:cubicBezTo>
                <a:cubicBezTo>
                  <a:pt x="12051188" y="762256"/>
                  <a:pt x="12060428" y="753017"/>
                  <a:pt x="12071977" y="753017"/>
                </a:cubicBezTo>
                <a:close/>
                <a:moveTo>
                  <a:pt x="11934539" y="753017"/>
                </a:moveTo>
                <a:cubicBezTo>
                  <a:pt x="11946088" y="753017"/>
                  <a:pt x="11955328" y="762256"/>
                  <a:pt x="11955328" y="773806"/>
                </a:cubicBezTo>
                <a:cubicBezTo>
                  <a:pt x="11955328" y="785355"/>
                  <a:pt x="11946088" y="794594"/>
                  <a:pt x="11934539" y="794594"/>
                </a:cubicBezTo>
                <a:cubicBezTo>
                  <a:pt x="11922990" y="794594"/>
                  <a:pt x="11913750" y="785355"/>
                  <a:pt x="11913750" y="773806"/>
                </a:cubicBezTo>
                <a:cubicBezTo>
                  <a:pt x="11913750" y="762256"/>
                  <a:pt x="11922990" y="753017"/>
                  <a:pt x="11934539" y="753017"/>
                </a:cubicBezTo>
                <a:close/>
                <a:moveTo>
                  <a:pt x="11797103" y="753017"/>
                </a:moveTo>
                <a:cubicBezTo>
                  <a:pt x="11808652" y="753017"/>
                  <a:pt x="11816736" y="762256"/>
                  <a:pt x="11816736" y="773806"/>
                </a:cubicBezTo>
                <a:cubicBezTo>
                  <a:pt x="11816736" y="785355"/>
                  <a:pt x="11808652" y="794594"/>
                  <a:pt x="11797103" y="794594"/>
                </a:cubicBezTo>
                <a:cubicBezTo>
                  <a:pt x="11785553" y="794594"/>
                  <a:pt x="11776314" y="785355"/>
                  <a:pt x="11776314" y="773806"/>
                </a:cubicBezTo>
                <a:cubicBezTo>
                  <a:pt x="11776314" y="762256"/>
                  <a:pt x="11785553" y="753017"/>
                  <a:pt x="11797103" y="753017"/>
                </a:cubicBezTo>
                <a:close/>
                <a:moveTo>
                  <a:pt x="10645633" y="753017"/>
                </a:moveTo>
                <a:cubicBezTo>
                  <a:pt x="10657182" y="753017"/>
                  <a:pt x="10666422" y="762256"/>
                  <a:pt x="10666422" y="773806"/>
                </a:cubicBezTo>
                <a:cubicBezTo>
                  <a:pt x="10666422" y="785355"/>
                  <a:pt x="10657182" y="794594"/>
                  <a:pt x="10645633" y="794594"/>
                </a:cubicBezTo>
                <a:cubicBezTo>
                  <a:pt x="10634083" y="794594"/>
                  <a:pt x="10624844" y="785355"/>
                  <a:pt x="10624844" y="773806"/>
                </a:cubicBezTo>
                <a:cubicBezTo>
                  <a:pt x="10624844" y="762256"/>
                  <a:pt x="10634083" y="753017"/>
                  <a:pt x="10645633" y="753017"/>
                </a:cubicBezTo>
                <a:close/>
                <a:moveTo>
                  <a:pt x="9247008" y="753017"/>
                </a:moveTo>
                <a:cubicBezTo>
                  <a:pt x="9258557" y="753017"/>
                  <a:pt x="9267797" y="762256"/>
                  <a:pt x="9267797" y="773806"/>
                </a:cubicBezTo>
                <a:cubicBezTo>
                  <a:pt x="9267797" y="785355"/>
                  <a:pt x="9258557" y="794594"/>
                  <a:pt x="9247008" y="794594"/>
                </a:cubicBezTo>
                <a:cubicBezTo>
                  <a:pt x="9235459" y="794594"/>
                  <a:pt x="9226219" y="785355"/>
                  <a:pt x="9226219" y="773806"/>
                </a:cubicBezTo>
                <a:cubicBezTo>
                  <a:pt x="9226219" y="762256"/>
                  <a:pt x="9235459" y="753017"/>
                  <a:pt x="9247008" y="753017"/>
                </a:cubicBezTo>
                <a:close/>
                <a:moveTo>
                  <a:pt x="8148062" y="753017"/>
                </a:moveTo>
                <a:cubicBezTo>
                  <a:pt x="8158457" y="753017"/>
                  <a:pt x="8167695" y="762256"/>
                  <a:pt x="8168851" y="773806"/>
                </a:cubicBezTo>
                <a:cubicBezTo>
                  <a:pt x="8168851" y="785355"/>
                  <a:pt x="8159611" y="794594"/>
                  <a:pt x="8148062" y="794594"/>
                </a:cubicBezTo>
                <a:cubicBezTo>
                  <a:pt x="8136513" y="794594"/>
                  <a:pt x="8127274" y="785355"/>
                  <a:pt x="8127274" y="773806"/>
                </a:cubicBezTo>
                <a:cubicBezTo>
                  <a:pt x="8127274" y="762256"/>
                  <a:pt x="8136513" y="753017"/>
                  <a:pt x="8148062" y="753017"/>
                </a:cubicBezTo>
                <a:close/>
                <a:moveTo>
                  <a:pt x="8009471" y="753017"/>
                </a:moveTo>
                <a:cubicBezTo>
                  <a:pt x="8021020" y="753017"/>
                  <a:pt x="8030259" y="762256"/>
                  <a:pt x="8030259" y="773806"/>
                </a:cubicBezTo>
                <a:cubicBezTo>
                  <a:pt x="8030259" y="785355"/>
                  <a:pt x="8021020" y="794594"/>
                  <a:pt x="8009471" y="794594"/>
                </a:cubicBezTo>
                <a:cubicBezTo>
                  <a:pt x="7997920" y="794594"/>
                  <a:pt x="7988682" y="785355"/>
                  <a:pt x="7988682" y="773806"/>
                </a:cubicBezTo>
                <a:cubicBezTo>
                  <a:pt x="7988682" y="762256"/>
                  <a:pt x="7997920" y="753017"/>
                  <a:pt x="8009471" y="753017"/>
                </a:cubicBezTo>
                <a:close/>
                <a:moveTo>
                  <a:pt x="7872031" y="753017"/>
                </a:moveTo>
                <a:cubicBezTo>
                  <a:pt x="7883582" y="753017"/>
                  <a:pt x="7892822" y="762256"/>
                  <a:pt x="7892822" y="773806"/>
                </a:cubicBezTo>
                <a:cubicBezTo>
                  <a:pt x="7892822" y="785355"/>
                  <a:pt x="7883582" y="794594"/>
                  <a:pt x="7872031" y="794594"/>
                </a:cubicBezTo>
                <a:cubicBezTo>
                  <a:pt x="7860484" y="794594"/>
                  <a:pt x="7851244" y="785355"/>
                  <a:pt x="7851244" y="773806"/>
                </a:cubicBezTo>
                <a:cubicBezTo>
                  <a:pt x="7851244" y="762256"/>
                  <a:pt x="7860484" y="753017"/>
                  <a:pt x="7872031" y="753017"/>
                </a:cubicBezTo>
                <a:close/>
                <a:moveTo>
                  <a:pt x="7713807" y="753017"/>
                </a:moveTo>
                <a:cubicBezTo>
                  <a:pt x="7725356" y="753017"/>
                  <a:pt x="7734596" y="762256"/>
                  <a:pt x="7734596" y="773806"/>
                </a:cubicBezTo>
                <a:cubicBezTo>
                  <a:pt x="7734596" y="785355"/>
                  <a:pt x="7725356" y="794594"/>
                  <a:pt x="7713807" y="794594"/>
                </a:cubicBezTo>
                <a:cubicBezTo>
                  <a:pt x="7702258" y="794594"/>
                  <a:pt x="7693019" y="785355"/>
                  <a:pt x="7693019" y="773806"/>
                </a:cubicBezTo>
                <a:cubicBezTo>
                  <a:pt x="7693019" y="762256"/>
                  <a:pt x="7702258" y="753017"/>
                  <a:pt x="7713807" y="753017"/>
                </a:cubicBezTo>
                <a:close/>
                <a:moveTo>
                  <a:pt x="7605244" y="753017"/>
                </a:moveTo>
                <a:cubicBezTo>
                  <a:pt x="7616793" y="753017"/>
                  <a:pt x="7624875" y="762256"/>
                  <a:pt x="7626031" y="773806"/>
                </a:cubicBezTo>
                <a:cubicBezTo>
                  <a:pt x="7626031" y="785355"/>
                  <a:pt x="7616793" y="794594"/>
                  <a:pt x="7605244" y="794594"/>
                </a:cubicBezTo>
                <a:cubicBezTo>
                  <a:pt x="7593693" y="794594"/>
                  <a:pt x="7584454" y="785355"/>
                  <a:pt x="7584454" y="773806"/>
                </a:cubicBezTo>
                <a:cubicBezTo>
                  <a:pt x="7584454" y="762256"/>
                  <a:pt x="7593693" y="753017"/>
                  <a:pt x="7605244" y="753017"/>
                </a:cubicBezTo>
                <a:close/>
                <a:moveTo>
                  <a:pt x="7466651" y="753017"/>
                </a:moveTo>
                <a:cubicBezTo>
                  <a:pt x="7478200" y="753017"/>
                  <a:pt x="7487439" y="762256"/>
                  <a:pt x="7487439" y="773806"/>
                </a:cubicBezTo>
                <a:cubicBezTo>
                  <a:pt x="7487439" y="785355"/>
                  <a:pt x="7478200" y="794594"/>
                  <a:pt x="7466651" y="794594"/>
                </a:cubicBezTo>
                <a:cubicBezTo>
                  <a:pt x="7455102" y="794594"/>
                  <a:pt x="7445863" y="785355"/>
                  <a:pt x="7445863" y="773806"/>
                </a:cubicBezTo>
                <a:cubicBezTo>
                  <a:pt x="7445863" y="762256"/>
                  <a:pt x="7455102" y="753017"/>
                  <a:pt x="7466651" y="753017"/>
                </a:cubicBezTo>
                <a:close/>
                <a:moveTo>
                  <a:pt x="7329213" y="753017"/>
                </a:moveTo>
                <a:cubicBezTo>
                  <a:pt x="7340762" y="753017"/>
                  <a:pt x="7350002" y="762256"/>
                  <a:pt x="7350002" y="773806"/>
                </a:cubicBezTo>
                <a:cubicBezTo>
                  <a:pt x="7350002" y="785355"/>
                  <a:pt x="7340762" y="794594"/>
                  <a:pt x="7329213" y="794594"/>
                </a:cubicBezTo>
                <a:cubicBezTo>
                  <a:pt x="7317664" y="794594"/>
                  <a:pt x="7308425" y="785355"/>
                  <a:pt x="7308425" y="773806"/>
                </a:cubicBezTo>
                <a:cubicBezTo>
                  <a:pt x="7308425" y="762256"/>
                  <a:pt x="7317664" y="753017"/>
                  <a:pt x="7329213" y="753017"/>
                </a:cubicBezTo>
                <a:close/>
                <a:moveTo>
                  <a:pt x="7191777" y="753017"/>
                </a:moveTo>
                <a:cubicBezTo>
                  <a:pt x="7203326" y="753017"/>
                  <a:pt x="7212566" y="762256"/>
                  <a:pt x="7212566" y="773806"/>
                </a:cubicBezTo>
                <a:cubicBezTo>
                  <a:pt x="7212566" y="785355"/>
                  <a:pt x="7203326" y="794594"/>
                  <a:pt x="7191777" y="794594"/>
                </a:cubicBezTo>
                <a:cubicBezTo>
                  <a:pt x="7180226" y="794594"/>
                  <a:pt x="7170987" y="785355"/>
                  <a:pt x="7170987" y="773806"/>
                </a:cubicBezTo>
                <a:cubicBezTo>
                  <a:pt x="7170987" y="762256"/>
                  <a:pt x="7180226" y="753017"/>
                  <a:pt x="7191777" y="753017"/>
                </a:cubicBezTo>
                <a:close/>
                <a:moveTo>
                  <a:pt x="6040307" y="753017"/>
                </a:moveTo>
                <a:cubicBezTo>
                  <a:pt x="6051855" y="753017"/>
                  <a:pt x="6061095" y="762256"/>
                  <a:pt x="6061095" y="773806"/>
                </a:cubicBezTo>
                <a:cubicBezTo>
                  <a:pt x="6061095" y="785355"/>
                  <a:pt x="6051855" y="794594"/>
                  <a:pt x="6040307" y="794594"/>
                </a:cubicBezTo>
                <a:cubicBezTo>
                  <a:pt x="6028758" y="794594"/>
                  <a:pt x="6019518" y="785355"/>
                  <a:pt x="6019518" y="773806"/>
                </a:cubicBezTo>
                <a:cubicBezTo>
                  <a:pt x="6019518" y="762256"/>
                  <a:pt x="6028758" y="753017"/>
                  <a:pt x="6040307" y="753017"/>
                </a:cubicBezTo>
                <a:close/>
                <a:moveTo>
                  <a:pt x="4641682" y="753017"/>
                </a:moveTo>
                <a:cubicBezTo>
                  <a:pt x="4653231" y="753017"/>
                  <a:pt x="4662471" y="762256"/>
                  <a:pt x="4662471" y="773806"/>
                </a:cubicBezTo>
                <a:cubicBezTo>
                  <a:pt x="4662471" y="785355"/>
                  <a:pt x="4653231" y="794594"/>
                  <a:pt x="4641682" y="794594"/>
                </a:cubicBezTo>
                <a:cubicBezTo>
                  <a:pt x="4630133" y="794594"/>
                  <a:pt x="4620893" y="785355"/>
                  <a:pt x="4620893" y="773806"/>
                </a:cubicBezTo>
                <a:cubicBezTo>
                  <a:pt x="4620893" y="762256"/>
                  <a:pt x="4630133" y="753017"/>
                  <a:pt x="4641682" y="753017"/>
                </a:cubicBezTo>
                <a:close/>
                <a:moveTo>
                  <a:pt x="3535254" y="753017"/>
                </a:moveTo>
                <a:cubicBezTo>
                  <a:pt x="3545648" y="753017"/>
                  <a:pt x="3554888" y="762256"/>
                  <a:pt x="3556043" y="773806"/>
                </a:cubicBezTo>
                <a:cubicBezTo>
                  <a:pt x="3556043" y="785355"/>
                  <a:pt x="3546804" y="794594"/>
                  <a:pt x="3535254" y="794594"/>
                </a:cubicBezTo>
                <a:cubicBezTo>
                  <a:pt x="3523705" y="794594"/>
                  <a:pt x="3514466" y="785355"/>
                  <a:pt x="3514466" y="773806"/>
                </a:cubicBezTo>
                <a:cubicBezTo>
                  <a:pt x="3514466" y="762256"/>
                  <a:pt x="3523705" y="753017"/>
                  <a:pt x="3535254" y="753017"/>
                </a:cubicBezTo>
                <a:close/>
                <a:moveTo>
                  <a:pt x="3396662" y="753017"/>
                </a:moveTo>
                <a:cubicBezTo>
                  <a:pt x="3408212" y="753017"/>
                  <a:pt x="3417451" y="762256"/>
                  <a:pt x="3417451" y="773806"/>
                </a:cubicBezTo>
                <a:cubicBezTo>
                  <a:pt x="3417451" y="785355"/>
                  <a:pt x="3408212" y="794594"/>
                  <a:pt x="3396662" y="794594"/>
                </a:cubicBezTo>
                <a:cubicBezTo>
                  <a:pt x="3385113" y="794594"/>
                  <a:pt x="3375874" y="785355"/>
                  <a:pt x="3375874" y="773806"/>
                </a:cubicBezTo>
                <a:cubicBezTo>
                  <a:pt x="3375874" y="762256"/>
                  <a:pt x="3385113" y="753017"/>
                  <a:pt x="3396662" y="753017"/>
                </a:cubicBezTo>
                <a:close/>
                <a:moveTo>
                  <a:pt x="3259224" y="753017"/>
                </a:moveTo>
                <a:cubicBezTo>
                  <a:pt x="3270774" y="753017"/>
                  <a:pt x="3280013" y="762256"/>
                  <a:pt x="3280013" y="773806"/>
                </a:cubicBezTo>
                <a:cubicBezTo>
                  <a:pt x="3280013" y="785355"/>
                  <a:pt x="3270774" y="794594"/>
                  <a:pt x="3259224" y="794594"/>
                </a:cubicBezTo>
                <a:cubicBezTo>
                  <a:pt x="3247675" y="794594"/>
                  <a:pt x="3238436" y="785355"/>
                  <a:pt x="3238436" y="773806"/>
                </a:cubicBezTo>
                <a:cubicBezTo>
                  <a:pt x="3238436" y="762256"/>
                  <a:pt x="3247675" y="753017"/>
                  <a:pt x="3259224" y="753017"/>
                </a:cubicBezTo>
                <a:close/>
                <a:moveTo>
                  <a:pt x="3100999" y="753017"/>
                </a:moveTo>
                <a:cubicBezTo>
                  <a:pt x="3112549" y="753017"/>
                  <a:pt x="3121789" y="762256"/>
                  <a:pt x="3121789" y="773806"/>
                </a:cubicBezTo>
                <a:cubicBezTo>
                  <a:pt x="3121789" y="785355"/>
                  <a:pt x="3112549" y="794594"/>
                  <a:pt x="3100999" y="794594"/>
                </a:cubicBezTo>
                <a:cubicBezTo>
                  <a:pt x="3089450" y="794594"/>
                  <a:pt x="3080212" y="785355"/>
                  <a:pt x="3080212" y="773806"/>
                </a:cubicBezTo>
                <a:cubicBezTo>
                  <a:pt x="3080212" y="762256"/>
                  <a:pt x="3089450" y="753017"/>
                  <a:pt x="3100999" y="753017"/>
                </a:cubicBezTo>
                <a:close/>
                <a:moveTo>
                  <a:pt x="2992435" y="753017"/>
                </a:moveTo>
                <a:cubicBezTo>
                  <a:pt x="3002829" y="753017"/>
                  <a:pt x="3012069" y="762256"/>
                  <a:pt x="3013224" y="773806"/>
                </a:cubicBezTo>
                <a:cubicBezTo>
                  <a:pt x="3013224" y="785355"/>
                  <a:pt x="3003985" y="794594"/>
                  <a:pt x="2992435" y="794594"/>
                </a:cubicBezTo>
                <a:cubicBezTo>
                  <a:pt x="2980886" y="794594"/>
                  <a:pt x="2971647" y="785355"/>
                  <a:pt x="2971647" y="773806"/>
                </a:cubicBezTo>
                <a:cubicBezTo>
                  <a:pt x="2971647" y="762256"/>
                  <a:pt x="2980886" y="753017"/>
                  <a:pt x="2992435" y="753017"/>
                </a:cubicBezTo>
                <a:close/>
                <a:moveTo>
                  <a:pt x="2853843" y="753017"/>
                </a:moveTo>
                <a:cubicBezTo>
                  <a:pt x="2865393" y="753017"/>
                  <a:pt x="2874633" y="762256"/>
                  <a:pt x="2874633" y="773806"/>
                </a:cubicBezTo>
                <a:cubicBezTo>
                  <a:pt x="2874633" y="785355"/>
                  <a:pt x="2865393" y="794594"/>
                  <a:pt x="2853843" y="794594"/>
                </a:cubicBezTo>
                <a:cubicBezTo>
                  <a:pt x="2842294" y="794594"/>
                  <a:pt x="2833056" y="785355"/>
                  <a:pt x="2833056" y="773806"/>
                </a:cubicBezTo>
                <a:cubicBezTo>
                  <a:pt x="2833056" y="762256"/>
                  <a:pt x="2842294" y="753017"/>
                  <a:pt x="2853843" y="753017"/>
                </a:cubicBezTo>
                <a:close/>
                <a:moveTo>
                  <a:pt x="2716405" y="753017"/>
                </a:moveTo>
                <a:cubicBezTo>
                  <a:pt x="2727955" y="753017"/>
                  <a:pt x="2737195" y="762256"/>
                  <a:pt x="2737195" y="773806"/>
                </a:cubicBezTo>
                <a:cubicBezTo>
                  <a:pt x="2737195" y="785355"/>
                  <a:pt x="2727955" y="794594"/>
                  <a:pt x="2716405" y="794594"/>
                </a:cubicBezTo>
                <a:cubicBezTo>
                  <a:pt x="2704856" y="794594"/>
                  <a:pt x="2695618" y="785355"/>
                  <a:pt x="2695618" y="773806"/>
                </a:cubicBezTo>
                <a:cubicBezTo>
                  <a:pt x="2695618" y="762256"/>
                  <a:pt x="2704856" y="753017"/>
                  <a:pt x="2716405" y="753017"/>
                </a:cubicBezTo>
                <a:close/>
                <a:moveTo>
                  <a:pt x="2578969" y="753017"/>
                </a:moveTo>
                <a:cubicBezTo>
                  <a:pt x="2590518" y="753017"/>
                  <a:pt x="2598602" y="762256"/>
                  <a:pt x="2598602" y="773806"/>
                </a:cubicBezTo>
                <a:cubicBezTo>
                  <a:pt x="2598602" y="785355"/>
                  <a:pt x="2590518" y="794594"/>
                  <a:pt x="2578969" y="794594"/>
                </a:cubicBezTo>
                <a:cubicBezTo>
                  <a:pt x="2567420" y="794594"/>
                  <a:pt x="2558180" y="785355"/>
                  <a:pt x="2558180" y="773806"/>
                </a:cubicBezTo>
                <a:cubicBezTo>
                  <a:pt x="2558180" y="762256"/>
                  <a:pt x="2567420" y="753017"/>
                  <a:pt x="2578969" y="753017"/>
                </a:cubicBezTo>
                <a:close/>
                <a:moveTo>
                  <a:pt x="1427499" y="753017"/>
                </a:moveTo>
                <a:cubicBezTo>
                  <a:pt x="1439048" y="753017"/>
                  <a:pt x="1448288" y="762256"/>
                  <a:pt x="1448288" y="773806"/>
                </a:cubicBezTo>
                <a:cubicBezTo>
                  <a:pt x="1448288" y="785355"/>
                  <a:pt x="1439048" y="794594"/>
                  <a:pt x="1427499" y="794594"/>
                </a:cubicBezTo>
                <a:cubicBezTo>
                  <a:pt x="1415950" y="794594"/>
                  <a:pt x="1406710" y="785355"/>
                  <a:pt x="1406710" y="773806"/>
                </a:cubicBezTo>
                <a:cubicBezTo>
                  <a:pt x="1406710" y="762256"/>
                  <a:pt x="1415950" y="753017"/>
                  <a:pt x="1427499" y="753017"/>
                </a:cubicBezTo>
                <a:close/>
                <a:moveTo>
                  <a:pt x="28874" y="753017"/>
                </a:moveTo>
                <a:cubicBezTo>
                  <a:pt x="40424" y="753017"/>
                  <a:pt x="49663" y="762256"/>
                  <a:pt x="49663" y="773806"/>
                </a:cubicBezTo>
                <a:cubicBezTo>
                  <a:pt x="49663" y="785355"/>
                  <a:pt x="40424" y="794594"/>
                  <a:pt x="28874" y="794594"/>
                </a:cubicBezTo>
                <a:cubicBezTo>
                  <a:pt x="17325" y="794594"/>
                  <a:pt x="8085" y="785355"/>
                  <a:pt x="8085" y="773806"/>
                </a:cubicBezTo>
                <a:cubicBezTo>
                  <a:pt x="8085" y="762256"/>
                  <a:pt x="17325" y="753017"/>
                  <a:pt x="28874" y="753017"/>
                </a:cubicBezTo>
                <a:close/>
                <a:moveTo>
                  <a:pt x="11658510" y="750707"/>
                </a:moveTo>
                <a:cubicBezTo>
                  <a:pt x="11671214" y="750707"/>
                  <a:pt x="11681609" y="761102"/>
                  <a:pt x="11681609" y="773806"/>
                </a:cubicBezTo>
                <a:cubicBezTo>
                  <a:pt x="11681609" y="786511"/>
                  <a:pt x="11671214" y="796904"/>
                  <a:pt x="11658510" y="796904"/>
                </a:cubicBezTo>
                <a:cubicBezTo>
                  <a:pt x="11645806" y="796904"/>
                  <a:pt x="11635412" y="786511"/>
                  <a:pt x="11635412" y="773806"/>
                </a:cubicBezTo>
                <a:cubicBezTo>
                  <a:pt x="11635412" y="761102"/>
                  <a:pt x="11645806" y="750707"/>
                  <a:pt x="11658510" y="750707"/>
                </a:cubicBezTo>
                <a:close/>
                <a:moveTo>
                  <a:pt x="10508196" y="750707"/>
                </a:moveTo>
                <a:cubicBezTo>
                  <a:pt x="10520900" y="750707"/>
                  <a:pt x="10531295" y="761102"/>
                  <a:pt x="10531295" y="773806"/>
                </a:cubicBezTo>
                <a:cubicBezTo>
                  <a:pt x="10531295" y="786511"/>
                  <a:pt x="10520900" y="796904"/>
                  <a:pt x="10508196" y="796904"/>
                </a:cubicBezTo>
                <a:cubicBezTo>
                  <a:pt x="10495491" y="796904"/>
                  <a:pt x="10485098" y="786511"/>
                  <a:pt x="10485098" y="773806"/>
                </a:cubicBezTo>
                <a:cubicBezTo>
                  <a:pt x="10485098" y="761102"/>
                  <a:pt x="10495491" y="750707"/>
                  <a:pt x="10508196" y="750707"/>
                </a:cubicBezTo>
                <a:close/>
                <a:moveTo>
                  <a:pt x="9405233" y="750707"/>
                </a:moveTo>
                <a:cubicBezTo>
                  <a:pt x="9417938" y="750707"/>
                  <a:pt x="9428332" y="761102"/>
                  <a:pt x="9428332" y="773806"/>
                </a:cubicBezTo>
                <a:cubicBezTo>
                  <a:pt x="9428332" y="786511"/>
                  <a:pt x="9417938" y="796904"/>
                  <a:pt x="9405233" y="796904"/>
                </a:cubicBezTo>
                <a:cubicBezTo>
                  <a:pt x="9392530" y="796904"/>
                  <a:pt x="9382135" y="786511"/>
                  <a:pt x="9382135" y="773806"/>
                </a:cubicBezTo>
                <a:cubicBezTo>
                  <a:pt x="9382135" y="761102"/>
                  <a:pt x="9392530" y="750707"/>
                  <a:pt x="9405233" y="750707"/>
                </a:cubicBezTo>
                <a:close/>
                <a:moveTo>
                  <a:pt x="8285498" y="750707"/>
                </a:moveTo>
                <a:cubicBezTo>
                  <a:pt x="8298204" y="750707"/>
                  <a:pt x="8308598" y="761102"/>
                  <a:pt x="8308598" y="773806"/>
                </a:cubicBezTo>
                <a:cubicBezTo>
                  <a:pt x="8308598" y="786511"/>
                  <a:pt x="8298204" y="796904"/>
                  <a:pt x="8285498" y="796904"/>
                </a:cubicBezTo>
                <a:cubicBezTo>
                  <a:pt x="8272794" y="796904"/>
                  <a:pt x="8262401" y="786511"/>
                  <a:pt x="8262401" y="773806"/>
                </a:cubicBezTo>
                <a:cubicBezTo>
                  <a:pt x="8262401" y="761102"/>
                  <a:pt x="8272794" y="750707"/>
                  <a:pt x="8285498" y="750707"/>
                </a:cubicBezTo>
                <a:close/>
                <a:moveTo>
                  <a:pt x="7053184" y="750707"/>
                </a:moveTo>
                <a:cubicBezTo>
                  <a:pt x="7067044" y="750707"/>
                  <a:pt x="7076283" y="761102"/>
                  <a:pt x="7076283" y="773806"/>
                </a:cubicBezTo>
                <a:cubicBezTo>
                  <a:pt x="7076283" y="786511"/>
                  <a:pt x="7065888" y="796904"/>
                  <a:pt x="7053184" y="796904"/>
                </a:cubicBezTo>
                <a:cubicBezTo>
                  <a:pt x="7040480" y="796904"/>
                  <a:pt x="7030086" y="786511"/>
                  <a:pt x="7030086" y="773806"/>
                </a:cubicBezTo>
                <a:cubicBezTo>
                  <a:pt x="7030086" y="761102"/>
                  <a:pt x="7040480" y="750707"/>
                  <a:pt x="7053184" y="750707"/>
                </a:cubicBezTo>
                <a:close/>
                <a:moveTo>
                  <a:pt x="5902869" y="750707"/>
                </a:moveTo>
                <a:cubicBezTo>
                  <a:pt x="5915573" y="750707"/>
                  <a:pt x="5925969" y="761102"/>
                  <a:pt x="5925969" y="773806"/>
                </a:cubicBezTo>
                <a:cubicBezTo>
                  <a:pt x="5925969" y="786511"/>
                  <a:pt x="5915573" y="796904"/>
                  <a:pt x="5902869" y="796904"/>
                </a:cubicBezTo>
                <a:cubicBezTo>
                  <a:pt x="5890165" y="796904"/>
                  <a:pt x="5879771" y="786511"/>
                  <a:pt x="5879771" y="773806"/>
                </a:cubicBezTo>
                <a:cubicBezTo>
                  <a:pt x="5879771" y="761102"/>
                  <a:pt x="5890165" y="750707"/>
                  <a:pt x="5902869" y="750707"/>
                </a:cubicBezTo>
                <a:close/>
                <a:moveTo>
                  <a:pt x="4799906" y="750707"/>
                </a:moveTo>
                <a:cubicBezTo>
                  <a:pt x="4812611" y="750707"/>
                  <a:pt x="4823006" y="761102"/>
                  <a:pt x="4823006" y="773806"/>
                </a:cubicBezTo>
                <a:cubicBezTo>
                  <a:pt x="4823006" y="786511"/>
                  <a:pt x="4812611" y="796904"/>
                  <a:pt x="4799906" y="796904"/>
                </a:cubicBezTo>
                <a:cubicBezTo>
                  <a:pt x="4787204" y="796904"/>
                  <a:pt x="4776809" y="786511"/>
                  <a:pt x="4776809" y="773806"/>
                </a:cubicBezTo>
                <a:cubicBezTo>
                  <a:pt x="4776809" y="761102"/>
                  <a:pt x="4787204" y="750707"/>
                  <a:pt x="4799906" y="750707"/>
                </a:cubicBezTo>
                <a:close/>
                <a:moveTo>
                  <a:pt x="3672691" y="750707"/>
                </a:moveTo>
                <a:cubicBezTo>
                  <a:pt x="3685396" y="750707"/>
                  <a:pt x="3695791" y="761102"/>
                  <a:pt x="3695791" y="773806"/>
                </a:cubicBezTo>
                <a:cubicBezTo>
                  <a:pt x="3695791" y="786511"/>
                  <a:pt x="3685396" y="796904"/>
                  <a:pt x="3672691" y="796904"/>
                </a:cubicBezTo>
                <a:cubicBezTo>
                  <a:pt x="3659987" y="796904"/>
                  <a:pt x="3649592" y="786511"/>
                  <a:pt x="3649592" y="773806"/>
                </a:cubicBezTo>
                <a:cubicBezTo>
                  <a:pt x="3649592" y="761102"/>
                  <a:pt x="3659987" y="750707"/>
                  <a:pt x="3672691" y="750707"/>
                </a:cubicBezTo>
                <a:close/>
                <a:moveTo>
                  <a:pt x="2440377" y="750707"/>
                </a:moveTo>
                <a:cubicBezTo>
                  <a:pt x="2453080" y="750707"/>
                  <a:pt x="2463475" y="761102"/>
                  <a:pt x="2463475" y="773806"/>
                </a:cubicBezTo>
                <a:cubicBezTo>
                  <a:pt x="2463475" y="786511"/>
                  <a:pt x="2453080" y="796904"/>
                  <a:pt x="2440377" y="796904"/>
                </a:cubicBezTo>
                <a:cubicBezTo>
                  <a:pt x="2427672" y="796904"/>
                  <a:pt x="2417278" y="786511"/>
                  <a:pt x="2417278" y="773806"/>
                </a:cubicBezTo>
                <a:cubicBezTo>
                  <a:pt x="2417278" y="761102"/>
                  <a:pt x="2427672" y="750707"/>
                  <a:pt x="2440377" y="750707"/>
                </a:cubicBezTo>
                <a:close/>
                <a:moveTo>
                  <a:pt x="1290062" y="750707"/>
                </a:moveTo>
                <a:cubicBezTo>
                  <a:pt x="1302766" y="750707"/>
                  <a:pt x="1313161" y="761102"/>
                  <a:pt x="1313161" y="773806"/>
                </a:cubicBezTo>
                <a:cubicBezTo>
                  <a:pt x="1313161" y="786511"/>
                  <a:pt x="1302766" y="796904"/>
                  <a:pt x="1290062" y="796904"/>
                </a:cubicBezTo>
                <a:cubicBezTo>
                  <a:pt x="1277357" y="796904"/>
                  <a:pt x="1266964" y="786511"/>
                  <a:pt x="1266964" y="773806"/>
                </a:cubicBezTo>
                <a:cubicBezTo>
                  <a:pt x="1266964" y="761102"/>
                  <a:pt x="1277357" y="750707"/>
                  <a:pt x="1290062" y="750707"/>
                </a:cubicBezTo>
                <a:close/>
                <a:moveTo>
                  <a:pt x="187100" y="750707"/>
                </a:moveTo>
                <a:cubicBezTo>
                  <a:pt x="199805" y="750707"/>
                  <a:pt x="210198" y="761102"/>
                  <a:pt x="210198" y="773806"/>
                </a:cubicBezTo>
                <a:cubicBezTo>
                  <a:pt x="210198" y="786511"/>
                  <a:pt x="199805" y="796904"/>
                  <a:pt x="187100" y="796904"/>
                </a:cubicBezTo>
                <a:cubicBezTo>
                  <a:pt x="174396" y="796904"/>
                  <a:pt x="164001" y="786511"/>
                  <a:pt x="164001" y="773806"/>
                </a:cubicBezTo>
                <a:cubicBezTo>
                  <a:pt x="164001" y="761102"/>
                  <a:pt x="174396" y="750707"/>
                  <a:pt x="187100" y="750707"/>
                </a:cubicBezTo>
                <a:close/>
                <a:moveTo>
                  <a:pt x="11521073" y="744933"/>
                </a:moveTo>
                <a:cubicBezTo>
                  <a:pt x="11537242" y="744933"/>
                  <a:pt x="11549947" y="757637"/>
                  <a:pt x="11549947" y="773806"/>
                </a:cubicBezTo>
                <a:cubicBezTo>
                  <a:pt x="11549947" y="789975"/>
                  <a:pt x="11537242" y="802680"/>
                  <a:pt x="11521073" y="802680"/>
                </a:cubicBezTo>
                <a:cubicBezTo>
                  <a:pt x="11504904" y="802680"/>
                  <a:pt x="11492200" y="789975"/>
                  <a:pt x="11492200" y="773806"/>
                </a:cubicBezTo>
                <a:cubicBezTo>
                  <a:pt x="11492200" y="757637"/>
                  <a:pt x="11504904" y="744933"/>
                  <a:pt x="11521073" y="744933"/>
                </a:cubicBezTo>
                <a:close/>
                <a:moveTo>
                  <a:pt x="10369604" y="744933"/>
                </a:moveTo>
                <a:cubicBezTo>
                  <a:pt x="10385773" y="744933"/>
                  <a:pt x="10399632" y="757637"/>
                  <a:pt x="10398477" y="773806"/>
                </a:cubicBezTo>
                <a:cubicBezTo>
                  <a:pt x="10398477" y="789975"/>
                  <a:pt x="10385773" y="802680"/>
                  <a:pt x="10369604" y="802680"/>
                </a:cubicBezTo>
                <a:cubicBezTo>
                  <a:pt x="10353435" y="802680"/>
                  <a:pt x="10340730" y="789975"/>
                  <a:pt x="10340730" y="773806"/>
                </a:cubicBezTo>
                <a:cubicBezTo>
                  <a:pt x="10340730" y="757637"/>
                  <a:pt x="10353435" y="744933"/>
                  <a:pt x="10369604" y="744933"/>
                </a:cubicBezTo>
                <a:close/>
                <a:moveTo>
                  <a:pt x="9543825" y="744933"/>
                </a:moveTo>
                <a:cubicBezTo>
                  <a:pt x="9558840" y="744933"/>
                  <a:pt x="9572699" y="757637"/>
                  <a:pt x="9572699" y="773806"/>
                </a:cubicBezTo>
                <a:cubicBezTo>
                  <a:pt x="9572699" y="789975"/>
                  <a:pt x="9559995" y="802680"/>
                  <a:pt x="9543825" y="802680"/>
                </a:cubicBezTo>
                <a:cubicBezTo>
                  <a:pt x="9527656" y="802680"/>
                  <a:pt x="9514953" y="789975"/>
                  <a:pt x="9514953" y="773806"/>
                </a:cubicBezTo>
                <a:cubicBezTo>
                  <a:pt x="9514953" y="757637"/>
                  <a:pt x="9527656" y="744933"/>
                  <a:pt x="9543825" y="744933"/>
                </a:cubicBezTo>
                <a:close/>
                <a:moveTo>
                  <a:pt x="8422936" y="744933"/>
                </a:moveTo>
                <a:cubicBezTo>
                  <a:pt x="8439105" y="744933"/>
                  <a:pt x="8451809" y="757637"/>
                  <a:pt x="8451809" y="773806"/>
                </a:cubicBezTo>
                <a:cubicBezTo>
                  <a:pt x="8451809" y="789975"/>
                  <a:pt x="8439105" y="802680"/>
                  <a:pt x="8422936" y="802680"/>
                </a:cubicBezTo>
                <a:cubicBezTo>
                  <a:pt x="8406767" y="802680"/>
                  <a:pt x="8394062" y="789975"/>
                  <a:pt x="8394062" y="773806"/>
                </a:cubicBezTo>
                <a:cubicBezTo>
                  <a:pt x="8394062" y="757637"/>
                  <a:pt x="8406767" y="744933"/>
                  <a:pt x="8422936" y="744933"/>
                </a:cubicBezTo>
                <a:close/>
                <a:moveTo>
                  <a:pt x="6915746" y="744933"/>
                </a:moveTo>
                <a:cubicBezTo>
                  <a:pt x="6931915" y="744933"/>
                  <a:pt x="6944621" y="757637"/>
                  <a:pt x="6944621" y="773806"/>
                </a:cubicBezTo>
                <a:cubicBezTo>
                  <a:pt x="6944621" y="789975"/>
                  <a:pt x="6931915" y="802680"/>
                  <a:pt x="6915746" y="802680"/>
                </a:cubicBezTo>
                <a:cubicBezTo>
                  <a:pt x="6899578" y="802680"/>
                  <a:pt x="6886873" y="789975"/>
                  <a:pt x="6886873" y="773806"/>
                </a:cubicBezTo>
                <a:cubicBezTo>
                  <a:pt x="6886873" y="757637"/>
                  <a:pt x="6899578" y="744933"/>
                  <a:pt x="6915746" y="744933"/>
                </a:cubicBezTo>
                <a:close/>
                <a:moveTo>
                  <a:pt x="5764278" y="744933"/>
                </a:moveTo>
                <a:cubicBezTo>
                  <a:pt x="5780447" y="744933"/>
                  <a:pt x="5794306" y="757637"/>
                  <a:pt x="5793151" y="773806"/>
                </a:cubicBezTo>
                <a:cubicBezTo>
                  <a:pt x="5793151" y="789975"/>
                  <a:pt x="5780447" y="802680"/>
                  <a:pt x="5764278" y="802680"/>
                </a:cubicBezTo>
                <a:cubicBezTo>
                  <a:pt x="5748109" y="802680"/>
                  <a:pt x="5735405" y="789975"/>
                  <a:pt x="5735405" y="773806"/>
                </a:cubicBezTo>
                <a:cubicBezTo>
                  <a:pt x="5735405" y="757637"/>
                  <a:pt x="5748109" y="744933"/>
                  <a:pt x="5764278" y="744933"/>
                </a:cubicBezTo>
                <a:close/>
                <a:moveTo>
                  <a:pt x="4938500" y="744933"/>
                </a:moveTo>
                <a:cubicBezTo>
                  <a:pt x="4953513" y="744933"/>
                  <a:pt x="4967373" y="757637"/>
                  <a:pt x="4967373" y="773806"/>
                </a:cubicBezTo>
                <a:cubicBezTo>
                  <a:pt x="4967373" y="789975"/>
                  <a:pt x="4954668" y="802680"/>
                  <a:pt x="4938500" y="802680"/>
                </a:cubicBezTo>
                <a:cubicBezTo>
                  <a:pt x="4922331" y="802680"/>
                  <a:pt x="4909627" y="789975"/>
                  <a:pt x="4909627" y="773806"/>
                </a:cubicBezTo>
                <a:cubicBezTo>
                  <a:pt x="4909627" y="757637"/>
                  <a:pt x="4922331" y="744933"/>
                  <a:pt x="4938500" y="744933"/>
                </a:cubicBezTo>
                <a:close/>
                <a:moveTo>
                  <a:pt x="3810129" y="744933"/>
                </a:moveTo>
                <a:cubicBezTo>
                  <a:pt x="3826298" y="744933"/>
                  <a:pt x="3839002" y="757637"/>
                  <a:pt x="3839002" y="773806"/>
                </a:cubicBezTo>
                <a:cubicBezTo>
                  <a:pt x="3839002" y="789975"/>
                  <a:pt x="3826298" y="802680"/>
                  <a:pt x="3810129" y="802680"/>
                </a:cubicBezTo>
                <a:cubicBezTo>
                  <a:pt x="3793960" y="802680"/>
                  <a:pt x="3781255" y="789975"/>
                  <a:pt x="3781255" y="773806"/>
                </a:cubicBezTo>
                <a:cubicBezTo>
                  <a:pt x="3781255" y="757637"/>
                  <a:pt x="3793960" y="744933"/>
                  <a:pt x="3810129" y="744933"/>
                </a:cubicBezTo>
                <a:close/>
                <a:moveTo>
                  <a:pt x="2302939" y="744933"/>
                </a:moveTo>
                <a:cubicBezTo>
                  <a:pt x="2319108" y="744933"/>
                  <a:pt x="2331813" y="757637"/>
                  <a:pt x="2331813" y="773806"/>
                </a:cubicBezTo>
                <a:cubicBezTo>
                  <a:pt x="2331813" y="789975"/>
                  <a:pt x="2319108" y="802680"/>
                  <a:pt x="2302939" y="802680"/>
                </a:cubicBezTo>
                <a:cubicBezTo>
                  <a:pt x="2286771" y="802680"/>
                  <a:pt x="2274067" y="789975"/>
                  <a:pt x="2274067" y="773806"/>
                </a:cubicBezTo>
                <a:cubicBezTo>
                  <a:pt x="2274067" y="757637"/>
                  <a:pt x="2286771" y="744933"/>
                  <a:pt x="2302939" y="744933"/>
                </a:cubicBezTo>
                <a:close/>
                <a:moveTo>
                  <a:pt x="1151470" y="744933"/>
                </a:moveTo>
                <a:cubicBezTo>
                  <a:pt x="1167639" y="744933"/>
                  <a:pt x="1181498" y="757637"/>
                  <a:pt x="1180343" y="773806"/>
                </a:cubicBezTo>
                <a:cubicBezTo>
                  <a:pt x="1180343" y="789975"/>
                  <a:pt x="1167639" y="802680"/>
                  <a:pt x="1151470" y="802680"/>
                </a:cubicBezTo>
                <a:cubicBezTo>
                  <a:pt x="1135301" y="802680"/>
                  <a:pt x="1122596" y="789975"/>
                  <a:pt x="1122596" y="773806"/>
                </a:cubicBezTo>
                <a:cubicBezTo>
                  <a:pt x="1122596" y="757637"/>
                  <a:pt x="1135301" y="744933"/>
                  <a:pt x="1151470" y="744933"/>
                </a:cubicBezTo>
                <a:close/>
                <a:moveTo>
                  <a:pt x="325692" y="744933"/>
                </a:moveTo>
                <a:cubicBezTo>
                  <a:pt x="340706" y="744933"/>
                  <a:pt x="354566" y="757637"/>
                  <a:pt x="354566" y="773806"/>
                </a:cubicBezTo>
                <a:cubicBezTo>
                  <a:pt x="354566" y="789975"/>
                  <a:pt x="341861" y="802680"/>
                  <a:pt x="325692" y="802680"/>
                </a:cubicBezTo>
                <a:cubicBezTo>
                  <a:pt x="309523" y="802680"/>
                  <a:pt x="296819" y="789975"/>
                  <a:pt x="296819" y="773806"/>
                </a:cubicBezTo>
                <a:cubicBezTo>
                  <a:pt x="296819" y="757637"/>
                  <a:pt x="309523" y="744933"/>
                  <a:pt x="325692" y="744933"/>
                </a:cubicBezTo>
                <a:close/>
                <a:moveTo>
                  <a:pt x="11383636" y="739158"/>
                </a:moveTo>
                <a:cubicBezTo>
                  <a:pt x="11402115" y="739158"/>
                  <a:pt x="11418284" y="755327"/>
                  <a:pt x="11418284" y="773806"/>
                </a:cubicBezTo>
                <a:cubicBezTo>
                  <a:pt x="11418284" y="792285"/>
                  <a:pt x="11403270" y="808454"/>
                  <a:pt x="11383636" y="808454"/>
                </a:cubicBezTo>
                <a:cubicBezTo>
                  <a:pt x="11365157" y="808454"/>
                  <a:pt x="11348988" y="792285"/>
                  <a:pt x="11348988" y="773806"/>
                </a:cubicBezTo>
                <a:cubicBezTo>
                  <a:pt x="11348988" y="755327"/>
                  <a:pt x="11364002" y="739158"/>
                  <a:pt x="11383636" y="739158"/>
                </a:cubicBezTo>
                <a:close/>
                <a:moveTo>
                  <a:pt x="10811943" y="739158"/>
                </a:moveTo>
                <a:cubicBezTo>
                  <a:pt x="10830422" y="739158"/>
                  <a:pt x="10846591" y="755327"/>
                  <a:pt x="10846591" y="773806"/>
                </a:cubicBezTo>
                <a:cubicBezTo>
                  <a:pt x="10846591" y="792285"/>
                  <a:pt x="10831578" y="808454"/>
                  <a:pt x="10811943" y="808454"/>
                </a:cubicBezTo>
                <a:cubicBezTo>
                  <a:pt x="10793464" y="808454"/>
                  <a:pt x="10777295" y="792285"/>
                  <a:pt x="10777295" y="773806"/>
                </a:cubicBezTo>
                <a:cubicBezTo>
                  <a:pt x="10777295" y="755327"/>
                  <a:pt x="10792310" y="739158"/>
                  <a:pt x="10811943" y="739158"/>
                </a:cubicBezTo>
                <a:close/>
                <a:moveTo>
                  <a:pt x="10232166" y="739158"/>
                </a:moveTo>
                <a:cubicBezTo>
                  <a:pt x="10251801" y="739158"/>
                  <a:pt x="10266814" y="755327"/>
                  <a:pt x="10266814" y="773806"/>
                </a:cubicBezTo>
                <a:cubicBezTo>
                  <a:pt x="10266814" y="792285"/>
                  <a:pt x="10250645" y="808454"/>
                  <a:pt x="10232166" y="808454"/>
                </a:cubicBezTo>
                <a:cubicBezTo>
                  <a:pt x="10213687" y="808454"/>
                  <a:pt x="10197518" y="792285"/>
                  <a:pt x="10197518" y="773806"/>
                </a:cubicBezTo>
                <a:cubicBezTo>
                  <a:pt x="10197518" y="755327"/>
                  <a:pt x="10212533" y="739158"/>
                  <a:pt x="10232166" y="739158"/>
                </a:cubicBezTo>
                <a:close/>
                <a:moveTo>
                  <a:pt x="9681263" y="739158"/>
                </a:moveTo>
                <a:cubicBezTo>
                  <a:pt x="9700896" y="739158"/>
                  <a:pt x="9715911" y="755327"/>
                  <a:pt x="9715911" y="773806"/>
                </a:cubicBezTo>
                <a:cubicBezTo>
                  <a:pt x="9715911" y="792285"/>
                  <a:pt x="9699742" y="808454"/>
                  <a:pt x="9681263" y="808454"/>
                </a:cubicBezTo>
                <a:cubicBezTo>
                  <a:pt x="9662784" y="808454"/>
                  <a:pt x="9646615" y="792285"/>
                  <a:pt x="9646615" y="773806"/>
                </a:cubicBezTo>
                <a:cubicBezTo>
                  <a:pt x="9646615" y="755327"/>
                  <a:pt x="9661629" y="739158"/>
                  <a:pt x="9681263" y="739158"/>
                </a:cubicBezTo>
                <a:close/>
                <a:moveTo>
                  <a:pt x="9112431" y="739158"/>
                </a:moveTo>
                <a:cubicBezTo>
                  <a:pt x="9130910" y="739158"/>
                  <a:pt x="9147079" y="755327"/>
                  <a:pt x="9147079" y="773806"/>
                </a:cubicBezTo>
                <a:cubicBezTo>
                  <a:pt x="9147079" y="792285"/>
                  <a:pt x="9132065" y="808454"/>
                  <a:pt x="9112431" y="808454"/>
                </a:cubicBezTo>
                <a:cubicBezTo>
                  <a:pt x="9093952" y="808454"/>
                  <a:pt x="9077783" y="792285"/>
                  <a:pt x="9077783" y="773806"/>
                </a:cubicBezTo>
                <a:cubicBezTo>
                  <a:pt x="9077783" y="755327"/>
                  <a:pt x="9092798" y="739158"/>
                  <a:pt x="9112431" y="739158"/>
                </a:cubicBezTo>
                <a:close/>
                <a:moveTo>
                  <a:pt x="8561528" y="739158"/>
                </a:moveTo>
                <a:cubicBezTo>
                  <a:pt x="8580007" y="739158"/>
                  <a:pt x="8596176" y="755327"/>
                  <a:pt x="8596176" y="773806"/>
                </a:cubicBezTo>
                <a:cubicBezTo>
                  <a:pt x="8596176" y="792285"/>
                  <a:pt x="8581161" y="808454"/>
                  <a:pt x="8561528" y="808454"/>
                </a:cubicBezTo>
                <a:cubicBezTo>
                  <a:pt x="8543049" y="808454"/>
                  <a:pt x="8526880" y="792285"/>
                  <a:pt x="8526880" y="773806"/>
                </a:cubicBezTo>
                <a:cubicBezTo>
                  <a:pt x="8526880" y="755327"/>
                  <a:pt x="8541893" y="739158"/>
                  <a:pt x="8561528" y="739158"/>
                </a:cubicBezTo>
                <a:close/>
                <a:moveTo>
                  <a:pt x="6778310" y="739158"/>
                </a:moveTo>
                <a:cubicBezTo>
                  <a:pt x="6796790" y="739158"/>
                  <a:pt x="6812959" y="755327"/>
                  <a:pt x="6812959" y="773806"/>
                </a:cubicBezTo>
                <a:cubicBezTo>
                  <a:pt x="6812959" y="792285"/>
                  <a:pt x="6796790" y="808454"/>
                  <a:pt x="6778310" y="808454"/>
                </a:cubicBezTo>
                <a:cubicBezTo>
                  <a:pt x="6759831" y="808454"/>
                  <a:pt x="6743662" y="792285"/>
                  <a:pt x="6743662" y="773806"/>
                </a:cubicBezTo>
                <a:cubicBezTo>
                  <a:pt x="6743662" y="755327"/>
                  <a:pt x="6758675" y="739158"/>
                  <a:pt x="6778310" y="739158"/>
                </a:cubicBezTo>
                <a:close/>
                <a:moveTo>
                  <a:pt x="6206618" y="739158"/>
                </a:moveTo>
                <a:cubicBezTo>
                  <a:pt x="6225097" y="739158"/>
                  <a:pt x="6241265" y="755327"/>
                  <a:pt x="6241265" y="773806"/>
                </a:cubicBezTo>
                <a:cubicBezTo>
                  <a:pt x="6241265" y="792285"/>
                  <a:pt x="6226251" y="808454"/>
                  <a:pt x="6206618" y="808454"/>
                </a:cubicBezTo>
                <a:cubicBezTo>
                  <a:pt x="6188138" y="808454"/>
                  <a:pt x="6171969" y="792285"/>
                  <a:pt x="6171969" y="773806"/>
                </a:cubicBezTo>
                <a:cubicBezTo>
                  <a:pt x="6171969" y="755327"/>
                  <a:pt x="6186984" y="739158"/>
                  <a:pt x="6206618" y="739158"/>
                </a:cubicBezTo>
                <a:close/>
                <a:moveTo>
                  <a:pt x="5626840" y="739158"/>
                </a:moveTo>
                <a:cubicBezTo>
                  <a:pt x="5646475" y="739158"/>
                  <a:pt x="5661488" y="755327"/>
                  <a:pt x="5661488" y="773806"/>
                </a:cubicBezTo>
                <a:cubicBezTo>
                  <a:pt x="5661488" y="792285"/>
                  <a:pt x="5646475" y="808454"/>
                  <a:pt x="5626840" y="808454"/>
                </a:cubicBezTo>
                <a:cubicBezTo>
                  <a:pt x="5608360" y="808454"/>
                  <a:pt x="5592192" y="792285"/>
                  <a:pt x="5592192" y="773806"/>
                </a:cubicBezTo>
                <a:cubicBezTo>
                  <a:pt x="5592192" y="755327"/>
                  <a:pt x="5607207" y="739158"/>
                  <a:pt x="5626840" y="739158"/>
                </a:cubicBezTo>
                <a:close/>
                <a:moveTo>
                  <a:pt x="5075938" y="739158"/>
                </a:moveTo>
                <a:cubicBezTo>
                  <a:pt x="5095571" y="739158"/>
                  <a:pt x="5110584" y="755327"/>
                  <a:pt x="5110584" y="773806"/>
                </a:cubicBezTo>
                <a:cubicBezTo>
                  <a:pt x="5110584" y="792285"/>
                  <a:pt x="5095571" y="808454"/>
                  <a:pt x="5075938" y="808454"/>
                </a:cubicBezTo>
                <a:cubicBezTo>
                  <a:pt x="5057458" y="808454"/>
                  <a:pt x="5041289" y="792285"/>
                  <a:pt x="5041289" y="773806"/>
                </a:cubicBezTo>
                <a:cubicBezTo>
                  <a:pt x="5041289" y="755327"/>
                  <a:pt x="5056302" y="739158"/>
                  <a:pt x="5075938" y="739158"/>
                </a:cubicBezTo>
                <a:close/>
                <a:moveTo>
                  <a:pt x="4499625" y="739158"/>
                </a:moveTo>
                <a:cubicBezTo>
                  <a:pt x="4518102" y="739158"/>
                  <a:pt x="4534273" y="755327"/>
                  <a:pt x="4534273" y="773806"/>
                </a:cubicBezTo>
                <a:cubicBezTo>
                  <a:pt x="4534273" y="792285"/>
                  <a:pt x="4519258" y="808454"/>
                  <a:pt x="4499625" y="808454"/>
                </a:cubicBezTo>
                <a:cubicBezTo>
                  <a:pt x="4481145" y="808454"/>
                  <a:pt x="4464976" y="792285"/>
                  <a:pt x="4464976" y="773806"/>
                </a:cubicBezTo>
                <a:cubicBezTo>
                  <a:pt x="4464976" y="755327"/>
                  <a:pt x="4479992" y="739158"/>
                  <a:pt x="4499625" y="739158"/>
                </a:cubicBezTo>
                <a:close/>
                <a:moveTo>
                  <a:pt x="3948721" y="739158"/>
                </a:moveTo>
                <a:cubicBezTo>
                  <a:pt x="3967200" y="739158"/>
                  <a:pt x="3983369" y="755327"/>
                  <a:pt x="3983369" y="773806"/>
                </a:cubicBezTo>
                <a:cubicBezTo>
                  <a:pt x="3983369" y="792285"/>
                  <a:pt x="3968354" y="808454"/>
                  <a:pt x="3948721" y="808454"/>
                </a:cubicBezTo>
                <a:cubicBezTo>
                  <a:pt x="3930243" y="808454"/>
                  <a:pt x="3914073" y="792285"/>
                  <a:pt x="3914073" y="773806"/>
                </a:cubicBezTo>
                <a:cubicBezTo>
                  <a:pt x="3914073" y="755327"/>
                  <a:pt x="3929086" y="739158"/>
                  <a:pt x="3948721" y="739158"/>
                </a:cubicBezTo>
                <a:close/>
                <a:moveTo>
                  <a:pt x="2165502" y="739158"/>
                </a:moveTo>
                <a:cubicBezTo>
                  <a:pt x="2183981" y="739158"/>
                  <a:pt x="2200150" y="755327"/>
                  <a:pt x="2200150" y="773806"/>
                </a:cubicBezTo>
                <a:cubicBezTo>
                  <a:pt x="2200150" y="792285"/>
                  <a:pt x="2185137" y="808454"/>
                  <a:pt x="2165502" y="808454"/>
                </a:cubicBezTo>
                <a:cubicBezTo>
                  <a:pt x="2147023" y="808454"/>
                  <a:pt x="2130854" y="792285"/>
                  <a:pt x="2130854" y="773806"/>
                </a:cubicBezTo>
                <a:cubicBezTo>
                  <a:pt x="2130854" y="755327"/>
                  <a:pt x="2145868" y="739158"/>
                  <a:pt x="2165502" y="739158"/>
                </a:cubicBezTo>
                <a:close/>
                <a:moveTo>
                  <a:pt x="1593810" y="739158"/>
                </a:moveTo>
                <a:cubicBezTo>
                  <a:pt x="1612288" y="739158"/>
                  <a:pt x="1628457" y="755327"/>
                  <a:pt x="1628457" y="773806"/>
                </a:cubicBezTo>
                <a:cubicBezTo>
                  <a:pt x="1628457" y="792285"/>
                  <a:pt x="1613444" y="808454"/>
                  <a:pt x="1593810" y="808454"/>
                </a:cubicBezTo>
                <a:cubicBezTo>
                  <a:pt x="1575330" y="808454"/>
                  <a:pt x="1559161" y="792285"/>
                  <a:pt x="1559161" y="773806"/>
                </a:cubicBezTo>
                <a:cubicBezTo>
                  <a:pt x="1559161" y="755327"/>
                  <a:pt x="1574176" y="739158"/>
                  <a:pt x="1593810" y="739158"/>
                </a:cubicBezTo>
                <a:close/>
                <a:moveTo>
                  <a:pt x="1014032" y="739158"/>
                </a:moveTo>
                <a:cubicBezTo>
                  <a:pt x="1033667" y="739158"/>
                  <a:pt x="1048681" y="755327"/>
                  <a:pt x="1048681" y="773806"/>
                </a:cubicBezTo>
                <a:cubicBezTo>
                  <a:pt x="1048681" y="792285"/>
                  <a:pt x="1032511" y="808454"/>
                  <a:pt x="1014032" y="808454"/>
                </a:cubicBezTo>
                <a:cubicBezTo>
                  <a:pt x="995554" y="808454"/>
                  <a:pt x="979384" y="792285"/>
                  <a:pt x="979384" y="773806"/>
                </a:cubicBezTo>
                <a:cubicBezTo>
                  <a:pt x="979384" y="755327"/>
                  <a:pt x="994399" y="739158"/>
                  <a:pt x="1014032" y="739158"/>
                </a:cubicBezTo>
                <a:close/>
                <a:moveTo>
                  <a:pt x="463129" y="739158"/>
                </a:moveTo>
                <a:cubicBezTo>
                  <a:pt x="482763" y="739158"/>
                  <a:pt x="497778" y="755327"/>
                  <a:pt x="497778" y="773806"/>
                </a:cubicBezTo>
                <a:cubicBezTo>
                  <a:pt x="497778" y="792285"/>
                  <a:pt x="481608" y="808454"/>
                  <a:pt x="463129" y="808454"/>
                </a:cubicBezTo>
                <a:cubicBezTo>
                  <a:pt x="444651" y="808454"/>
                  <a:pt x="428481" y="792285"/>
                  <a:pt x="428481" y="773806"/>
                </a:cubicBezTo>
                <a:cubicBezTo>
                  <a:pt x="428481" y="755327"/>
                  <a:pt x="443495" y="739158"/>
                  <a:pt x="463129" y="739158"/>
                </a:cubicBezTo>
                <a:close/>
                <a:moveTo>
                  <a:pt x="11245044" y="733384"/>
                </a:moveTo>
                <a:cubicBezTo>
                  <a:pt x="11268143" y="733384"/>
                  <a:pt x="11286622" y="750707"/>
                  <a:pt x="11285466" y="773806"/>
                </a:cubicBezTo>
                <a:cubicBezTo>
                  <a:pt x="11285466" y="795750"/>
                  <a:pt x="11266987" y="814229"/>
                  <a:pt x="11245044" y="814229"/>
                </a:cubicBezTo>
                <a:cubicBezTo>
                  <a:pt x="11223100" y="814229"/>
                  <a:pt x="11204621" y="795750"/>
                  <a:pt x="11204621" y="773806"/>
                </a:cubicBezTo>
                <a:cubicBezTo>
                  <a:pt x="11204621" y="751863"/>
                  <a:pt x="11223100" y="733384"/>
                  <a:pt x="11245044" y="733384"/>
                </a:cubicBezTo>
                <a:close/>
                <a:moveTo>
                  <a:pt x="10970170" y="733384"/>
                </a:moveTo>
                <a:cubicBezTo>
                  <a:pt x="10992113" y="733384"/>
                  <a:pt x="11010592" y="750707"/>
                  <a:pt x="11010592" y="773806"/>
                </a:cubicBezTo>
                <a:cubicBezTo>
                  <a:pt x="11010592" y="795750"/>
                  <a:pt x="10992113" y="814229"/>
                  <a:pt x="10970170" y="814229"/>
                </a:cubicBezTo>
                <a:cubicBezTo>
                  <a:pt x="10948226" y="814229"/>
                  <a:pt x="10929746" y="795750"/>
                  <a:pt x="10929746" y="773806"/>
                </a:cubicBezTo>
                <a:cubicBezTo>
                  <a:pt x="10929746" y="751863"/>
                  <a:pt x="10948226" y="733384"/>
                  <a:pt x="10970170" y="733384"/>
                </a:cubicBezTo>
                <a:close/>
                <a:moveTo>
                  <a:pt x="10094730" y="733384"/>
                </a:moveTo>
                <a:cubicBezTo>
                  <a:pt x="10116673" y="733384"/>
                  <a:pt x="10135152" y="750707"/>
                  <a:pt x="10135152" y="773806"/>
                </a:cubicBezTo>
                <a:cubicBezTo>
                  <a:pt x="10135152" y="795750"/>
                  <a:pt x="10116673" y="814229"/>
                  <a:pt x="10094730" y="814229"/>
                </a:cubicBezTo>
                <a:cubicBezTo>
                  <a:pt x="10072785" y="814229"/>
                  <a:pt x="10054306" y="795750"/>
                  <a:pt x="10054306" y="773806"/>
                </a:cubicBezTo>
                <a:cubicBezTo>
                  <a:pt x="10054306" y="751863"/>
                  <a:pt x="10072785" y="733384"/>
                  <a:pt x="10094730" y="733384"/>
                </a:cubicBezTo>
                <a:close/>
                <a:moveTo>
                  <a:pt x="9818700" y="733384"/>
                </a:moveTo>
                <a:cubicBezTo>
                  <a:pt x="9841798" y="733384"/>
                  <a:pt x="9859123" y="750707"/>
                  <a:pt x="9859123" y="773806"/>
                </a:cubicBezTo>
                <a:cubicBezTo>
                  <a:pt x="9859123" y="795750"/>
                  <a:pt x="9840644" y="814229"/>
                  <a:pt x="9818700" y="814229"/>
                </a:cubicBezTo>
                <a:cubicBezTo>
                  <a:pt x="9796757" y="814229"/>
                  <a:pt x="9778278" y="795750"/>
                  <a:pt x="9778278" y="773806"/>
                </a:cubicBezTo>
                <a:cubicBezTo>
                  <a:pt x="9778278" y="751863"/>
                  <a:pt x="9796757" y="733384"/>
                  <a:pt x="9818700" y="733384"/>
                </a:cubicBezTo>
                <a:close/>
                <a:moveTo>
                  <a:pt x="8974994" y="733384"/>
                </a:moveTo>
                <a:cubicBezTo>
                  <a:pt x="8996938" y="733384"/>
                  <a:pt x="9015416" y="750707"/>
                  <a:pt x="9015416" y="773806"/>
                </a:cubicBezTo>
                <a:cubicBezTo>
                  <a:pt x="9015416" y="795750"/>
                  <a:pt x="8996938" y="814229"/>
                  <a:pt x="8974994" y="814229"/>
                </a:cubicBezTo>
                <a:cubicBezTo>
                  <a:pt x="8953050" y="814229"/>
                  <a:pt x="8934571" y="795750"/>
                  <a:pt x="8934571" y="773806"/>
                </a:cubicBezTo>
                <a:cubicBezTo>
                  <a:pt x="8934571" y="751863"/>
                  <a:pt x="8953050" y="733384"/>
                  <a:pt x="8974994" y="733384"/>
                </a:cubicBezTo>
                <a:close/>
                <a:moveTo>
                  <a:pt x="8698965" y="733384"/>
                </a:moveTo>
                <a:cubicBezTo>
                  <a:pt x="8720909" y="733384"/>
                  <a:pt x="8739388" y="750707"/>
                  <a:pt x="8739388" y="773806"/>
                </a:cubicBezTo>
                <a:cubicBezTo>
                  <a:pt x="8739388" y="795750"/>
                  <a:pt x="8720909" y="814229"/>
                  <a:pt x="8698965" y="814229"/>
                </a:cubicBezTo>
                <a:cubicBezTo>
                  <a:pt x="8677021" y="814229"/>
                  <a:pt x="8658542" y="795750"/>
                  <a:pt x="8658542" y="773806"/>
                </a:cubicBezTo>
                <a:cubicBezTo>
                  <a:pt x="8658542" y="751863"/>
                  <a:pt x="8677021" y="733384"/>
                  <a:pt x="8698965" y="733384"/>
                </a:cubicBezTo>
                <a:close/>
                <a:moveTo>
                  <a:pt x="6639717" y="733384"/>
                </a:moveTo>
                <a:cubicBezTo>
                  <a:pt x="6662817" y="733384"/>
                  <a:pt x="6681296" y="750707"/>
                  <a:pt x="6680139" y="773806"/>
                </a:cubicBezTo>
                <a:cubicBezTo>
                  <a:pt x="6680139" y="795750"/>
                  <a:pt x="6661661" y="814229"/>
                  <a:pt x="6639717" y="814229"/>
                </a:cubicBezTo>
                <a:cubicBezTo>
                  <a:pt x="6617773" y="814229"/>
                  <a:pt x="6599295" y="795750"/>
                  <a:pt x="6599295" y="773806"/>
                </a:cubicBezTo>
                <a:cubicBezTo>
                  <a:pt x="6599295" y="751863"/>
                  <a:pt x="6617773" y="733384"/>
                  <a:pt x="6639717" y="733384"/>
                </a:cubicBezTo>
                <a:close/>
                <a:moveTo>
                  <a:pt x="6364844" y="733384"/>
                </a:moveTo>
                <a:cubicBezTo>
                  <a:pt x="6386786" y="733384"/>
                  <a:pt x="6405265" y="750707"/>
                  <a:pt x="6405265" y="773806"/>
                </a:cubicBezTo>
                <a:cubicBezTo>
                  <a:pt x="6405265" y="795750"/>
                  <a:pt x="6386786" y="814229"/>
                  <a:pt x="6364844" y="814229"/>
                </a:cubicBezTo>
                <a:cubicBezTo>
                  <a:pt x="6342899" y="814229"/>
                  <a:pt x="6324420" y="795750"/>
                  <a:pt x="6324420" y="773806"/>
                </a:cubicBezTo>
                <a:cubicBezTo>
                  <a:pt x="6324420" y="751863"/>
                  <a:pt x="6342899" y="733384"/>
                  <a:pt x="6364844" y="733384"/>
                </a:cubicBezTo>
                <a:close/>
                <a:moveTo>
                  <a:pt x="5489404" y="733384"/>
                </a:moveTo>
                <a:cubicBezTo>
                  <a:pt x="5511346" y="733384"/>
                  <a:pt x="5529826" y="750707"/>
                  <a:pt x="5529826" y="773806"/>
                </a:cubicBezTo>
                <a:cubicBezTo>
                  <a:pt x="5529826" y="795750"/>
                  <a:pt x="5511346" y="814229"/>
                  <a:pt x="5489404" y="814229"/>
                </a:cubicBezTo>
                <a:cubicBezTo>
                  <a:pt x="5467460" y="814229"/>
                  <a:pt x="5448980" y="795750"/>
                  <a:pt x="5448980" y="773806"/>
                </a:cubicBezTo>
                <a:cubicBezTo>
                  <a:pt x="5448980" y="751863"/>
                  <a:pt x="5467460" y="733384"/>
                  <a:pt x="5489404" y="733384"/>
                </a:cubicBezTo>
                <a:close/>
                <a:moveTo>
                  <a:pt x="5213373" y="733384"/>
                </a:moveTo>
                <a:cubicBezTo>
                  <a:pt x="5236473" y="733384"/>
                  <a:pt x="5253797" y="750707"/>
                  <a:pt x="5253797" y="773806"/>
                </a:cubicBezTo>
                <a:cubicBezTo>
                  <a:pt x="5253797" y="795750"/>
                  <a:pt x="5235319" y="814229"/>
                  <a:pt x="5213373" y="814229"/>
                </a:cubicBezTo>
                <a:cubicBezTo>
                  <a:pt x="5191431" y="814229"/>
                  <a:pt x="5172952" y="795750"/>
                  <a:pt x="5172952" y="773806"/>
                </a:cubicBezTo>
                <a:cubicBezTo>
                  <a:pt x="5172952" y="751863"/>
                  <a:pt x="5191431" y="733384"/>
                  <a:pt x="5213373" y="733384"/>
                </a:cubicBezTo>
                <a:close/>
                <a:moveTo>
                  <a:pt x="4361031" y="733384"/>
                </a:moveTo>
                <a:cubicBezTo>
                  <a:pt x="4384131" y="733384"/>
                  <a:pt x="4402610" y="750707"/>
                  <a:pt x="4401455" y="773806"/>
                </a:cubicBezTo>
                <a:cubicBezTo>
                  <a:pt x="4401455" y="795750"/>
                  <a:pt x="4382977" y="814229"/>
                  <a:pt x="4361031" y="814229"/>
                </a:cubicBezTo>
                <a:cubicBezTo>
                  <a:pt x="4339089" y="814229"/>
                  <a:pt x="4320610" y="795750"/>
                  <a:pt x="4320610" y="773806"/>
                </a:cubicBezTo>
                <a:cubicBezTo>
                  <a:pt x="4320610" y="751863"/>
                  <a:pt x="4339089" y="733384"/>
                  <a:pt x="4361031" y="733384"/>
                </a:cubicBezTo>
                <a:close/>
                <a:moveTo>
                  <a:pt x="4086158" y="733384"/>
                </a:moveTo>
                <a:cubicBezTo>
                  <a:pt x="4108102" y="733384"/>
                  <a:pt x="4126582" y="750707"/>
                  <a:pt x="4126582" y="773806"/>
                </a:cubicBezTo>
                <a:cubicBezTo>
                  <a:pt x="4126582" y="795750"/>
                  <a:pt x="4108102" y="814229"/>
                  <a:pt x="4086158" y="814229"/>
                </a:cubicBezTo>
                <a:cubicBezTo>
                  <a:pt x="4064214" y="814229"/>
                  <a:pt x="4045735" y="795750"/>
                  <a:pt x="4045735" y="773806"/>
                </a:cubicBezTo>
                <a:cubicBezTo>
                  <a:pt x="4045735" y="751863"/>
                  <a:pt x="4064214" y="733384"/>
                  <a:pt x="4086158" y="733384"/>
                </a:cubicBezTo>
                <a:close/>
                <a:moveTo>
                  <a:pt x="2026910" y="733384"/>
                </a:moveTo>
                <a:cubicBezTo>
                  <a:pt x="2050009" y="733384"/>
                  <a:pt x="2068488" y="750707"/>
                  <a:pt x="2067332" y="773806"/>
                </a:cubicBezTo>
                <a:cubicBezTo>
                  <a:pt x="2067332" y="795750"/>
                  <a:pt x="2048854" y="814229"/>
                  <a:pt x="2026910" y="814229"/>
                </a:cubicBezTo>
                <a:cubicBezTo>
                  <a:pt x="2004966" y="814229"/>
                  <a:pt x="1986487" y="795750"/>
                  <a:pt x="1986487" y="773806"/>
                </a:cubicBezTo>
                <a:cubicBezTo>
                  <a:pt x="1986487" y="751863"/>
                  <a:pt x="2004966" y="733384"/>
                  <a:pt x="2026910" y="733384"/>
                </a:cubicBezTo>
                <a:close/>
                <a:moveTo>
                  <a:pt x="1752036" y="733384"/>
                </a:moveTo>
                <a:cubicBezTo>
                  <a:pt x="1773979" y="733384"/>
                  <a:pt x="1792458" y="750707"/>
                  <a:pt x="1792458" y="773806"/>
                </a:cubicBezTo>
                <a:cubicBezTo>
                  <a:pt x="1792458" y="795750"/>
                  <a:pt x="1773979" y="814229"/>
                  <a:pt x="1752036" y="814229"/>
                </a:cubicBezTo>
                <a:cubicBezTo>
                  <a:pt x="1730092" y="814229"/>
                  <a:pt x="1711613" y="795750"/>
                  <a:pt x="1711613" y="773806"/>
                </a:cubicBezTo>
                <a:cubicBezTo>
                  <a:pt x="1711613" y="751863"/>
                  <a:pt x="1730092" y="733384"/>
                  <a:pt x="1752036" y="733384"/>
                </a:cubicBezTo>
                <a:close/>
                <a:moveTo>
                  <a:pt x="876596" y="733384"/>
                </a:moveTo>
                <a:cubicBezTo>
                  <a:pt x="898539" y="733384"/>
                  <a:pt x="917018" y="750707"/>
                  <a:pt x="917018" y="773806"/>
                </a:cubicBezTo>
                <a:cubicBezTo>
                  <a:pt x="917018" y="795750"/>
                  <a:pt x="898539" y="814229"/>
                  <a:pt x="876596" y="814229"/>
                </a:cubicBezTo>
                <a:cubicBezTo>
                  <a:pt x="854652" y="814229"/>
                  <a:pt x="836172" y="795750"/>
                  <a:pt x="836172" y="773806"/>
                </a:cubicBezTo>
                <a:cubicBezTo>
                  <a:pt x="836172" y="751863"/>
                  <a:pt x="854652" y="733384"/>
                  <a:pt x="876596" y="733384"/>
                </a:cubicBezTo>
                <a:close/>
                <a:moveTo>
                  <a:pt x="600566" y="733384"/>
                </a:moveTo>
                <a:cubicBezTo>
                  <a:pt x="623665" y="733384"/>
                  <a:pt x="640989" y="750707"/>
                  <a:pt x="640989" y="773806"/>
                </a:cubicBezTo>
                <a:cubicBezTo>
                  <a:pt x="640989" y="795750"/>
                  <a:pt x="622510" y="814229"/>
                  <a:pt x="600566" y="814229"/>
                </a:cubicBezTo>
                <a:cubicBezTo>
                  <a:pt x="578623" y="814229"/>
                  <a:pt x="560144" y="795750"/>
                  <a:pt x="560144" y="773806"/>
                </a:cubicBezTo>
                <a:cubicBezTo>
                  <a:pt x="560144" y="751863"/>
                  <a:pt x="578623" y="733384"/>
                  <a:pt x="600566" y="733384"/>
                </a:cubicBezTo>
                <a:close/>
                <a:moveTo>
                  <a:pt x="11107606" y="721834"/>
                </a:moveTo>
                <a:cubicBezTo>
                  <a:pt x="11136480" y="721834"/>
                  <a:pt x="11159579" y="744933"/>
                  <a:pt x="11158424" y="772651"/>
                </a:cubicBezTo>
                <a:cubicBezTo>
                  <a:pt x="11158424" y="800370"/>
                  <a:pt x="11136480" y="823468"/>
                  <a:pt x="11107606" y="823468"/>
                </a:cubicBezTo>
                <a:cubicBezTo>
                  <a:pt x="11079888" y="823468"/>
                  <a:pt x="11056789" y="801524"/>
                  <a:pt x="11056789" y="772651"/>
                </a:cubicBezTo>
                <a:cubicBezTo>
                  <a:pt x="11056789" y="744933"/>
                  <a:pt x="11078734" y="721834"/>
                  <a:pt x="11107606" y="721834"/>
                </a:cubicBezTo>
                <a:close/>
                <a:moveTo>
                  <a:pt x="9957292" y="721834"/>
                </a:moveTo>
                <a:cubicBezTo>
                  <a:pt x="9985010" y="721834"/>
                  <a:pt x="10008109" y="744933"/>
                  <a:pt x="10008109" y="772651"/>
                </a:cubicBezTo>
                <a:cubicBezTo>
                  <a:pt x="10008109" y="800370"/>
                  <a:pt x="9985010" y="823468"/>
                  <a:pt x="9957292" y="823468"/>
                </a:cubicBezTo>
                <a:cubicBezTo>
                  <a:pt x="9929574" y="823468"/>
                  <a:pt x="9906475" y="801524"/>
                  <a:pt x="9906475" y="772651"/>
                </a:cubicBezTo>
                <a:cubicBezTo>
                  <a:pt x="9906475" y="744933"/>
                  <a:pt x="9928419" y="721834"/>
                  <a:pt x="9957292" y="721834"/>
                </a:cubicBezTo>
                <a:close/>
                <a:moveTo>
                  <a:pt x="8836402" y="721834"/>
                </a:moveTo>
                <a:cubicBezTo>
                  <a:pt x="8865275" y="721834"/>
                  <a:pt x="8888374" y="744933"/>
                  <a:pt x="8887219" y="772651"/>
                </a:cubicBezTo>
                <a:cubicBezTo>
                  <a:pt x="8887219" y="800370"/>
                  <a:pt x="8864121" y="823468"/>
                  <a:pt x="8836402" y="823468"/>
                </a:cubicBezTo>
                <a:cubicBezTo>
                  <a:pt x="8808684" y="823468"/>
                  <a:pt x="8785585" y="801524"/>
                  <a:pt x="8785585" y="772651"/>
                </a:cubicBezTo>
                <a:cubicBezTo>
                  <a:pt x="8785585" y="744933"/>
                  <a:pt x="8807528" y="721834"/>
                  <a:pt x="8836402" y="721834"/>
                </a:cubicBezTo>
                <a:close/>
                <a:moveTo>
                  <a:pt x="6502281" y="721834"/>
                </a:moveTo>
                <a:cubicBezTo>
                  <a:pt x="6531154" y="721834"/>
                  <a:pt x="6554254" y="744933"/>
                  <a:pt x="6553098" y="772651"/>
                </a:cubicBezTo>
                <a:cubicBezTo>
                  <a:pt x="6553098" y="800370"/>
                  <a:pt x="6531154" y="823468"/>
                  <a:pt x="6502281" y="823468"/>
                </a:cubicBezTo>
                <a:cubicBezTo>
                  <a:pt x="6474562" y="823468"/>
                  <a:pt x="6451462" y="801524"/>
                  <a:pt x="6451462" y="772651"/>
                </a:cubicBezTo>
                <a:cubicBezTo>
                  <a:pt x="6451462" y="744933"/>
                  <a:pt x="6473407" y="721834"/>
                  <a:pt x="6502281" y="721834"/>
                </a:cubicBezTo>
                <a:close/>
                <a:moveTo>
                  <a:pt x="5351966" y="721834"/>
                </a:moveTo>
                <a:cubicBezTo>
                  <a:pt x="5379684" y="721834"/>
                  <a:pt x="5402784" y="744933"/>
                  <a:pt x="5402784" y="772651"/>
                </a:cubicBezTo>
                <a:cubicBezTo>
                  <a:pt x="5402784" y="800370"/>
                  <a:pt x="5380840" y="823468"/>
                  <a:pt x="5351966" y="823468"/>
                </a:cubicBezTo>
                <a:cubicBezTo>
                  <a:pt x="5324247" y="823468"/>
                  <a:pt x="5301149" y="801524"/>
                  <a:pt x="5301149" y="772651"/>
                </a:cubicBezTo>
                <a:cubicBezTo>
                  <a:pt x="5301149" y="744933"/>
                  <a:pt x="5323094" y="721834"/>
                  <a:pt x="5351966" y="721834"/>
                </a:cubicBezTo>
                <a:close/>
                <a:moveTo>
                  <a:pt x="4223596" y="721834"/>
                </a:moveTo>
                <a:cubicBezTo>
                  <a:pt x="4252468" y="721834"/>
                  <a:pt x="4275566" y="744933"/>
                  <a:pt x="4274413" y="772651"/>
                </a:cubicBezTo>
                <a:cubicBezTo>
                  <a:pt x="4274413" y="800370"/>
                  <a:pt x="4251315" y="823468"/>
                  <a:pt x="4223596" y="823468"/>
                </a:cubicBezTo>
                <a:cubicBezTo>
                  <a:pt x="4195877" y="823468"/>
                  <a:pt x="4172779" y="801524"/>
                  <a:pt x="4172779" y="772651"/>
                </a:cubicBezTo>
                <a:cubicBezTo>
                  <a:pt x="4172779" y="744933"/>
                  <a:pt x="4194721" y="721834"/>
                  <a:pt x="4223596" y="721834"/>
                </a:cubicBezTo>
                <a:close/>
                <a:moveTo>
                  <a:pt x="1889473" y="721834"/>
                </a:moveTo>
                <a:cubicBezTo>
                  <a:pt x="1918346" y="721834"/>
                  <a:pt x="1941445" y="744933"/>
                  <a:pt x="1940290" y="772651"/>
                </a:cubicBezTo>
                <a:cubicBezTo>
                  <a:pt x="1940290" y="800370"/>
                  <a:pt x="1918346" y="823468"/>
                  <a:pt x="1889473" y="823468"/>
                </a:cubicBezTo>
                <a:cubicBezTo>
                  <a:pt x="1861754" y="823468"/>
                  <a:pt x="1838656" y="801524"/>
                  <a:pt x="1838656" y="772651"/>
                </a:cubicBezTo>
                <a:cubicBezTo>
                  <a:pt x="1838656" y="744933"/>
                  <a:pt x="1860600" y="721834"/>
                  <a:pt x="1889473" y="721834"/>
                </a:cubicBezTo>
                <a:close/>
                <a:moveTo>
                  <a:pt x="739158" y="721834"/>
                </a:moveTo>
                <a:cubicBezTo>
                  <a:pt x="766877" y="721834"/>
                  <a:pt x="789975" y="744933"/>
                  <a:pt x="789975" y="772651"/>
                </a:cubicBezTo>
                <a:cubicBezTo>
                  <a:pt x="789975" y="800370"/>
                  <a:pt x="766877" y="823468"/>
                  <a:pt x="739158" y="823468"/>
                </a:cubicBezTo>
                <a:cubicBezTo>
                  <a:pt x="711440" y="823468"/>
                  <a:pt x="688341" y="801524"/>
                  <a:pt x="688341" y="772651"/>
                </a:cubicBezTo>
                <a:cubicBezTo>
                  <a:pt x="688341" y="744933"/>
                  <a:pt x="710285" y="721834"/>
                  <a:pt x="739158" y="721834"/>
                </a:cubicBezTo>
                <a:close/>
                <a:moveTo>
                  <a:pt x="12227892" y="608651"/>
                </a:moveTo>
                <a:cubicBezTo>
                  <a:pt x="12238288" y="608651"/>
                  <a:pt x="12248682" y="617890"/>
                  <a:pt x="12248682" y="629440"/>
                </a:cubicBezTo>
                <a:cubicBezTo>
                  <a:pt x="12248682" y="640989"/>
                  <a:pt x="12239442" y="650228"/>
                  <a:pt x="12227892" y="650228"/>
                </a:cubicBezTo>
                <a:cubicBezTo>
                  <a:pt x="12216343" y="650228"/>
                  <a:pt x="12207104" y="640989"/>
                  <a:pt x="12207104" y="629440"/>
                </a:cubicBezTo>
                <a:cubicBezTo>
                  <a:pt x="12207104" y="617890"/>
                  <a:pt x="12216343" y="608651"/>
                  <a:pt x="12227892" y="608651"/>
                </a:cubicBezTo>
                <a:close/>
                <a:moveTo>
                  <a:pt x="12091610" y="608651"/>
                </a:moveTo>
                <a:cubicBezTo>
                  <a:pt x="12103160" y="608651"/>
                  <a:pt x="12112399" y="617890"/>
                  <a:pt x="12112399" y="629440"/>
                </a:cubicBezTo>
                <a:cubicBezTo>
                  <a:pt x="12112399" y="640989"/>
                  <a:pt x="12103160" y="650228"/>
                  <a:pt x="12091610" y="650228"/>
                </a:cubicBezTo>
                <a:cubicBezTo>
                  <a:pt x="12080061" y="650228"/>
                  <a:pt x="12070822" y="640989"/>
                  <a:pt x="12070822" y="629440"/>
                </a:cubicBezTo>
                <a:cubicBezTo>
                  <a:pt x="12070822" y="617890"/>
                  <a:pt x="12080061" y="608651"/>
                  <a:pt x="12091610" y="608651"/>
                </a:cubicBezTo>
                <a:close/>
                <a:moveTo>
                  <a:pt x="11956484" y="608651"/>
                </a:moveTo>
                <a:cubicBezTo>
                  <a:pt x="11968033" y="608651"/>
                  <a:pt x="11977272" y="617890"/>
                  <a:pt x="11977272" y="629440"/>
                </a:cubicBezTo>
                <a:cubicBezTo>
                  <a:pt x="11977272" y="640989"/>
                  <a:pt x="11968033" y="650228"/>
                  <a:pt x="11956484" y="650228"/>
                </a:cubicBezTo>
                <a:cubicBezTo>
                  <a:pt x="11944934" y="650228"/>
                  <a:pt x="11935695" y="640989"/>
                  <a:pt x="11935695" y="629440"/>
                </a:cubicBezTo>
                <a:cubicBezTo>
                  <a:pt x="11935695" y="617890"/>
                  <a:pt x="11944934" y="608651"/>
                  <a:pt x="11956484" y="608651"/>
                </a:cubicBezTo>
                <a:close/>
                <a:moveTo>
                  <a:pt x="11821356" y="608651"/>
                </a:moveTo>
                <a:cubicBezTo>
                  <a:pt x="11832905" y="608651"/>
                  <a:pt x="11842144" y="617890"/>
                  <a:pt x="11842144" y="629440"/>
                </a:cubicBezTo>
                <a:cubicBezTo>
                  <a:pt x="11842144" y="640989"/>
                  <a:pt x="11832905" y="650228"/>
                  <a:pt x="11821356" y="650228"/>
                </a:cubicBezTo>
                <a:cubicBezTo>
                  <a:pt x="11809806" y="650228"/>
                  <a:pt x="11800567" y="640989"/>
                  <a:pt x="11800567" y="629440"/>
                </a:cubicBezTo>
                <a:cubicBezTo>
                  <a:pt x="11800567" y="617890"/>
                  <a:pt x="11809806" y="608651"/>
                  <a:pt x="11821356" y="608651"/>
                </a:cubicBezTo>
                <a:close/>
                <a:moveTo>
                  <a:pt x="11685074" y="608651"/>
                </a:moveTo>
                <a:cubicBezTo>
                  <a:pt x="11696623" y="608651"/>
                  <a:pt x="11705862" y="617890"/>
                  <a:pt x="11705862" y="629440"/>
                </a:cubicBezTo>
                <a:cubicBezTo>
                  <a:pt x="11705862" y="640989"/>
                  <a:pt x="11696623" y="650228"/>
                  <a:pt x="11685074" y="650228"/>
                </a:cubicBezTo>
                <a:cubicBezTo>
                  <a:pt x="11673524" y="650228"/>
                  <a:pt x="11664285" y="640989"/>
                  <a:pt x="11664285" y="629440"/>
                </a:cubicBezTo>
                <a:cubicBezTo>
                  <a:pt x="11664285" y="617890"/>
                  <a:pt x="11673524" y="608651"/>
                  <a:pt x="11685074" y="608651"/>
                </a:cubicBezTo>
                <a:close/>
                <a:moveTo>
                  <a:pt x="10736873" y="608651"/>
                </a:moveTo>
                <a:cubicBezTo>
                  <a:pt x="10748422" y="608651"/>
                  <a:pt x="10757662" y="617890"/>
                  <a:pt x="10757662" y="629440"/>
                </a:cubicBezTo>
                <a:cubicBezTo>
                  <a:pt x="10757662" y="640989"/>
                  <a:pt x="10748422" y="650228"/>
                  <a:pt x="10736873" y="650228"/>
                </a:cubicBezTo>
                <a:cubicBezTo>
                  <a:pt x="10725324" y="650228"/>
                  <a:pt x="10716084" y="640989"/>
                  <a:pt x="10716084" y="629440"/>
                </a:cubicBezTo>
                <a:cubicBezTo>
                  <a:pt x="10716084" y="617890"/>
                  <a:pt x="10725324" y="608651"/>
                  <a:pt x="10736873" y="608651"/>
                </a:cubicBezTo>
                <a:close/>
                <a:moveTo>
                  <a:pt x="10601745" y="608651"/>
                </a:moveTo>
                <a:cubicBezTo>
                  <a:pt x="10613294" y="608651"/>
                  <a:pt x="10622534" y="617890"/>
                  <a:pt x="10622534" y="629440"/>
                </a:cubicBezTo>
                <a:cubicBezTo>
                  <a:pt x="10622534" y="640989"/>
                  <a:pt x="10613294" y="650228"/>
                  <a:pt x="10601745" y="650228"/>
                </a:cubicBezTo>
                <a:cubicBezTo>
                  <a:pt x="10590196" y="650228"/>
                  <a:pt x="10580956" y="640989"/>
                  <a:pt x="10580956" y="629440"/>
                </a:cubicBezTo>
                <a:cubicBezTo>
                  <a:pt x="10580956" y="617890"/>
                  <a:pt x="10590196" y="608651"/>
                  <a:pt x="10601745" y="608651"/>
                </a:cubicBezTo>
                <a:close/>
                <a:moveTo>
                  <a:pt x="8027949" y="608651"/>
                </a:moveTo>
                <a:cubicBezTo>
                  <a:pt x="8039499" y="608651"/>
                  <a:pt x="8048737" y="617890"/>
                  <a:pt x="8048737" y="629440"/>
                </a:cubicBezTo>
                <a:cubicBezTo>
                  <a:pt x="8048737" y="640989"/>
                  <a:pt x="8039499" y="650228"/>
                  <a:pt x="8027949" y="650228"/>
                </a:cubicBezTo>
                <a:cubicBezTo>
                  <a:pt x="8016400" y="650228"/>
                  <a:pt x="8007160" y="640989"/>
                  <a:pt x="8007160" y="629440"/>
                </a:cubicBezTo>
                <a:cubicBezTo>
                  <a:pt x="8007160" y="617890"/>
                  <a:pt x="8016400" y="608651"/>
                  <a:pt x="8027949" y="608651"/>
                </a:cubicBezTo>
                <a:close/>
                <a:moveTo>
                  <a:pt x="7892822" y="608651"/>
                </a:moveTo>
                <a:cubicBezTo>
                  <a:pt x="7904371" y="608651"/>
                  <a:pt x="7913611" y="617890"/>
                  <a:pt x="7913611" y="629440"/>
                </a:cubicBezTo>
                <a:cubicBezTo>
                  <a:pt x="7913611" y="640989"/>
                  <a:pt x="7904371" y="650228"/>
                  <a:pt x="7892822" y="650228"/>
                </a:cubicBezTo>
                <a:cubicBezTo>
                  <a:pt x="7881271" y="650228"/>
                  <a:pt x="7872031" y="640989"/>
                  <a:pt x="7872031" y="629440"/>
                </a:cubicBezTo>
                <a:cubicBezTo>
                  <a:pt x="7872031" y="617890"/>
                  <a:pt x="7881271" y="608651"/>
                  <a:pt x="7892822" y="608651"/>
                </a:cubicBezTo>
                <a:close/>
                <a:moveTo>
                  <a:pt x="7757693" y="608651"/>
                </a:moveTo>
                <a:cubicBezTo>
                  <a:pt x="7769244" y="608651"/>
                  <a:pt x="7778483" y="617890"/>
                  <a:pt x="7778483" y="629440"/>
                </a:cubicBezTo>
                <a:cubicBezTo>
                  <a:pt x="7778483" y="640989"/>
                  <a:pt x="7769244" y="650228"/>
                  <a:pt x="7757693" y="650228"/>
                </a:cubicBezTo>
                <a:cubicBezTo>
                  <a:pt x="7746146" y="650228"/>
                  <a:pt x="7736906" y="640989"/>
                  <a:pt x="7736906" y="629440"/>
                </a:cubicBezTo>
                <a:cubicBezTo>
                  <a:pt x="7736906" y="617890"/>
                  <a:pt x="7746146" y="608651"/>
                  <a:pt x="7757693" y="608651"/>
                </a:cubicBezTo>
                <a:close/>
                <a:moveTo>
                  <a:pt x="7622566" y="608651"/>
                </a:moveTo>
                <a:cubicBezTo>
                  <a:pt x="7632962" y="608651"/>
                  <a:pt x="7643355" y="617890"/>
                  <a:pt x="7643355" y="629440"/>
                </a:cubicBezTo>
                <a:cubicBezTo>
                  <a:pt x="7643355" y="640989"/>
                  <a:pt x="7634115" y="650228"/>
                  <a:pt x="7622566" y="650228"/>
                </a:cubicBezTo>
                <a:cubicBezTo>
                  <a:pt x="7611018" y="650228"/>
                  <a:pt x="7601778" y="640989"/>
                  <a:pt x="7601778" y="629440"/>
                </a:cubicBezTo>
                <a:cubicBezTo>
                  <a:pt x="7601778" y="617890"/>
                  <a:pt x="7611018" y="608651"/>
                  <a:pt x="7622566" y="608651"/>
                </a:cubicBezTo>
                <a:close/>
                <a:moveTo>
                  <a:pt x="7486284" y="608651"/>
                </a:moveTo>
                <a:cubicBezTo>
                  <a:pt x="7497834" y="608651"/>
                  <a:pt x="7507074" y="617890"/>
                  <a:pt x="7507074" y="629440"/>
                </a:cubicBezTo>
                <a:cubicBezTo>
                  <a:pt x="7507074" y="640989"/>
                  <a:pt x="7497834" y="650228"/>
                  <a:pt x="7486284" y="650228"/>
                </a:cubicBezTo>
                <a:cubicBezTo>
                  <a:pt x="7474735" y="650228"/>
                  <a:pt x="7465495" y="640989"/>
                  <a:pt x="7465495" y="629440"/>
                </a:cubicBezTo>
                <a:cubicBezTo>
                  <a:pt x="7465495" y="617890"/>
                  <a:pt x="7474735" y="608651"/>
                  <a:pt x="7486284" y="608651"/>
                </a:cubicBezTo>
                <a:close/>
                <a:moveTo>
                  <a:pt x="7351157" y="608651"/>
                </a:moveTo>
                <a:cubicBezTo>
                  <a:pt x="7362706" y="608651"/>
                  <a:pt x="7371946" y="617890"/>
                  <a:pt x="7371946" y="629440"/>
                </a:cubicBezTo>
                <a:cubicBezTo>
                  <a:pt x="7371946" y="640989"/>
                  <a:pt x="7362706" y="650228"/>
                  <a:pt x="7351157" y="650228"/>
                </a:cubicBezTo>
                <a:cubicBezTo>
                  <a:pt x="7339609" y="650228"/>
                  <a:pt x="7330369" y="640989"/>
                  <a:pt x="7330369" y="629440"/>
                </a:cubicBezTo>
                <a:cubicBezTo>
                  <a:pt x="7330369" y="617890"/>
                  <a:pt x="7339609" y="608651"/>
                  <a:pt x="7351157" y="608651"/>
                </a:cubicBezTo>
                <a:close/>
                <a:moveTo>
                  <a:pt x="7216030" y="608651"/>
                </a:moveTo>
                <a:cubicBezTo>
                  <a:pt x="7227579" y="608651"/>
                  <a:pt x="7236819" y="617890"/>
                  <a:pt x="7236819" y="629440"/>
                </a:cubicBezTo>
                <a:cubicBezTo>
                  <a:pt x="7236819" y="640989"/>
                  <a:pt x="7227579" y="650228"/>
                  <a:pt x="7216030" y="650228"/>
                </a:cubicBezTo>
                <a:cubicBezTo>
                  <a:pt x="7204481" y="650228"/>
                  <a:pt x="7195241" y="640989"/>
                  <a:pt x="7195241" y="629440"/>
                </a:cubicBezTo>
                <a:cubicBezTo>
                  <a:pt x="7195241" y="617890"/>
                  <a:pt x="7204481" y="608651"/>
                  <a:pt x="7216030" y="608651"/>
                </a:cubicBezTo>
                <a:close/>
                <a:moveTo>
                  <a:pt x="7079748" y="608651"/>
                </a:moveTo>
                <a:cubicBezTo>
                  <a:pt x="7091297" y="608651"/>
                  <a:pt x="7100537" y="617890"/>
                  <a:pt x="7100537" y="629440"/>
                </a:cubicBezTo>
                <a:cubicBezTo>
                  <a:pt x="7100537" y="640989"/>
                  <a:pt x="7091297" y="650228"/>
                  <a:pt x="7079748" y="650228"/>
                </a:cubicBezTo>
                <a:cubicBezTo>
                  <a:pt x="7068199" y="650228"/>
                  <a:pt x="7058959" y="640989"/>
                  <a:pt x="7058959" y="629440"/>
                </a:cubicBezTo>
                <a:cubicBezTo>
                  <a:pt x="7058959" y="617890"/>
                  <a:pt x="7068199" y="608651"/>
                  <a:pt x="7079748" y="608651"/>
                </a:cubicBezTo>
                <a:close/>
                <a:moveTo>
                  <a:pt x="6131548" y="608651"/>
                </a:moveTo>
                <a:cubicBezTo>
                  <a:pt x="6143096" y="608651"/>
                  <a:pt x="6152336" y="617890"/>
                  <a:pt x="6152336" y="629440"/>
                </a:cubicBezTo>
                <a:cubicBezTo>
                  <a:pt x="6152336" y="640989"/>
                  <a:pt x="6143096" y="650228"/>
                  <a:pt x="6131548" y="650228"/>
                </a:cubicBezTo>
                <a:cubicBezTo>
                  <a:pt x="6119997" y="650228"/>
                  <a:pt x="6110759" y="640989"/>
                  <a:pt x="6110759" y="629440"/>
                </a:cubicBezTo>
                <a:cubicBezTo>
                  <a:pt x="6110759" y="617890"/>
                  <a:pt x="6119997" y="608651"/>
                  <a:pt x="6131548" y="608651"/>
                </a:cubicBezTo>
                <a:close/>
                <a:moveTo>
                  <a:pt x="5996418" y="608651"/>
                </a:moveTo>
                <a:cubicBezTo>
                  <a:pt x="6007969" y="608651"/>
                  <a:pt x="6017209" y="617890"/>
                  <a:pt x="6017209" y="629440"/>
                </a:cubicBezTo>
                <a:cubicBezTo>
                  <a:pt x="6017209" y="640989"/>
                  <a:pt x="6007969" y="650228"/>
                  <a:pt x="5996418" y="650228"/>
                </a:cubicBezTo>
                <a:cubicBezTo>
                  <a:pt x="5984870" y="650228"/>
                  <a:pt x="5975630" y="640989"/>
                  <a:pt x="5975630" y="629440"/>
                </a:cubicBezTo>
                <a:cubicBezTo>
                  <a:pt x="5975630" y="617890"/>
                  <a:pt x="5984870" y="608651"/>
                  <a:pt x="5996418" y="608651"/>
                </a:cubicBezTo>
                <a:close/>
                <a:moveTo>
                  <a:pt x="3415142" y="608651"/>
                </a:moveTo>
                <a:cubicBezTo>
                  <a:pt x="3426691" y="608651"/>
                  <a:pt x="3435930" y="617890"/>
                  <a:pt x="3435930" y="629440"/>
                </a:cubicBezTo>
                <a:cubicBezTo>
                  <a:pt x="3435930" y="640989"/>
                  <a:pt x="3426691" y="650228"/>
                  <a:pt x="3415142" y="650228"/>
                </a:cubicBezTo>
                <a:cubicBezTo>
                  <a:pt x="3403592" y="650228"/>
                  <a:pt x="3394352" y="640989"/>
                  <a:pt x="3394352" y="629440"/>
                </a:cubicBezTo>
                <a:cubicBezTo>
                  <a:pt x="3394352" y="617890"/>
                  <a:pt x="3403592" y="608651"/>
                  <a:pt x="3415142" y="608651"/>
                </a:cubicBezTo>
                <a:close/>
                <a:moveTo>
                  <a:pt x="3280013" y="608651"/>
                </a:moveTo>
                <a:cubicBezTo>
                  <a:pt x="3291564" y="608651"/>
                  <a:pt x="3300802" y="617890"/>
                  <a:pt x="3300802" y="629440"/>
                </a:cubicBezTo>
                <a:cubicBezTo>
                  <a:pt x="3300802" y="640989"/>
                  <a:pt x="3291564" y="650228"/>
                  <a:pt x="3280013" y="650228"/>
                </a:cubicBezTo>
                <a:cubicBezTo>
                  <a:pt x="3268464" y="650228"/>
                  <a:pt x="3259224" y="640989"/>
                  <a:pt x="3259224" y="629440"/>
                </a:cubicBezTo>
                <a:cubicBezTo>
                  <a:pt x="3259224" y="617890"/>
                  <a:pt x="3268464" y="608651"/>
                  <a:pt x="3280013" y="608651"/>
                </a:cubicBezTo>
                <a:close/>
                <a:moveTo>
                  <a:pt x="3144887" y="608651"/>
                </a:moveTo>
                <a:cubicBezTo>
                  <a:pt x="3156436" y="608651"/>
                  <a:pt x="3165675" y="617890"/>
                  <a:pt x="3165675" y="629440"/>
                </a:cubicBezTo>
                <a:cubicBezTo>
                  <a:pt x="3165675" y="640989"/>
                  <a:pt x="3156436" y="650228"/>
                  <a:pt x="3144887" y="650228"/>
                </a:cubicBezTo>
                <a:cubicBezTo>
                  <a:pt x="3133338" y="650228"/>
                  <a:pt x="3124098" y="640989"/>
                  <a:pt x="3124098" y="629440"/>
                </a:cubicBezTo>
                <a:cubicBezTo>
                  <a:pt x="3124098" y="617890"/>
                  <a:pt x="3133338" y="608651"/>
                  <a:pt x="3144887" y="608651"/>
                </a:cubicBezTo>
                <a:close/>
                <a:moveTo>
                  <a:pt x="3009759" y="608651"/>
                </a:moveTo>
                <a:cubicBezTo>
                  <a:pt x="3020154" y="608651"/>
                  <a:pt x="3030548" y="617890"/>
                  <a:pt x="3030548" y="629440"/>
                </a:cubicBezTo>
                <a:cubicBezTo>
                  <a:pt x="3030548" y="640989"/>
                  <a:pt x="3021308" y="650228"/>
                  <a:pt x="3009759" y="650228"/>
                </a:cubicBezTo>
                <a:cubicBezTo>
                  <a:pt x="2998209" y="650228"/>
                  <a:pt x="2988971" y="640989"/>
                  <a:pt x="2988971" y="629440"/>
                </a:cubicBezTo>
                <a:cubicBezTo>
                  <a:pt x="2988971" y="617890"/>
                  <a:pt x="2998209" y="608651"/>
                  <a:pt x="3009759" y="608651"/>
                </a:cubicBezTo>
                <a:close/>
                <a:moveTo>
                  <a:pt x="2873476" y="608651"/>
                </a:moveTo>
                <a:cubicBezTo>
                  <a:pt x="2885026" y="608651"/>
                  <a:pt x="2894265" y="617890"/>
                  <a:pt x="2894265" y="629440"/>
                </a:cubicBezTo>
                <a:cubicBezTo>
                  <a:pt x="2894265" y="640989"/>
                  <a:pt x="2885026" y="650228"/>
                  <a:pt x="2873476" y="650228"/>
                </a:cubicBezTo>
                <a:cubicBezTo>
                  <a:pt x="2861927" y="650228"/>
                  <a:pt x="2852688" y="640989"/>
                  <a:pt x="2852688" y="629440"/>
                </a:cubicBezTo>
                <a:cubicBezTo>
                  <a:pt x="2852688" y="617890"/>
                  <a:pt x="2861927" y="608651"/>
                  <a:pt x="2873476" y="608651"/>
                </a:cubicBezTo>
                <a:close/>
                <a:moveTo>
                  <a:pt x="2738350" y="608651"/>
                </a:moveTo>
                <a:cubicBezTo>
                  <a:pt x="2749899" y="608651"/>
                  <a:pt x="2759139" y="617890"/>
                  <a:pt x="2759139" y="629440"/>
                </a:cubicBezTo>
                <a:cubicBezTo>
                  <a:pt x="2759139" y="640989"/>
                  <a:pt x="2749899" y="650228"/>
                  <a:pt x="2738350" y="650228"/>
                </a:cubicBezTo>
                <a:cubicBezTo>
                  <a:pt x="2726800" y="650228"/>
                  <a:pt x="2717562" y="640989"/>
                  <a:pt x="2717562" y="629440"/>
                </a:cubicBezTo>
                <a:cubicBezTo>
                  <a:pt x="2717562" y="617890"/>
                  <a:pt x="2726800" y="608651"/>
                  <a:pt x="2738350" y="608651"/>
                </a:cubicBezTo>
                <a:close/>
                <a:moveTo>
                  <a:pt x="2603222" y="608651"/>
                </a:moveTo>
                <a:cubicBezTo>
                  <a:pt x="2614771" y="608651"/>
                  <a:pt x="2624011" y="617890"/>
                  <a:pt x="2624011" y="629440"/>
                </a:cubicBezTo>
                <a:cubicBezTo>
                  <a:pt x="2624011" y="640989"/>
                  <a:pt x="2614771" y="650228"/>
                  <a:pt x="2603222" y="650228"/>
                </a:cubicBezTo>
                <a:cubicBezTo>
                  <a:pt x="2591673" y="650228"/>
                  <a:pt x="2582433" y="640989"/>
                  <a:pt x="2582433" y="629440"/>
                </a:cubicBezTo>
                <a:cubicBezTo>
                  <a:pt x="2582433" y="617890"/>
                  <a:pt x="2591673" y="608651"/>
                  <a:pt x="2603222" y="608651"/>
                </a:cubicBezTo>
                <a:close/>
                <a:moveTo>
                  <a:pt x="2466940" y="608651"/>
                </a:moveTo>
                <a:cubicBezTo>
                  <a:pt x="2478489" y="608651"/>
                  <a:pt x="2487729" y="617890"/>
                  <a:pt x="2487729" y="629440"/>
                </a:cubicBezTo>
                <a:cubicBezTo>
                  <a:pt x="2487729" y="640989"/>
                  <a:pt x="2478489" y="650228"/>
                  <a:pt x="2466940" y="650228"/>
                </a:cubicBezTo>
                <a:cubicBezTo>
                  <a:pt x="2455390" y="650228"/>
                  <a:pt x="2446151" y="640989"/>
                  <a:pt x="2446151" y="629440"/>
                </a:cubicBezTo>
                <a:cubicBezTo>
                  <a:pt x="2446151" y="617890"/>
                  <a:pt x="2455390" y="608651"/>
                  <a:pt x="2466940" y="608651"/>
                </a:cubicBezTo>
                <a:close/>
                <a:moveTo>
                  <a:pt x="1518739" y="608651"/>
                </a:moveTo>
                <a:cubicBezTo>
                  <a:pt x="1530289" y="608651"/>
                  <a:pt x="1539528" y="617890"/>
                  <a:pt x="1539528" y="629440"/>
                </a:cubicBezTo>
                <a:cubicBezTo>
                  <a:pt x="1539528" y="640989"/>
                  <a:pt x="1530289" y="650228"/>
                  <a:pt x="1518739" y="650228"/>
                </a:cubicBezTo>
                <a:cubicBezTo>
                  <a:pt x="1507190" y="650228"/>
                  <a:pt x="1497951" y="640989"/>
                  <a:pt x="1497951" y="629440"/>
                </a:cubicBezTo>
                <a:cubicBezTo>
                  <a:pt x="1497951" y="617890"/>
                  <a:pt x="1507190" y="608651"/>
                  <a:pt x="1518739" y="608651"/>
                </a:cubicBezTo>
                <a:close/>
                <a:moveTo>
                  <a:pt x="1383611" y="608651"/>
                </a:moveTo>
                <a:cubicBezTo>
                  <a:pt x="1395161" y="608651"/>
                  <a:pt x="1404400" y="617890"/>
                  <a:pt x="1404400" y="629440"/>
                </a:cubicBezTo>
                <a:cubicBezTo>
                  <a:pt x="1404400" y="640989"/>
                  <a:pt x="1395161" y="650228"/>
                  <a:pt x="1383611" y="650228"/>
                </a:cubicBezTo>
                <a:cubicBezTo>
                  <a:pt x="1372062" y="650228"/>
                  <a:pt x="1362823" y="640989"/>
                  <a:pt x="1362823" y="629440"/>
                </a:cubicBezTo>
                <a:cubicBezTo>
                  <a:pt x="1362823" y="617890"/>
                  <a:pt x="1372062" y="608651"/>
                  <a:pt x="1383611" y="608651"/>
                </a:cubicBezTo>
                <a:close/>
                <a:moveTo>
                  <a:pt x="11549947" y="606341"/>
                </a:moveTo>
                <a:cubicBezTo>
                  <a:pt x="11562650" y="606341"/>
                  <a:pt x="11573046" y="616735"/>
                  <a:pt x="11573046" y="629440"/>
                </a:cubicBezTo>
                <a:cubicBezTo>
                  <a:pt x="11573046" y="642143"/>
                  <a:pt x="11562650" y="652538"/>
                  <a:pt x="11549947" y="652538"/>
                </a:cubicBezTo>
                <a:cubicBezTo>
                  <a:pt x="11537242" y="652538"/>
                  <a:pt x="11526848" y="642143"/>
                  <a:pt x="11526848" y="629440"/>
                </a:cubicBezTo>
                <a:cubicBezTo>
                  <a:pt x="11526848" y="616735"/>
                  <a:pt x="11537242" y="606341"/>
                  <a:pt x="11549947" y="606341"/>
                </a:cubicBezTo>
                <a:close/>
                <a:moveTo>
                  <a:pt x="10466618" y="606341"/>
                </a:moveTo>
                <a:cubicBezTo>
                  <a:pt x="10479322" y="606341"/>
                  <a:pt x="10489717" y="616735"/>
                  <a:pt x="10489717" y="629440"/>
                </a:cubicBezTo>
                <a:cubicBezTo>
                  <a:pt x="10489717" y="642143"/>
                  <a:pt x="10479322" y="652538"/>
                  <a:pt x="10466618" y="652538"/>
                </a:cubicBezTo>
                <a:cubicBezTo>
                  <a:pt x="10453914" y="652538"/>
                  <a:pt x="10443520" y="642143"/>
                  <a:pt x="10443520" y="629440"/>
                </a:cubicBezTo>
                <a:cubicBezTo>
                  <a:pt x="10443520" y="616735"/>
                  <a:pt x="10453914" y="606341"/>
                  <a:pt x="10466618" y="606341"/>
                </a:cubicBezTo>
                <a:close/>
                <a:moveTo>
                  <a:pt x="9244698" y="606341"/>
                </a:moveTo>
                <a:cubicBezTo>
                  <a:pt x="9258557" y="605185"/>
                  <a:pt x="9268951" y="614425"/>
                  <a:pt x="9270107" y="627130"/>
                </a:cubicBezTo>
                <a:cubicBezTo>
                  <a:pt x="9271261" y="639833"/>
                  <a:pt x="9262022" y="651383"/>
                  <a:pt x="9249318" y="652538"/>
                </a:cubicBezTo>
                <a:cubicBezTo>
                  <a:pt x="9236613" y="653693"/>
                  <a:pt x="9225064" y="644453"/>
                  <a:pt x="9223909" y="631749"/>
                </a:cubicBezTo>
                <a:cubicBezTo>
                  <a:pt x="9222754" y="619045"/>
                  <a:pt x="9231993" y="607495"/>
                  <a:pt x="9244698" y="606341"/>
                </a:cubicBezTo>
                <a:close/>
                <a:moveTo>
                  <a:pt x="8164231" y="606341"/>
                </a:moveTo>
                <a:cubicBezTo>
                  <a:pt x="8176935" y="606341"/>
                  <a:pt x="8187331" y="616735"/>
                  <a:pt x="8187331" y="629440"/>
                </a:cubicBezTo>
                <a:cubicBezTo>
                  <a:pt x="8187331" y="642143"/>
                  <a:pt x="8176935" y="652538"/>
                  <a:pt x="8164231" y="652538"/>
                </a:cubicBezTo>
                <a:cubicBezTo>
                  <a:pt x="8151527" y="652538"/>
                  <a:pt x="8141133" y="642143"/>
                  <a:pt x="8141133" y="629440"/>
                </a:cubicBezTo>
                <a:cubicBezTo>
                  <a:pt x="8141133" y="616735"/>
                  <a:pt x="8151527" y="606341"/>
                  <a:pt x="8164231" y="606341"/>
                </a:cubicBezTo>
                <a:close/>
                <a:moveTo>
                  <a:pt x="6944621" y="606341"/>
                </a:moveTo>
                <a:cubicBezTo>
                  <a:pt x="6957325" y="606341"/>
                  <a:pt x="6967719" y="616735"/>
                  <a:pt x="6967719" y="629440"/>
                </a:cubicBezTo>
                <a:cubicBezTo>
                  <a:pt x="6967719" y="642143"/>
                  <a:pt x="6957325" y="652538"/>
                  <a:pt x="6944621" y="652538"/>
                </a:cubicBezTo>
                <a:cubicBezTo>
                  <a:pt x="6931915" y="652538"/>
                  <a:pt x="6921522" y="642143"/>
                  <a:pt x="6921522" y="629440"/>
                </a:cubicBezTo>
                <a:cubicBezTo>
                  <a:pt x="6921522" y="616735"/>
                  <a:pt x="6931915" y="606341"/>
                  <a:pt x="6944621" y="606341"/>
                </a:cubicBezTo>
                <a:close/>
                <a:moveTo>
                  <a:pt x="5861292" y="606341"/>
                </a:moveTo>
                <a:cubicBezTo>
                  <a:pt x="5873996" y="606341"/>
                  <a:pt x="5884392" y="616735"/>
                  <a:pt x="5884392" y="629440"/>
                </a:cubicBezTo>
                <a:cubicBezTo>
                  <a:pt x="5884392" y="642143"/>
                  <a:pt x="5873996" y="652538"/>
                  <a:pt x="5861292" y="652538"/>
                </a:cubicBezTo>
                <a:cubicBezTo>
                  <a:pt x="5848588" y="652538"/>
                  <a:pt x="5838194" y="642143"/>
                  <a:pt x="5838194" y="629440"/>
                </a:cubicBezTo>
                <a:cubicBezTo>
                  <a:pt x="5838194" y="616735"/>
                  <a:pt x="5848588" y="606341"/>
                  <a:pt x="5861292" y="606341"/>
                </a:cubicBezTo>
                <a:close/>
                <a:moveTo>
                  <a:pt x="4639373" y="606341"/>
                </a:moveTo>
                <a:cubicBezTo>
                  <a:pt x="4653231" y="605185"/>
                  <a:pt x="4663624" y="614425"/>
                  <a:pt x="4664780" y="627130"/>
                </a:cubicBezTo>
                <a:cubicBezTo>
                  <a:pt x="4665935" y="639833"/>
                  <a:pt x="4656695" y="651383"/>
                  <a:pt x="4643991" y="652538"/>
                </a:cubicBezTo>
                <a:cubicBezTo>
                  <a:pt x="4631287" y="653693"/>
                  <a:pt x="4619738" y="644453"/>
                  <a:pt x="4618583" y="631749"/>
                </a:cubicBezTo>
                <a:cubicBezTo>
                  <a:pt x="4617427" y="619045"/>
                  <a:pt x="4626667" y="607495"/>
                  <a:pt x="4639373" y="606341"/>
                </a:cubicBezTo>
                <a:close/>
                <a:moveTo>
                  <a:pt x="3551423" y="606341"/>
                </a:moveTo>
                <a:cubicBezTo>
                  <a:pt x="3564127" y="606341"/>
                  <a:pt x="3574522" y="616735"/>
                  <a:pt x="3574522" y="629440"/>
                </a:cubicBezTo>
                <a:cubicBezTo>
                  <a:pt x="3574522" y="642143"/>
                  <a:pt x="3564127" y="652538"/>
                  <a:pt x="3551423" y="652538"/>
                </a:cubicBezTo>
                <a:cubicBezTo>
                  <a:pt x="3538719" y="652538"/>
                  <a:pt x="3528325" y="642143"/>
                  <a:pt x="3528325" y="629440"/>
                </a:cubicBezTo>
                <a:cubicBezTo>
                  <a:pt x="3528325" y="616735"/>
                  <a:pt x="3538719" y="606341"/>
                  <a:pt x="3551423" y="606341"/>
                </a:cubicBezTo>
                <a:close/>
                <a:moveTo>
                  <a:pt x="2331813" y="606341"/>
                </a:moveTo>
                <a:cubicBezTo>
                  <a:pt x="2344517" y="606341"/>
                  <a:pt x="2354912" y="616735"/>
                  <a:pt x="2354912" y="629440"/>
                </a:cubicBezTo>
                <a:cubicBezTo>
                  <a:pt x="2354912" y="642143"/>
                  <a:pt x="2344517" y="652538"/>
                  <a:pt x="2331813" y="652538"/>
                </a:cubicBezTo>
                <a:cubicBezTo>
                  <a:pt x="2319108" y="652538"/>
                  <a:pt x="2308714" y="642143"/>
                  <a:pt x="2308714" y="629440"/>
                </a:cubicBezTo>
                <a:cubicBezTo>
                  <a:pt x="2308714" y="616735"/>
                  <a:pt x="2319108" y="606341"/>
                  <a:pt x="2331813" y="606341"/>
                </a:cubicBezTo>
                <a:close/>
                <a:moveTo>
                  <a:pt x="1248485" y="606341"/>
                </a:moveTo>
                <a:cubicBezTo>
                  <a:pt x="1261188" y="606341"/>
                  <a:pt x="1271583" y="616735"/>
                  <a:pt x="1271583" y="629440"/>
                </a:cubicBezTo>
                <a:cubicBezTo>
                  <a:pt x="1271583" y="642143"/>
                  <a:pt x="1261188" y="652538"/>
                  <a:pt x="1248485" y="652538"/>
                </a:cubicBezTo>
                <a:cubicBezTo>
                  <a:pt x="1235780" y="652538"/>
                  <a:pt x="1225386" y="642143"/>
                  <a:pt x="1225386" y="629440"/>
                </a:cubicBezTo>
                <a:cubicBezTo>
                  <a:pt x="1225386" y="616735"/>
                  <a:pt x="1235780" y="606341"/>
                  <a:pt x="1248485" y="606341"/>
                </a:cubicBezTo>
                <a:close/>
                <a:moveTo>
                  <a:pt x="26564" y="606341"/>
                </a:moveTo>
                <a:cubicBezTo>
                  <a:pt x="40424" y="605185"/>
                  <a:pt x="50817" y="614425"/>
                  <a:pt x="51973" y="627130"/>
                </a:cubicBezTo>
                <a:cubicBezTo>
                  <a:pt x="53127" y="639833"/>
                  <a:pt x="43888" y="651383"/>
                  <a:pt x="31184" y="652538"/>
                </a:cubicBezTo>
                <a:cubicBezTo>
                  <a:pt x="18479" y="653693"/>
                  <a:pt x="6930" y="644453"/>
                  <a:pt x="5776" y="631749"/>
                </a:cubicBezTo>
                <a:cubicBezTo>
                  <a:pt x="4620" y="619045"/>
                  <a:pt x="13860" y="607495"/>
                  <a:pt x="26564" y="606341"/>
                </a:cubicBezTo>
                <a:close/>
                <a:moveTo>
                  <a:pt x="11414819" y="600566"/>
                </a:moveTo>
                <a:cubicBezTo>
                  <a:pt x="11430988" y="600566"/>
                  <a:pt x="11443693" y="613271"/>
                  <a:pt x="11443693" y="629440"/>
                </a:cubicBezTo>
                <a:cubicBezTo>
                  <a:pt x="11443693" y="645609"/>
                  <a:pt x="11430988" y="658312"/>
                  <a:pt x="11414819" y="658312"/>
                </a:cubicBezTo>
                <a:cubicBezTo>
                  <a:pt x="11398650" y="658312"/>
                  <a:pt x="11385946" y="645609"/>
                  <a:pt x="11385946" y="629440"/>
                </a:cubicBezTo>
                <a:cubicBezTo>
                  <a:pt x="11385946" y="613271"/>
                  <a:pt x="11398650" y="600566"/>
                  <a:pt x="11414819" y="600566"/>
                </a:cubicBezTo>
                <a:close/>
                <a:moveTo>
                  <a:pt x="10330336" y="600566"/>
                </a:moveTo>
                <a:cubicBezTo>
                  <a:pt x="10346505" y="600566"/>
                  <a:pt x="10359209" y="613271"/>
                  <a:pt x="10359209" y="629440"/>
                </a:cubicBezTo>
                <a:cubicBezTo>
                  <a:pt x="10359209" y="645609"/>
                  <a:pt x="10346505" y="658312"/>
                  <a:pt x="10330336" y="658312"/>
                </a:cubicBezTo>
                <a:cubicBezTo>
                  <a:pt x="10315322" y="658312"/>
                  <a:pt x="10301462" y="645609"/>
                  <a:pt x="10301462" y="629440"/>
                </a:cubicBezTo>
                <a:cubicBezTo>
                  <a:pt x="10301462" y="613271"/>
                  <a:pt x="10314167" y="600566"/>
                  <a:pt x="10330336" y="600566"/>
                </a:cubicBezTo>
                <a:close/>
                <a:moveTo>
                  <a:pt x="9382135" y="600566"/>
                </a:moveTo>
                <a:cubicBezTo>
                  <a:pt x="9398304" y="600566"/>
                  <a:pt x="9411009" y="613271"/>
                  <a:pt x="9411009" y="629440"/>
                </a:cubicBezTo>
                <a:cubicBezTo>
                  <a:pt x="9411009" y="645609"/>
                  <a:pt x="9398304" y="658312"/>
                  <a:pt x="9382135" y="658312"/>
                </a:cubicBezTo>
                <a:cubicBezTo>
                  <a:pt x="9365966" y="658312"/>
                  <a:pt x="9353262" y="645609"/>
                  <a:pt x="9353262" y="629440"/>
                </a:cubicBezTo>
                <a:cubicBezTo>
                  <a:pt x="9353262" y="613271"/>
                  <a:pt x="9365966" y="600566"/>
                  <a:pt x="9382135" y="600566"/>
                </a:cubicBezTo>
                <a:close/>
                <a:moveTo>
                  <a:pt x="9112431" y="600566"/>
                </a:moveTo>
                <a:cubicBezTo>
                  <a:pt x="9128600" y="600566"/>
                  <a:pt x="9141305" y="613271"/>
                  <a:pt x="9141305" y="629440"/>
                </a:cubicBezTo>
                <a:cubicBezTo>
                  <a:pt x="9141305" y="645609"/>
                  <a:pt x="9128600" y="658312"/>
                  <a:pt x="9112431" y="658312"/>
                </a:cubicBezTo>
                <a:cubicBezTo>
                  <a:pt x="9096262" y="658312"/>
                  <a:pt x="9083558" y="645609"/>
                  <a:pt x="9083558" y="629440"/>
                </a:cubicBezTo>
                <a:cubicBezTo>
                  <a:pt x="9083558" y="613271"/>
                  <a:pt x="9096262" y="600566"/>
                  <a:pt x="9112431" y="600566"/>
                </a:cubicBezTo>
                <a:close/>
                <a:moveTo>
                  <a:pt x="8299358" y="600566"/>
                </a:moveTo>
                <a:cubicBezTo>
                  <a:pt x="8315526" y="600566"/>
                  <a:pt x="8328231" y="613271"/>
                  <a:pt x="8328231" y="629440"/>
                </a:cubicBezTo>
                <a:cubicBezTo>
                  <a:pt x="8328231" y="645609"/>
                  <a:pt x="8315526" y="658312"/>
                  <a:pt x="8299358" y="658312"/>
                </a:cubicBezTo>
                <a:cubicBezTo>
                  <a:pt x="8283189" y="658312"/>
                  <a:pt x="8270485" y="645609"/>
                  <a:pt x="8270485" y="629440"/>
                </a:cubicBezTo>
                <a:cubicBezTo>
                  <a:pt x="8270485" y="613271"/>
                  <a:pt x="8283189" y="600566"/>
                  <a:pt x="8299358" y="600566"/>
                </a:cubicBezTo>
                <a:close/>
                <a:moveTo>
                  <a:pt x="6809492" y="600566"/>
                </a:moveTo>
                <a:cubicBezTo>
                  <a:pt x="6825661" y="600566"/>
                  <a:pt x="6838367" y="613271"/>
                  <a:pt x="6838367" y="629440"/>
                </a:cubicBezTo>
                <a:cubicBezTo>
                  <a:pt x="6838367" y="645609"/>
                  <a:pt x="6825661" y="658312"/>
                  <a:pt x="6809492" y="658312"/>
                </a:cubicBezTo>
                <a:cubicBezTo>
                  <a:pt x="6793324" y="658312"/>
                  <a:pt x="6780620" y="645609"/>
                  <a:pt x="6780620" y="629440"/>
                </a:cubicBezTo>
                <a:cubicBezTo>
                  <a:pt x="6780620" y="613271"/>
                  <a:pt x="6793324" y="600566"/>
                  <a:pt x="6809492" y="600566"/>
                </a:cubicBezTo>
                <a:close/>
                <a:moveTo>
                  <a:pt x="5726165" y="600566"/>
                </a:moveTo>
                <a:cubicBezTo>
                  <a:pt x="5741178" y="600566"/>
                  <a:pt x="5755038" y="613271"/>
                  <a:pt x="5755038" y="629440"/>
                </a:cubicBezTo>
                <a:cubicBezTo>
                  <a:pt x="5755038" y="645609"/>
                  <a:pt x="5742334" y="658312"/>
                  <a:pt x="5726165" y="658312"/>
                </a:cubicBezTo>
                <a:cubicBezTo>
                  <a:pt x="5709996" y="658312"/>
                  <a:pt x="5697292" y="645609"/>
                  <a:pt x="5697292" y="629440"/>
                </a:cubicBezTo>
                <a:cubicBezTo>
                  <a:pt x="5697292" y="613271"/>
                  <a:pt x="5709996" y="600566"/>
                  <a:pt x="5726165" y="600566"/>
                </a:cubicBezTo>
                <a:close/>
                <a:moveTo>
                  <a:pt x="4776809" y="600566"/>
                </a:moveTo>
                <a:cubicBezTo>
                  <a:pt x="4792978" y="600566"/>
                  <a:pt x="4805682" y="613271"/>
                  <a:pt x="4805682" y="629440"/>
                </a:cubicBezTo>
                <a:cubicBezTo>
                  <a:pt x="4805682" y="645609"/>
                  <a:pt x="4792978" y="658312"/>
                  <a:pt x="4776809" y="658312"/>
                </a:cubicBezTo>
                <a:cubicBezTo>
                  <a:pt x="4760640" y="658312"/>
                  <a:pt x="4747936" y="645609"/>
                  <a:pt x="4747936" y="629440"/>
                </a:cubicBezTo>
                <a:cubicBezTo>
                  <a:pt x="4747936" y="613271"/>
                  <a:pt x="4760640" y="600566"/>
                  <a:pt x="4776809" y="600566"/>
                </a:cubicBezTo>
                <a:close/>
                <a:moveTo>
                  <a:pt x="4499625" y="600566"/>
                </a:moveTo>
                <a:cubicBezTo>
                  <a:pt x="4515793" y="600566"/>
                  <a:pt x="4528499" y="613271"/>
                  <a:pt x="4528499" y="629440"/>
                </a:cubicBezTo>
                <a:cubicBezTo>
                  <a:pt x="4528499" y="645609"/>
                  <a:pt x="4515793" y="658312"/>
                  <a:pt x="4499625" y="658312"/>
                </a:cubicBezTo>
                <a:cubicBezTo>
                  <a:pt x="4483456" y="658312"/>
                  <a:pt x="4470752" y="645609"/>
                  <a:pt x="4470752" y="629440"/>
                </a:cubicBezTo>
                <a:cubicBezTo>
                  <a:pt x="4470752" y="613271"/>
                  <a:pt x="4483456" y="600566"/>
                  <a:pt x="4499625" y="600566"/>
                </a:cubicBezTo>
                <a:close/>
                <a:moveTo>
                  <a:pt x="3686551" y="600566"/>
                </a:moveTo>
                <a:cubicBezTo>
                  <a:pt x="3702719" y="600566"/>
                  <a:pt x="3715424" y="613271"/>
                  <a:pt x="3715424" y="629440"/>
                </a:cubicBezTo>
                <a:cubicBezTo>
                  <a:pt x="3715424" y="645609"/>
                  <a:pt x="3702719" y="658312"/>
                  <a:pt x="3686551" y="658312"/>
                </a:cubicBezTo>
                <a:cubicBezTo>
                  <a:pt x="3670381" y="658312"/>
                  <a:pt x="3657677" y="645609"/>
                  <a:pt x="3657677" y="629440"/>
                </a:cubicBezTo>
                <a:cubicBezTo>
                  <a:pt x="3657677" y="613271"/>
                  <a:pt x="3670381" y="600566"/>
                  <a:pt x="3686551" y="600566"/>
                </a:cubicBezTo>
                <a:close/>
                <a:moveTo>
                  <a:pt x="2196685" y="600566"/>
                </a:moveTo>
                <a:cubicBezTo>
                  <a:pt x="2212854" y="600566"/>
                  <a:pt x="2225559" y="613271"/>
                  <a:pt x="2225559" y="629440"/>
                </a:cubicBezTo>
                <a:cubicBezTo>
                  <a:pt x="2225559" y="645609"/>
                  <a:pt x="2212854" y="658312"/>
                  <a:pt x="2196685" y="658312"/>
                </a:cubicBezTo>
                <a:cubicBezTo>
                  <a:pt x="2180516" y="658312"/>
                  <a:pt x="2167813" y="645609"/>
                  <a:pt x="2167813" y="629440"/>
                </a:cubicBezTo>
                <a:cubicBezTo>
                  <a:pt x="2167813" y="613271"/>
                  <a:pt x="2180516" y="600566"/>
                  <a:pt x="2196685" y="600566"/>
                </a:cubicBezTo>
                <a:close/>
                <a:moveTo>
                  <a:pt x="1112202" y="600566"/>
                </a:moveTo>
                <a:cubicBezTo>
                  <a:pt x="1128371" y="600566"/>
                  <a:pt x="1141075" y="613271"/>
                  <a:pt x="1141075" y="629440"/>
                </a:cubicBezTo>
                <a:cubicBezTo>
                  <a:pt x="1141075" y="645609"/>
                  <a:pt x="1128371" y="658312"/>
                  <a:pt x="1112202" y="658312"/>
                </a:cubicBezTo>
                <a:cubicBezTo>
                  <a:pt x="1097188" y="658312"/>
                  <a:pt x="1083328" y="645609"/>
                  <a:pt x="1083328" y="629440"/>
                </a:cubicBezTo>
                <a:cubicBezTo>
                  <a:pt x="1083328" y="613271"/>
                  <a:pt x="1096033" y="600566"/>
                  <a:pt x="1112202" y="600566"/>
                </a:cubicBezTo>
                <a:close/>
                <a:moveTo>
                  <a:pt x="164001" y="600566"/>
                </a:moveTo>
                <a:cubicBezTo>
                  <a:pt x="180170" y="600566"/>
                  <a:pt x="192875" y="613271"/>
                  <a:pt x="192875" y="629440"/>
                </a:cubicBezTo>
                <a:cubicBezTo>
                  <a:pt x="192875" y="645609"/>
                  <a:pt x="180170" y="658312"/>
                  <a:pt x="164001" y="658312"/>
                </a:cubicBezTo>
                <a:cubicBezTo>
                  <a:pt x="147832" y="658312"/>
                  <a:pt x="135128" y="645609"/>
                  <a:pt x="135128" y="629440"/>
                </a:cubicBezTo>
                <a:cubicBezTo>
                  <a:pt x="135128" y="613271"/>
                  <a:pt x="147832" y="600566"/>
                  <a:pt x="164001" y="600566"/>
                </a:cubicBezTo>
                <a:close/>
                <a:moveTo>
                  <a:pt x="11279692" y="594792"/>
                </a:moveTo>
                <a:cubicBezTo>
                  <a:pt x="11298171" y="594792"/>
                  <a:pt x="11314340" y="610961"/>
                  <a:pt x="11314340" y="629440"/>
                </a:cubicBezTo>
                <a:cubicBezTo>
                  <a:pt x="11314340" y="647919"/>
                  <a:pt x="11299326" y="664088"/>
                  <a:pt x="11279692" y="664088"/>
                </a:cubicBezTo>
                <a:cubicBezTo>
                  <a:pt x="11261213" y="664088"/>
                  <a:pt x="11245044" y="647919"/>
                  <a:pt x="11245044" y="629440"/>
                </a:cubicBezTo>
                <a:cubicBezTo>
                  <a:pt x="11245044" y="610961"/>
                  <a:pt x="11260058" y="594792"/>
                  <a:pt x="11279692" y="594792"/>
                </a:cubicBezTo>
                <a:close/>
                <a:moveTo>
                  <a:pt x="10195208" y="594792"/>
                </a:moveTo>
                <a:cubicBezTo>
                  <a:pt x="10214843" y="594792"/>
                  <a:pt x="10229856" y="610961"/>
                  <a:pt x="10229856" y="629440"/>
                </a:cubicBezTo>
                <a:cubicBezTo>
                  <a:pt x="10229856" y="647919"/>
                  <a:pt x="10213687" y="664088"/>
                  <a:pt x="10195208" y="664088"/>
                </a:cubicBezTo>
                <a:cubicBezTo>
                  <a:pt x="10176729" y="664088"/>
                  <a:pt x="10160560" y="647919"/>
                  <a:pt x="10160560" y="629440"/>
                </a:cubicBezTo>
                <a:cubicBezTo>
                  <a:pt x="10160560" y="610961"/>
                  <a:pt x="10175575" y="594792"/>
                  <a:pt x="10195208" y="594792"/>
                </a:cubicBezTo>
                <a:close/>
                <a:moveTo>
                  <a:pt x="9518417" y="594792"/>
                </a:moveTo>
                <a:cubicBezTo>
                  <a:pt x="9536896" y="594792"/>
                  <a:pt x="9553065" y="610961"/>
                  <a:pt x="9553065" y="629440"/>
                </a:cubicBezTo>
                <a:cubicBezTo>
                  <a:pt x="9553065" y="647919"/>
                  <a:pt x="9536896" y="664088"/>
                  <a:pt x="9518417" y="664088"/>
                </a:cubicBezTo>
                <a:cubicBezTo>
                  <a:pt x="9499938" y="664088"/>
                  <a:pt x="9483769" y="647919"/>
                  <a:pt x="9483769" y="629440"/>
                </a:cubicBezTo>
                <a:cubicBezTo>
                  <a:pt x="9483769" y="610961"/>
                  <a:pt x="9498784" y="594792"/>
                  <a:pt x="9518417" y="594792"/>
                </a:cubicBezTo>
                <a:close/>
                <a:moveTo>
                  <a:pt x="8977304" y="594792"/>
                </a:moveTo>
                <a:cubicBezTo>
                  <a:pt x="8995783" y="594792"/>
                  <a:pt x="9011952" y="610961"/>
                  <a:pt x="9011952" y="629440"/>
                </a:cubicBezTo>
                <a:cubicBezTo>
                  <a:pt x="9011952" y="647919"/>
                  <a:pt x="8996938" y="664088"/>
                  <a:pt x="8977304" y="664088"/>
                </a:cubicBezTo>
                <a:cubicBezTo>
                  <a:pt x="8958825" y="664088"/>
                  <a:pt x="8942656" y="647919"/>
                  <a:pt x="8942656" y="629440"/>
                </a:cubicBezTo>
                <a:cubicBezTo>
                  <a:pt x="8942656" y="610961"/>
                  <a:pt x="8957670" y="594792"/>
                  <a:pt x="8977304" y="594792"/>
                </a:cubicBezTo>
                <a:close/>
                <a:moveTo>
                  <a:pt x="8434485" y="594792"/>
                </a:moveTo>
                <a:cubicBezTo>
                  <a:pt x="8454118" y="594792"/>
                  <a:pt x="8469133" y="610961"/>
                  <a:pt x="8469133" y="629440"/>
                </a:cubicBezTo>
                <a:cubicBezTo>
                  <a:pt x="8469133" y="647919"/>
                  <a:pt x="8454118" y="664088"/>
                  <a:pt x="8434485" y="664088"/>
                </a:cubicBezTo>
                <a:cubicBezTo>
                  <a:pt x="8416006" y="664088"/>
                  <a:pt x="8399837" y="647919"/>
                  <a:pt x="8399837" y="629440"/>
                </a:cubicBezTo>
                <a:cubicBezTo>
                  <a:pt x="8399837" y="610961"/>
                  <a:pt x="8414851" y="594792"/>
                  <a:pt x="8434485" y="594792"/>
                </a:cubicBezTo>
                <a:close/>
                <a:moveTo>
                  <a:pt x="6674366" y="594792"/>
                </a:moveTo>
                <a:cubicBezTo>
                  <a:pt x="6692845" y="594792"/>
                  <a:pt x="6709014" y="610961"/>
                  <a:pt x="6709014" y="629440"/>
                </a:cubicBezTo>
                <a:cubicBezTo>
                  <a:pt x="6709014" y="647919"/>
                  <a:pt x="6692845" y="664088"/>
                  <a:pt x="6674366" y="664088"/>
                </a:cubicBezTo>
                <a:cubicBezTo>
                  <a:pt x="6655888" y="664088"/>
                  <a:pt x="6639717" y="647919"/>
                  <a:pt x="6639717" y="629440"/>
                </a:cubicBezTo>
                <a:cubicBezTo>
                  <a:pt x="6639717" y="610961"/>
                  <a:pt x="6654732" y="594792"/>
                  <a:pt x="6674366" y="594792"/>
                </a:cubicBezTo>
                <a:close/>
                <a:moveTo>
                  <a:pt x="5589882" y="594792"/>
                </a:moveTo>
                <a:cubicBezTo>
                  <a:pt x="5609516" y="594792"/>
                  <a:pt x="5624531" y="610961"/>
                  <a:pt x="5624531" y="629440"/>
                </a:cubicBezTo>
                <a:cubicBezTo>
                  <a:pt x="5624531" y="647919"/>
                  <a:pt x="5609516" y="664088"/>
                  <a:pt x="5589882" y="664088"/>
                </a:cubicBezTo>
                <a:cubicBezTo>
                  <a:pt x="5571403" y="664088"/>
                  <a:pt x="5555234" y="647919"/>
                  <a:pt x="5555234" y="629440"/>
                </a:cubicBezTo>
                <a:cubicBezTo>
                  <a:pt x="5555234" y="610961"/>
                  <a:pt x="5570250" y="594792"/>
                  <a:pt x="5589882" y="594792"/>
                </a:cubicBezTo>
                <a:close/>
                <a:moveTo>
                  <a:pt x="4913091" y="594792"/>
                </a:moveTo>
                <a:cubicBezTo>
                  <a:pt x="4931569" y="594792"/>
                  <a:pt x="4947739" y="610961"/>
                  <a:pt x="4947739" y="629440"/>
                </a:cubicBezTo>
                <a:cubicBezTo>
                  <a:pt x="4947739" y="647919"/>
                  <a:pt x="4932726" y="664088"/>
                  <a:pt x="4913091" y="664088"/>
                </a:cubicBezTo>
                <a:cubicBezTo>
                  <a:pt x="4894612" y="664088"/>
                  <a:pt x="4878443" y="647919"/>
                  <a:pt x="4878443" y="629440"/>
                </a:cubicBezTo>
                <a:cubicBezTo>
                  <a:pt x="4878443" y="610961"/>
                  <a:pt x="4893458" y="594792"/>
                  <a:pt x="4913091" y="594792"/>
                </a:cubicBezTo>
                <a:close/>
                <a:moveTo>
                  <a:pt x="4364498" y="594792"/>
                </a:moveTo>
                <a:cubicBezTo>
                  <a:pt x="4382977" y="594792"/>
                  <a:pt x="4399146" y="610961"/>
                  <a:pt x="4399146" y="629440"/>
                </a:cubicBezTo>
                <a:cubicBezTo>
                  <a:pt x="4399146" y="647919"/>
                  <a:pt x="4384131" y="664088"/>
                  <a:pt x="4364498" y="664088"/>
                </a:cubicBezTo>
                <a:cubicBezTo>
                  <a:pt x="4346018" y="664088"/>
                  <a:pt x="4329850" y="647919"/>
                  <a:pt x="4329850" y="629440"/>
                </a:cubicBezTo>
                <a:cubicBezTo>
                  <a:pt x="4329850" y="610961"/>
                  <a:pt x="4344863" y="594792"/>
                  <a:pt x="4364498" y="594792"/>
                </a:cubicBezTo>
                <a:close/>
                <a:moveTo>
                  <a:pt x="3821678" y="594792"/>
                </a:moveTo>
                <a:cubicBezTo>
                  <a:pt x="3841311" y="594792"/>
                  <a:pt x="3856326" y="610961"/>
                  <a:pt x="3856326" y="629440"/>
                </a:cubicBezTo>
                <a:cubicBezTo>
                  <a:pt x="3856326" y="647919"/>
                  <a:pt x="3841311" y="664088"/>
                  <a:pt x="3821678" y="664088"/>
                </a:cubicBezTo>
                <a:cubicBezTo>
                  <a:pt x="3803199" y="664088"/>
                  <a:pt x="3787030" y="647919"/>
                  <a:pt x="3787030" y="629440"/>
                </a:cubicBezTo>
                <a:cubicBezTo>
                  <a:pt x="3787030" y="610961"/>
                  <a:pt x="3802045" y="594792"/>
                  <a:pt x="3821678" y="594792"/>
                </a:cubicBezTo>
                <a:close/>
                <a:moveTo>
                  <a:pt x="2061558" y="594792"/>
                </a:moveTo>
                <a:cubicBezTo>
                  <a:pt x="2080037" y="594792"/>
                  <a:pt x="2096206" y="610961"/>
                  <a:pt x="2096206" y="629440"/>
                </a:cubicBezTo>
                <a:cubicBezTo>
                  <a:pt x="2096206" y="647919"/>
                  <a:pt x="2081192" y="664088"/>
                  <a:pt x="2061558" y="664088"/>
                </a:cubicBezTo>
                <a:cubicBezTo>
                  <a:pt x="2043080" y="664088"/>
                  <a:pt x="2026910" y="647919"/>
                  <a:pt x="2026910" y="629440"/>
                </a:cubicBezTo>
                <a:cubicBezTo>
                  <a:pt x="2026910" y="610961"/>
                  <a:pt x="2041924" y="594792"/>
                  <a:pt x="2061558" y="594792"/>
                </a:cubicBezTo>
                <a:close/>
                <a:moveTo>
                  <a:pt x="977075" y="594792"/>
                </a:moveTo>
                <a:cubicBezTo>
                  <a:pt x="996709" y="594792"/>
                  <a:pt x="1011723" y="610961"/>
                  <a:pt x="1011723" y="629440"/>
                </a:cubicBezTo>
                <a:cubicBezTo>
                  <a:pt x="1011723" y="647919"/>
                  <a:pt x="995554" y="664088"/>
                  <a:pt x="977075" y="664088"/>
                </a:cubicBezTo>
                <a:cubicBezTo>
                  <a:pt x="958596" y="664088"/>
                  <a:pt x="942427" y="647919"/>
                  <a:pt x="942427" y="629440"/>
                </a:cubicBezTo>
                <a:cubicBezTo>
                  <a:pt x="942427" y="610961"/>
                  <a:pt x="957441" y="594792"/>
                  <a:pt x="977075" y="594792"/>
                </a:cubicBezTo>
                <a:close/>
                <a:moveTo>
                  <a:pt x="300283" y="594792"/>
                </a:moveTo>
                <a:cubicBezTo>
                  <a:pt x="318762" y="594792"/>
                  <a:pt x="334931" y="610961"/>
                  <a:pt x="334931" y="629440"/>
                </a:cubicBezTo>
                <a:cubicBezTo>
                  <a:pt x="334931" y="647919"/>
                  <a:pt x="318762" y="664088"/>
                  <a:pt x="300283" y="664088"/>
                </a:cubicBezTo>
                <a:cubicBezTo>
                  <a:pt x="281804" y="664088"/>
                  <a:pt x="265635" y="647919"/>
                  <a:pt x="265635" y="629440"/>
                </a:cubicBezTo>
                <a:cubicBezTo>
                  <a:pt x="265635" y="610961"/>
                  <a:pt x="280650" y="594792"/>
                  <a:pt x="300283" y="594792"/>
                </a:cubicBezTo>
                <a:close/>
                <a:moveTo>
                  <a:pt x="11143410" y="589016"/>
                </a:moveTo>
                <a:cubicBezTo>
                  <a:pt x="11166509" y="589016"/>
                  <a:pt x="11183832" y="607495"/>
                  <a:pt x="11183832" y="629440"/>
                </a:cubicBezTo>
                <a:cubicBezTo>
                  <a:pt x="11183832" y="651383"/>
                  <a:pt x="11165353" y="669862"/>
                  <a:pt x="11143410" y="669862"/>
                </a:cubicBezTo>
                <a:cubicBezTo>
                  <a:pt x="11121466" y="669862"/>
                  <a:pt x="11102987" y="651383"/>
                  <a:pt x="11102987" y="629440"/>
                </a:cubicBezTo>
                <a:cubicBezTo>
                  <a:pt x="11102987" y="607495"/>
                  <a:pt x="11121466" y="589016"/>
                  <a:pt x="11143410" y="589016"/>
                </a:cubicBezTo>
                <a:close/>
                <a:moveTo>
                  <a:pt x="10873155" y="589016"/>
                </a:moveTo>
                <a:cubicBezTo>
                  <a:pt x="10895098" y="589016"/>
                  <a:pt x="10913577" y="607495"/>
                  <a:pt x="10913577" y="629440"/>
                </a:cubicBezTo>
                <a:cubicBezTo>
                  <a:pt x="10913577" y="651383"/>
                  <a:pt x="10895098" y="669862"/>
                  <a:pt x="10873155" y="669862"/>
                </a:cubicBezTo>
                <a:cubicBezTo>
                  <a:pt x="10851211" y="669862"/>
                  <a:pt x="10832732" y="651383"/>
                  <a:pt x="10832732" y="629440"/>
                </a:cubicBezTo>
                <a:cubicBezTo>
                  <a:pt x="10832732" y="607495"/>
                  <a:pt x="10851211" y="589016"/>
                  <a:pt x="10873155" y="589016"/>
                </a:cubicBezTo>
                <a:close/>
                <a:moveTo>
                  <a:pt x="10060082" y="589016"/>
                </a:moveTo>
                <a:cubicBezTo>
                  <a:pt x="10082025" y="589016"/>
                  <a:pt x="10100504" y="607495"/>
                  <a:pt x="10100504" y="629440"/>
                </a:cubicBezTo>
                <a:cubicBezTo>
                  <a:pt x="10100504" y="651383"/>
                  <a:pt x="10082025" y="669862"/>
                  <a:pt x="10060082" y="669862"/>
                </a:cubicBezTo>
                <a:cubicBezTo>
                  <a:pt x="10038137" y="669862"/>
                  <a:pt x="10019658" y="651383"/>
                  <a:pt x="10019658" y="629440"/>
                </a:cubicBezTo>
                <a:cubicBezTo>
                  <a:pt x="10019658" y="607495"/>
                  <a:pt x="10038137" y="589016"/>
                  <a:pt x="10060082" y="589016"/>
                </a:cubicBezTo>
                <a:close/>
                <a:moveTo>
                  <a:pt x="9653545" y="589016"/>
                </a:moveTo>
                <a:cubicBezTo>
                  <a:pt x="9675488" y="589016"/>
                  <a:pt x="9693967" y="607495"/>
                  <a:pt x="9693967" y="629440"/>
                </a:cubicBezTo>
                <a:cubicBezTo>
                  <a:pt x="9693967" y="651383"/>
                  <a:pt x="9675488" y="669862"/>
                  <a:pt x="9653545" y="669862"/>
                </a:cubicBezTo>
                <a:cubicBezTo>
                  <a:pt x="9631600" y="669862"/>
                  <a:pt x="9613122" y="651383"/>
                  <a:pt x="9613122" y="629440"/>
                </a:cubicBezTo>
                <a:cubicBezTo>
                  <a:pt x="9613122" y="607495"/>
                  <a:pt x="9631600" y="589016"/>
                  <a:pt x="9653545" y="589016"/>
                </a:cubicBezTo>
                <a:close/>
                <a:moveTo>
                  <a:pt x="8841022" y="589016"/>
                </a:moveTo>
                <a:cubicBezTo>
                  <a:pt x="8864121" y="589016"/>
                  <a:pt x="8881444" y="607495"/>
                  <a:pt x="8881444" y="629440"/>
                </a:cubicBezTo>
                <a:cubicBezTo>
                  <a:pt x="8881444" y="651383"/>
                  <a:pt x="8862965" y="669862"/>
                  <a:pt x="8841022" y="669862"/>
                </a:cubicBezTo>
                <a:cubicBezTo>
                  <a:pt x="8819078" y="669862"/>
                  <a:pt x="8800599" y="651383"/>
                  <a:pt x="8800599" y="629440"/>
                </a:cubicBezTo>
                <a:cubicBezTo>
                  <a:pt x="8800599" y="607495"/>
                  <a:pt x="8819078" y="589016"/>
                  <a:pt x="8841022" y="589016"/>
                </a:cubicBezTo>
                <a:close/>
                <a:moveTo>
                  <a:pt x="8570767" y="589016"/>
                </a:moveTo>
                <a:cubicBezTo>
                  <a:pt x="8592711" y="589016"/>
                  <a:pt x="8611190" y="607495"/>
                  <a:pt x="8611190" y="629440"/>
                </a:cubicBezTo>
                <a:cubicBezTo>
                  <a:pt x="8611190" y="651383"/>
                  <a:pt x="8592711" y="669862"/>
                  <a:pt x="8570767" y="669862"/>
                </a:cubicBezTo>
                <a:cubicBezTo>
                  <a:pt x="8548823" y="669862"/>
                  <a:pt x="8530344" y="651383"/>
                  <a:pt x="8530344" y="629440"/>
                </a:cubicBezTo>
                <a:cubicBezTo>
                  <a:pt x="8530344" y="607495"/>
                  <a:pt x="8548823" y="589016"/>
                  <a:pt x="8570767" y="589016"/>
                </a:cubicBezTo>
                <a:close/>
                <a:moveTo>
                  <a:pt x="6538083" y="589016"/>
                </a:moveTo>
                <a:cubicBezTo>
                  <a:pt x="6561183" y="589016"/>
                  <a:pt x="6578507" y="607495"/>
                  <a:pt x="6578507" y="629440"/>
                </a:cubicBezTo>
                <a:cubicBezTo>
                  <a:pt x="6578507" y="651383"/>
                  <a:pt x="6560028" y="669862"/>
                  <a:pt x="6538083" y="669862"/>
                </a:cubicBezTo>
                <a:cubicBezTo>
                  <a:pt x="6516139" y="669862"/>
                  <a:pt x="6497661" y="651383"/>
                  <a:pt x="6497661" y="629440"/>
                </a:cubicBezTo>
                <a:cubicBezTo>
                  <a:pt x="6497661" y="607495"/>
                  <a:pt x="6516139" y="589016"/>
                  <a:pt x="6538083" y="589016"/>
                </a:cubicBezTo>
                <a:close/>
                <a:moveTo>
                  <a:pt x="6267830" y="589016"/>
                </a:moveTo>
                <a:cubicBezTo>
                  <a:pt x="6289772" y="589016"/>
                  <a:pt x="6308251" y="607495"/>
                  <a:pt x="6308251" y="629440"/>
                </a:cubicBezTo>
                <a:cubicBezTo>
                  <a:pt x="6308251" y="651383"/>
                  <a:pt x="6289772" y="669862"/>
                  <a:pt x="6267830" y="669862"/>
                </a:cubicBezTo>
                <a:cubicBezTo>
                  <a:pt x="6245885" y="669862"/>
                  <a:pt x="6227406" y="651383"/>
                  <a:pt x="6227406" y="629440"/>
                </a:cubicBezTo>
                <a:cubicBezTo>
                  <a:pt x="6227406" y="607495"/>
                  <a:pt x="6245885" y="589016"/>
                  <a:pt x="6267830" y="589016"/>
                </a:cubicBezTo>
                <a:close/>
                <a:moveTo>
                  <a:pt x="5454756" y="589016"/>
                </a:moveTo>
                <a:cubicBezTo>
                  <a:pt x="5476698" y="589016"/>
                  <a:pt x="5495178" y="607495"/>
                  <a:pt x="5495178" y="629440"/>
                </a:cubicBezTo>
                <a:cubicBezTo>
                  <a:pt x="5495178" y="651383"/>
                  <a:pt x="5476698" y="669862"/>
                  <a:pt x="5454756" y="669862"/>
                </a:cubicBezTo>
                <a:cubicBezTo>
                  <a:pt x="5432812" y="669862"/>
                  <a:pt x="5414332" y="651383"/>
                  <a:pt x="5414332" y="629440"/>
                </a:cubicBezTo>
                <a:cubicBezTo>
                  <a:pt x="5414332" y="607495"/>
                  <a:pt x="5432812" y="589016"/>
                  <a:pt x="5454756" y="589016"/>
                </a:cubicBezTo>
                <a:close/>
                <a:moveTo>
                  <a:pt x="5048218" y="589016"/>
                </a:moveTo>
                <a:cubicBezTo>
                  <a:pt x="5070162" y="589016"/>
                  <a:pt x="5088641" y="607495"/>
                  <a:pt x="5088641" y="629440"/>
                </a:cubicBezTo>
                <a:cubicBezTo>
                  <a:pt x="5088641" y="651383"/>
                  <a:pt x="5070162" y="669862"/>
                  <a:pt x="5048218" y="669862"/>
                </a:cubicBezTo>
                <a:cubicBezTo>
                  <a:pt x="5026274" y="669862"/>
                  <a:pt x="5007796" y="651383"/>
                  <a:pt x="5007796" y="629440"/>
                </a:cubicBezTo>
                <a:cubicBezTo>
                  <a:pt x="5007796" y="607495"/>
                  <a:pt x="5026274" y="589016"/>
                  <a:pt x="5048218" y="589016"/>
                </a:cubicBezTo>
                <a:close/>
                <a:moveTo>
                  <a:pt x="4228216" y="589016"/>
                </a:moveTo>
                <a:cubicBezTo>
                  <a:pt x="4251315" y="589016"/>
                  <a:pt x="4268637" y="607495"/>
                  <a:pt x="4268637" y="629440"/>
                </a:cubicBezTo>
                <a:cubicBezTo>
                  <a:pt x="4268637" y="651383"/>
                  <a:pt x="4250159" y="669862"/>
                  <a:pt x="4228216" y="669862"/>
                </a:cubicBezTo>
                <a:cubicBezTo>
                  <a:pt x="4206271" y="669862"/>
                  <a:pt x="4187792" y="651383"/>
                  <a:pt x="4187792" y="629440"/>
                </a:cubicBezTo>
                <a:cubicBezTo>
                  <a:pt x="4187792" y="607495"/>
                  <a:pt x="4206271" y="589016"/>
                  <a:pt x="4228216" y="589016"/>
                </a:cubicBezTo>
                <a:close/>
                <a:moveTo>
                  <a:pt x="3957960" y="589016"/>
                </a:moveTo>
                <a:cubicBezTo>
                  <a:pt x="3979904" y="589016"/>
                  <a:pt x="3998382" y="607495"/>
                  <a:pt x="3998382" y="629440"/>
                </a:cubicBezTo>
                <a:cubicBezTo>
                  <a:pt x="3998382" y="651383"/>
                  <a:pt x="3979904" y="669862"/>
                  <a:pt x="3957960" y="669862"/>
                </a:cubicBezTo>
                <a:cubicBezTo>
                  <a:pt x="3936016" y="669862"/>
                  <a:pt x="3917537" y="651383"/>
                  <a:pt x="3917537" y="629440"/>
                </a:cubicBezTo>
                <a:cubicBezTo>
                  <a:pt x="3917537" y="607495"/>
                  <a:pt x="3936016" y="589016"/>
                  <a:pt x="3957960" y="589016"/>
                </a:cubicBezTo>
                <a:close/>
                <a:moveTo>
                  <a:pt x="1925276" y="589016"/>
                </a:moveTo>
                <a:cubicBezTo>
                  <a:pt x="1948375" y="589016"/>
                  <a:pt x="1965698" y="607495"/>
                  <a:pt x="1965698" y="629440"/>
                </a:cubicBezTo>
                <a:cubicBezTo>
                  <a:pt x="1965698" y="651383"/>
                  <a:pt x="1947219" y="669862"/>
                  <a:pt x="1925276" y="669862"/>
                </a:cubicBezTo>
                <a:cubicBezTo>
                  <a:pt x="1903332" y="669862"/>
                  <a:pt x="1884853" y="651383"/>
                  <a:pt x="1884853" y="629440"/>
                </a:cubicBezTo>
                <a:cubicBezTo>
                  <a:pt x="1884853" y="607495"/>
                  <a:pt x="1903332" y="589016"/>
                  <a:pt x="1925276" y="589016"/>
                </a:cubicBezTo>
                <a:close/>
                <a:moveTo>
                  <a:pt x="1655022" y="589016"/>
                </a:moveTo>
                <a:cubicBezTo>
                  <a:pt x="1676965" y="589016"/>
                  <a:pt x="1695444" y="607495"/>
                  <a:pt x="1695444" y="629440"/>
                </a:cubicBezTo>
                <a:cubicBezTo>
                  <a:pt x="1695444" y="651383"/>
                  <a:pt x="1676965" y="669862"/>
                  <a:pt x="1655022" y="669862"/>
                </a:cubicBezTo>
                <a:cubicBezTo>
                  <a:pt x="1633077" y="669862"/>
                  <a:pt x="1614598" y="651383"/>
                  <a:pt x="1614598" y="629440"/>
                </a:cubicBezTo>
                <a:cubicBezTo>
                  <a:pt x="1614598" y="607495"/>
                  <a:pt x="1633077" y="589016"/>
                  <a:pt x="1655022" y="589016"/>
                </a:cubicBezTo>
                <a:close/>
                <a:moveTo>
                  <a:pt x="841948" y="589016"/>
                </a:moveTo>
                <a:cubicBezTo>
                  <a:pt x="863891" y="589016"/>
                  <a:pt x="882370" y="607495"/>
                  <a:pt x="882370" y="629440"/>
                </a:cubicBezTo>
                <a:cubicBezTo>
                  <a:pt x="882370" y="651383"/>
                  <a:pt x="863891" y="669862"/>
                  <a:pt x="841948" y="669862"/>
                </a:cubicBezTo>
                <a:cubicBezTo>
                  <a:pt x="820004" y="669862"/>
                  <a:pt x="801525" y="651383"/>
                  <a:pt x="801525" y="629440"/>
                </a:cubicBezTo>
                <a:cubicBezTo>
                  <a:pt x="801525" y="607495"/>
                  <a:pt x="820004" y="589016"/>
                  <a:pt x="841948" y="589016"/>
                </a:cubicBezTo>
                <a:close/>
                <a:moveTo>
                  <a:pt x="435411" y="589016"/>
                </a:moveTo>
                <a:cubicBezTo>
                  <a:pt x="457354" y="589016"/>
                  <a:pt x="475833" y="607495"/>
                  <a:pt x="475833" y="629440"/>
                </a:cubicBezTo>
                <a:cubicBezTo>
                  <a:pt x="475833" y="651383"/>
                  <a:pt x="457354" y="669862"/>
                  <a:pt x="435411" y="669862"/>
                </a:cubicBezTo>
                <a:cubicBezTo>
                  <a:pt x="413467" y="669862"/>
                  <a:pt x="394988" y="651383"/>
                  <a:pt x="394988" y="629440"/>
                </a:cubicBezTo>
                <a:cubicBezTo>
                  <a:pt x="394988" y="607495"/>
                  <a:pt x="413467" y="589016"/>
                  <a:pt x="435411" y="589016"/>
                </a:cubicBezTo>
                <a:close/>
                <a:moveTo>
                  <a:pt x="11008282" y="577467"/>
                </a:moveTo>
                <a:cubicBezTo>
                  <a:pt x="11036000" y="577467"/>
                  <a:pt x="11059099" y="600566"/>
                  <a:pt x="11059099" y="628284"/>
                </a:cubicBezTo>
                <a:cubicBezTo>
                  <a:pt x="11059099" y="656002"/>
                  <a:pt x="11037156" y="679101"/>
                  <a:pt x="11008282" y="679101"/>
                </a:cubicBezTo>
                <a:cubicBezTo>
                  <a:pt x="10980564" y="679101"/>
                  <a:pt x="10957465" y="656002"/>
                  <a:pt x="10957465" y="628284"/>
                </a:cubicBezTo>
                <a:cubicBezTo>
                  <a:pt x="10957465" y="600566"/>
                  <a:pt x="10979409" y="577467"/>
                  <a:pt x="11008282" y="577467"/>
                </a:cubicBezTo>
                <a:close/>
                <a:moveTo>
                  <a:pt x="9924954" y="577467"/>
                </a:moveTo>
                <a:cubicBezTo>
                  <a:pt x="9952672" y="577467"/>
                  <a:pt x="9975771" y="600566"/>
                  <a:pt x="9975771" y="628284"/>
                </a:cubicBezTo>
                <a:cubicBezTo>
                  <a:pt x="9975771" y="656002"/>
                  <a:pt x="9953828" y="679101"/>
                  <a:pt x="9924954" y="679101"/>
                </a:cubicBezTo>
                <a:cubicBezTo>
                  <a:pt x="9897235" y="679101"/>
                  <a:pt x="9874137" y="656002"/>
                  <a:pt x="9874137" y="628284"/>
                </a:cubicBezTo>
                <a:cubicBezTo>
                  <a:pt x="9874137" y="600566"/>
                  <a:pt x="9896081" y="577467"/>
                  <a:pt x="9924954" y="577467"/>
                </a:cubicBezTo>
                <a:close/>
                <a:moveTo>
                  <a:pt x="9788672" y="577467"/>
                </a:moveTo>
                <a:cubicBezTo>
                  <a:pt x="9817545" y="577467"/>
                  <a:pt x="9839489" y="601721"/>
                  <a:pt x="9839489" y="629440"/>
                </a:cubicBezTo>
                <a:cubicBezTo>
                  <a:pt x="9839489" y="657158"/>
                  <a:pt x="9816390" y="680257"/>
                  <a:pt x="9788672" y="680257"/>
                </a:cubicBezTo>
                <a:cubicBezTo>
                  <a:pt x="9760953" y="680257"/>
                  <a:pt x="9737854" y="658312"/>
                  <a:pt x="9737854" y="629440"/>
                </a:cubicBezTo>
                <a:cubicBezTo>
                  <a:pt x="9737854" y="600566"/>
                  <a:pt x="9760953" y="577467"/>
                  <a:pt x="9788672" y="577467"/>
                </a:cubicBezTo>
                <a:close/>
                <a:moveTo>
                  <a:pt x="8705894" y="577467"/>
                </a:moveTo>
                <a:cubicBezTo>
                  <a:pt x="8733613" y="577467"/>
                  <a:pt x="8756711" y="600566"/>
                  <a:pt x="8756711" y="628284"/>
                </a:cubicBezTo>
                <a:cubicBezTo>
                  <a:pt x="8756711" y="656002"/>
                  <a:pt x="8733613" y="679101"/>
                  <a:pt x="8705894" y="679101"/>
                </a:cubicBezTo>
                <a:cubicBezTo>
                  <a:pt x="8678176" y="679101"/>
                  <a:pt x="8655077" y="656002"/>
                  <a:pt x="8655077" y="628284"/>
                </a:cubicBezTo>
                <a:cubicBezTo>
                  <a:pt x="8655077" y="600566"/>
                  <a:pt x="8677021" y="577467"/>
                  <a:pt x="8705894" y="577467"/>
                </a:cubicBezTo>
                <a:close/>
                <a:moveTo>
                  <a:pt x="6402956" y="577467"/>
                </a:moveTo>
                <a:cubicBezTo>
                  <a:pt x="6431830" y="577467"/>
                  <a:pt x="6453773" y="600566"/>
                  <a:pt x="6453773" y="628284"/>
                </a:cubicBezTo>
                <a:cubicBezTo>
                  <a:pt x="6453773" y="656002"/>
                  <a:pt x="6431830" y="679101"/>
                  <a:pt x="6402956" y="679101"/>
                </a:cubicBezTo>
                <a:cubicBezTo>
                  <a:pt x="6375237" y="679101"/>
                  <a:pt x="6352139" y="656002"/>
                  <a:pt x="6352139" y="628284"/>
                </a:cubicBezTo>
                <a:cubicBezTo>
                  <a:pt x="6352139" y="600566"/>
                  <a:pt x="6374084" y="577467"/>
                  <a:pt x="6402956" y="577467"/>
                </a:cubicBezTo>
                <a:close/>
                <a:moveTo>
                  <a:pt x="5319627" y="577467"/>
                </a:moveTo>
                <a:cubicBezTo>
                  <a:pt x="5347347" y="577467"/>
                  <a:pt x="5370444" y="600566"/>
                  <a:pt x="5370444" y="628284"/>
                </a:cubicBezTo>
                <a:cubicBezTo>
                  <a:pt x="5370444" y="656002"/>
                  <a:pt x="5347347" y="679101"/>
                  <a:pt x="5319627" y="679101"/>
                </a:cubicBezTo>
                <a:cubicBezTo>
                  <a:pt x="5291910" y="679101"/>
                  <a:pt x="5268810" y="656002"/>
                  <a:pt x="5268810" y="628284"/>
                </a:cubicBezTo>
                <a:cubicBezTo>
                  <a:pt x="5268810" y="600566"/>
                  <a:pt x="5290756" y="577467"/>
                  <a:pt x="5319627" y="577467"/>
                </a:cubicBezTo>
                <a:close/>
                <a:moveTo>
                  <a:pt x="5183345" y="577467"/>
                </a:moveTo>
                <a:cubicBezTo>
                  <a:pt x="5212220" y="577467"/>
                  <a:pt x="5234162" y="600566"/>
                  <a:pt x="5234162" y="628284"/>
                </a:cubicBezTo>
                <a:cubicBezTo>
                  <a:pt x="5234162" y="656002"/>
                  <a:pt x="5211064" y="679101"/>
                  <a:pt x="5183345" y="679101"/>
                </a:cubicBezTo>
                <a:cubicBezTo>
                  <a:pt x="5155627" y="679101"/>
                  <a:pt x="5132528" y="656002"/>
                  <a:pt x="5132528" y="628284"/>
                </a:cubicBezTo>
                <a:cubicBezTo>
                  <a:pt x="5132528" y="600566"/>
                  <a:pt x="5154472" y="577467"/>
                  <a:pt x="5183345" y="577467"/>
                </a:cubicBezTo>
                <a:close/>
                <a:moveTo>
                  <a:pt x="4093087" y="577467"/>
                </a:moveTo>
                <a:cubicBezTo>
                  <a:pt x="4120806" y="577467"/>
                  <a:pt x="4143904" y="600566"/>
                  <a:pt x="4143904" y="628284"/>
                </a:cubicBezTo>
                <a:cubicBezTo>
                  <a:pt x="4143904" y="656002"/>
                  <a:pt x="4120806" y="679101"/>
                  <a:pt x="4093087" y="679101"/>
                </a:cubicBezTo>
                <a:cubicBezTo>
                  <a:pt x="4065369" y="679101"/>
                  <a:pt x="4042270" y="656002"/>
                  <a:pt x="4042270" y="628284"/>
                </a:cubicBezTo>
                <a:cubicBezTo>
                  <a:pt x="4042270" y="600566"/>
                  <a:pt x="4064214" y="577467"/>
                  <a:pt x="4093087" y="577467"/>
                </a:cubicBezTo>
                <a:close/>
                <a:moveTo>
                  <a:pt x="1790148" y="577467"/>
                </a:moveTo>
                <a:cubicBezTo>
                  <a:pt x="1817867" y="577467"/>
                  <a:pt x="1840965" y="600566"/>
                  <a:pt x="1840965" y="628284"/>
                </a:cubicBezTo>
                <a:cubicBezTo>
                  <a:pt x="1840965" y="656002"/>
                  <a:pt x="1819022" y="679101"/>
                  <a:pt x="1790148" y="679101"/>
                </a:cubicBezTo>
                <a:cubicBezTo>
                  <a:pt x="1762430" y="679101"/>
                  <a:pt x="1739331" y="656002"/>
                  <a:pt x="1739331" y="628284"/>
                </a:cubicBezTo>
                <a:cubicBezTo>
                  <a:pt x="1739331" y="600566"/>
                  <a:pt x="1761275" y="577467"/>
                  <a:pt x="1790148" y="577467"/>
                </a:cubicBezTo>
                <a:close/>
                <a:moveTo>
                  <a:pt x="706820" y="577467"/>
                </a:moveTo>
                <a:cubicBezTo>
                  <a:pt x="734538" y="577467"/>
                  <a:pt x="757637" y="600566"/>
                  <a:pt x="757637" y="628284"/>
                </a:cubicBezTo>
                <a:cubicBezTo>
                  <a:pt x="757637" y="656002"/>
                  <a:pt x="735694" y="679101"/>
                  <a:pt x="706820" y="679101"/>
                </a:cubicBezTo>
                <a:cubicBezTo>
                  <a:pt x="679101" y="679101"/>
                  <a:pt x="656003" y="656002"/>
                  <a:pt x="656003" y="628284"/>
                </a:cubicBezTo>
                <a:cubicBezTo>
                  <a:pt x="656003" y="600566"/>
                  <a:pt x="677947" y="577467"/>
                  <a:pt x="706820" y="577467"/>
                </a:cubicBezTo>
                <a:close/>
                <a:moveTo>
                  <a:pt x="570538" y="577467"/>
                </a:moveTo>
                <a:cubicBezTo>
                  <a:pt x="599412" y="577467"/>
                  <a:pt x="621355" y="601721"/>
                  <a:pt x="621355" y="629440"/>
                </a:cubicBezTo>
                <a:cubicBezTo>
                  <a:pt x="621355" y="657158"/>
                  <a:pt x="598256" y="680257"/>
                  <a:pt x="570538" y="680257"/>
                </a:cubicBezTo>
                <a:cubicBezTo>
                  <a:pt x="542819" y="680257"/>
                  <a:pt x="519721" y="658312"/>
                  <a:pt x="519721" y="629440"/>
                </a:cubicBezTo>
                <a:cubicBezTo>
                  <a:pt x="519721" y="600566"/>
                  <a:pt x="542819" y="577467"/>
                  <a:pt x="570538" y="577467"/>
                </a:cubicBezTo>
                <a:close/>
                <a:moveTo>
                  <a:pt x="12180541" y="464284"/>
                </a:moveTo>
                <a:cubicBezTo>
                  <a:pt x="12192090" y="464284"/>
                  <a:pt x="12201330" y="473523"/>
                  <a:pt x="12201330" y="485072"/>
                </a:cubicBezTo>
                <a:cubicBezTo>
                  <a:pt x="12201330" y="496622"/>
                  <a:pt x="12192090" y="505861"/>
                  <a:pt x="12180541" y="505861"/>
                </a:cubicBezTo>
                <a:cubicBezTo>
                  <a:pt x="12168992" y="505861"/>
                  <a:pt x="12159752" y="496622"/>
                  <a:pt x="12159752" y="485072"/>
                </a:cubicBezTo>
                <a:cubicBezTo>
                  <a:pt x="12159752" y="473523"/>
                  <a:pt x="12168992" y="464284"/>
                  <a:pt x="12180541" y="464284"/>
                </a:cubicBezTo>
                <a:close/>
                <a:moveTo>
                  <a:pt x="12040793" y="464284"/>
                </a:moveTo>
                <a:cubicBezTo>
                  <a:pt x="12052342" y="464284"/>
                  <a:pt x="12061582" y="473523"/>
                  <a:pt x="12061582" y="485072"/>
                </a:cubicBezTo>
                <a:cubicBezTo>
                  <a:pt x="12061582" y="496622"/>
                  <a:pt x="12052342" y="505861"/>
                  <a:pt x="12040793" y="505861"/>
                </a:cubicBezTo>
                <a:cubicBezTo>
                  <a:pt x="12029244" y="505861"/>
                  <a:pt x="12020004" y="496622"/>
                  <a:pt x="12020004" y="485072"/>
                </a:cubicBezTo>
                <a:cubicBezTo>
                  <a:pt x="12020004" y="473523"/>
                  <a:pt x="12029244" y="464284"/>
                  <a:pt x="12040793" y="464284"/>
                </a:cubicBezTo>
                <a:close/>
                <a:moveTo>
                  <a:pt x="11901047" y="464284"/>
                </a:moveTo>
                <a:cubicBezTo>
                  <a:pt x="11912596" y="464284"/>
                  <a:pt x="11921836" y="473523"/>
                  <a:pt x="11921836" y="485072"/>
                </a:cubicBezTo>
                <a:cubicBezTo>
                  <a:pt x="11921836" y="496622"/>
                  <a:pt x="11912596" y="505861"/>
                  <a:pt x="11901047" y="505861"/>
                </a:cubicBezTo>
                <a:cubicBezTo>
                  <a:pt x="11889498" y="505861"/>
                  <a:pt x="11880258" y="496622"/>
                  <a:pt x="11880258" y="485072"/>
                </a:cubicBezTo>
                <a:cubicBezTo>
                  <a:pt x="11880258" y="473523"/>
                  <a:pt x="11889498" y="464284"/>
                  <a:pt x="11901047" y="464284"/>
                </a:cubicBezTo>
                <a:close/>
                <a:moveTo>
                  <a:pt x="11761299" y="464284"/>
                </a:moveTo>
                <a:cubicBezTo>
                  <a:pt x="11772848" y="464284"/>
                  <a:pt x="11782088" y="473523"/>
                  <a:pt x="11782088" y="485072"/>
                </a:cubicBezTo>
                <a:cubicBezTo>
                  <a:pt x="11782088" y="496622"/>
                  <a:pt x="11772848" y="505861"/>
                  <a:pt x="11761299" y="505861"/>
                </a:cubicBezTo>
                <a:cubicBezTo>
                  <a:pt x="11749750" y="505861"/>
                  <a:pt x="11740510" y="496622"/>
                  <a:pt x="11740510" y="485072"/>
                </a:cubicBezTo>
                <a:cubicBezTo>
                  <a:pt x="11740510" y="473523"/>
                  <a:pt x="11749750" y="464284"/>
                  <a:pt x="11761299" y="464284"/>
                </a:cubicBezTo>
                <a:close/>
                <a:moveTo>
                  <a:pt x="11621553" y="464284"/>
                </a:moveTo>
                <a:cubicBezTo>
                  <a:pt x="11633102" y="464284"/>
                  <a:pt x="11642342" y="473523"/>
                  <a:pt x="11642342" y="485072"/>
                </a:cubicBezTo>
                <a:cubicBezTo>
                  <a:pt x="11642342" y="496622"/>
                  <a:pt x="11633102" y="505861"/>
                  <a:pt x="11621553" y="505861"/>
                </a:cubicBezTo>
                <a:cubicBezTo>
                  <a:pt x="11610003" y="505861"/>
                  <a:pt x="11600764" y="496622"/>
                  <a:pt x="11600764" y="485072"/>
                </a:cubicBezTo>
                <a:cubicBezTo>
                  <a:pt x="11600764" y="473523"/>
                  <a:pt x="11610003" y="464284"/>
                  <a:pt x="11621553" y="464284"/>
                </a:cubicBezTo>
                <a:close/>
                <a:moveTo>
                  <a:pt x="11481805" y="464284"/>
                </a:moveTo>
                <a:cubicBezTo>
                  <a:pt x="11493354" y="464284"/>
                  <a:pt x="11502594" y="473523"/>
                  <a:pt x="11502594" y="485072"/>
                </a:cubicBezTo>
                <a:cubicBezTo>
                  <a:pt x="11502594" y="496622"/>
                  <a:pt x="11493354" y="505861"/>
                  <a:pt x="11481805" y="505861"/>
                </a:cubicBezTo>
                <a:cubicBezTo>
                  <a:pt x="11470256" y="505861"/>
                  <a:pt x="11461016" y="496622"/>
                  <a:pt x="11461016" y="485072"/>
                </a:cubicBezTo>
                <a:cubicBezTo>
                  <a:pt x="11461016" y="473523"/>
                  <a:pt x="11470256" y="464284"/>
                  <a:pt x="11481805" y="464284"/>
                </a:cubicBezTo>
                <a:close/>
                <a:moveTo>
                  <a:pt x="10644478" y="464284"/>
                </a:moveTo>
                <a:cubicBezTo>
                  <a:pt x="10656028" y="464284"/>
                  <a:pt x="10665267" y="473523"/>
                  <a:pt x="10665267" y="485072"/>
                </a:cubicBezTo>
                <a:cubicBezTo>
                  <a:pt x="10665267" y="496622"/>
                  <a:pt x="10656028" y="505861"/>
                  <a:pt x="10644478" y="505861"/>
                </a:cubicBezTo>
                <a:cubicBezTo>
                  <a:pt x="10632929" y="505861"/>
                  <a:pt x="10623690" y="496622"/>
                  <a:pt x="10623690" y="485072"/>
                </a:cubicBezTo>
                <a:cubicBezTo>
                  <a:pt x="10623690" y="473523"/>
                  <a:pt x="10632929" y="464284"/>
                  <a:pt x="10644478" y="464284"/>
                </a:cubicBezTo>
                <a:close/>
                <a:moveTo>
                  <a:pt x="10504731" y="464284"/>
                </a:moveTo>
                <a:cubicBezTo>
                  <a:pt x="10516280" y="464284"/>
                  <a:pt x="10525520" y="473523"/>
                  <a:pt x="10525520" y="485072"/>
                </a:cubicBezTo>
                <a:cubicBezTo>
                  <a:pt x="10525520" y="496622"/>
                  <a:pt x="10516280" y="505861"/>
                  <a:pt x="10504731" y="505861"/>
                </a:cubicBezTo>
                <a:cubicBezTo>
                  <a:pt x="10493181" y="505861"/>
                  <a:pt x="10483942" y="496622"/>
                  <a:pt x="10483942" y="485072"/>
                </a:cubicBezTo>
                <a:cubicBezTo>
                  <a:pt x="10483942" y="473523"/>
                  <a:pt x="10493181" y="464284"/>
                  <a:pt x="10504731" y="464284"/>
                </a:cubicBezTo>
                <a:close/>
                <a:moveTo>
                  <a:pt x="10364984" y="464284"/>
                </a:moveTo>
                <a:cubicBezTo>
                  <a:pt x="10376534" y="464284"/>
                  <a:pt x="10385773" y="473523"/>
                  <a:pt x="10385773" y="485072"/>
                </a:cubicBezTo>
                <a:cubicBezTo>
                  <a:pt x="10385773" y="496622"/>
                  <a:pt x="10376534" y="505861"/>
                  <a:pt x="10364984" y="505861"/>
                </a:cubicBezTo>
                <a:cubicBezTo>
                  <a:pt x="10353435" y="505861"/>
                  <a:pt x="10344196" y="496622"/>
                  <a:pt x="10344196" y="485072"/>
                </a:cubicBezTo>
                <a:cubicBezTo>
                  <a:pt x="10344196" y="473523"/>
                  <a:pt x="10353435" y="464284"/>
                  <a:pt x="10364984" y="464284"/>
                </a:cubicBezTo>
                <a:close/>
                <a:moveTo>
                  <a:pt x="7854709" y="464284"/>
                </a:moveTo>
                <a:cubicBezTo>
                  <a:pt x="7866258" y="464284"/>
                  <a:pt x="7875498" y="473523"/>
                  <a:pt x="7875498" y="485072"/>
                </a:cubicBezTo>
                <a:cubicBezTo>
                  <a:pt x="7875498" y="496622"/>
                  <a:pt x="7866258" y="505861"/>
                  <a:pt x="7854709" y="505861"/>
                </a:cubicBezTo>
                <a:cubicBezTo>
                  <a:pt x="7843160" y="505861"/>
                  <a:pt x="7833921" y="496622"/>
                  <a:pt x="7833921" y="485072"/>
                </a:cubicBezTo>
                <a:cubicBezTo>
                  <a:pt x="7833921" y="473523"/>
                  <a:pt x="7843160" y="464284"/>
                  <a:pt x="7854709" y="464284"/>
                </a:cubicBezTo>
                <a:close/>
                <a:moveTo>
                  <a:pt x="7714960" y="464284"/>
                </a:moveTo>
                <a:cubicBezTo>
                  <a:pt x="7726511" y="464284"/>
                  <a:pt x="7735749" y="473523"/>
                  <a:pt x="7735749" y="485072"/>
                </a:cubicBezTo>
                <a:cubicBezTo>
                  <a:pt x="7735749" y="496622"/>
                  <a:pt x="7726511" y="505861"/>
                  <a:pt x="7714960" y="505861"/>
                </a:cubicBezTo>
                <a:cubicBezTo>
                  <a:pt x="7703411" y="505861"/>
                  <a:pt x="7694172" y="496622"/>
                  <a:pt x="7694172" y="485072"/>
                </a:cubicBezTo>
                <a:cubicBezTo>
                  <a:pt x="7694172" y="473523"/>
                  <a:pt x="7703411" y="464284"/>
                  <a:pt x="7714960" y="464284"/>
                </a:cubicBezTo>
                <a:close/>
                <a:moveTo>
                  <a:pt x="7575214" y="464284"/>
                </a:moveTo>
                <a:cubicBezTo>
                  <a:pt x="7586765" y="464284"/>
                  <a:pt x="7596004" y="473523"/>
                  <a:pt x="7596004" y="485072"/>
                </a:cubicBezTo>
                <a:cubicBezTo>
                  <a:pt x="7596004" y="496622"/>
                  <a:pt x="7586765" y="505861"/>
                  <a:pt x="7575214" y="505861"/>
                </a:cubicBezTo>
                <a:cubicBezTo>
                  <a:pt x="7563665" y="505861"/>
                  <a:pt x="7554427" y="496622"/>
                  <a:pt x="7554427" y="485072"/>
                </a:cubicBezTo>
                <a:cubicBezTo>
                  <a:pt x="7554427" y="473523"/>
                  <a:pt x="7563665" y="464284"/>
                  <a:pt x="7575214" y="464284"/>
                </a:cubicBezTo>
                <a:close/>
                <a:moveTo>
                  <a:pt x="7435467" y="464284"/>
                </a:moveTo>
                <a:cubicBezTo>
                  <a:pt x="7447016" y="464284"/>
                  <a:pt x="7456257" y="473523"/>
                  <a:pt x="7456257" y="485072"/>
                </a:cubicBezTo>
                <a:cubicBezTo>
                  <a:pt x="7456257" y="496622"/>
                  <a:pt x="7447016" y="505861"/>
                  <a:pt x="7435467" y="505861"/>
                </a:cubicBezTo>
                <a:cubicBezTo>
                  <a:pt x="7423918" y="505861"/>
                  <a:pt x="7414678" y="496622"/>
                  <a:pt x="7414678" y="485072"/>
                </a:cubicBezTo>
                <a:cubicBezTo>
                  <a:pt x="7414678" y="473523"/>
                  <a:pt x="7423918" y="464284"/>
                  <a:pt x="7435467" y="464284"/>
                </a:cubicBezTo>
                <a:close/>
                <a:moveTo>
                  <a:pt x="7295720" y="464284"/>
                </a:moveTo>
                <a:cubicBezTo>
                  <a:pt x="7307271" y="464284"/>
                  <a:pt x="7316509" y="473523"/>
                  <a:pt x="7316509" y="485072"/>
                </a:cubicBezTo>
                <a:cubicBezTo>
                  <a:pt x="7316509" y="496622"/>
                  <a:pt x="7307271" y="505861"/>
                  <a:pt x="7295720" y="505861"/>
                </a:cubicBezTo>
                <a:cubicBezTo>
                  <a:pt x="7284172" y="505861"/>
                  <a:pt x="7274932" y="496622"/>
                  <a:pt x="7274932" y="485072"/>
                </a:cubicBezTo>
                <a:cubicBezTo>
                  <a:pt x="7274932" y="473523"/>
                  <a:pt x="7284172" y="464284"/>
                  <a:pt x="7295720" y="464284"/>
                </a:cubicBezTo>
                <a:close/>
                <a:moveTo>
                  <a:pt x="7155974" y="464284"/>
                </a:moveTo>
                <a:cubicBezTo>
                  <a:pt x="7167522" y="464284"/>
                  <a:pt x="7176762" y="473523"/>
                  <a:pt x="7176762" y="485072"/>
                </a:cubicBezTo>
                <a:cubicBezTo>
                  <a:pt x="7176762" y="496622"/>
                  <a:pt x="7167522" y="505861"/>
                  <a:pt x="7155974" y="505861"/>
                </a:cubicBezTo>
                <a:cubicBezTo>
                  <a:pt x="7144423" y="505861"/>
                  <a:pt x="7135183" y="496622"/>
                  <a:pt x="7135183" y="485072"/>
                </a:cubicBezTo>
                <a:cubicBezTo>
                  <a:pt x="7135183" y="473523"/>
                  <a:pt x="7144423" y="464284"/>
                  <a:pt x="7155974" y="464284"/>
                </a:cubicBezTo>
                <a:close/>
                <a:moveTo>
                  <a:pt x="7016227" y="464284"/>
                </a:moveTo>
                <a:cubicBezTo>
                  <a:pt x="7027776" y="464284"/>
                  <a:pt x="7037016" y="473523"/>
                  <a:pt x="7037016" y="485072"/>
                </a:cubicBezTo>
                <a:cubicBezTo>
                  <a:pt x="7037016" y="496622"/>
                  <a:pt x="7027776" y="505861"/>
                  <a:pt x="7016227" y="505861"/>
                </a:cubicBezTo>
                <a:cubicBezTo>
                  <a:pt x="7004678" y="505861"/>
                  <a:pt x="6995438" y="496622"/>
                  <a:pt x="6995438" y="485072"/>
                </a:cubicBezTo>
                <a:cubicBezTo>
                  <a:pt x="6995438" y="473523"/>
                  <a:pt x="7004678" y="464284"/>
                  <a:pt x="7016227" y="464284"/>
                </a:cubicBezTo>
                <a:close/>
                <a:moveTo>
                  <a:pt x="6877634" y="464284"/>
                </a:moveTo>
                <a:cubicBezTo>
                  <a:pt x="6888028" y="464284"/>
                  <a:pt x="6898424" y="473523"/>
                  <a:pt x="6898424" y="485072"/>
                </a:cubicBezTo>
                <a:cubicBezTo>
                  <a:pt x="6898424" y="496622"/>
                  <a:pt x="6889184" y="505861"/>
                  <a:pt x="6877634" y="505861"/>
                </a:cubicBezTo>
                <a:cubicBezTo>
                  <a:pt x="6866085" y="505861"/>
                  <a:pt x="6856845" y="496622"/>
                  <a:pt x="6856845" y="485072"/>
                </a:cubicBezTo>
                <a:cubicBezTo>
                  <a:pt x="6856845" y="473523"/>
                  <a:pt x="6866085" y="464284"/>
                  <a:pt x="6877634" y="464284"/>
                </a:cubicBezTo>
                <a:close/>
                <a:moveTo>
                  <a:pt x="6039151" y="464284"/>
                </a:moveTo>
                <a:cubicBezTo>
                  <a:pt x="6050702" y="464284"/>
                  <a:pt x="6059942" y="473523"/>
                  <a:pt x="6059942" y="485072"/>
                </a:cubicBezTo>
                <a:cubicBezTo>
                  <a:pt x="6059942" y="496622"/>
                  <a:pt x="6050702" y="505861"/>
                  <a:pt x="6039151" y="505861"/>
                </a:cubicBezTo>
                <a:cubicBezTo>
                  <a:pt x="6027603" y="505861"/>
                  <a:pt x="6018363" y="496622"/>
                  <a:pt x="6018363" y="485072"/>
                </a:cubicBezTo>
                <a:cubicBezTo>
                  <a:pt x="6018363" y="473523"/>
                  <a:pt x="6027603" y="464284"/>
                  <a:pt x="6039151" y="464284"/>
                </a:cubicBezTo>
                <a:close/>
                <a:moveTo>
                  <a:pt x="5899405" y="464284"/>
                </a:moveTo>
                <a:cubicBezTo>
                  <a:pt x="5910953" y="464284"/>
                  <a:pt x="5920193" y="473523"/>
                  <a:pt x="5920193" y="485072"/>
                </a:cubicBezTo>
                <a:cubicBezTo>
                  <a:pt x="5920193" y="496622"/>
                  <a:pt x="5910953" y="505861"/>
                  <a:pt x="5899405" y="505861"/>
                </a:cubicBezTo>
                <a:cubicBezTo>
                  <a:pt x="5887855" y="505861"/>
                  <a:pt x="5878616" y="496622"/>
                  <a:pt x="5878616" y="485072"/>
                </a:cubicBezTo>
                <a:cubicBezTo>
                  <a:pt x="5878616" y="473523"/>
                  <a:pt x="5887855" y="464284"/>
                  <a:pt x="5899405" y="464284"/>
                </a:cubicBezTo>
                <a:close/>
                <a:moveTo>
                  <a:pt x="5759658" y="464284"/>
                </a:moveTo>
                <a:cubicBezTo>
                  <a:pt x="5771207" y="464284"/>
                  <a:pt x="5780447" y="473523"/>
                  <a:pt x="5780447" y="485072"/>
                </a:cubicBezTo>
                <a:cubicBezTo>
                  <a:pt x="5780447" y="496622"/>
                  <a:pt x="5771207" y="505861"/>
                  <a:pt x="5759658" y="505861"/>
                </a:cubicBezTo>
                <a:cubicBezTo>
                  <a:pt x="5748109" y="505861"/>
                  <a:pt x="5738869" y="496622"/>
                  <a:pt x="5738869" y="485072"/>
                </a:cubicBezTo>
                <a:cubicBezTo>
                  <a:pt x="5738869" y="473523"/>
                  <a:pt x="5748109" y="464284"/>
                  <a:pt x="5759658" y="464284"/>
                </a:cubicBezTo>
                <a:close/>
                <a:moveTo>
                  <a:pt x="3241901" y="464284"/>
                </a:moveTo>
                <a:cubicBezTo>
                  <a:pt x="3253450" y="464284"/>
                  <a:pt x="3262690" y="473523"/>
                  <a:pt x="3262690" y="485072"/>
                </a:cubicBezTo>
                <a:cubicBezTo>
                  <a:pt x="3262690" y="496622"/>
                  <a:pt x="3253450" y="505861"/>
                  <a:pt x="3241901" y="505861"/>
                </a:cubicBezTo>
                <a:cubicBezTo>
                  <a:pt x="3230352" y="505861"/>
                  <a:pt x="3221112" y="496622"/>
                  <a:pt x="3221112" y="485072"/>
                </a:cubicBezTo>
                <a:cubicBezTo>
                  <a:pt x="3221112" y="473523"/>
                  <a:pt x="3230352" y="464284"/>
                  <a:pt x="3241901" y="464284"/>
                </a:cubicBezTo>
                <a:close/>
                <a:moveTo>
                  <a:pt x="3102153" y="464284"/>
                </a:moveTo>
                <a:cubicBezTo>
                  <a:pt x="3113703" y="464284"/>
                  <a:pt x="3122942" y="473523"/>
                  <a:pt x="3122942" y="485072"/>
                </a:cubicBezTo>
                <a:cubicBezTo>
                  <a:pt x="3122942" y="496622"/>
                  <a:pt x="3113703" y="505861"/>
                  <a:pt x="3102153" y="505861"/>
                </a:cubicBezTo>
                <a:cubicBezTo>
                  <a:pt x="3090605" y="505861"/>
                  <a:pt x="3081365" y="496622"/>
                  <a:pt x="3081365" y="485072"/>
                </a:cubicBezTo>
                <a:cubicBezTo>
                  <a:pt x="3081365" y="473523"/>
                  <a:pt x="3090605" y="464284"/>
                  <a:pt x="3102153" y="464284"/>
                </a:cubicBezTo>
                <a:close/>
                <a:moveTo>
                  <a:pt x="2962407" y="464284"/>
                </a:moveTo>
                <a:cubicBezTo>
                  <a:pt x="2973956" y="464284"/>
                  <a:pt x="2983196" y="473523"/>
                  <a:pt x="2983196" y="485072"/>
                </a:cubicBezTo>
                <a:cubicBezTo>
                  <a:pt x="2983196" y="496622"/>
                  <a:pt x="2973956" y="505861"/>
                  <a:pt x="2962407" y="505861"/>
                </a:cubicBezTo>
                <a:cubicBezTo>
                  <a:pt x="2950858" y="505861"/>
                  <a:pt x="2941618" y="496622"/>
                  <a:pt x="2941618" y="485072"/>
                </a:cubicBezTo>
                <a:cubicBezTo>
                  <a:pt x="2941618" y="473523"/>
                  <a:pt x="2950858" y="464284"/>
                  <a:pt x="2962407" y="464284"/>
                </a:cubicBezTo>
                <a:close/>
                <a:moveTo>
                  <a:pt x="2822659" y="464284"/>
                </a:moveTo>
                <a:cubicBezTo>
                  <a:pt x="2834209" y="464284"/>
                  <a:pt x="2843448" y="473523"/>
                  <a:pt x="2843448" y="485072"/>
                </a:cubicBezTo>
                <a:cubicBezTo>
                  <a:pt x="2843448" y="496622"/>
                  <a:pt x="2834209" y="505861"/>
                  <a:pt x="2822659" y="505861"/>
                </a:cubicBezTo>
                <a:cubicBezTo>
                  <a:pt x="2811110" y="505861"/>
                  <a:pt x="2801871" y="496622"/>
                  <a:pt x="2801871" y="485072"/>
                </a:cubicBezTo>
                <a:cubicBezTo>
                  <a:pt x="2801871" y="473523"/>
                  <a:pt x="2811110" y="464284"/>
                  <a:pt x="2822659" y="464284"/>
                </a:cubicBezTo>
                <a:close/>
                <a:moveTo>
                  <a:pt x="2682913" y="464284"/>
                </a:moveTo>
                <a:cubicBezTo>
                  <a:pt x="2694462" y="464284"/>
                  <a:pt x="2703702" y="473523"/>
                  <a:pt x="2703702" y="485072"/>
                </a:cubicBezTo>
                <a:cubicBezTo>
                  <a:pt x="2703702" y="496622"/>
                  <a:pt x="2694462" y="505861"/>
                  <a:pt x="2682913" y="505861"/>
                </a:cubicBezTo>
                <a:cubicBezTo>
                  <a:pt x="2671365" y="505861"/>
                  <a:pt x="2662124" y="496622"/>
                  <a:pt x="2662124" y="485072"/>
                </a:cubicBezTo>
                <a:cubicBezTo>
                  <a:pt x="2662124" y="473523"/>
                  <a:pt x="2671365" y="464284"/>
                  <a:pt x="2682913" y="464284"/>
                </a:cubicBezTo>
                <a:close/>
                <a:moveTo>
                  <a:pt x="2543167" y="464284"/>
                </a:moveTo>
                <a:cubicBezTo>
                  <a:pt x="2554715" y="464284"/>
                  <a:pt x="2563954" y="473523"/>
                  <a:pt x="2563954" y="485072"/>
                </a:cubicBezTo>
                <a:cubicBezTo>
                  <a:pt x="2563954" y="496622"/>
                  <a:pt x="2554715" y="505861"/>
                  <a:pt x="2543167" y="505861"/>
                </a:cubicBezTo>
                <a:cubicBezTo>
                  <a:pt x="2531616" y="505861"/>
                  <a:pt x="2522376" y="496622"/>
                  <a:pt x="2522376" y="485072"/>
                </a:cubicBezTo>
                <a:cubicBezTo>
                  <a:pt x="2522376" y="473523"/>
                  <a:pt x="2531616" y="464284"/>
                  <a:pt x="2543167" y="464284"/>
                </a:cubicBezTo>
                <a:close/>
                <a:moveTo>
                  <a:pt x="2403419" y="464284"/>
                </a:moveTo>
                <a:cubicBezTo>
                  <a:pt x="2414969" y="464284"/>
                  <a:pt x="2424209" y="473523"/>
                  <a:pt x="2424209" y="485072"/>
                </a:cubicBezTo>
                <a:cubicBezTo>
                  <a:pt x="2424209" y="496622"/>
                  <a:pt x="2414969" y="505861"/>
                  <a:pt x="2403419" y="505861"/>
                </a:cubicBezTo>
                <a:cubicBezTo>
                  <a:pt x="2391869" y="505861"/>
                  <a:pt x="2382630" y="496622"/>
                  <a:pt x="2382630" y="485072"/>
                </a:cubicBezTo>
                <a:cubicBezTo>
                  <a:pt x="2382630" y="473523"/>
                  <a:pt x="2391869" y="464284"/>
                  <a:pt x="2403419" y="464284"/>
                </a:cubicBezTo>
                <a:close/>
                <a:moveTo>
                  <a:pt x="2263671" y="464284"/>
                </a:moveTo>
                <a:cubicBezTo>
                  <a:pt x="2275221" y="464284"/>
                  <a:pt x="2284460" y="473523"/>
                  <a:pt x="2284460" y="485072"/>
                </a:cubicBezTo>
                <a:cubicBezTo>
                  <a:pt x="2284460" y="496622"/>
                  <a:pt x="2275221" y="505861"/>
                  <a:pt x="2263671" y="505861"/>
                </a:cubicBezTo>
                <a:cubicBezTo>
                  <a:pt x="2252122" y="505861"/>
                  <a:pt x="2242883" y="496622"/>
                  <a:pt x="2242883" y="485072"/>
                </a:cubicBezTo>
                <a:cubicBezTo>
                  <a:pt x="2242883" y="473523"/>
                  <a:pt x="2252122" y="464284"/>
                  <a:pt x="2263671" y="464284"/>
                </a:cubicBezTo>
                <a:close/>
                <a:moveTo>
                  <a:pt x="1426344" y="464284"/>
                </a:moveTo>
                <a:cubicBezTo>
                  <a:pt x="1437894" y="464284"/>
                  <a:pt x="1447133" y="473523"/>
                  <a:pt x="1447133" y="485072"/>
                </a:cubicBezTo>
                <a:cubicBezTo>
                  <a:pt x="1447133" y="496622"/>
                  <a:pt x="1437894" y="505861"/>
                  <a:pt x="1426344" y="505861"/>
                </a:cubicBezTo>
                <a:cubicBezTo>
                  <a:pt x="1414795" y="505861"/>
                  <a:pt x="1405556" y="496622"/>
                  <a:pt x="1405556" y="485072"/>
                </a:cubicBezTo>
                <a:cubicBezTo>
                  <a:pt x="1405556" y="473523"/>
                  <a:pt x="1414795" y="464284"/>
                  <a:pt x="1426344" y="464284"/>
                </a:cubicBezTo>
                <a:close/>
                <a:moveTo>
                  <a:pt x="1286597" y="464284"/>
                </a:moveTo>
                <a:cubicBezTo>
                  <a:pt x="1298146" y="464284"/>
                  <a:pt x="1307386" y="473523"/>
                  <a:pt x="1307386" y="485072"/>
                </a:cubicBezTo>
                <a:cubicBezTo>
                  <a:pt x="1307386" y="496622"/>
                  <a:pt x="1298146" y="505861"/>
                  <a:pt x="1286597" y="505861"/>
                </a:cubicBezTo>
                <a:cubicBezTo>
                  <a:pt x="1275048" y="505861"/>
                  <a:pt x="1265808" y="496622"/>
                  <a:pt x="1265808" y="485072"/>
                </a:cubicBezTo>
                <a:cubicBezTo>
                  <a:pt x="1265808" y="473523"/>
                  <a:pt x="1275048" y="464284"/>
                  <a:pt x="1286597" y="464284"/>
                </a:cubicBezTo>
                <a:close/>
                <a:moveTo>
                  <a:pt x="1146851" y="464284"/>
                </a:moveTo>
                <a:cubicBezTo>
                  <a:pt x="1158400" y="464284"/>
                  <a:pt x="1167639" y="473523"/>
                  <a:pt x="1167639" y="485072"/>
                </a:cubicBezTo>
                <a:cubicBezTo>
                  <a:pt x="1167639" y="496622"/>
                  <a:pt x="1158400" y="505861"/>
                  <a:pt x="1146851" y="505861"/>
                </a:cubicBezTo>
                <a:cubicBezTo>
                  <a:pt x="1135301" y="505861"/>
                  <a:pt x="1126062" y="496622"/>
                  <a:pt x="1126062" y="485072"/>
                </a:cubicBezTo>
                <a:cubicBezTo>
                  <a:pt x="1126062" y="473523"/>
                  <a:pt x="1135301" y="464284"/>
                  <a:pt x="1146851" y="464284"/>
                </a:cubicBezTo>
                <a:close/>
                <a:moveTo>
                  <a:pt x="11343213" y="461974"/>
                </a:moveTo>
                <a:cubicBezTo>
                  <a:pt x="11355918" y="461974"/>
                  <a:pt x="11366312" y="472369"/>
                  <a:pt x="11366312" y="485072"/>
                </a:cubicBezTo>
                <a:cubicBezTo>
                  <a:pt x="11366312" y="497777"/>
                  <a:pt x="11355918" y="508171"/>
                  <a:pt x="11343213" y="508171"/>
                </a:cubicBezTo>
                <a:cubicBezTo>
                  <a:pt x="11330509" y="508171"/>
                  <a:pt x="11320114" y="497777"/>
                  <a:pt x="11320114" y="485072"/>
                </a:cubicBezTo>
                <a:cubicBezTo>
                  <a:pt x="11320114" y="472369"/>
                  <a:pt x="11330509" y="461974"/>
                  <a:pt x="11343213" y="461974"/>
                </a:cubicBezTo>
                <a:close/>
                <a:moveTo>
                  <a:pt x="10225237" y="461974"/>
                </a:moveTo>
                <a:cubicBezTo>
                  <a:pt x="10237942" y="461974"/>
                  <a:pt x="10248335" y="472369"/>
                  <a:pt x="10248335" y="485072"/>
                </a:cubicBezTo>
                <a:cubicBezTo>
                  <a:pt x="10248335" y="497777"/>
                  <a:pt x="10237942" y="508171"/>
                  <a:pt x="10225237" y="508171"/>
                </a:cubicBezTo>
                <a:cubicBezTo>
                  <a:pt x="10212533" y="508171"/>
                  <a:pt x="10202138" y="497777"/>
                  <a:pt x="10202138" y="485072"/>
                </a:cubicBezTo>
                <a:cubicBezTo>
                  <a:pt x="10202138" y="472369"/>
                  <a:pt x="10212533" y="461974"/>
                  <a:pt x="10225237" y="461974"/>
                </a:cubicBezTo>
                <a:close/>
                <a:moveTo>
                  <a:pt x="9112431" y="461974"/>
                </a:moveTo>
                <a:cubicBezTo>
                  <a:pt x="9125136" y="461974"/>
                  <a:pt x="9135530" y="472369"/>
                  <a:pt x="9135530" y="485072"/>
                </a:cubicBezTo>
                <a:cubicBezTo>
                  <a:pt x="9135530" y="497777"/>
                  <a:pt x="9125136" y="508171"/>
                  <a:pt x="9112431" y="508171"/>
                </a:cubicBezTo>
                <a:cubicBezTo>
                  <a:pt x="9099727" y="508171"/>
                  <a:pt x="9089332" y="497777"/>
                  <a:pt x="9089332" y="485072"/>
                </a:cubicBezTo>
                <a:cubicBezTo>
                  <a:pt x="9089332" y="472369"/>
                  <a:pt x="9099727" y="461974"/>
                  <a:pt x="9112431" y="461974"/>
                </a:cubicBezTo>
                <a:close/>
                <a:moveTo>
                  <a:pt x="7994456" y="461974"/>
                </a:moveTo>
                <a:cubicBezTo>
                  <a:pt x="8007160" y="461974"/>
                  <a:pt x="8017555" y="472369"/>
                  <a:pt x="8017555" y="485072"/>
                </a:cubicBezTo>
                <a:cubicBezTo>
                  <a:pt x="8017555" y="497777"/>
                  <a:pt x="8007160" y="508171"/>
                  <a:pt x="7994456" y="508171"/>
                </a:cubicBezTo>
                <a:cubicBezTo>
                  <a:pt x="7981752" y="508171"/>
                  <a:pt x="7971356" y="497777"/>
                  <a:pt x="7971356" y="485072"/>
                </a:cubicBezTo>
                <a:cubicBezTo>
                  <a:pt x="7971356" y="472369"/>
                  <a:pt x="7981752" y="461974"/>
                  <a:pt x="7994456" y="461974"/>
                </a:cubicBezTo>
                <a:close/>
                <a:moveTo>
                  <a:pt x="6737887" y="461974"/>
                </a:moveTo>
                <a:cubicBezTo>
                  <a:pt x="6750591" y="461974"/>
                  <a:pt x="6760986" y="472369"/>
                  <a:pt x="6760986" y="485072"/>
                </a:cubicBezTo>
                <a:cubicBezTo>
                  <a:pt x="6760986" y="497777"/>
                  <a:pt x="6750591" y="508171"/>
                  <a:pt x="6737887" y="508171"/>
                </a:cubicBezTo>
                <a:cubicBezTo>
                  <a:pt x="6725183" y="508171"/>
                  <a:pt x="6714789" y="497777"/>
                  <a:pt x="6714789" y="485072"/>
                </a:cubicBezTo>
                <a:cubicBezTo>
                  <a:pt x="6714789" y="472369"/>
                  <a:pt x="6725183" y="461974"/>
                  <a:pt x="6737887" y="461974"/>
                </a:cubicBezTo>
                <a:close/>
                <a:moveTo>
                  <a:pt x="5619911" y="461974"/>
                </a:moveTo>
                <a:cubicBezTo>
                  <a:pt x="5632616" y="461974"/>
                  <a:pt x="5643008" y="472369"/>
                  <a:pt x="5643008" y="485072"/>
                </a:cubicBezTo>
                <a:cubicBezTo>
                  <a:pt x="5643008" y="497777"/>
                  <a:pt x="5632616" y="508171"/>
                  <a:pt x="5619911" y="508171"/>
                </a:cubicBezTo>
                <a:cubicBezTo>
                  <a:pt x="5607207" y="508171"/>
                  <a:pt x="5596812" y="497777"/>
                  <a:pt x="5596812" y="485072"/>
                </a:cubicBezTo>
                <a:cubicBezTo>
                  <a:pt x="5596812" y="472369"/>
                  <a:pt x="5607207" y="461974"/>
                  <a:pt x="5619911" y="461974"/>
                </a:cubicBezTo>
                <a:close/>
                <a:moveTo>
                  <a:pt x="4499625" y="461974"/>
                </a:moveTo>
                <a:cubicBezTo>
                  <a:pt x="4512329" y="461974"/>
                  <a:pt x="4522722" y="472369"/>
                  <a:pt x="4522722" y="485072"/>
                </a:cubicBezTo>
                <a:cubicBezTo>
                  <a:pt x="4522722" y="497777"/>
                  <a:pt x="4512329" y="508171"/>
                  <a:pt x="4499625" y="508171"/>
                </a:cubicBezTo>
                <a:cubicBezTo>
                  <a:pt x="4486920" y="508171"/>
                  <a:pt x="4476525" y="497777"/>
                  <a:pt x="4476525" y="485072"/>
                </a:cubicBezTo>
                <a:cubicBezTo>
                  <a:pt x="4476525" y="472369"/>
                  <a:pt x="4486920" y="461974"/>
                  <a:pt x="4499625" y="461974"/>
                </a:cubicBezTo>
                <a:close/>
                <a:moveTo>
                  <a:pt x="3381648" y="461974"/>
                </a:moveTo>
                <a:cubicBezTo>
                  <a:pt x="3394352" y="461974"/>
                  <a:pt x="3404746" y="472369"/>
                  <a:pt x="3404746" y="485072"/>
                </a:cubicBezTo>
                <a:cubicBezTo>
                  <a:pt x="3404746" y="497777"/>
                  <a:pt x="3394352" y="508171"/>
                  <a:pt x="3381648" y="508171"/>
                </a:cubicBezTo>
                <a:cubicBezTo>
                  <a:pt x="3368944" y="508171"/>
                  <a:pt x="3358549" y="497777"/>
                  <a:pt x="3358549" y="485072"/>
                </a:cubicBezTo>
                <a:cubicBezTo>
                  <a:pt x="3358549" y="472369"/>
                  <a:pt x="3368944" y="461974"/>
                  <a:pt x="3381648" y="461974"/>
                </a:cubicBezTo>
                <a:close/>
                <a:moveTo>
                  <a:pt x="2125079" y="461974"/>
                </a:moveTo>
                <a:cubicBezTo>
                  <a:pt x="2137784" y="461974"/>
                  <a:pt x="2148178" y="472369"/>
                  <a:pt x="2148178" y="485072"/>
                </a:cubicBezTo>
                <a:cubicBezTo>
                  <a:pt x="2148178" y="497777"/>
                  <a:pt x="2137784" y="508171"/>
                  <a:pt x="2125079" y="508171"/>
                </a:cubicBezTo>
                <a:cubicBezTo>
                  <a:pt x="2112376" y="508171"/>
                  <a:pt x="2101980" y="497777"/>
                  <a:pt x="2101980" y="485072"/>
                </a:cubicBezTo>
                <a:cubicBezTo>
                  <a:pt x="2101980" y="472369"/>
                  <a:pt x="2112376" y="461974"/>
                  <a:pt x="2125079" y="461974"/>
                </a:cubicBezTo>
                <a:close/>
                <a:moveTo>
                  <a:pt x="1007103" y="461974"/>
                </a:moveTo>
                <a:cubicBezTo>
                  <a:pt x="1019808" y="461974"/>
                  <a:pt x="1030201" y="472369"/>
                  <a:pt x="1030201" y="485072"/>
                </a:cubicBezTo>
                <a:cubicBezTo>
                  <a:pt x="1030201" y="497777"/>
                  <a:pt x="1019808" y="508171"/>
                  <a:pt x="1007103" y="508171"/>
                </a:cubicBezTo>
                <a:cubicBezTo>
                  <a:pt x="994399" y="508171"/>
                  <a:pt x="984004" y="497777"/>
                  <a:pt x="984004" y="485072"/>
                </a:cubicBezTo>
                <a:cubicBezTo>
                  <a:pt x="984004" y="472369"/>
                  <a:pt x="994399" y="461974"/>
                  <a:pt x="1007103" y="461974"/>
                </a:cubicBezTo>
                <a:close/>
                <a:moveTo>
                  <a:pt x="11203466" y="456200"/>
                </a:moveTo>
                <a:cubicBezTo>
                  <a:pt x="11218480" y="456200"/>
                  <a:pt x="11232339" y="468903"/>
                  <a:pt x="11232339" y="485072"/>
                </a:cubicBezTo>
                <a:cubicBezTo>
                  <a:pt x="11232339" y="501241"/>
                  <a:pt x="11219636" y="513946"/>
                  <a:pt x="11203466" y="513946"/>
                </a:cubicBezTo>
                <a:cubicBezTo>
                  <a:pt x="11187298" y="513946"/>
                  <a:pt x="11174593" y="501241"/>
                  <a:pt x="11174593" y="485072"/>
                </a:cubicBezTo>
                <a:cubicBezTo>
                  <a:pt x="11174593" y="468903"/>
                  <a:pt x="11187298" y="456200"/>
                  <a:pt x="11203466" y="456200"/>
                </a:cubicBezTo>
                <a:close/>
                <a:moveTo>
                  <a:pt x="10085490" y="456200"/>
                </a:moveTo>
                <a:cubicBezTo>
                  <a:pt x="10101659" y="456200"/>
                  <a:pt x="10114363" y="468903"/>
                  <a:pt x="10114363" y="485072"/>
                </a:cubicBezTo>
                <a:cubicBezTo>
                  <a:pt x="10114363" y="501241"/>
                  <a:pt x="10101659" y="513946"/>
                  <a:pt x="10085490" y="513946"/>
                </a:cubicBezTo>
                <a:cubicBezTo>
                  <a:pt x="10069321" y="513946"/>
                  <a:pt x="10056616" y="501241"/>
                  <a:pt x="10056616" y="485072"/>
                </a:cubicBezTo>
                <a:cubicBezTo>
                  <a:pt x="10056616" y="468903"/>
                  <a:pt x="10069321" y="456200"/>
                  <a:pt x="10085490" y="456200"/>
                </a:cubicBezTo>
                <a:close/>
                <a:moveTo>
                  <a:pt x="9247008" y="456200"/>
                </a:moveTo>
                <a:cubicBezTo>
                  <a:pt x="9263177" y="456200"/>
                  <a:pt x="9275881" y="468903"/>
                  <a:pt x="9275881" y="485072"/>
                </a:cubicBezTo>
                <a:cubicBezTo>
                  <a:pt x="9275881" y="501241"/>
                  <a:pt x="9263177" y="513946"/>
                  <a:pt x="9247008" y="513946"/>
                </a:cubicBezTo>
                <a:cubicBezTo>
                  <a:pt x="9230839" y="513946"/>
                  <a:pt x="9218134" y="501241"/>
                  <a:pt x="9218134" y="485072"/>
                </a:cubicBezTo>
                <a:cubicBezTo>
                  <a:pt x="9218134" y="468903"/>
                  <a:pt x="9230839" y="456200"/>
                  <a:pt x="9247008" y="456200"/>
                </a:cubicBezTo>
                <a:close/>
                <a:moveTo>
                  <a:pt x="8972685" y="456200"/>
                </a:moveTo>
                <a:cubicBezTo>
                  <a:pt x="8988854" y="456200"/>
                  <a:pt x="9001557" y="468903"/>
                  <a:pt x="9001557" y="485072"/>
                </a:cubicBezTo>
                <a:cubicBezTo>
                  <a:pt x="9001557" y="501241"/>
                  <a:pt x="8988854" y="513946"/>
                  <a:pt x="8972685" y="513946"/>
                </a:cubicBezTo>
                <a:cubicBezTo>
                  <a:pt x="8956515" y="513946"/>
                  <a:pt x="8943811" y="501241"/>
                  <a:pt x="8943811" y="485072"/>
                </a:cubicBezTo>
                <a:cubicBezTo>
                  <a:pt x="8943811" y="468903"/>
                  <a:pt x="8956515" y="456200"/>
                  <a:pt x="8972685" y="456200"/>
                </a:cubicBezTo>
                <a:close/>
                <a:moveTo>
                  <a:pt x="8134203" y="456200"/>
                </a:moveTo>
                <a:cubicBezTo>
                  <a:pt x="8150373" y="456200"/>
                  <a:pt x="8163075" y="468903"/>
                  <a:pt x="8163075" y="485072"/>
                </a:cubicBezTo>
                <a:cubicBezTo>
                  <a:pt x="8163075" y="501241"/>
                  <a:pt x="8150373" y="513946"/>
                  <a:pt x="8134203" y="513946"/>
                </a:cubicBezTo>
                <a:cubicBezTo>
                  <a:pt x="8118034" y="513946"/>
                  <a:pt x="8105330" y="501241"/>
                  <a:pt x="8105330" y="485072"/>
                </a:cubicBezTo>
                <a:cubicBezTo>
                  <a:pt x="8105330" y="468903"/>
                  <a:pt x="8118034" y="456200"/>
                  <a:pt x="8134203" y="456200"/>
                </a:cubicBezTo>
                <a:close/>
                <a:moveTo>
                  <a:pt x="6598140" y="456200"/>
                </a:moveTo>
                <a:cubicBezTo>
                  <a:pt x="6613155" y="456200"/>
                  <a:pt x="6627013" y="468903"/>
                  <a:pt x="6627013" y="485072"/>
                </a:cubicBezTo>
                <a:cubicBezTo>
                  <a:pt x="6627013" y="501241"/>
                  <a:pt x="6614309" y="513946"/>
                  <a:pt x="6598140" y="513946"/>
                </a:cubicBezTo>
                <a:cubicBezTo>
                  <a:pt x="6581971" y="513946"/>
                  <a:pt x="6569267" y="501241"/>
                  <a:pt x="6569267" y="485072"/>
                </a:cubicBezTo>
                <a:cubicBezTo>
                  <a:pt x="6569267" y="468903"/>
                  <a:pt x="6581971" y="456200"/>
                  <a:pt x="6598140" y="456200"/>
                </a:cubicBezTo>
                <a:close/>
                <a:moveTo>
                  <a:pt x="5480165" y="456200"/>
                </a:moveTo>
                <a:cubicBezTo>
                  <a:pt x="5496333" y="456200"/>
                  <a:pt x="5509037" y="468903"/>
                  <a:pt x="5509037" y="485072"/>
                </a:cubicBezTo>
                <a:cubicBezTo>
                  <a:pt x="5509037" y="501241"/>
                  <a:pt x="5496333" y="513946"/>
                  <a:pt x="5480165" y="513946"/>
                </a:cubicBezTo>
                <a:cubicBezTo>
                  <a:pt x="5463996" y="513946"/>
                  <a:pt x="5451289" y="501241"/>
                  <a:pt x="5451289" y="485072"/>
                </a:cubicBezTo>
                <a:cubicBezTo>
                  <a:pt x="5451289" y="468903"/>
                  <a:pt x="5463996" y="456200"/>
                  <a:pt x="5480165" y="456200"/>
                </a:cubicBezTo>
                <a:close/>
                <a:moveTo>
                  <a:pt x="4641682" y="456200"/>
                </a:moveTo>
                <a:cubicBezTo>
                  <a:pt x="4657851" y="456200"/>
                  <a:pt x="4670555" y="468903"/>
                  <a:pt x="4670555" y="485072"/>
                </a:cubicBezTo>
                <a:cubicBezTo>
                  <a:pt x="4670555" y="501241"/>
                  <a:pt x="4657851" y="513946"/>
                  <a:pt x="4641682" y="513946"/>
                </a:cubicBezTo>
                <a:cubicBezTo>
                  <a:pt x="4625513" y="513946"/>
                  <a:pt x="4612809" y="501241"/>
                  <a:pt x="4612809" y="485072"/>
                </a:cubicBezTo>
                <a:cubicBezTo>
                  <a:pt x="4612809" y="468903"/>
                  <a:pt x="4625513" y="456200"/>
                  <a:pt x="4641682" y="456200"/>
                </a:cubicBezTo>
                <a:close/>
                <a:moveTo>
                  <a:pt x="4359878" y="456200"/>
                </a:moveTo>
                <a:cubicBezTo>
                  <a:pt x="4376046" y="456200"/>
                  <a:pt x="4388751" y="468903"/>
                  <a:pt x="4388751" y="485072"/>
                </a:cubicBezTo>
                <a:cubicBezTo>
                  <a:pt x="4388751" y="501241"/>
                  <a:pt x="4376046" y="513946"/>
                  <a:pt x="4359878" y="513946"/>
                </a:cubicBezTo>
                <a:cubicBezTo>
                  <a:pt x="4343709" y="513946"/>
                  <a:pt x="4331003" y="501241"/>
                  <a:pt x="4331003" y="485072"/>
                </a:cubicBezTo>
                <a:cubicBezTo>
                  <a:pt x="4331003" y="468903"/>
                  <a:pt x="4343709" y="456200"/>
                  <a:pt x="4359878" y="456200"/>
                </a:cubicBezTo>
                <a:close/>
                <a:moveTo>
                  <a:pt x="3521396" y="456200"/>
                </a:moveTo>
                <a:cubicBezTo>
                  <a:pt x="3537564" y="456200"/>
                  <a:pt x="3550268" y="468903"/>
                  <a:pt x="3550268" y="485072"/>
                </a:cubicBezTo>
                <a:cubicBezTo>
                  <a:pt x="3550268" y="501241"/>
                  <a:pt x="3537564" y="513946"/>
                  <a:pt x="3521396" y="513946"/>
                </a:cubicBezTo>
                <a:cubicBezTo>
                  <a:pt x="3505226" y="513946"/>
                  <a:pt x="3492521" y="501241"/>
                  <a:pt x="3492521" y="485072"/>
                </a:cubicBezTo>
                <a:cubicBezTo>
                  <a:pt x="3492521" y="468903"/>
                  <a:pt x="3505226" y="456200"/>
                  <a:pt x="3521396" y="456200"/>
                </a:cubicBezTo>
                <a:close/>
                <a:moveTo>
                  <a:pt x="1985333" y="456200"/>
                </a:moveTo>
                <a:cubicBezTo>
                  <a:pt x="2000346" y="456200"/>
                  <a:pt x="2014205" y="468903"/>
                  <a:pt x="2014205" y="485072"/>
                </a:cubicBezTo>
                <a:cubicBezTo>
                  <a:pt x="2014205" y="501241"/>
                  <a:pt x="2001502" y="513946"/>
                  <a:pt x="1985333" y="513946"/>
                </a:cubicBezTo>
                <a:cubicBezTo>
                  <a:pt x="1969164" y="513946"/>
                  <a:pt x="1956459" y="501241"/>
                  <a:pt x="1956459" y="485072"/>
                </a:cubicBezTo>
                <a:cubicBezTo>
                  <a:pt x="1956459" y="468903"/>
                  <a:pt x="1969164" y="456200"/>
                  <a:pt x="1985333" y="456200"/>
                </a:cubicBezTo>
                <a:close/>
                <a:moveTo>
                  <a:pt x="867356" y="456200"/>
                </a:moveTo>
                <a:cubicBezTo>
                  <a:pt x="883525" y="456200"/>
                  <a:pt x="896229" y="468903"/>
                  <a:pt x="896229" y="485072"/>
                </a:cubicBezTo>
                <a:cubicBezTo>
                  <a:pt x="896229" y="501241"/>
                  <a:pt x="883525" y="513946"/>
                  <a:pt x="867356" y="513946"/>
                </a:cubicBezTo>
                <a:cubicBezTo>
                  <a:pt x="851187" y="513946"/>
                  <a:pt x="838482" y="501241"/>
                  <a:pt x="838482" y="485072"/>
                </a:cubicBezTo>
                <a:cubicBezTo>
                  <a:pt x="838482" y="468903"/>
                  <a:pt x="851187" y="456200"/>
                  <a:pt x="867356" y="456200"/>
                </a:cubicBezTo>
                <a:close/>
                <a:moveTo>
                  <a:pt x="28874" y="456200"/>
                </a:moveTo>
                <a:cubicBezTo>
                  <a:pt x="45043" y="456200"/>
                  <a:pt x="57747" y="468903"/>
                  <a:pt x="57747" y="485072"/>
                </a:cubicBezTo>
                <a:cubicBezTo>
                  <a:pt x="57747" y="501241"/>
                  <a:pt x="45043" y="513946"/>
                  <a:pt x="28874" y="513946"/>
                </a:cubicBezTo>
                <a:cubicBezTo>
                  <a:pt x="12705" y="513946"/>
                  <a:pt x="0" y="501241"/>
                  <a:pt x="0" y="485072"/>
                </a:cubicBezTo>
                <a:cubicBezTo>
                  <a:pt x="0" y="468903"/>
                  <a:pt x="12705" y="456200"/>
                  <a:pt x="28874" y="456200"/>
                </a:cubicBezTo>
                <a:close/>
                <a:moveTo>
                  <a:pt x="11063719" y="449270"/>
                </a:moveTo>
                <a:cubicBezTo>
                  <a:pt x="11082198" y="449270"/>
                  <a:pt x="11098367" y="465439"/>
                  <a:pt x="11098367" y="483918"/>
                </a:cubicBezTo>
                <a:cubicBezTo>
                  <a:pt x="11098367" y="502397"/>
                  <a:pt x="11083353" y="518566"/>
                  <a:pt x="11063719" y="518566"/>
                </a:cubicBezTo>
                <a:cubicBezTo>
                  <a:pt x="11045240" y="518566"/>
                  <a:pt x="11029071" y="502397"/>
                  <a:pt x="11029071" y="483918"/>
                </a:cubicBezTo>
                <a:cubicBezTo>
                  <a:pt x="11029071" y="465439"/>
                  <a:pt x="11044086" y="449270"/>
                  <a:pt x="11063719" y="449270"/>
                </a:cubicBezTo>
                <a:close/>
                <a:moveTo>
                  <a:pt x="9945743" y="449270"/>
                </a:moveTo>
                <a:cubicBezTo>
                  <a:pt x="9965377" y="449270"/>
                  <a:pt x="9980391" y="465439"/>
                  <a:pt x="9980391" y="483918"/>
                </a:cubicBezTo>
                <a:cubicBezTo>
                  <a:pt x="9980391" y="502397"/>
                  <a:pt x="9964222" y="518566"/>
                  <a:pt x="9945743" y="518566"/>
                </a:cubicBezTo>
                <a:cubicBezTo>
                  <a:pt x="9927264" y="518566"/>
                  <a:pt x="9911094" y="502397"/>
                  <a:pt x="9911094" y="483918"/>
                </a:cubicBezTo>
                <a:cubicBezTo>
                  <a:pt x="9911094" y="465439"/>
                  <a:pt x="9926109" y="449270"/>
                  <a:pt x="9945743" y="449270"/>
                </a:cubicBezTo>
                <a:close/>
                <a:moveTo>
                  <a:pt x="9386754" y="449270"/>
                </a:moveTo>
                <a:cubicBezTo>
                  <a:pt x="9406389" y="449270"/>
                  <a:pt x="9421402" y="465439"/>
                  <a:pt x="9421402" y="483918"/>
                </a:cubicBezTo>
                <a:cubicBezTo>
                  <a:pt x="9421402" y="502397"/>
                  <a:pt x="9405233" y="518566"/>
                  <a:pt x="9386754" y="518566"/>
                </a:cubicBezTo>
                <a:cubicBezTo>
                  <a:pt x="9368275" y="518566"/>
                  <a:pt x="9352106" y="502397"/>
                  <a:pt x="9352106" y="483918"/>
                </a:cubicBezTo>
                <a:cubicBezTo>
                  <a:pt x="9352106" y="465439"/>
                  <a:pt x="9367121" y="449270"/>
                  <a:pt x="9386754" y="449270"/>
                </a:cubicBezTo>
                <a:close/>
                <a:moveTo>
                  <a:pt x="8832937" y="449270"/>
                </a:moveTo>
                <a:cubicBezTo>
                  <a:pt x="8852571" y="449270"/>
                  <a:pt x="8867585" y="465439"/>
                  <a:pt x="8867585" y="483918"/>
                </a:cubicBezTo>
                <a:cubicBezTo>
                  <a:pt x="8867585" y="502397"/>
                  <a:pt x="8852571" y="518566"/>
                  <a:pt x="8832937" y="518566"/>
                </a:cubicBezTo>
                <a:cubicBezTo>
                  <a:pt x="8814458" y="518566"/>
                  <a:pt x="8798289" y="502397"/>
                  <a:pt x="8798289" y="483918"/>
                </a:cubicBezTo>
                <a:cubicBezTo>
                  <a:pt x="8798289" y="465439"/>
                  <a:pt x="8813304" y="449270"/>
                  <a:pt x="8832937" y="449270"/>
                </a:cubicBezTo>
                <a:close/>
                <a:moveTo>
                  <a:pt x="8273949" y="449270"/>
                </a:moveTo>
                <a:cubicBezTo>
                  <a:pt x="8293584" y="449270"/>
                  <a:pt x="8308598" y="465439"/>
                  <a:pt x="8308598" y="483918"/>
                </a:cubicBezTo>
                <a:cubicBezTo>
                  <a:pt x="8308598" y="502397"/>
                  <a:pt x="8293584" y="518566"/>
                  <a:pt x="8273949" y="518566"/>
                </a:cubicBezTo>
                <a:cubicBezTo>
                  <a:pt x="8255471" y="518566"/>
                  <a:pt x="8239301" y="502397"/>
                  <a:pt x="8239301" y="483918"/>
                </a:cubicBezTo>
                <a:cubicBezTo>
                  <a:pt x="8239301" y="465439"/>
                  <a:pt x="8254316" y="449270"/>
                  <a:pt x="8273949" y="449270"/>
                </a:cubicBezTo>
                <a:close/>
                <a:moveTo>
                  <a:pt x="6458393" y="449270"/>
                </a:moveTo>
                <a:cubicBezTo>
                  <a:pt x="6476871" y="449270"/>
                  <a:pt x="6493041" y="465439"/>
                  <a:pt x="6493041" y="483918"/>
                </a:cubicBezTo>
                <a:cubicBezTo>
                  <a:pt x="6493041" y="502397"/>
                  <a:pt x="6476871" y="518566"/>
                  <a:pt x="6458393" y="518566"/>
                </a:cubicBezTo>
                <a:cubicBezTo>
                  <a:pt x="6439914" y="518566"/>
                  <a:pt x="6423745" y="502397"/>
                  <a:pt x="6423745" y="483918"/>
                </a:cubicBezTo>
                <a:cubicBezTo>
                  <a:pt x="6423745" y="465439"/>
                  <a:pt x="6438760" y="449270"/>
                  <a:pt x="6458393" y="449270"/>
                </a:cubicBezTo>
                <a:close/>
                <a:moveTo>
                  <a:pt x="5340416" y="449270"/>
                </a:moveTo>
                <a:cubicBezTo>
                  <a:pt x="5360051" y="449270"/>
                  <a:pt x="5375064" y="465439"/>
                  <a:pt x="5375064" y="483918"/>
                </a:cubicBezTo>
                <a:cubicBezTo>
                  <a:pt x="5375064" y="502397"/>
                  <a:pt x="5358895" y="518566"/>
                  <a:pt x="5340416" y="518566"/>
                </a:cubicBezTo>
                <a:cubicBezTo>
                  <a:pt x="5321938" y="518566"/>
                  <a:pt x="5305769" y="502397"/>
                  <a:pt x="5305769" y="483918"/>
                </a:cubicBezTo>
                <a:cubicBezTo>
                  <a:pt x="5305769" y="465439"/>
                  <a:pt x="5320783" y="449270"/>
                  <a:pt x="5340416" y="449270"/>
                </a:cubicBezTo>
                <a:close/>
                <a:moveTo>
                  <a:pt x="4781429" y="449270"/>
                </a:moveTo>
                <a:cubicBezTo>
                  <a:pt x="4801062" y="449270"/>
                  <a:pt x="4816075" y="465439"/>
                  <a:pt x="4816075" y="483918"/>
                </a:cubicBezTo>
                <a:cubicBezTo>
                  <a:pt x="4816075" y="502397"/>
                  <a:pt x="4799906" y="518566"/>
                  <a:pt x="4781429" y="518566"/>
                </a:cubicBezTo>
                <a:cubicBezTo>
                  <a:pt x="4762949" y="518566"/>
                  <a:pt x="4746781" y="502397"/>
                  <a:pt x="4746781" y="483918"/>
                </a:cubicBezTo>
                <a:cubicBezTo>
                  <a:pt x="4746781" y="465439"/>
                  <a:pt x="4761794" y="449270"/>
                  <a:pt x="4781429" y="449270"/>
                </a:cubicBezTo>
                <a:close/>
                <a:moveTo>
                  <a:pt x="4220129" y="449270"/>
                </a:moveTo>
                <a:cubicBezTo>
                  <a:pt x="4239764" y="449270"/>
                  <a:pt x="4254779" y="465439"/>
                  <a:pt x="4254779" y="483918"/>
                </a:cubicBezTo>
                <a:cubicBezTo>
                  <a:pt x="4254779" y="502397"/>
                  <a:pt x="4239764" y="518566"/>
                  <a:pt x="4220129" y="518566"/>
                </a:cubicBezTo>
                <a:cubicBezTo>
                  <a:pt x="4201651" y="518566"/>
                  <a:pt x="4185482" y="502397"/>
                  <a:pt x="4185482" y="483918"/>
                </a:cubicBezTo>
                <a:cubicBezTo>
                  <a:pt x="4185482" y="465439"/>
                  <a:pt x="4200498" y="449270"/>
                  <a:pt x="4220129" y="449270"/>
                </a:cubicBezTo>
                <a:close/>
                <a:moveTo>
                  <a:pt x="3661142" y="449270"/>
                </a:moveTo>
                <a:cubicBezTo>
                  <a:pt x="3680776" y="449270"/>
                  <a:pt x="3695791" y="465439"/>
                  <a:pt x="3695791" y="483918"/>
                </a:cubicBezTo>
                <a:cubicBezTo>
                  <a:pt x="3695791" y="502397"/>
                  <a:pt x="3680776" y="518566"/>
                  <a:pt x="3661142" y="518566"/>
                </a:cubicBezTo>
                <a:cubicBezTo>
                  <a:pt x="3642663" y="518566"/>
                  <a:pt x="3626494" y="502397"/>
                  <a:pt x="3626494" y="483918"/>
                </a:cubicBezTo>
                <a:cubicBezTo>
                  <a:pt x="3626494" y="465439"/>
                  <a:pt x="3641508" y="449270"/>
                  <a:pt x="3661142" y="449270"/>
                </a:cubicBezTo>
                <a:close/>
                <a:moveTo>
                  <a:pt x="1845585" y="449270"/>
                </a:moveTo>
                <a:cubicBezTo>
                  <a:pt x="1864064" y="449270"/>
                  <a:pt x="1880233" y="465439"/>
                  <a:pt x="1880233" y="483918"/>
                </a:cubicBezTo>
                <a:cubicBezTo>
                  <a:pt x="1880233" y="502397"/>
                  <a:pt x="1865220" y="518566"/>
                  <a:pt x="1845585" y="518566"/>
                </a:cubicBezTo>
                <a:cubicBezTo>
                  <a:pt x="1827106" y="518566"/>
                  <a:pt x="1810937" y="502397"/>
                  <a:pt x="1810937" y="483918"/>
                </a:cubicBezTo>
                <a:cubicBezTo>
                  <a:pt x="1810937" y="465439"/>
                  <a:pt x="1825952" y="449270"/>
                  <a:pt x="1845585" y="449270"/>
                </a:cubicBezTo>
                <a:close/>
                <a:moveTo>
                  <a:pt x="727609" y="449270"/>
                </a:moveTo>
                <a:cubicBezTo>
                  <a:pt x="747243" y="449270"/>
                  <a:pt x="762257" y="465439"/>
                  <a:pt x="762257" y="483918"/>
                </a:cubicBezTo>
                <a:cubicBezTo>
                  <a:pt x="762257" y="502397"/>
                  <a:pt x="746088" y="518566"/>
                  <a:pt x="727609" y="518566"/>
                </a:cubicBezTo>
                <a:cubicBezTo>
                  <a:pt x="709130" y="518566"/>
                  <a:pt x="692961" y="502397"/>
                  <a:pt x="692961" y="483918"/>
                </a:cubicBezTo>
                <a:cubicBezTo>
                  <a:pt x="692961" y="465439"/>
                  <a:pt x="707976" y="449270"/>
                  <a:pt x="727609" y="449270"/>
                </a:cubicBezTo>
                <a:close/>
                <a:moveTo>
                  <a:pt x="168621" y="449270"/>
                </a:moveTo>
                <a:cubicBezTo>
                  <a:pt x="188255" y="449270"/>
                  <a:pt x="203269" y="465439"/>
                  <a:pt x="203269" y="483918"/>
                </a:cubicBezTo>
                <a:cubicBezTo>
                  <a:pt x="203269" y="502397"/>
                  <a:pt x="187100" y="518566"/>
                  <a:pt x="168621" y="518566"/>
                </a:cubicBezTo>
                <a:cubicBezTo>
                  <a:pt x="150142" y="518566"/>
                  <a:pt x="133973" y="502397"/>
                  <a:pt x="133973" y="483918"/>
                </a:cubicBezTo>
                <a:cubicBezTo>
                  <a:pt x="133973" y="465439"/>
                  <a:pt x="148988" y="449270"/>
                  <a:pt x="168621" y="449270"/>
                </a:cubicBezTo>
                <a:close/>
                <a:moveTo>
                  <a:pt x="10923972" y="443495"/>
                </a:moveTo>
                <a:cubicBezTo>
                  <a:pt x="10945916" y="443495"/>
                  <a:pt x="10964394" y="461974"/>
                  <a:pt x="10964394" y="483918"/>
                </a:cubicBezTo>
                <a:cubicBezTo>
                  <a:pt x="10964394" y="505861"/>
                  <a:pt x="10945916" y="524340"/>
                  <a:pt x="10923972" y="524340"/>
                </a:cubicBezTo>
                <a:cubicBezTo>
                  <a:pt x="10902028" y="524340"/>
                  <a:pt x="10883549" y="505861"/>
                  <a:pt x="10883549" y="483918"/>
                </a:cubicBezTo>
                <a:cubicBezTo>
                  <a:pt x="10883549" y="461974"/>
                  <a:pt x="10902028" y="443495"/>
                  <a:pt x="10923972" y="443495"/>
                </a:cubicBezTo>
                <a:close/>
                <a:moveTo>
                  <a:pt x="9805996" y="443495"/>
                </a:moveTo>
                <a:cubicBezTo>
                  <a:pt x="9827939" y="443495"/>
                  <a:pt x="9846418" y="461974"/>
                  <a:pt x="9846418" y="483918"/>
                </a:cubicBezTo>
                <a:cubicBezTo>
                  <a:pt x="9846418" y="505861"/>
                  <a:pt x="9827939" y="524340"/>
                  <a:pt x="9805996" y="524340"/>
                </a:cubicBezTo>
                <a:cubicBezTo>
                  <a:pt x="9784052" y="524340"/>
                  <a:pt x="9765573" y="505861"/>
                  <a:pt x="9765573" y="483918"/>
                </a:cubicBezTo>
                <a:cubicBezTo>
                  <a:pt x="9765573" y="461974"/>
                  <a:pt x="9784052" y="443495"/>
                  <a:pt x="9805996" y="443495"/>
                </a:cubicBezTo>
                <a:close/>
                <a:moveTo>
                  <a:pt x="9526502" y="443495"/>
                </a:moveTo>
                <a:cubicBezTo>
                  <a:pt x="9548445" y="443495"/>
                  <a:pt x="9566924" y="461974"/>
                  <a:pt x="9566924" y="483918"/>
                </a:cubicBezTo>
                <a:cubicBezTo>
                  <a:pt x="9566924" y="505861"/>
                  <a:pt x="9548445" y="524340"/>
                  <a:pt x="9526502" y="524340"/>
                </a:cubicBezTo>
                <a:cubicBezTo>
                  <a:pt x="9504558" y="524340"/>
                  <a:pt x="9486079" y="505861"/>
                  <a:pt x="9486079" y="483918"/>
                </a:cubicBezTo>
                <a:cubicBezTo>
                  <a:pt x="9486079" y="461974"/>
                  <a:pt x="9504558" y="443495"/>
                  <a:pt x="9526502" y="443495"/>
                </a:cubicBezTo>
                <a:close/>
                <a:moveTo>
                  <a:pt x="8693190" y="443495"/>
                </a:moveTo>
                <a:cubicBezTo>
                  <a:pt x="8715134" y="443495"/>
                  <a:pt x="8733613" y="461974"/>
                  <a:pt x="8733613" y="483918"/>
                </a:cubicBezTo>
                <a:cubicBezTo>
                  <a:pt x="8733613" y="505861"/>
                  <a:pt x="8715134" y="524340"/>
                  <a:pt x="8693190" y="524340"/>
                </a:cubicBezTo>
                <a:cubicBezTo>
                  <a:pt x="8671246" y="524340"/>
                  <a:pt x="8652767" y="505861"/>
                  <a:pt x="8652767" y="483918"/>
                </a:cubicBezTo>
                <a:cubicBezTo>
                  <a:pt x="8652767" y="461974"/>
                  <a:pt x="8671246" y="443495"/>
                  <a:pt x="8693190" y="443495"/>
                </a:cubicBezTo>
                <a:close/>
                <a:moveTo>
                  <a:pt x="8413696" y="443495"/>
                </a:moveTo>
                <a:cubicBezTo>
                  <a:pt x="8435640" y="443495"/>
                  <a:pt x="8454118" y="461974"/>
                  <a:pt x="8454118" y="483918"/>
                </a:cubicBezTo>
                <a:cubicBezTo>
                  <a:pt x="8454118" y="505861"/>
                  <a:pt x="8435640" y="524340"/>
                  <a:pt x="8413696" y="524340"/>
                </a:cubicBezTo>
                <a:cubicBezTo>
                  <a:pt x="8391752" y="524340"/>
                  <a:pt x="8373274" y="505861"/>
                  <a:pt x="8373274" y="483918"/>
                </a:cubicBezTo>
                <a:cubicBezTo>
                  <a:pt x="8373274" y="461974"/>
                  <a:pt x="8391752" y="443495"/>
                  <a:pt x="8413696" y="443495"/>
                </a:cubicBezTo>
                <a:close/>
                <a:moveTo>
                  <a:pt x="6318647" y="443495"/>
                </a:moveTo>
                <a:cubicBezTo>
                  <a:pt x="6340589" y="443495"/>
                  <a:pt x="6359068" y="461974"/>
                  <a:pt x="6359068" y="483918"/>
                </a:cubicBezTo>
                <a:cubicBezTo>
                  <a:pt x="6359068" y="505861"/>
                  <a:pt x="6340589" y="524340"/>
                  <a:pt x="6318647" y="524340"/>
                </a:cubicBezTo>
                <a:cubicBezTo>
                  <a:pt x="6296702" y="524340"/>
                  <a:pt x="6278223" y="505861"/>
                  <a:pt x="6278223" y="483918"/>
                </a:cubicBezTo>
                <a:cubicBezTo>
                  <a:pt x="6278223" y="461974"/>
                  <a:pt x="6296702" y="443495"/>
                  <a:pt x="6318647" y="443495"/>
                </a:cubicBezTo>
                <a:close/>
                <a:moveTo>
                  <a:pt x="5200669" y="443495"/>
                </a:moveTo>
                <a:cubicBezTo>
                  <a:pt x="5222613" y="443495"/>
                  <a:pt x="5241093" y="461974"/>
                  <a:pt x="5241093" y="483918"/>
                </a:cubicBezTo>
                <a:cubicBezTo>
                  <a:pt x="5241093" y="505861"/>
                  <a:pt x="5222613" y="524340"/>
                  <a:pt x="5200669" y="524340"/>
                </a:cubicBezTo>
                <a:cubicBezTo>
                  <a:pt x="5178725" y="524340"/>
                  <a:pt x="5160247" y="505861"/>
                  <a:pt x="5160247" y="483918"/>
                </a:cubicBezTo>
                <a:cubicBezTo>
                  <a:pt x="5160247" y="461974"/>
                  <a:pt x="5178725" y="443495"/>
                  <a:pt x="5200669" y="443495"/>
                </a:cubicBezTo>
                <a:close/>
                <a:moveTo>
                  <a:pt x="4921176" y="443495"/>
                </a:moveTo>
                <a:cubicBezTo>
                  <a:pt x="4944275" y="443495"/>
                  <a:pt x="4961597" y="461974"/>
                  <a:pt x="4961597" y="483918"/>
                </a:cubicBezTo>
                <a:cubicBezTo>
                  <a:pt x="4961597" y="505861"/>
                  <a:pt x="4943120" y="524340"/>
                  <a:pt x="4921176" y="524340"/>
                </a:cubicBezTo>
                <a:cubicBezTo>
                  <a:pt x="4899232" y="524340"/>
                  <a:pt x="4880752" y="505861"/>
                  <a:pt x="4880752" y="483918"/>
                </a:cubicBezTo>
                <a:cubicBezTo>
                  <a:pt x="4880752" y="461974"/>
                  <a:pt x="4899232" y="443495"/>
                  <a:pt x="4921176" y="443495"/>
                </a:cubicBezTo>
                <a:close/>
                <a:moveTo>
                  <a:pt x="4080383" y="443495"/>
                </a:moveTo>
                <a:cubicBezTo>
                  <a:pt x="4102326" y="443495"/>
                  <a:pt x="4120806" y="461974"/>
                  <a:pt x="4120806" y="483918"/>
                </a:cubicBezTo>
                <a:cubicBezTo>
                  <a:pt x="4120806" y="505861"/>
                  <a:pt x="4102326" y="524340"/>
                  <a:pt x="4080383" y="524340"/>
                </a:cubicBezTo>
                <a:cubicBezTo>
                  <a:pt x="4058439" y="524340"/>
                  <a:pt x="4039961" y="505861"/>
                  <a:pt x="4039961" y="483918"/>
                </a:cubicBezTo>
                <a:cubicBezTo>
                  <a:pt x="4039961" y="461974"/>
                  <a:pt x="4058439" y="443495"/>
                  <a:pt x="4080383" y="443495"/>
                </a:cubicBezTo>
                <a:close/>
                <a:moveTo>
                  <a:pt x="3800889" y="443495"/>
                </a:moveTo>
                <a:cubicBezTo>
                  <a:pt x="3822833" y="443495"/>
                  <a:pt x="3841311" y="461974"/>
                  <a:pt x="3841311" y="483918"/>
                </a:cubicBezTo>
                <a:cubicBezTo>
                  <a:pt x="3841311" y="505861"/>
                  <a:pt x="3822833" y="524340"/>
                  <a:pt x="3800889" y="524340"/>
                </a:cubicBezTo>
                <a:cubicBezTo>
                  <a:pt x="3778945" y="524340"/>
                  <a:pt x="3760466" y="505861"/>
                  <a:pt x="3760466" y="483918"/>
                </a:cubicBezTo>
                <a:cubicBezTo>
                  <a:pt x="3760466" y="461974"/>
                  <a:pt x="3778945" y="443495"/>
                  <a:pt x="3800889" y="443495"/>
                </a:cubicBezTo>
                <a:close/>
                <a:moveTo>
                  <a:pt x="1705839" y="443495"/>
                </a:moveTo>
                <a:cubicBezTo>
                  <a:pt x="1727782" y="443495"/>
                  <a:pt x="1746261" y="461974"/>
                  <a:pt x="1746261" y="483918"/>
                </a:cubicBezTo>
                <a:cubicBezTo>
                  <a:pt x="1746261" y="505861"/>
                  <a:pt x="1727782" y="524340"/>
                  <a:pt x="1705839" y="524340"/>
                </a:cubicBezTo>
                <a:cubicBezTo>
                  <a:pt x="1683894" y="524340"/>
                  <a:pt x="1665415" y="505861"/>
                  <a:pt x="1665415" y="483918"/>
                </a:cubicBezTo>
                <a:cubicBezTo>
                  <a:pt x="1665415" y="461974"/>
                  <a:pt x="1683894" y="443495"/>
                  <a:pt x="1705839" y="443495"/>
                </a:cubicBezTo>
                <a:close/>
                <a:moveTo>
                  <a:pt x="587862" y="443495"/>
                </a:moveTo>
                <a:cubicBezTo>
                  <a:pt x="609806" y="443495"/>
                  <a:pt x="628284" y="461974"/>
                  <a:pt x="628284" y="483918"/>
                </a:cubicBezTo>
                <a:cubicBezTo>
                  <a:pt x="628284" y="505861"/>
                  <a:pt x="609806" y="524340"/>
                  <a:pt x="587862" y="524340"/>
                </a:cubicBezTo>
                <a:cubicBezTo>
                  <a:pt x="565918" y="524340"/>
                  <a:pt x="547439" y="505861"/>
                  <a:pt x="547439" y="483918"/>
                </a:cubicBezTo>
                <a:cubicBezTo>
                  <a:pt x="547439" y="461974"/>
                  <a:pt x="565918" y="443495"/>
                  <a:pt x="587862" y="443495"/>
                </a:cubicBezTo>
                <a:close/>
                <a:moveTo>
                  <a:pt x="308368" y="443495"/>
                </a:moveTo>
                <a:cubicBezTo>
                  <a:pt x="330311" y="443495"/>
                  <a:pt x="348790" y="461974"/>
                  <a:pt x="348790" y="483918"/>
                </a:cubicBezTo>
                <a:cubicBezTo>
                  <a:pt x="348790" y="505861"/>
                  <a:pt x="330311" y="524340"/>
                  <a:pt x="308368" y="524340"/>
                </a:cubicBezTo>
                <a:cubicBezTo>
                  <a:pt x="286424" y="524340"/>
                  <a:pt x="267945" y="505861"/>
                  <a:pt x="267945" y="483918"/>
                </a:cubicBezTo>
                <a:cubicBezTo>
                  <a:pt x="267945" y="461974"/>
                  <a:pt x="286424" y="443495"/>
                  <a:pt x="308368" y="443495"/>
                </a:cubicBezTo>
                <a:close/>
                <a:moveTo>
                  <a:pt x="10784225" y="433101"/>
                </a:moveTo>
                <a:cubicBezTo>
                  <a:pt x="10811943" y="433101"/>
                  <a:pt x="10835042" y="456200"/>
                  <a:pt x="10835042" y="483918"/>
                </a:cubicBezTo>
                <a:cubicBezTo>
                  <a:pt x="10835042" y="511636"/>
                  <a:pt x="10811943" y="534735"/>
                  <a:pt x="10784225" y="534735"/>
                </a:cubicBezTo>
                <a:cubicBezTo>
                  <a:pt x="10756506" y="534735"/>
                  <a:pt x="10733408" y="511636"/>
                  <a:pt x="10733408" y="483918"/>
                </a:cubicBezTo>
                <a:cubicBezTo>
                  <a:pt x="10733408" y="456200"/>
                  <a:pt x="10755352" y="433101"/>
                  <a:pt x="10784225" y="433101"/>
                </a:cubicBezTo>
                <a:close/>
                <a:moveTo>
                  <a:pt x="9666248" y="433101"/>
                </a:moveTo>
                <a:cubicBezTo>
                  <a:pt x="9695122" y="433101"/>
                  <a:pt x="9717066" y="456200"/>
                  <a:pt x="9717066" y="483918"/>
                </a:cubicBezTo>
                <a:cubicBezTo>
                  <a:pt x="9717066" y="511636"/>
                  <a:pt x="9695122" y="534735"/>
                  <a:pt x="9666248" y="534735"/>
                </a:cubicBezTo>
                <a:cubicBezTo>
                  <a:pt x="9638530" y="534735"/>
                  <a:pt x="9615431" y="511636"/>
                  <a:pt x="9615431" y="483918"/>
                </a:cubicBezTo>
                <a:cubicBezTo>
                  <a:pt x="9615431" y="456200"/>
                  <a:pt x="9637376" y="433101"/>
                  <a:pt x="9666248" y="433101"/>
                </a:cubicBezTo>
                <a:close/>
                <a:moveTo>
                  <a:pt x="8553443" y="433101"/>
                </a:moveTo>
                <a:cubicBezTo>
                  <a:pt x="8582317" y="433101"/>
                  <a:pt x="8604260" y="456200"/>
                  <a:pt x="8604260" y="483918"/>
                </a:cubicBezTo>
                <a:cubicBezTo>
                  <a:pt x="8604260" y="511636"/>
                  <a:pt x="8582317" y="534735"/>
                  <a:pt x="8553443" y="534735"/>
                </a:cubicBezTo>
                <a:cubicBezTo>
                  <a:pt x="8525724" y="534735"/>
                  <a:pt x="8502626" y="511636"/>
                  <a:pt x="8502626" y="483918"/>
                </a:cubicBezTo>
                <a:cubicBezTo>
                  <a:pt x="8502626" y="456200"/>
                  <a:pt x="8524570" y="433101"/>
                  <a:pt x="8553443" y="433101"/>
                </a:cubicBezTo>
                <a:close/>
                <a:moveTo>
                  <a:pt x="6178898" y="433101"/>
                </a:moveTo>
                <a:cubicBezTo>
                  <a:pt x="6206618" y="433101"/>
                  <a:pt x="6229715" y="456200"/>
                  <a:pt x="6229715" y="483918"/>
                </a:cubicBezTo>
                <a:cubicBezTo>
                  <a:pt x="6229715" y="511636"/>
                  <a:pt x="6206618" y="534735"/>
                  <a:pt x="6178898" y="534735"/>
                </a:cubicBezTo>
                <a:cubicBezTo>
                  <a:pt x="6151180" y="534735"/>
                  <a:pt x="6128081" y="511636"/>
                  <a:pt x="6128081" y="483918"/>
                </a:cubicBezTo>
                <a:cubicBezTo>
                  <a:pt x="6128081" y="456200"/>
                  <a:pt x="6150025" y="433101"/>
                  <a:pt x="6178898" y="433101"/>
                </a:cubicBezTo>
                <a:close/>
                <a:moveTo>
                  <a:pt x="5060922" y="433101"/>
                </a:moveTo>
                <a:cubicBezTo>
                  <a:pt x="5089795" y="433101"/>
                  <a:pt x="5111739" y="456200"/>
                  <a:pt x="5111739" y="483918"/>
                </a:cubicBezTo>
                <a:cubicBezTo>
                  <a:pt x="5111739" y="511636"/>
                  <a:pt x="5088641" y="534735"/>
                  <a:pt x="5060922" y="534735"/>
                </a:cubicBezTo>
                <a:cubicBezTo>
                  <a:pt x="5033205" y="534735"/>
                  <a:pt x="5010105" y="511636"/>
                  <a:pt x="5010105" y="483918"/>
                </a:cubicBezTo>
                <a:cubicBezTo>
                  <a:pt x="5010105" y="456200"/>
                  <a:pt x="5032050" y="433101"/>
                  <a:pt x="5060922" y="433101"/>
                </a:cubicBezTo>
                <a:close/>
                <a:moveTo>
                  <a:pt x="3940636" y="433101"/>
                </a:moveTo>
                <a:cubicBezTo>
                  <a:pt x="3969510" y="433101"/>
                  <a:pt x="3991453" y="456200"/>
                  <a:pt x="3991453" y="483918"/>
                </a:cubicBezTo>
                <a:cubicBezTo>
                  <a:pt x="3991453" y="511636"/>
                  <a:pt x="3969510" y="534735"/>
                  <a:pt x="3940636" y="534735"/>
                </a:cubicBezTo>
                <a:cubicBezTo>
                  <a:pt x="3912917" y="534735"/>
                  <a:pt x="3889819" y="511636"/>
                  <a:pt x="3889819" y="483918"/>
                </a:cubicBezTo>
                <a:cubicBezTo>
                  <a:pt x="3889819" y="456200"/>
                  <a:pt x="3911763" y="433101"/>
                  <a:pt x="3940636" y="433101"/>
                </a:cubicBezTo>
                <a:close/>
                <a:moveTo>
                  <a:pt x="1566091" y="433101"/>
                </a:moveTo>
                <a:cubicBezTo>
                  <a:pt x="1593810" y="433101"/>
                  <a:pt x="1616908" y="456200"/>
                  <a:pt x="1616908" y="483918"/>
                </a:cubicBezTo>
                <a:cubicBezTo>
                  <a:pt x="1616908" y="511636"/>
                  <a:pt x="1593810" y="534735"/>
                  <a:pt x="1566091" y="534735"/>
                </a:cubicBezTo>
                <a:cubicBezTo>
                  <a:pt x="1538373" y="534735"/>
                  <a:pt x="1515274" y="511636"/>
                  <a:pt x="1515274" y="483918"/>
                </a:cubicBezTo>
                <a:cubicBezTo>
                  <a:pt x="1515274" y="456200"/>
                  <a:pt x="1537218" y="433101"/>
                  <a:pt x="1566091" y="433101"/>
                </a:cubicBezTo>
                <a:close/>
                <a:moveTo>
                  <a:pt x="448115" y="433101"/>
                </a:moveTo>
                <a:cubicBezTo>
                  <a:pt x="476989" y="433101"/>
                  <a:pt x="498932" y="456200"/>
                  <a:pt x="498932" y="483918"/>
                </a:cubicBezTo>
                <a:cubicBezTo>
                  <a:pt x="498932" y="511636"/>
                  <a:pt x="476989" y="534735"/>
                  <a:pt x="448115" y="534735"/>
                </a:cubicBezTo>
                <a:cubicBezTo>
                  <a:pt x="420396" y="534735"/>
                  <a:pt x="397298" y="511636"/>
                  <a:pt x="397298" y="483918"/>
                </a:cubicBezTo>
                <a:cubicBezTo>
                  <a:pt x="397298" y="456200"/>
                  <a:pt x="419242" y="433101"/>
                  <a:pt x="448115" y="433101"/>
                </a:cubicBezTo>
                <a:close/>
                <a:moveTo>
                  <a:pt x="12210569" y="319917"/>
                </a:moveTo>
                <a:cubicBezTo>
                  <a:pt x="12220963" y="319917"/>
                  <a:pt x="12231358" y="329157"/>
                  <a:pt x="12231358" y="340706"/>
                </a:cubicBezTo>
                <a:cubicBezTo>
                  <a:pt x="12231358" y="352256"/>
                  <a:pt x="12222118" y="361495"/>
                  <a:pt x="12210569" y="361495"/>
                </a:cubicBezTo>
                <a:cubicBezTo>
                  <a:pt x="12199020" y="361495"/>
                  <a:pt x="12189780" y="352256"/>
                  <a:pt x="12189780" y="340706"/>
                </a:cubicBezTo>
                <a:cubicBezTo>
                  <a:pt x="12189780" y="329157"/>
                  <a:pt x="12199020" y="319917"/>
                  <a:pt x="12210569" y="319917"/>
                </a:cubicBezTo>
                <a:close/>
                <a:moveTo>
                  <a:pt x="12071977" y="319917"/>
                </a:moveTo>
                <a:cubicBezTo>
                  <a:pt x="12083526" y="319917"/>
                  <a:pt x="12092766" y="329157"/>
                  <a:pt x="12092766" y="340706"/>
                </a:cubicBezTo>
                <a:cubicBezTo>
                  <a:pt x="12092766" y="352256"/>
                  <a:pt x="12083526" y="361495"/>
                  <a:pt x="12071977" y="361495"/>
                </a:cubicBezTo>
                <a:cubicBezTo>
                  <a:pt x="12060428" y="361495"/>
                  <a:pt x="12051188" y="352256"/>
                  <a:pt x="12051188" y="340706"/>
                </a:cubicBezTo>
                <a:cubicBezTo>
                  <a:pt x="12051188" y="329157"/>
                  <a:pt x="12060428" y="319917"/>
                  <a:pt x="12071977" y="319917"/>
                </a:cubicBezTo>
                <a:close/>
                <a:moveTo>
                  <a:pt x="11934539" y="319917"/>
                </a:moveTo>
                <a:cubicBezTo>
                  <a:pt x="11946088" y="319917"/>
                  <a:pt x="11955328" y="329157"/>
                  <a:pt x="11955328" y="340706"/>
                </a:cubicBezTo>
                <a:cubicBezTo>
                  <a:pt x="11955328" y="352256"/>
                  <a:pt x="11946088" y="361495"/>
                  <a:pt x="11934539" y="361495"/>
                </a:cubicBezTo>
                <a:cubicBezTo>
                  <a:pt x="11922990" y="361495"/>
                  <a:pt x="11913750" y="352256"/>
                  <a:pt x="11913750" y="340706"/>
                </a:cubicBezTo>
                <a:cubicBezTo>
                  <a:pt x="11913750" y="329157"/>
                  <a:pt x="11922990" y="319917"/>
                  <a:pt x="11934539" y="319917"/>
                </a:cubicBezTo>
                <a:close/>
                <a:moveTo>
                  <a:pt x="11797103" y="319917"/>
                </a:moveTo>
                <a:cubicBezTo>
                  <a:pt x="11808652" y="319917"/>
                  <a:pt x="11817892" y="329157"/>
                  <a:pt x="11817892" y="340706"/>
                </a:cubicBezTo>
                <a:cubicBezTo>
                  <a:pt x="11817892" y="352256"/>
                  <a:pt x="11808652" y="361495"/>
                  <a:pt x="11797103" y="361495"/>
                </a:cubicBezTo>
                <a:cubicBezTo>
                  <a:pt x="11785553" y="361495"/>
                  <a:pt x="11776314" y="352256"/>
                  <a:pt x="11776314" y="340706"/>
                </a:cubicBezTo>
                <a:cubicBezTo>
                  <a:pt x="11776314" y="329157"/>
                  <a:pt x="11785553" y="319917"/>
                  <a:pt x="11797103" y="319917"/>
                </a:cubicBezTo>
                <a:close/>
                <a:moveTo>
                  <a:pt x="10645633" y="319917"/>
                </a:moveTo>
                <a:cubicBezTo>
                  <a:pt x="10657182" y="319917"/>
                  <a:pt x="10666422" y="329157"/>
                  <a:pt x="10666422" y="340706"/>
                </a:cubicBezTo>
                <a:cubicBezTo>
                  <a:pt x="10666422" y="352256"/>
                  <a:pt x="10657182" y="361495"/>
                  <a:pt x="10645633" y="361495"/>
                </a:cubicBezTo>
                <a:cubicBezTo>
                  <a:pt x="10634083" y="361495"/>
                  <a:pt x="10624844" y="352256"/>
                  <a:pt x="10624844" y="340706"/>
                </a:cubicBezTo>
                <a:cubicBezTo>
                  <a:pt x="10624844" y="329157"/>
                  <a:pt x="10634083" y="319917"/>
                  <a:pt x="10645633" y="319917"/>
                </a:cubicBezTo>
                <a:close/>
                <a:moveTo>
                  <a:pt x="9247008" y="319917"/>
                </a:moveTo>
                <a:cubicBezTo>
                  <a:pt x="9258557" y="319917"/>
                  <a:pt x="9267797" y="329157"/>
                  <a:pt x="9267797" y="340706"/>
                </a:cubicBezTo>
                <a:cubicBezTo>
                  <a:pt x="9267797" y="352256"/>
                  <a:pt x="9258557" y="361495"/>
                  <a:pt x="9247008" y="361495"/>
                </a:cubicBezTo>
                <a:cubicBezTo>
                  <a:pt x="9235459" y="361495"/>
                  <a:pt x="9226219" y="352256"/>
                  <a:pt x="9226219" y="340706"/>
                </a:cubicBezTo>
                <a:cubicBezTo>
                  <a:pt x="9226219" y="329157"/>
                  <a:pt x="9235459" y="319917"/>
                  <a:pt x="9247008" y="319917"/>
                </a:cubicBezTo>
                <a:close/>
                <a:moveTo>
                  <a:pt x="8148062" y="319917"/>
                </a:moveTo>
                <a:cubicBezTo>
                  <a:pt x="8158457" y="319917"/>
                  <a:pt x="8168851" y="329157"/>
                  <a:pt x="8168851" y="340706"/>
                </a:cubicBezTo>
                <a:cubicBezTo>
                  <a:pt x="8168851" y="352256"/>
                  <a:pt x="8159611" y="361495"/>
                  <a:pt x="8148062" y="361495"/>
                </a:cubicBezTo>
                <a:cubicBezTo>
                  <a:pt x="8136513" y="361495"/>
                  <a:pt x="8127274" y="352256"/>
                  <a:pt x="8127274" y="340706"/>
                </a:cubicBezTo>
                <a:cubicBezTo>
                  <a:pt x="8127274" y="329157"/>
                  <a:pt x="8136513" y="319917"/>
                  <a:pt x="8148062" y="319917"/>
                </a:cubicBezTo>
                <a:close/>
                <a:moveTo>
                  <a:pt x="8009471" y="319917"/>
                </a:moveTo>
                <a:cubicBezTo>
                  <a:pt x="8021020" y="319917"/>
                  <a:pt x="8030259" y="329157"/>
                  <a:pt x="8030259" y="340706"/>
                </a:cubicBezTo>
                <a:cubicBezTo>
                  <a:pt x="8030259" y="352256"/>
                  <a:pt x="8021020" y="361495"/>
                  <a:pt x="8009471" y="361495"/>
                </a:cubicBezTo>
                <a:cubicBezTo>
                  <a:pt x="7997920" y="361495"/>
                  <a:pt x="7988682" y="352256"/>
                  <a:pt x="7988682" y="340706"/>
                </a:cubicBezTo>
                <a:cubicBezTo>
                  <a:pt x="7988682" y="329157"/>
                  <a:pt x="7997920" y="319917"/>
                  <a:pt x="8009471" y="319917"/>
                </a:cubicBezTo>
                <a:close/>
                <a:moveTo>
                  <a:pt x="7872031" y="319917"/>
                </a:moveTo>
                <a:cubicBezTo>
                  <a:pt x="7883582" y="319917"/>
                  <a:pt x="7892822" y="329157"/>
                  <a:pt x="7892822" y="340706"/>
                </a:cubicBezTo>
                <a:cubicBezTo>
                  <a:pt x="7892822" y="352256"/>
                  <a:pt x="7883582" y="361495"/>
                  <a:pt x="7872031" y="361495"/>
                </a:cubicBezTo>
                <a:cubicBezTo>
                  <a:pt x="7860484" y="361495"/>
                  <a:pt x="7851244" y="352256"/>
                  <a:pt x="7851244" y="340706"/>
                </a:cubicBezTo>
                <a:cubicBezTo>
                  <a:pt x="7851244" y="329157"/>
                  <a:pt x="7860484" y="319917"/>
                  <a:pt x="7872031" y="319917"/>
                </a:cubicBezTo>
                <a:close/>
                <a:moveTo>
                  <a:pt x="7713807" y="319917"/>
                </a:moveTo>
                <a:cubicBezTo>
                  <a:pt x="7725356" y="319917"/>
                  <a:pt x="7734596" y="329157"/>
                  <a:pt x="7734596" y="340706"/>
                </a:cubicBezTo>
                <a:cubicBezTo>
                  <a:pt x="7734596" y="352256"/>
                  <a:pt x="7725356" y="361495"/>
                  <a:pt x="7713807" y="361495"/>
                </a:cubicBezTo>
                <a:cubicBezTo>
                  <a:pt x="7702258" y="361495"/>
                  <a:pt x="7693019" y="352256"/>
                  <a:pt x="7693019" y="340706"/>
                </a:cubicBezTo>
                <a:cubicBezTo>
                  <a:pt x="7693019" y="329157"/>
                  <a:pt x="7702258" y="319917"/>
                  <a:pt x="7713807" y="319917"/>
                </a:cubicBezTo>
                <a:close/>
                <a:moveTo>
                  <a:pt x="7605244" y="319917"/>
                </a:moveTo>
                <a:cubicBezTo>
                  <a:pt x="7616793" y="319917"/>
                  <a:pt x="7626031" y="329157"/>
                  <a:pt x="7626031" y="340706"/>
                </a:cubicBezTo>
                <a:cubicBezTo>
                  <a:pt x="7626031" y="352256"/>
                  <a:pt x="7616793" y="361495"/>
                  <a:pt x="7605244" y="361495"/>
                </a:cubicBezTo>
                <a:cubicBezTo>
                  <a:pt x="7593693" y="361495"/>
                  <a:pt x="7584454" y="352256"/>
                  <a:pt x="7584454" y="340706"/>
                </a:cubicBezTo>
                <a:cubicBezTo>
                  <a:pt x="7584454" y="329157"/>
                  <a:pt x="7593693" y="319917"/>
                  <a:pt x="7605244" y="319917"/>
                </a:cubicBezTo>
                <a:close/>
                <a:moveTo>
                  <a:pt x="7466651" y="319917"/>
                </a:moveTo>
                <a:cubicBezTo>
                  <a:pt x="7478200" y="319917"/>
                  <a:pt x="7487439" y="329157"/>
                  <a:pt x="7487439" y="340706"/>
                </a:cubicBezTo>
                <a:cubicBezTo>
                  <a:pt x="7487439" y="352256"/>
                  <a:pt x="7478200" y="361495"/>
                  <a:pt x="7466651" y="361495"/>
                </a:cubicBezTo>
                <a:cubicBezTo>
                  <a:pt x="7455102" y="361495"/>
                  <a:pt x="7445863" y="352256"/>
                  <a:pt x="7445863" y="340706"/>
                </a:cubicBezTo>
                <a:cubicBezTo>
                  <a:pt x="7445863" y="329157"/>
                  <a:pt x="7455102" y="319917"/>
                  <a:pt x="7466651" y="319917"/>
                </a:cubicBezTo>
                <a:close/>
                <a:moveTo>
                  <a:pt x="7329213" y="319917"/>
                </a:moveTo>
                <a:cubicBezTo>
                  <a:pt x="7340762" y="319917"/>
                  <a:pt x="7350002" y="329157"/>
                  <a:pt x="7350002" y="340706"/>
                </a:cubicBezTo>
                <a:cubicBezTo>
                  <a:pt x="7350002" y="352256"/>
                  <a:pt x="7340762" y="361495"/>
                  <a:pt x="7329213" y="361495"/>
                </a:cubicBezTo>
                <a:cubicBezTo>
                  <a:pt x="7317664" y="361495"/>
                  <a:pt x="7308425" y="352256"/>
                  <a:pt x="7308425" y="340706"/>
                </a:cubicBezTo>
                <a:cubicBezTo>
                  <a:pt x="7308425" y="329157"/>
                  <a:pt x="7317664" y="319917"/>
                  <a:pt x="7329213" y="319917"/>
                </a:cubicBezTo>
                <a:close/>
                <a:moveTo>
                  <a:pt x="7191777" y="319917"/>
                </a:moveTo>
                <a:cubicBezTo>
                  <a:pt x="7203326" y="319917"/>
                  <a:pt x="7212566" y="329157"/>
                  <a:pt x="7212566" y="340706"/>
                </a:cubicBezTo>
                <a:cubicBezTo>
                  <a:pt x="7212566" y="352256"/>
                  <a:pt x="7203326" y="361495"/>
                  <a:pt x="7191777" y="361495"/>
                </a:cubicBezTo>
                <a:cubicBezTo>
                  <a:pt x="7180226" y="361495"/>
                  <a:pt x="7170987" y="352256"/>
                  <a:pt x="7170987" y="340706"/>
                </a:cubicBezTo>
                <a:cubicBezTo>
                  <a:pt x="7170987" y="329157"/>
                  <a:pt x="7180226" y="319917"/>
                  <a:pt x="7191777" y="319917"/>
                </a:cubicBezTo>
                <a:close/>
                <a:moveTo>
                  <a:pt x="6040307" y="319917"/>
                </a:moveTo>
                <a:cubicBezTo>
                  <a:pt x="6051855" y="319917"/>
                  <a:pt x="6061095" y="329157"/>
                  <a:pt x="6061095" y="340706"/>
                </a:cubicBezTo>
                <a:cubicBezTo>
                  <a:pt x="6061095" y="352256"/>
                  <a:pt x="6051855" y="361495"/>
                  <a:pt x="6040307" y="361495"/>
                </a:cubicBezTo>
                <a:cubicBezTo>
                  <a:pt x="6028758" y="361495"/>
                  <a:pt x="6019518" y="352256"/>
                  <a:pt x="6019518" y="340706"/>
                </a:cubicBezTo>
                <a:cubicBezTo>
                  <a:pt x="6019518" y="329157"/>
                  <a:pt x="6028758" y="319917"/>
                  <a:pt x="6040307" y="319917"/>
                </a:cubicBezTo>
                <a:close/>
                <a:moveTo>
                  <a:pt x="4641682" y="319917"/>
                </a:moveTo>
                <a:cubicBezTo>
                  <a:pt x="4653231" y="319917"/>
                  <a:pt x="4662471" y="329157"/>
                  <a:pt x="4662471" y="340706"/>
                </a:cubicBezTo>
                <a:cubicBezTo>
                  <a:pt x="4662471" y="352256"/>
                  <a:pt x="4653231" y="361495"/>
                  <a:pt x="4641682" y="361495"/>
                </a:cubicBezTo>
                <a:cubicBezTo>
                  <a:pt x="4630133" y="361495"/>
                  <a:pt x="4620893" y="352256"/>
                  <a:pt x="4620893" y="340706"/>
                </a:cubicBezTo>
                <a:cubicBezTo>
                  <a:pt x="4620893" y="329157"/>
                  <a:pt x="4630133" y="319917"/>
                  <a:pt x="4641682" y="319917"/>
                </a:cubicBezTo>
                <a:close/>
                <a:moveTo>
                  <a:pt x="3535254" y="319917"/>
                </a:moveTo>
                <a:cubicBezTo>
                  <a:pt x="3545648" y="319917"/>
                  <a:pt x="3556043" y="329157"/>
                  <a:pt x="3556043" y="340706"/>
                </a:cubicBezTo>
                <a:cubicBezTo>
                  <a:pt x="3556043" y="352256"/>
                  <a:pt x="3546804" y="361495"/>
                  <a:pt x="3535254" y="361495"/>
                </a:cubicBezTo>
                <a:cubicBezTo>
                  <a:pt x="3523705" y="361495"/>
                  <a:pt x="3514466" y="352256"/>
                  <a:pt x="3514466" y="340706"/>
                </a:cubicBezTo>
                <a:cubicBezTo>
                  <a:pt x="3514466" y="329157"/>
                  <a:pt x="3523705" y="319917"/>
                  <a:pt x="3535254" y="319917"/>
                </a:cubicBezTo>
                <a:close/>
                <a:moveTo>
                  <a:pt x="3396662" y="319917"/>
                </a:moveTo>
                <a:cubicBezTo>
                  <a:pt x="3408212" y="319917"/>
                  <a:pt x="3417451" y="329157"/>
                  <a:pt x="3417451" y="340706"/>
                </a:cubicBezTo>
                <a:cubicBezTo>
                  <a:pt x="3417451" y="352256"/>
                  <a:pt x="3408212" y="361495"/>
                  <a:pt x="3396662" y="361495"/>
                </a:cubicBezTo>
                <a:cubicBezTo>
                  <a:pt x="3385113" y="361495"/>
                  <a:pt x="3375874" y="352256"/>
                  <a:pt x="3375874" y="340706"/>
                </a:cubicBezTo>
                <a:cubicBezTo>
                  <a:pt x="3375874" y="329157"/>
                  <a:pt x="3385113" y="319917"/>
                  <a:pt x="3396662" y="319917"/>
                </a:cubicBezTo>
                <a:close/>
                <a:moveTo>
                  <a:pt x="3259224" y="319917"/>
                </a:moveTo>
                <a:cubicBezTo>
                  <a:pt x="3270774" y="319917"/>
                  <a:pt x="3280013" y="329157"/>
                  <a:pt x="3280013" y="340706"/>
                </a:cubicBezTo>
                <a:cubicBezTo>
                  <a:pt x="3280013" y="352256"/>
                  <a:pt x="3270774" y="361495"/>
                  <a:pt x="3259224" y="361495"/>
                </a:cubicBezTo>
                <a:cubicBezTo>
                  <a:pt x="3247675" y="361495"/>
                  <a:pt x="3238436" y="352256"/>
                  <a:pt x="3238436" y="340706"/>
                </a:cubicBezTo>
                <a:cubicBezTo>
                  <a:pt x="3238436" y="329157"/>
                  <a:pt x="3247675" y="319917"/>
                  <a:pt x="3259224" y="319917"/>
                </a:cubicBezTo>
                <a:close/>
                <a:moveTo>
                  <a:pt x="3100999" y="319917"/>
                </a:moveTo>
                <a:cubicBezTo>
                  <a:pt x="3112549" y="319917"/>
                  <a:pt x="3121789" y="329157"/>
                  <a:pt x="3121789" y="340706"/>
                </a:cubicBezTo>
                <a:cubicBezTo>
                  <a:pt x="3121789" y="352256"/>
                  <a:pt x="3112549" y="361495"/>
                  <a:pt x="3100999" y="361495"/>
                </a:cubicBezTo>
                <a:cubicBezTo>
                  <a:pt x="3089450" y="361495"/>
                  <a:pt x="3080212" y="352256"/>
                  <a:pt x="3080212" y="340706"/>
                </a:cubicBezTo>
                <a:cubicBezTo>
                  <a:pt x="3080212" y="329157"/>
                  <a:pt x="3089450" y="319917"/>
                  <a:pt x="3100999" y="319917"/>
                </a:cubicBezTo>
                <a:close/>
                <a:moveTo>
                  <a:pt x="2992435" y="319917"/>
                </a:moveTo>
                <a:cubicBezTo>
                  <a:pt x="3002829" y="319917"/>
                  <a:pt x="3013224" y="329157"/>
                  <a:pt x="3013224" y="340706"/>
                </a:cubicBezTo>
                <a:cubicBezTo>
                  <a:pt x="3013224" y="352256"/>
                  <a:pt x="3003985" y="361495"/>
                  <a:pt x="2992435" y="361495"/>
                </a:cubicBezTo>
                <a:cubicBezTo>
                  <a:pt x="2980886" y="361495"/>
                  <a:pt x="2971647" y="352256"/>
                  <a:pt x="2971647" y="340706"/>
                </a:cubicBezTo>
                <a:cubicBezTo>
                  <a:pt x="2971647" y="329157"/>
                  <a:pt x="2980886" y="319917"/>
                  <a:pt x="2992435" y="319917"/>
                </a:cubicBezTo>
                <a:close/>
                <a:moveTo>
                  <a:pt x="2853843" y="319917"/>
                </a:moveTo>
                <a:cubicBezTo>
                  <a:pt x="2865393" y="319917"/>
                  <a:pt x="2874633" y="329157"/>
                  <a:pt x="2874633" y="340706"/>
                </a:cubicBezTo>
                <a:cubicBezTo>
                  <a:pt x="2874633" y="352256"/>
                  <a:pt x="2865393" y="361495"/>
                  <a:pt x="2853843" y="361495"/>
                </a:cubicBezTo>
                <a:cubicBezTo>
                  <a:pt x="2842294" y="361495"/>
                  <a:pt x="2833056" y="352256"/>
                  <a:pt x="2833056" y="340706"/>
                </a:cubicBezTo>
                <a:cubicBezTo>
                  <a:pt x="2833056" y="329157"/>
                  <a:pt x="2842294" y="319917"/>
                  <a:pt x="2853843" y="319917"/>
                </a:cubicBezTo>
                <a:close/>
                <a:moveTo>
                  <a:pt x="2716405" y="319917"/>
                </a:moveTo>
                <a:cubicBezTo>
                  <a:pt x="2727955" y="319917"/>
                  <a:pt x="2737195" y="329157"/>
                  <a:pt x="2737195" y="340706"/>
                </a:cubicBezTo>
                <a:cubicBezTo>
                  <a:pt x="2737195" y="352256"/>
                  <a:pt x="2727955" y="361495"/>
                  <a:pt x="2716405" y="361495"/>
                </a:cubicBezTo>
                <a:cubicBezTo>
                  <a:pt x="2704856" y="361495"/>
                  <a:pt x="2695618" y="352256"/>
                  <a:pt x="2695618" y="340706"/>
                </a:cubicBezTo>
                <a:cubicBezTo>
                  <a:pt x="2695618" y="329157"/>
                  <a:pt x="2704856" y="319917"/>
                  <a:pt x="2716405" y="319917"/>
                </a:cubicBezTo>
                <a:close/>
                <a:moveTo>
                  <a:pt x="2578969" y="319917"/>
                </a:moveTo>
                <a:cubicBezTo>
                  <a:pt x="2590518" y="319917"/>
                  <a:pt x="2599758" y="329157"/>
                  <a:pt x="2599758" y="340706"/>
                </a:cubicBezTo>
                <a:cubicBezTo>
                  <a:pt x="2599758" y="352256"/>
                  <a:pt x="2590518" y="361495"/>
                  <a:pt x="2578969" y="361495"/>
                </a:cubicBezTo>
                <a:cubicBezTo>
                  <a:pt x="2567420" y="361495"/>
                  <a:pt x="2558180" y="352256"/>
                  <a:pt x="2558180" y="340706"/>
                </a:cubicBezTo>
                <a:cubicBezTo>
                  <a:pt x="2558180" y="329157"/>
                  <a:pt x="2567420" y="319917"/>
                  <a:pt x="2578969" y="319917"/>
                </a:cubicBezTo>
                <a:close/>
                <a:moveTo>
                  <a:pt x="1427499" y="319917"/>
                </a:moveTo>
                <a:cubicBezTo>
                  <a:pt x="1439048" y="319917"/>
                  <a:pt x="1448288" y="329157"/>
                  <a:pt x="1448288" y="340706"/>
                </a:cubicBezTo>
                <a:cubicBezTo>
                  <a:pt x="1448288" y="352256"/>
                  <a:pt x="1439048" y="361495"/>
                  <a:pt x="1427499" y="361495"/>
                </a:cubicBezTo>
                <a:cubicBezTo>
                  <a:pt x="1415950" y="361495"/>
                  <a:pt x="1406710" y="352256"/>
                  <a:pt x="1406710" y="340706"/>
                </a:cubicBezTo>
                <a:cubicBezTo>
                  <a:pt x="1406710" y="329157"/>
                  <a:pt x="1415950" y="319917"/>
                  <a:pt x="1427499" y="319917"/>
                </a:cubicBezTo>
                <a:close/>
                <a:moveTo>
                  <a:pt x="28874" y="319917"/>
                </a:moveTo>
                <a:cubicBezTo>
                  <a:pt x="40424" y="319917"/>
                  <a:pt x="49663" y="329157"/>
                  <a:pt x="49663" y="340706"/>
                </a:cubicBezTo>
                <a:cubicBezTo>
                  <a:pt x="49663" y="352256"/>
                  <a:pt x="40424" y="361495"/>
                  <a:pt x="28874" y="361495"/>
                </a:cubicBezTo>
                <a:cubicBezTo>
                  <a:pt x="17325" y="361495"/>
                  <a:pt x="8085" y="352256"/>
                  <a:pt x="8085" y="340706"/>
                </a:cubicBezTo>
                <a:cubicBezTo>
                  <a:pt x="8085" y="329157"/>
                  <a:pt x="17325" y="319917"/>
                  <a:pt x="28874" y="319917"/>
                </a:cubicBezTo>
                <a:close/>
                <a:moveTo>
                  <a:pt x="11658510" y="316452"/>
                </a:moveTo>
                <a:cubicBezTo>
                  <a:pt x="11671214" y="316452"/>
                  <a:pt x="11681609" y="326847"/>
                  <a:pt x="11681609" y="339551"/>
                </a:cubicBezTo>
                <a:cubicBezTo>
                  <a:pt x="11681609" y="352256"/>
                  <a:pt x="11671214" y="362649"/>
                  <a:pt x="11658510" y="362649"/>
                </a:cubicBezTo>
                <a:cubicBezTo>
                  <a:pt x="11645806" y="362649"/>
                  <a:pt x="11635412" y="352256"/>
                  <a:pt x="11635412" y="339551"/>
                </a:cubicBezTo>
                <a:cubicBezTo>
                  <a:pt x="11635412" y="326847"/>
                  <a:pt x="11645806" y="316452"/>
                  <a:pt x="11658510" y="316452"/>
                </a:cubicBezTo>
                <a:close/>
                <a:moveTo>
                  <a:pt x="10508196" y="316452"/>
                </a:moveTo>
                <a:cubicBezTo>
                  <a:pt x="10520900" y="316452"/>
                  <a:pt x="10531295" y="326847"/>
                  <a:pt x="10531295" y="339551"/>
                </a:cubicBezTo>
                <a:cubicBezTo>
                  <a:pt x="10531295" y="352256"/>
                  <a:pt x="10520900" y="362649"/>
                  <a:pt x="10508196" y="362649"/>
                </a:cubicBezTo>
                <a:cubicBezTo>
                  <a:pt x="10495491" y="362649"/>
                  <a:pt x="10485098" y="352256"/>
                  <a:pt x="10485098" y="339551"/>
                </a:cubicBezTo>
                <a:cubicBezTo>
                  <a:pt x="10485098" y="326847"/>
                  <a:pt x="10495491" y="316452"/>
                  <a:pt x="10508196" y="316452"/>
                </a:cubicBezTo>
                <a:close/>
                <a:moveTo>
                  <a:pt x="9405233" y="316452"/>
                </a:moveTo>
                <a:cubicBezTo>
                  <a:pt x="9417938" y="316452"/>
                  <a:pt x="9428332" y="326847"/>
                  <a:pt x="9428332" y="339551"/>
                </a:cubicBezTo>
                <a:cubicBezTo>
                  <a:pt x="9428332" y="352256"/>
                  <a:pt x="9417938" y="362649"/>
                  <a:pt x="9405233" y="362649"/>
                </a:cubicBezTo>
                <a:cubicBezTo>
                  <a:pt x="9392530" y="362649"/>
                  <a:pt x="9382135" y="352256"/>
                  <a:pt x="9382135" y="339551"/>
                </a:cubicBezTo>
                <a:cubicBezTo>
                  <a:pt x="9382135" y="326847"/>
                  <a:pt x="9392530" y="316452"/>
                  <a:pt x="9405233" y="316452"/>
                </a:cubicBezTo>
                <a:close/>
                <a:moveTo>
                  <a:pt x="8285498" y="316452"/>
                </a:moveTo>
                <a:cubicBezTo>
                  <a:pt x="8298204" y="316452"/>
                  <a:pt x="8308598" y="326847"/>
                  <a:pt x="8308598" y="339551"/>
                </a:cubicBezTo>
                <a:cubicBezTo>
                  <a:pt x="8308598" y="352256"/>
                  <a:pt x="8298204" y="362649"/>
                  <a:pt x="8285498" y="362649"/>
                </a:cubicBezTo>
                <a:cubicBezTo>
                  <a:pt x="8272794" y="362649"/>
                  <a:pt x="8262401" y="352256"/>
                  <a:pt x="8262401" y="339551"/>
                </a:cubicBezTo>
                <a:cubicBezTo>
                  <a:pt x="8262401" y="326847"/>
                  <a:pt x="8272794" y="316452"/>
                  <a:pt x="8285498" y="316452"/>
                </a:cubicBezTo>
                <a:close/>
                <a:moveTo>
                  <a:pt x="7053184" y="316452"/>
                </a:moveTo>
                <a:cubicBezTo>
                  <a:pt x="7067044" y="316452"/>
                  <a:pt x="7076283" y="326847"/>
                  <a:pt x="7076283" y="339551"/>
                </a:cubicBezTo>
                <a:cubicBezTo>
                  <a:pt x="7076283" y="352256"/>
                  <a:pt x="7065888" y="362649"/>
                  <a:pt x="7053184" y="362649"/>
                </a:cubicBezTo>
                <a:cubicBezTo>
                  <a:pt x="7040480" y="362649"/>
                  <a:pt x="7030086" y="352256"/>
                  <a:pt x="7030086" y="339551"/>
                </a:cubicBezTo>
                <a:cubicBezTo>
                  <a:pt x="7030086" y="326847"/>
                  <a:pt x="7040480" y="316452"/>
                  <a:pt x="7053184" y="316452"/>
                </a:cubicBezTo>
                <a:close/>
                <a:moveTo>
                  <a:pt x="5902869" y="316452"/>
                </a:moveTo>
                <a:cubicBezTo>
                  <a:pt x="5915573" y="316452"/>
                  <a:pt x="5925969" y="326847"/>
                  <a:pt x="5925969" y="339551"/>
                </a:cubicBezTo>
                <a:cubicBezTo>
                  <a:pt x="5925969" y="352256"/>
                  <a:pt x="5915573" y="362649"/>
                  <a:pt x="5902869" y="362649"/>
                </a:cubicBezTo>
                <a:cubicBezTo>
                  <a:pt x="5890165" y="362649"/>
                  <a:pt x="5879771" y="352256"/>
                  <a:pt x="5879771" y="339551"/>
                </a:cubicBezTo>
                <a:cubicBezTo>
                  <a:pt x="5879771" y="326847"/>
                  <a:pt x="5890165" y="316452"/>
                  <a:pt x="5902869" y="316452"/>
                </a:cubicBezTo>
                <a:close/>
                <a:moveTo>
                  <a:pt x="4799906" y="316452"/>
                </a:moveTo>
                <a:cubicBezTo>
                  <a:pt x="4812611" y="316452"/>
                  <a:pt x="4823006" y="326847"/>
                  <a:pt x="4823006" y="339551"/>
                </a:cubicBezTo>
                <a:cubicBezTo>
                  <a:pt x="4823006" y="352256"/>
                  <a:pt x="4812611" y="362649"/>
                  <a:pt x="4799906" y="362649"/>
                </a:cubicBezTo>
                <a:cubicBezTo>
                  <a:pt x="4787204" y="362649"/>
                  <a:pt x="4776809" y="352256"/>
                  <a:pt x="4776809" y="339551"/>
                </a:cubicBezTo>
                <a:cubicBezTo>
                  <a:pt x="4776809" y="326847"/>
                  <a:pt x="4787204" y="316452"/>
                  <a:pt x="4799906" y="316452"/>
                </a:cubicBezTo>
                <a:close/>
                <a:moveTo>
                  <a:pt x="3672691" y="316452"/>
                </a:moveTo>
                <a:cubicBezTo>
                  <a:pt x="3685396" y="316452"/>
                  <a:pt x="3695791" y="326847"/>
                  <a:pt x="3695791" y="339551"/>
                </a:cubicBezTo>
                <a:cubicBezTo>
                  <a:pt x="3695791" y="352256"/>
                  <a:pt x="3685396" y="362649"/>
                  <a:pt x="3672691" y="362649"/>
                </a:cubicBezTo>
                <a:cubicBezTo>
                  <a:pt x="3659987" y="362649"/>
                  <a:pt x="3649592" y="352256"/>
                  <a:pt x="3649592" y="339551"/>
                </a:cubicBezTo>
                <a:cubicBezTo>
                  <a:pt x="3649592" y="326847"/>
                  <a:pt x="3659987" y="316452"/>
                  <a:pt x="3672691" y="316452"/>
                </a:cubicBezTo>
                <a:close/>
                <a:moveTo>
                  <a:pt x="2440377" y="316452"/>
                </a:moveTo>
                <a:cubicBezTo>
                  <a:pt x="2453080" y="316452"/>
                  <a:pt x="2463475" y="326847"/>
                  <a:pt x="2463475" y="339551"/>
                </a:cubicBezTo>
                <a:cubicBezTo>
                  <a:pt x="2463475" y="352256"/>
                  <a:pt x="2453080" y="362649"/>
                  <a:pt x="2440377" y="362649"/>
                </a:cubicBezTo>
                <a:cubicBezTo>
                  <a:pt x="2427672" y="362649"/>
                  <a:pt x="2417278" y="352256"/>
                  <a:pt x="2417278" y="339551"/>
                </a:cubicBezTo>
                <a:cubicBezTo>
                  <a:pt x="2417278" y="326847"/>
                  <a:pt x="2427672" y="316452"/>
                  <a:pt x="2440377" y="316452"/>
                </a:cubicBezTo>
                <a:close/>
                <a:moveTo>
                  <a:pt x="1290062" y="316452"/>
                </a:moveTo>
                <a:cubicBezTo>
                  <a:pt x="1302766" y="316452"/>
                  <a:pt x="1313161" y="326847"/>
                  <a:pt x="1313161" y="339551"/>
                </a:cubicBezTo>
                <a:cubicBezTo>
                  <a:pt x="1313161" y="352256"/>
                  <a:pt x="1302766" y="362649"/>
                  <a:pt x="1290062" y="362649"/>
                </a:cubicBezTo>
                <a:cubicBezTo>
                  <a:pt x="1277357" y="362649"/>
                  <a:pt x="1266964" y="352256"/>
                  <a:pt x="1266964" y="339551"/>
                </a:cubicBezTo>
                <a:cubicBezTo>
                  <a:pt x="1266964" y="326847"/>
                  <a:pt x="1277357" y="316452"/>
                  <a:pt x="1290062" y="316452"/>
                </a:cubicBezTo>
                <a:close/>
                <a:moveTo>
                  <a:pt x="187100" y="316452"/>
                </a:moveTo>
                <a:cubicBezTo>
                  <a:pt x="199805" y="316452"/>
                  <a:pt x="210198" y="326847"/>
                  <a:pt x="210198" y="339551"/>
                </a:cubicBezTo>
                <a:cubicBezTo>
                  <a:pt x="210198" y="352256"/>
                  <a:pt x="199805" y="362649"/>
                  <a:pt x="187100" y="362649"/>
                </a:cubicBezTo>
                <a:cubicBezTo>
                  <a:pt x="174396" y="362649"/>
                  <a:pt x="164001" y="352256"/>
                  <a:pt x="164001" y="339551"/>
                </a:cubicBezTo>
                <a:cubicBezTo>
                  <a:pt x="164001" y="326847"/>
                  <a:pt x="174396" y="316452"/>
                  <a:pt x="187100" y="316452"/>
                </a:cubicBezTo>
                <a:close/>
                <a:moveTo>
                  <a:pt x="11521073" y="310678"/>
                </a:moveTo>
                <a:cubicBezTo>
                  <a:pt x="11537242" y="310678"/>
                  <a:pt x="11549947" y="323382"/>
                  <a:pt x="11549947" y="339551"/>
                </a:cubicBezTo>
                <a:cubicBezTo>
                  <a:pt x="11549947" y="355720"/>
                  <a:pt x="11537242" y="368425"/>
                  <a:pt x="11521073" y="368425"/>
                </a:cubicBezTo>
                <a:cubicBezTo>
                  <a:pt x="11504904" y="368425"/>
                  <a:pt x="11492200" y="355720"/>
                  <a:pt x="11492200" y="339551"/>
                </a:cubicBezTo>
                <a:cubicBezTo>
                  <a:pt x="11492200" y="323382"/>
                  <a:pt x="11504904" y="310678"/>
                  <a:pt x="11521073" y="310678"/>
                </a:cubicBezTo>
                <a:close/>
                <a:moveTo>
                  <a:pt x="10369604" y="310678"/>
                </a:moveTo>
                <a:cubicBezTo>
                  <a:pt x="10385773" y="310678"/>
                  <a:pt x="10398477" y="323382"/>
                  <a:pt x="10398477" y="339551"/>
                </a:cubicBezTo>
                <a:cubicBezTo>
                  <a:pt x="10398477" y="355720"/>
                  <a:pt x="10385773" y="368425"/>
                  <a:pt x="10369604" y="368425"/>
                </a:cubicBezTo>
                <a:cubicBezTo>
                  <a:pt x="10353435" y="368425"/>
                  <a:pt x="10340730" y="355720"/>
                  <a:pt x="10340730" y="339551"/>
                </a:cubicBezTo>
                <a:cubicBezTo>
                  <a:pt x="10340730" y="323382"/>
                  <a:pt x="10353435" y="310678"/>
                  <a:pt x="10369604" y="310678"/>
                </a:cubicBezTo>
                <a:close/>
                <a:moveTo>
                  <a:pt x="9543825" y="310678"/>
                </a:moveTo>
                <a:cubicBezTo>
                  <a:pt x="9558840" y="310678"/>
                  <a:pt x="9572699" y="323382"/>
                  <a:pt x="9572699" y="339551"/>
                </a:cubicBezTo>
                <a:cubicBezTo>
                  <a:pt x="9572699" y="355720"/>
                  <a:pt x="9559995" y="368425"/>
                  <a:pt x="9543825" y="368425"/>
                </a:cubicBezTo>
                <a:cubicBezTo>
                  <a:pt x="9527656" y="368425"/>
                  <a:pt x="9514953" y="355720"/>
                  <a:pt x="9514953" y="339551"/>
                </a:cubicBezTo>
                <a:cubicBezTo>
                  <a:pt x="9514953" y="323382"/>
                  <a:pt x="9527656" y="310678"/>
                  <a:pt x="9543825" y="310678"/>
                </a:cubicBezTo>
                <a:close/>
                <a:moveTo>
                  <a:pt x="8422936" y="310678"/>
                </a:moveTo>
                <a:cubicBezTo>
                  <a:pt x="8439105" y="310678"/>
                  <a:pt x="8451809" y="323382"/>
                  <a:pt x="8451809" y="339551"/>
                </a:cubicBezTo>
                <a:cubicBezTo>
                  <a:pt x="8451809" y="355720"/>
                  <a:pt x="8439105" y="368425"/>
                  <a:pt x="8422936" y="368425"/>
                </a:cubicBezTo>
                <a:cubicBezTo>
                  <a:pt x="8406767" y="368425"/>
                  <a:pt x="8394062" y="355720"/>
                  <a:pt x="8394062" y="339551"/>
                </a:cubicBezTo>
                <a:cubicBezTo>
                  <a:pt x="8394062" y="323382"/>
                  <a:pt x="8406767" y="310678"/>
                  <a:pt x="8422936" y="310678"/>
                </a:cubicBezTo>
                <a:close/>
                <a:moveTo>
                  <a:pt x="6915746" y="310678"/>
                </a:moveTo>
                <a:cubicBezTo>
                  <a:pt x="6931915" y="310678"/>
                  <a:pt x="6944621" y="323382"/>
                  <a:pt x="6944621" y="339551"/>
                </a:cubicBezTo>
                <a:cubicBezTo>
                  <a:pt x="6944621" y="355720"/>
                  <a:pt x="6931915" y="368425"/>
                  <a:pt x="6915746" y="368425"/>
                </a:cubicBezTo>
                <a:cubicBezTo>
                  <a:pt x="6899578" y="368425"/>
                  <a:pt x="6886873" y="355720"/>
                  <a:pt x="6886873" y="339551"/>
                </a:cubicBezTo>
                <a:cubicBezTo>
                  <a:pt x="6886873" y="323382"/>
                  <a:pt x="6899578" y="310678"/>
                  <a:pt x="6915746" y="310678"/>
                </a:cubicBezTo>
                <a:close/>
                <a:moveTo>
                  <a:pt x="5764278" y="310678"/>
                </a:moveTo>
                <a:cubicBezTo>
                  <a:pt x="5780447" y="310678"/>
                  <a:pt x="5793151" y="323382"/>
                  <a:pt x="5793151" y="339551"/>
                </a:cubicBezTo>
                <a:cubicBezTo>
                  <a:pt x="5793151" y="355720"/>
                  <a:pt x="5780447" y="368425"/>
                  <a:pt x="5764278" y="368425"/>
                </a:cubicBezTo>
                <a:cubicBezTo>
                  <a:pt x="5748109" y="368425"/>
                  <a:pt x="5735405" y="355720"/>
                  <a:pt x="5735405" y="339551"/>
                </a:cubicBezTo>
                <a:cubicBezTo>
                  <a:pt x="5735405" y="323382"/>
                  <a:pt x="5748109" y="310678"/>
                  <a:pt x="5764278" y="310678"/>
                </a:cubicBezTo>
                <a:close/>
                <a:moveTo>
                  <a:pt x="4938500" y="310678"/>
                </a:moveTo>
                <a:cubicBezTo>
                  <a:pt x="4953513" y="310678"/>
                  <a:pt x="4967373" y="323382"/>
                  <a:pt x="4967373" y="339551"/>
                </a:cubicBezTo>
                <a:cubicBezTo>
                  <a:pt x="4967373" y="355720"/>
                  <a:pt x="4954668" y="368425"/>
                  <a:pt x="4938500" y="368425"/>
                </a:cubicBezTo>
                <a:cubicBezTo>
                  <a:pt x="4922331" y="368425"/>
                  <a:pt x="4909627" y="355720"/>
                  <a:pt x="4909627" y="339551"/>
                </a:cubicBezTo>
                <a:cubicBezTo>
                  <a:pt x="4909627" y="323382"/>
                  <a:pt x="4922331" y="310678"/>
                  <a:pt x="4938500" y="310678"/>
                </a:cubicBezTo>
                <a:close/>
                <a:moveTo>
                  <a:pt x="3810129" y="310678"/>
                </a:moveTo>
                <a:cubicBezTo>
                  <a:pt x="3826298" y="310678"/>
                  <a:pt x="3839002" y="323382"/>
                  <a:pt x="3839002" y="339551"/>
                </a:cubicBezTo>
                <a:cubicBezTo>
                  <a:pt x="3839002" y="355720"/>
                  <a:pt x="3826298" y="368425"/>
                  <a:pt x="3810129" y="368425"/>
                </a:cubicBezTo>
                <a:cubicBezTo>
                  <a:pt x="3793960" y="368425"/>
                  <a:pt x="3781255" y="355720"/>
                  <a:pt x="3781255" y="339551"/>
                </a:cubicBezTo>
                <a:cubicBezTo>
                  <a:pt x="3781255" y="323382"/>
                  <a:pt x="3793960" y="310678"/>
                  <a:pt x="3810129" y="310678"/>
                </a:cubicBezTo>
                <a:close/>
                <a:moveTo>
                  <a:pt x="2302939" y="310678"/>
                </a:moveTo>
                <a:cubicBezTo>
                  <a:pt x="2319108" y="310678"/>
                  <a:pt x="2331813" y="323382"/>
                  <a:pt x="2331813" y="339551"/>
                </a:cubicBezTo>
                <a:cubicBezTo>
                  <a:pt x="2331813" y="355720"/>
                  <a:pt x="2319108" y="368425"/>
                  <a:pt x="2302939" y="368425"/>
                </a:cubicBezTo>
                <a:cubicBezTo>
                  <a:pt x="2286771" y="368425"/>
                  <a:pt x="2274067" y="355720"/>
                  <a:pt x="2274067" y="339551"/>
                </a:cubicBezTo>
                <a:cubicBezTo>
                  <a:pt x="2274067" y="323382"/>
                  <a:pt x="2286771" y="310678"/>
                  <a:pt x="2302939" y="310678"/>
                </a:cubicBezTo>
                <a:close/>
                <a:moveTo>
                  <a:pt x="1151470" y="310678"/>
                </a:moveTo>
                <a:cubicBezTo>
                  <a:pt x="1167639" y="310678"/>
                  <a:pt x="1180343" y="323382"/>
                  <a:pt x="1180343" y="339551"/>
                </a:cubicBezTo>
                <a:cubicBezTo>
                  <a:pt x="1180343" y="355720"/>
                  <a:pt x="1167639" y="368425"/>
                  <a:pt x="1151470" y="368425"/>
                </a:cubicBezTo>
                <a:cubicBezTo>
                  <a:pt x="1135301" y="368425"/>
                  <a:pt x="1122596" y="355720"/>
                  <a:pt x="1122596" y="339551"/>
                </a:cubicBezTo>
                <a:cubicBezTo>
                  <a:pt x="1122596" y="323382"/>
                  <a:pt x="1135301" y="310678"/>
                  <a:pt x="1151470" y="310678"/>
                </a:cubicBezTo>
                <a:close/>
                <a:moveTo>
                  <a:pt x="325692" y="310678"/>
                </a:moveTo>
                <a:cubicBezTo>
                  <a:pt x="340706" y="310678"/>
                  <a:pt x="354566" y="323382"/>
                  <a:pt x="354566" y="339551"/>
                </a:cubicBezTo>
                <a:cubicBezTo>
                  <a:pt x="354566" y="355720"/>
                  <a:pt x="341861" y="368425"/>
                  <a:pt x="325692" y="368425"/>
                </a:cubicBezTo>
                <a:cubicBezTo>
                  <a:pt x="309523" y="368425"/>
                  <a:pt x="296819" y="355720"/>
                  <a:pt x="296819" y="339551"/>
                </a:cubicBezTo>
                <a:cubicBezTo>
                  <a:pt x="296819" y="323382"/>
                  <a:pt x="309523" y="310678"/>
                  <a:pt x="325692" y="310678"/>
                </a:cubicBezTo>
                <a:close/>
                <a:moveTo>
                  <a:pt x="11383636" y="304903"/>
                </a:moveTo>
                <a:cubicBezTo>
                  <a:pt x="11402115" y="304903"/>
                  <a:pt x="11418284" y="321072"/>
                  <a:pt x="11418284" y="339551"/>
                </a:cubicBezTo>
                <a:cubicBezTo>
                  <a:pt x="11418284" y="358030"/>
                  <a:pt x="11403270" y="374199"/>
                  <a:pt x="11383636" y="374199"/>
                </a:cubicBezTo>
                <a:cubicBezTo>
                  <a:pt x="11365157" y="374199"/>
                  <a:pt x="11348988" y="358030"/>
                  <a:pt x="11348988" y="339551"/>
                </a:cubicBezTo>
                <a:cubicBezTo>
                  <a:pt x="11348988" y="321072"/>
                  <a:pt x="11364002" y="304903"/>
                  <a:pt x="11383636" y="304903"/>
                </a:cubicBezTo>
                <a:close/>
                <a:moveTo>
                  <a:pt x="10811943" y="304903"/>
                </a:moveTo>
                <a:cubicBezTo>
                  <a:pt x="10830422" y="304903"/>
                  <a:pt x="10846591" y="321072"/>
                  <a:pt x="10846591" y="339551"/>
                </a:cubicBezTo>
                <a:cubicBezTo>
                  <a:pt x="10846591" y="358030"/>
                  <a:pt x="10831578" y="374199"/>
                  <a:pt x="10811943" y="374199"/>
                </a:cubicBezTo>
                <a:cubicBezTo>
                  <a:pt x="10793464" y="374199"/>
                  <a:pt x="10777295" y="358030"/>
                  <a:pt x="10777295" y="339551"/>
                </a:cubicBezTo>
                <a:cubicBezTo>
                  <a:pt x="10777295" y="321072"/>
                  <a:pt x="10792310" y="304903"/>
                  <a:pt x="10811943" y="304903"/>
                </a:cubicBezTo>
                <a:close/>
                <a:moveTo>
                  <a:pt x="10232166" y="304903"/>
                </a:moveTo>
                <a:cubicBezTo>
                  <a:pt x="10251801" y="304903"/>
                  <a:pt x="10266814" y="321072"/>
                  <a:pt x="10266814" y="339551"/>
                </a:cubicBezTo>
                <a:cubicBezTo>
                  <a:pt x="10266814" y="358030"/>
                  <a:pt x="10250645" y="374199"/>
                  <a:pt x="10232166" y="374199"/>
                </a:cubicBezTo>
                <a:cubicBezTo>
                  <a:pt x="10213687" y="374199"/>
                  <a:pt x="10197518" y="358030"/>
                  <a:pt x="10197518" y="339551"/>
                </a:cubicBezTo>
                <a:cubicBezTo>
                  <a:pt x="10197518" y="321072"/>
                  <a:pt x="10212533" y="304903"/>
                  <a:pt x="10232166" y="304903"/>
                </a:cubicBezTo>
                <a:close/>
                <a:moveTo>
                  <a:pt x="9681263" y="304903"/>
                </a:moveTo>
                <a:cubicBezTo>
                  <a:pt x="9700896" y="304903"/>
                  <a:pt x="9715911" y="321072"/>
                  <a:pt x="9715911" y="339551"/>
                </a:cubicBezTo>
                <a:cubicBezTo>
                  <a:pt x="9715911" y="358030"/>
                  <a:pt x="9699742" y="374199"/>
                  <a:pt x="9681263" y="374199"/>
                </a:cubicBezTo>
                <a:cubicBezTo>
                  <a:pt x="9662784" y="374199"/>
                  <a:pt x="9646615" y="358030"/>
                  <a:pt x="9646615" y="339551"/>
                </a:cubicBezTo>
                <a:cubicBezTo>
                  <a:pt x="9646615" y="321072"/>
                  <a:pt x="9661629" y="304903"/>
                  <a:pt x="9681263" y="304903"/>
                </a:cubicBezTo>
                <a:close/>
                <a:moveTo>
                  <a:pt x="9112431" y="304903"/>
                </a:moveTo>
                <a:cubicBezTo>
                  <a:pt x="9130910" y="304903"/>
                  <a:pt x="9147079" y="321072"/>
                  <a:pt x="9147079" y="339551"/>
                </a:cubicBezTo>
                <a:cubicBezTo>
                  <a:pt x="9147079" y="358030"/>
                  <a:pt x="9132065" y="374199"/>
                  <a:pt x="9112431" y="374199"/>
                </a:cubicBezTo>
                <a:cubicBezTo>
                  <a:pt x="9093952" y="374199"/>
                  <a:pt x="9077783" y="358030"/>
                  <a:pt x="9077783" y="339551"/>
                </a:cubicBezTo>
                <a:cubicBezTo>
                  <a:pt x="9077783" y="321072"/>
                  <a:pt x="9092798" y="304903"/>
                  <a:pt x="9112431" y="304903"/>
                </a:cubicBezTo>
                <a:close/>
                <a:moveTo>
                  <a:pt x="8561528" y="304903"/>
                </a:moveTo>
                <a:cubicBezTo>
                  <a:pt x="8580007" y="304903"/>
                  <a:pt x="8596176" y="321072"/>
                  <a:pt x="8596176" y="339551"/>
                </a:cubicBezTo>
                <a:cubicBezTo>
                  <a:pt x="8596176" y="358030"/>
                  <a:pt x="8581161" y="374199"/>
                  <a:pt x="8561528" y="374199"/>
                </a:cubicBezTo>
                <a:cubicBezTo>
                  <a:pt x="8543049" y="374199"/>
                  <a:pt x="8526880" y="358030"/>
                  <a:pt x="8526880" y="339551"/>
                </a:cubicBezTo>
                <a:cubicBezTo>
                  <a:pt x="8526880" y="321072"/>
                  <a:pt x="8541893" y="304903"/>
                  <a:pt x="8561528" y="304903"/>
                </a:cubicBezTo>
                <a:close/>
                <a:moveTo>
                  <a:pt x="6778310" y="304903"/>
                </a:moveTo>
                <a:cubicBezTo>
                  <a:pt x="6796790" y="304903"/>
                  <a:pt x="6812959" y="321072"/>
                  <a:pt x="6812959" y="339551"/>
                </a:cubicBezTo>
                <a:cubicBezTo>
                  <a:pt x="6812959" y="358030"/>
                  <a:pt x="6796790" y="374199"/>
                  <a:pt x="6778310" y="374199"/>
                </a:cubicBezTo>
                <a:cubicBezTo>
                  <a:pt x="6759831" y="374199"/>
                  <a:pt x="6743662" y="358030"/>
                  <a:pt x="6743662" y="339551"/>
                </a:cubicBezTo>
                <a:cubicBezTo>
                  <a:pt x="6743662" y="321072"/>
                  <a:pt x="6758675" y="304903"/>
                  <a:pt x="6778310" y="304903"/>
                </a:cubicBezTo>
                <a:close/>
                <a:moveTo>
                  <a:pt x="6206618" y="304903"/>
                </a:moveTo>
                <a:cubicBezTo>
                  <a:pt x="6225097" y="304903"/>
                  <a:pt x="6241265" y="321072"/>
                  <a:pt x="6241265" y="339551"/>
                </a:cubicBezTo>
                <a:cubicBezTo>
                  <a:pt x="6241265" y="358030"/>
                  <a:pt x="6226251" y="374199"/>
                  <a:pt x="6206618" y="374199"/>
                </a:cubicBezTo>
                <a:cubicBezTo>
                  <a:pt x="6188138" y="374199"/>
                  <a:pt x="6171969" y="358030"/>
                  <a:pt x="6171969" y="339551"/>
                </a:cubicBezTo>
                <a:cubicBezTo>
                  <a:pt x="6171969" y="321072"/>
                  <a:pt x="6186984" y="304903"/>
                  <a:pt x="6206618" y="304903"/>
                </a:cubicBezTo>
                <a:close/>
                <a:moveTo>
                  <a:pt x="5626840" y="304903"/>
                </a:moveTo>
                <a:cubicBezTo>
                  <a:pt x="5646475" y="304903"/>
                  <a:pt x="5661488" y="321072"/>
                  <a:pt x="5661488" y="339551"/>
                </a:cubicBezTo>
                <a:cubicBezTo>
                  <a:pt x="5661488" y="358030"/>
                  <a:pt x="5646475" y="374199"/>
                  <a:pt x="5626840" y="374199"/>
                </a:cubicBezTo>
                <a:cubicBezTo>
                  <a:pt x="5608360" y="374199"/>
                  <a:pt x="5592192" y="358030"/>
                  <a:pt x="5592192" y="339551"/>
                </a:cubicBezTo>
                <a:cubicBezTo>
                  <a:pt x="5592192" y="321072"/>
                  <a:pt x="5607207" y="304903"/>
                  <a:pt x="5626840" y="304903"/>
                </a:cubicBezTo>
                <a:close/>
                <a:moveTo>
                  <a:pt x="5075938" y="304903"/>
                </a:moveTo>
                <a:cubicBezTo>
                  <a:pt x="5095571" y="304903"/>
                  <a:pt x="5110584" y="321072"/>
                  <a:pt x="5110584" y="339551"/>
                </a:cubicBezTo>
                <a:cubicBezTo>
                  <a:pt x="5110584" y="358030"/>
                  <a:pt x="5095571" y="374199"/>
                  <a:pt x="5075938" y="374199"/>
                </a:cubicBezTo>
                <a:cubicBezTo>
                  <a:pt x="5057458" y="374199"/>
                  <a:pt x="5041289" y="358030"/>
                  <a:pt x="5041289" y="339551"/>
                </a:cubicBezTo>
                <a:cubicBezTo>
                  <a:pt x="5041289" y="321072"/>
                  <a:pt x="5056302" y="304903"/>
                  <a:pt x="5075938" y="304903"/>
                </a:cubicBezTo>
                <a:close/>
                <a:moveTo>
                  <a:pt x="4499625" y="304903"/>
                </a:moveTo>
                <a:cubicBezTo>
                  <a:pt x="4518102" y="304903"/>
                  <a:pt x="4534273" y="321072"/>
                  <a:pt x="4534273" y="339551"/>
                </a:cubicBezTo>
                <a:cubicBezTo>
                  <a:pt x="4534273" y="358030"/>
                  <a:pt x="4519258" y="374199"/>
                  <a:pt x="4499625" y="374199"/>
                </a:cubicBezTo>
                <a:cubicBezTo>
                  <a:pt x="4481145" y="374199"/>
                  <a:pt x="4464976" y="358030"/>
                  <a:pt x="4464976" y="339551"/>
                </a:cubicBezTo>
                <a:cubicBezTo>
                  <a:pt x="4464976" y="321072"/>
                  <a:pt x="4479992" y="304903"/>
                  <a:pt x="4499625" y="304903"/>
                </a:cubicBezTo>
                <a:close/>
                <a:moveTo>
                  <a:pt x="3948721" y="304903"/>
                </a:moveTo>
                <a:cubicBezTo>
                  <a:pt x="3967200" y="304903"/>
                  <a:pt x="3983369" y="321072"/>
                  <a:pt x="3983369" y="339551"/>
                </a:cubicBezTo>
                <a:cubicBezTo>
                  <a:pt x="3983369" y="358030"/>
                  <a:pt x="3968354" y="374199"/>
                  <a:pt x="3948721" y="374199"/>
                </a:cubicBezTo>
                <a:cubicBezTo>
                  <a:pt x="3930243" y="374199"/>
                  <a:pt x="3914073" y="358030"/>
                  <a:pt x="3914073" y="339551"/>
                </a:cubicBezTo>
                <a:cubicBezTo>
                  <a:pt x="3914073" y="321072"/>
                  <a:pt x="3929086" y="304903"/>
                  <a:pt x="3948721" y="304903"/>
                </a:cubicBezTo>
                <a:close/>
                <a:moveTo>
                  <a:pt x="2165502" y="304903"/>
                </a:moveTo>
                <a:cubicBezTo>
                  <a:pt x="2183981" y="304903"/>
                  <a:pt x="2200150" y="321072"/>
                  <a:pt x="2200150" y="339551"/>
                </a:cubicBezTo>
                <a:cubicBezTo>
                  <a:pt x="2200150" y="358030"/>
                  <a:pt x="2185137" y="374199"/>
                  <a:pt x="2165502" y="374199"/>
                </a:cubicBezTo>
                <a:cubicBezTo>
                  <a:pt x="2147023" y="374199"/>
                  <a:pt x="2130854" y="358030"/>
                  <a:pt x="2130854" y="339551"/>
                </a:cubicBezTo>
                <a:cubicBezTo>
                  <a:pt x="2130854" y="321072"/>
                  <a:pt x="2145868" y="304903"/>
                  <a:pt x="2165502" y="304903"/>
                </a:cubicBezTo>
                <a:close/>
                <a:moveTo>
                  <a:pt x="1593810" y="304903"/>
                </a:moveTo>
                <a:cubicBezTo>
                  <a:pt x="1612288" y="304903"/>
                  <a:pt x="1628457" y="321072"/>
                  <a:pt x="1628457" y="339551"/>
                </a:cubicBezTo>
                <a:cubicBezTo>
                  <a:pt x="1628457" y="358030"/>
                  <a:pt x="1613444" y="374199"/>
                  <a:pt x="1593810" y="374199"/>
                </a:cubicBezTo>
                <a:cubicBezTo>
                  <a:pt x="1575330" y="374199"/>
                  <a:pt x="1559161" y="358030"/>
                  <a:pt x="1559161" y="339551"/>
                </a:cubicBezTo>
                <a:cubicBezTo>
                  <a:pt x="1559161" y="321072"/>
                  <a:pt x="1574176" y="304903"/>
                  <a:pt x="1593810" y="304903"/>
                </a:cubicBezTo>
                <a:close/>
                <a:moveTo>
                  <a:pt x="1014032" y="304903"/>
                </a:moveTo>
                <a:cubicBezTo>
                  <a:pt x="1033667" y="304903"/>
                  <a:pt x="1048681" y="321072"/>
                  <a:pt x="1048681" y="339551"/>
                </a:cubicBezTo>
                <a:cubicBezTo>
                  <a:pt x="1048681" y="358030"/>
                  <a:pt x="1032511" y="374199"/>
                  <a:pt x="1014032" y="374199"/>
                </a:cubicBezTo>
                <a:cubicBezTo>
                  <a:pt x="995554" y="374199"/>
                  <a:pt x="979384" y="358030"/>
                  <a:pt x="979384" y="339551"/>
                </a:cubicBezTo>
                <a:cubicBezTo>
                  <a:pt x="979384" y="321072"/>
                  <a:pt x="994399" y="304903"/>
                  <a:pt x="1014032" y="304903"/>
                </a:cubicBezTo>
                <a:close/>
                <a:moveTo>
                  <a:pt x="463129" y="304903"/>
                </a:moveTo>
                <a:cubicBezTo>
                  <a:pt x="482763" y="304903"/>
                  <a:pt x="497778" y="321072"/>
                  <a:pt x="497778" y="339551"/>
                </a:cubicBezTo>
                <a:cubicBezTo>
                  <a:pt x="497778" y="358030"/>
                  <a:pt x="481608" y="374199"/>
                  <a:pt x="463129" y="374199"/>
                </a:cubicBezTo>
                <a:cubicBezTo>
                  <a:pt x="444651" y="374199"/>
                  <a:pt x="428481" y="358030"/>
                  <a:pt x="428481" y="339551"/>
                </a:cubicBezTo>
                <a:cubicBezTo>
                  <a:pt x="428481" y="321072"/>
                  <a:pt x="443495" y="304903"/>
                  <a:pt x="463129" y="304903"/>
                </a:cubicBezTo>
                <a:close/>
                <a:moveTo>
                  <a:pt x="11245044" y="299129"/>
                </a:moveTo>
                <a:cubicBezTo>
                  <a:pt x="11268143" y="299129"/>
                  <a:pt x="11285466" y="317608"/>
                  <a:pt x="11285466" y="339551"/>
                </a:cubicBezTo>
                <a:cubicBezTo>
                  <a:pt x="11285466" y="361495"/>
                  <a:pt x="11266987" y="379974"/>
                  <a:pt x="11245044" y="379974"/>
                </a:cubicBezTo>
                <a:cubicBezTo>
                  <a:pt x="11223100" y="379974"/>
                  <a:pt x="11204621" y="361495"/>
                  <a:pt x="11204621" y="339551"/>
                </a:cubicBezTo>
                <a:cubicBezTo>
                  <a:pt x="11204621" y="317608"/>
                  <a:pt x="11223100" y="299129"/>
                  <a:pt x="11245044" y="299129"/>
                </a:cubicBezTo>
                <a:close/>
                <a:moveTo>
                  <a:pt x="10970170" y="299129"/>
                </a:moveTo>
                <a:cubicBezTo>
                  <a:pt x="10992113" y="299129"/>
                  <a:pt x="11010592" y="317608"/>
                  <a:pt x="11010592" y="339551"/>
                </a:cubicBezTo>
                <a:cubicBezTo>
                  <a:pt x="11010592" y="361495"/>
                  <a:pt x="10992113" y="379974"/>
                  <a:pt x="10970170" y="379974"/>
                </a:cubicBezTo>
                <a:cubicBezTo>
                  <a:pt x="10948226" y="379974"/>
                  <a:pt x="10929746" y="361495"/>
                  <a:pt x="10929746" y="339551"/>
                </a:cubicBezTo>
                <a:cubicBezTo>
                  <a:pt x="10929746" y="317608"/>
                  <a:pt x="10948226" y="299129"/>
                  <a:pt x="10970170" y="299129"/>
                </a:cubicBezTo>
                <a:close/>
                <a:moveTo>
                  <a:pt x="10094730" y="299129"/>
                </a:moveTo>
                <a:cubicBezTo>
                  <a:pt x="10116673" y="299129"/>
                  <a:pt x="10135152" y="317608"/>
                  <a:pt x="10135152" y="339551"/>
                </a:cubicBezTo>
                <a:cubicBezTo>
                  <a:pt x="10135152" y="361495"/>
                  <a:pt x="10116673" y="379974"/>
                  <a:pt x="10094730" y="379974"/>
                </a:cubicBezTo>
                <a:cubicBezTo>
                  <a:pt x="10072785" y="379974"/>
                  <a:pt x="10054306" y="361495"/>
                  <a:pt x="10054306" y="339551"/>
                </a:cubicBezTo>
                <a:cubicBezTo>
                  <a:pt x="10054306" y="317608"/>
                  <a:pt x="10072785" y="299129"/>
                  <a:pt x="10094730" y="299129"/>
                </a:cubicBezTo>
                <a:close/>
                <a:moveTo>
                  <a:pt x="9818700" y="299129"/>
                </a:moveTo>
                <a:cubicBezTo>
                  <a:pt x="9841798" y="299129"/>
                  <a:pt x="9859123" y="318762"/>
                  <a:pt x="9859123" y="340706"/>
                </a:cubicBezTo>
                <a:cubicBezTo>
                  <a:pt x="9859123" y="362649"/>
                  <a:pt x="9840644" y="381128"/>
                  <a:pt x="9818700" y="381128"/>
                </a:cubicBezTo>
                <a:cubicBezTo>
                  <a:pt x="9796757" y="381128"/>
                  <a:pt x="9778278" y="361495"/>
                  <a:pt x="9778278" y="339551"/>
                </a:cubicBezTo>
                <a:cubicBezTo>
                  <a:pt x="9778278" y="317608"/>
                  <a:pt x="9796757" y="299129"/>
                  <a:pt x="9818700" y="299129"/>
                </a:cubicBezTo>
                <a:close/>
                <a:moveTo>
                  <a:pt x="8974994" y="299129"/>
                </a:moveTo>
                <a:cubicBezTo>
                  <a:pt x="8996938" y="299129"/>
                  <a:pt x="9015416" y="317608"/>
                  <a:pt x="9015416" y="339551"/>
                </a:cubicBezTo>
                <a:cubicBezTo>
                  <a:pt x="9015416" y="361495"/>
                  <a:pt x="8996938" y="379974"/>
                  <a:pt x="8974994" y="379974"/>
                </a:cubicBezTo>
                <a:cubicBezTo>
                  <a:pt x="8953050" y="379974"/>
                  <a:pt x="8934571" y="361495"/>
                  <a:pt x="8934571" y="339551"/>
                </a:cubicBezTo>
                <a:cubicBezTo>
                  <a:pt x="8934571" y="317608"/>
                  <a:pt x="8953050" y="299129"/>
                  <a:pt x="8974994" y="299129"/>
                </a:cubicBezTo>
                <a:close/>
                <a:moveTo>
                  <a:pt x="8698965" y="299129"/>
                </a:moveTo>
                <a:cubicBezTo>
                  <a:pt x="8720909" y="299129"/>
                  <a:pt x="8739388" y="317608"/>
                  <a:pt x="8739388" y="339551"/>
                </a:cubicBezTo>
                <a:cubicBezTo>
                  <a:pt x="8739388" y="361495"/>
                  <a:pt x="8720909" y="379974"/>
                  <a:pt x="8698965" y="379974"/>
                </a:cubicBezTo>
                <a:cubicBezTo>
                  <a:pt x="8677021" y="379974"/>
                  <a:pt x="8658542" y="361495"/>
                  <a:pt x="8658542" y="339551"/>
                </a:cubicBezTo>
                <a:cubicBezTo>
                  <a:pt x="8658542" y="317608"/>
                  <a:pt x="8677021" y="299129"/>
                  <a:pt x="8698965" y="299129"/>
                </a:cubicBezTo>
                <a:close/>
                <a:moveTo>
                  <a:pt x="6639717" y="299129"/>
                </a:moveTo>
                <a:cubicBezTo>
                  <a:pt x="6662817" y="299129"/>
                  <a:pt x="6680139" y="317608"/>
                  <a:pt x="6680139" y="339551"/>
                </a:cubicBezTo>
                <a:cubicBezTo>
                  <a:pt x="6680139" y="361495"/>
                  <a:pt x="6661661" y="379974"/>
                  <a:pt x="6639717" y="379974"/>
                </a:cubicBezTo>
                <a:cubicBezTo>
                  <a:pt x="6617773" y="379974"/>
                  <a:pt x="6599295" y="361495"/>
                  <a:pt x="6599295" y="339551"/>
                </a:cubicBezTo>
                <a:cubicBezTo>
                  <a:pt x="6599295" y="317608"/>
                  <a:pt x="6617773" y="299129"/>
                  <a:pt x="6639717" y="299129"/>
                </a:cubicBezTo>
                <a:close/>
                <a:moveTo>
                  <a:pt x="6364844" y="299129"/>
                </a:moveTo>
                <a:cubicBezTo>
                  <a:pt x="6386786" y="299129"/>
                  <a:pt x="6405265" y="317608"/>
                  <a:pt x="6405265" y="339551"/>
                </a:cubicBezTo>
                <a:cubicBezTo>
                  <a:pt x="6405265" y="361495"/>
                  <a:pt x="6386786" y="379974"/>
                  <a:pt x="6364844" y="379974"/>
                </a:cubicBezTo>
                <a:cubicBezTo>
                  <a:pt x="6342899" y="379974"/>
                  <a:pt x="6324420" y="361495"/>
                  <a:pt x="6324420" y="339551"/>
                </a:cubicBezTo>
                <a:cubicBezTo>
                  <a:pt x="6324420" y="317608"/>
                  <a:pt x="6342899" y="299129"/>
                  <a:pt x="6364844" y="299129"/>
                </a:cubicBezTo>
                <a:close/>
                <a:moveTo>
                  <a:pt x="5489404" y="299129"/>
                </a:moveTo>
                <a:cubicBezTo>
                  <a:pt x="5511346" y="299129"/>
                  <a:pt x="5529826" y="317608"/>
                  <a:pt x="5529826" y="339551"/>
                </a:cubicBezTo>
                <a:cubicBezTo>
                  <a:pt x="5529826" y="361495"/>
                  <a:pt x="5511346" y="379974"/>
                  <a:pt x="5489404" y="379974"/>
                </a:cubicBezTo>
                <a:cubicBezTo>
                  <a:pt x="5467460" y="379974"/>
                  <a:pt x="5448980" y="361495"/>
                  <a:pt x="5448980" y="339551"/>
                </a:cubicBezTo>
                <a:cubicBezTo>
                  <a:pt x="5448980" y="317608"/>
                  <a:pt x="5467460" y="299129"/>
                  <a:pt x="5489404" y="299129"/>
                </a:cubicBezTo>
                <a:close/>
                <a:moveTo>
                  <a:pt x="5213373" y="299129"/>
                </a:moveTo>
                <a:cubicBezTo>
                  <a:pt x="5236473" y="299129"/>
                  <a:pt x="5253797" y="317608"/>
                  <a:pt x="5253797" y="339551"/>
                </a:cubicBezTo>
                <a:cubicBezTo>
                  <a:pt x="5253797" y="361495"/>
                  <a:pt x="5235319" y="379974"/>
                  <a:pt x="5213373" y="379974"/>
                </a:cubicBezTo>
                <a:cubicBezTo>
                  <a:pt x="5191431" y="379974"/>
                  <a:pt x="5172952" y="361495"/>
                  <a:pt x="5172952" y="339551"/>
                </a:cubicBezTo>
                <a:cubicBezTo>
                  <a:pt x="5172952" y="317608"/>
                  <a:pt x="5191431" y="299129"/>
                  <a:pt x="5213373" y="299129"/>
                </a:cubicBezTo>
                <a:close/>
                <a:moveTo>
                  <a:pt x="4361031" y="299129"/>
                </a:moveTo>
                <a:cubicBezTo>
                  <a:pt x="4384131" y="299129"/>
                  <a:pt x="4401455" y="317608"/>
                  <a:pt x="4401455" y="339551"/>
                </a:cubicBezTo>
                <a:cubicBezTo>
                  <a:pt x="4401455" y="361495"/>
                  <a:pt x="4382977" y="379974"/>
                  <a:pt x="4361031" y="379974"/>
                </a:cubicBezTo>
                <a:cubicBezTo>
                  <a:pt x="4339089" y="379974"/>
                  <a:pt x="4320610" y="361495"/>
                  <a:pt x="4320610" y="339551"/>
                </a:cubicBezTo>
                <a:cubicBezTo>
                  <a:pt x="4320610" y="317608"/>
                  <a:pt x="4339089" y="299129"/>
                  <a:pt x="4361031" y="299129"/>
                </a:cubicBezTo>
                <a:close/>
                <a:moveTo>
                  <a:pt x="4086158" y="299129"/>
                </a:moveTo>
                <a:cubicBezTo>
                  <a:pt x="4108102" y="299129"/>
                  <a:pt x="4126582" y="317608"/>
                  <a:pt x="4126582" y="339551"/>
                </a:cubicBezTo>
                <a:cubicBezTo>
                  <a:pt x="4126582" y="361495"/>
                  <a:pt x="4108102" y="379974"/>
                  <a:pt x="4086158" y="379974"/>
                </a:cubicBezTo>
                <a:cubicBezTo>
                  <a:pt x="4064214" y="379974"/>
                  <a:pt x="4045735" y="361495"/>
                  <a:pt x="4045735" y="339551"/>
                </a:cubicBezTo>
                <a:cubicBezTo>
                  <a:pt x="4045735" y="317608"/>
                  <a:pt x="4064214" y="299129"/>
                  <a:pt x="4086158" y="299129"/>
                </a:cubicBezTo>
                <a:close/>
                <a:moveTo>
                  <a:pt x="2026910" y="299129"/>
                </a:moveTo>
                <a:cubicBezTo>
                  <a:pt x="2050009" y="299129"/>
                  <a:pt x="2067332" y="317608"/>
                  <a:pt x="2067332" y="339551"/>
                </a:cubicBezTo>
                <a:cubicBezTo>
                  <a:pt x="2067332" y="361495"/>
                  <a:pt x="2048854" y="379974"/>
                  <a:pt x="2026910" y="379974"/>
                </a:cubicBezTo>
                <a:cubicBezTo>
                  <a:pt x="2004966" y="379974"/>
                  <a:pt x="1986487" y="361495"/>
                  <a:pt x="1986487" y="339551"/>
                </a:cubicBezTo>
                <a:cubicBezTo>
                  <a:pt x="1986487" y="317608"/>
                  <a:pt x="2004966" y="299129"/>
                  <a:pt x="2026910" y="299129"/>
                </a:cubicBezTo>
                <a:close/>
                <a:moveTo>
                  <a:pt x="1752036" y="299129"/>
                </a:moveTo>
                <a:cubicBezTo>
                  <a:pt x="1773979" y="299129"/>
                  <a:pt x="1792458" y="317608"/>
                  <a:pt x="1792458" y="339551"/>
                </a:cubicBezTo>
                <a:cubicBezTo>
                  <a:pt x="1792458" y="361495"/>
                  <a:pt x="1773979" y="379974"/>
                  <a:pt x="1752036" y="379974"/>
                </a:cubicBezTo>
                <a:cubicBezTo>
                  <a:pt x="1730092" y="379974"/>
                  <a:pt x="1711613" y="361495"/>
                  <a:pt x="1711613" y="339551"/>
                </a:cubicBezTo>
                <a:cubicBezTo>
                  <a:pt x="1711613" y="317608"/>
                  <a:pt x="1730092" y="299129"/>
                  <a:pt x="1752036" y="299129"/>
                </a:cubicBezTo>
                <a:close/>
                <a:moveTo>
                  <a:pt x="876596" y="299129"/>
                </a:moveTo>
                <a:cubicBezTo>
                  <a:pt x="898539" y="299129"/>
                  <a:pt x="917018" y="317608"/>
                  <a:pt x="917018" y="339551"/>
                </a:cubicBezTo>
                <a:cubicBezTo>
                  <a:pt x="917018" y="361495"/>
                  <a:pt x="898539" y="379974"/>
                  <a:pt x="876596" y="379974"/>
                </a:cubicBezTo>
                <a:cubicBezTo>
                  <a:pt x="854652" y="379974"/>
                  <a:pt x="836172" y="361495"/>
                  <a:pt x="836172" y="339551"/>
                </a:cubicBezTo>
                <a:cubicBezTo>
                  <a:pt x="836172" y="317608"/>
                  <a:pt x="854652" y="299129"/>
                  <a:pt x="876596" y="299129"/>
                </a:cubicBezTo>
                <a:close/>
                <a:moveTo>
                  <a:pt x="600566" y="299129"/>
                </a:moveTo>
                <a:cubicBezTo>
                  <a:pt x="623665" y="299129"/>
                  <a:pt x="640989" y="318762"/>
                  <a:pt x="640989" y="340706"/>
                </a:cubicBezTo>
                <a:cubicBezTo>
                  <a:pt x="640989" y="362649"/>
                  <a:pt x="622510" y="381128"/>
                  <a:pt x="600566" y="381128"/>
                </a:cubicBezTo>
                <a:cubicBezTo>
                  <a:pt x="578623" y="381128"/>
                  <a:pt x="560144" y="361495"/>
                  <a:pt x="560144" y="339551"/>
                </a:cubicBezTo>
                <a:cubicBezTo>
                  <a:pt x="560144" y="317608"/>
                  <a:pt x="578623" y="299129"/>
                  <a:pt x="600566" y="299129"/>
                </a:cubicBezTo>
                <a:close/>
                <a:moveTo>
                  <a:pt x="11107606" y="288734"/>
                </a:moveTo>
                <a:cubicBezTo>
                  <a:pt x="11136480" y="288734"/>
                  <a:pt x="11158424" y="311832"/>
                  <a:pt x="11158424" y="339551"/>
                </a:cubicBezTo>
                <a:cubicBezTo>
                  <a:pt x="11158424" y="367269"/>
                  <a:pt x="11136480" y="390368"/>
                  <a:pt x="11107606" y="390368"/>
                </a:cubicBezTo>
                <a:cubicBezTo>
                  <a:pt x="11079888" y="390368"/>
                  <a:pt x="11056789" y="367269"/>
                  <a:pt x="11056789" y="339551"/>
                </a:cubicBezTo>
                <a:cubicBezTo>
                  <a:pt x="11056789" y="311832"/>
                  <a:pt x="11078734" y="288734"/>
                  <a:pt x="11107606" y="288734"/>
                </a:cubicBezTo>
                <a:close/>
                <a:moveTo>
                  <a:pt x="9957292" y="288734"/>
                </a:moveTo>
                <a:cubicBezTo>
                  <a:pt x="9985010" y="288734"/>
                  <a:pt x="10008109" y="311832"/>
                  <a:pt x="10008109" y="339551"/>
                </a:cubicBezTo>
                <a:cubicBezTo>
                  <a:pt x="10008109" y="367269"/>
                  <a:pt x="9985010" y="390368"/>
                  <a:pt x="9957292" y="390368"/>
                </a:cubicBezTo>
                <a:cubicBezTo>
                  <a:pt x="9929574" y="390368"/>
                  <a:pt x="9906475" y="367269"/>
                  <a:pt x="9906475" y="339551"/>
                </a:cubicBezTo>
                <a:cubicBezTo>
                  <a:pt x="9906475" y="311832"/>
                  <a:pt x="9928419" y="288734"/>
                  <a:pt x="9957292" y="288734"/>
                </a:cubicBezTo>
                <a:close/>
                <a:moveTo>
                  <a:pt x="8836402" y="288734"/>
                </a:moveTo>
                <a:cubicBezTo>
                  <a:pt x="8865275" y="288734"/>
                  <a:pt x="8887219" y="311832"/>
                  <a:pt x="8887219" y="339551"/>
                </a:cubicBezTo>
                <a:cubicBezTo>
                  <a:pt x="8887219" y="367269"/>
                  <a:pt x="8864121" y="390368"/>
                  <a:pt x="8836402" y="390368"/>
                </a:cubicBezTo>
                <a:cubicBezTo>
                  <a:pt x="8808684" y="390368"/>
                  <a:pt x="8785585" y="367269"/>
                  <a:pt x="8785585" y="339551"/>
                </a:cubicBezTo>
                <a:cubicBezTo>
                  <a:pt x="8785585" y="311832"/>
                  <a:pt x="8807528" y="288734"/>
                  <a:pt x="8836402" y="288734"/>
                </a:cubicBezTo>
                <a:close/>
                <a:moveTo>
                  <a:pt x="6502281" y="288734"/>
                </a:moveTo>
                <a:cubicBezTo>
                  <a:pt x="6531154" y="288734"/>
                  <a:pt x="6553098" y="311832"/>
                  <a:pt x="6553098" y="339551"/>
                </a:cubicBezTo>
                <a:cubicBezTo>
                  <a:pt x="6553098" y="367269"/>
                  <a:pt x="6531154" y="390368"/>
                  <a:pt x="6502281" y="390368"/>
                </a:cubicBezTo>
                <a:cubicBezTo>
                  <a:pt x="6474562" y="390368"/>
                  <a:pt x="6451462" y="367269"/>
                  <a:pt x="6451462" y="339551"/>
                </a:cubicBezTo>
                <a:cubicBezTo>
                  <a:pt x="6451462" y="311832"/>
                  <a:pt x="6473407" y="288734"/>
                  <a:pt x="6502281" y="288734"/>
                </a:cubicBezTo>
                <a:close/>
                <a:moveTo>
                  <a:pt x="5351966" y="288734"/>
                </a:moveTo>
                <a:cubicBezTo>
                  <a:pt x="5379684" y="288734"/>
                  <a:pt x="5402784" y="311832"/>
                  <a:pt x="5402784" y="339551"/>
                </a:cubicBezTo>
                <a:cubicBezTo>
                  <a:pt x="5402784" y="367269"/>
                  <a:pt x="5380840" y="390368"/>
                  <a:pt x="5351966" y="390368"/>
                </a:cubicBezTo>
                <a:cubicBezTo>
                  <a:pt x="5324247" y="390368"/>
                  <a:pt x="5301149" y="367269"/>
                  <a:pt x="5301149" y="339551"/>
                </a:cubicBezTo>
                <a:cubicBezTo>
                  <a:pt x="5301149" y="311832"/>
                  <a:pt x="5323094" y="288734"/>
                  <a:pt x="5351966" y="288734"/>
                </a:cubicBezTo>
                <a:close/>
                <a:moveTo>
                  <a:pt x="4223596" y="288734"/>
                </a:moveTo>
                <a:cubicBezTo>
                  <a:pt x="4252468" y="288734"/>
                  <a:pt x="4274413" y="311832"/>
                  <a:pt x="4274413" y="339551"/>
                </a:cubicBezTo>
                <a:cubicBezTo>
                  <a:pt x="4274413" y="367269"/>
                  <a:pt x="4251315" y="390368"/>
                  <a:pt x="4223596" y="390368"/>
                </a:cubicBezTo>
                <a:cubicBezTo>
                  <a:pt x="4195877" y="390368"/>
                  <a:pt x="4172779" y="367269"/>
                  <a:pt x="4172779" y="339551"/>
                </a:cubicBezTo>
                <a:cubicBezTo>
                  <a:pt x="4172779" y="311832"/>
                  <a:pt x="4194721" y="288734"/>
                  <a:pt x="4223596" y="288734"/>
                </a:cubicBezTo>
                <a:close/>
                <a:moveTo>
                  <a:pt x="1889473" y="288734"/>
                </a:moveTo>
                <a:cubicBezTo>
                  <a:pt x="1918346" y="288734"/>
                  <a:pt x="1940290" y="311832"/>
                  <a:pt x="1940290" y="339551"/>
                </a:cubicBezTo>
                <a:cubicBezTo>
                  <a:pt x="1940290" y="367269"/>
                  <a:pt x="1918346" y="390368"/>
                  <a:pt x="1889473" y="390368"/>
                </a:cubicBezTo>
                <a:cubicBezTo>
                  <a:pt x="1861754" y="390368"/>
                  <a:pt x="1838656" y="367269"/>
                  <a:pt x="1838656" y="339551"/>
                </a:cubicBezTo>
                <a:cubicBezTo>
                  <a:pt x="1838656" y="311832"/>
                  <a:pt x="1860600" y="288734"/>
                  <a:pt x="1889473" y="288734"/>
                </a:cubicBezTo>
                <a:close/>
                <a:moveTo>
                  <a:pt x="739158" y="288734"/>
                </a:moveTo>
                <a:cubicBezTo>
                  <a:pt x="766877" y="288734"/>
                  <a:pt x="789975" y="311832"/>
                  <a:pt x="789975" y="339551"/>
                </a:cubicBezTo>
                <a:cubicBezTo>
                  <a:pt x="789975" y="367269"/>
                  <a:pt x="766877" y="390368"/>
                  <a:pt x="739158" y="390368"/>
                </a:cubicBezTo>
                <a:cubicBezTo>
                  <a:pt x="711440" y="390368"/>
                  <a:pt x="688341" y="367269"/>
                  <a:pt x="688341" y="339551"/>
                </a:cubicBezTo>
                <a:cubicBezTo>
                  <a:pt x="688341" y="311832"/>
                  <a:pt x="710285" y="288734"/>
                  <a:pt x="739158" y="288734"/>
                </a:cubicBezTo>
                <a:close/>
                <a:moveTo>
                  <a:pt x="12227892" y="175550"/>
                </a:moveTo>
                <a:cubicBezTo>
                  <a:pt x="12238288" y="175550"/>
                  <a:pt x="12248682" y="184790"/>
                  <a:pt x="12248682" y="196339"/>
                </a:cubicBezTo>
                <a:cubicBezTo>
                  <a:pt x="12248682" y="207888"/>
                  <a:pt x="12239442" y="217128"/>
                  <a:pt x="12227892" y="217128"/>
                </a:cubicBezTo>
                <a:cubicBezTo>
                  <a:pt x="12216343" y="217128"/>
                  <a:pt x="12207104" y="207888"/>
                  <a:pt x="12207104" y="196339"/>
                </a:cubicBezTo>
                <a:cubicBezTo>
                  <a:pt x="12207104" y="184790"/>
                  <a:pt x="12216343" y="175550"/>
                  <a:pt x="12227892" y="175550"/>
                </a:cubicBezTo>
                <a:close/>
                <a:moveTo>
                  <a:pt x="12091610" y="175550"/>
                </a:moveTo>
                <a:cubicBezTo>
                  <a:pt x="12103160" y="175550"/>
                  <a:pt x="12112399" y="184790"/>
                  <a:pt x="12112399" y="196339"/>
                </a:cubicBezTo>
                <a:cubicBezTo>
                  <a:pt x="12112399" y="207888"/>
                  <a:pt x="12103160" y="217128"/>
                  <a:pt x="12091610" y="217128"/>
                </a:cubicBezTo>
                <a:cubicBezTo>
                  <a:pt x="12080061" y="217128"/>
                  <a:pt x="12070822" y="207888"/>
                  <a:pt x="12070822" y="196339"/>
                </a:cubicBezTo>
                <a:cubicBezTo>
                  <a:pt x="12070822" y="184790"/>
                  <a:pt x="12080061" y="175550"/>
                  <a:pt x="12091610" y="175550"/>
                </a:cubicBezTo>
                <a:close/>
                <a:moveTo>
                  <a:pt x="11956484" y="175550"/>
                </a:moveTo>
                <a:cubicBezTo>
                  <a:pt x="11968033" y="175550"/>
                  <a:pt x="11977272" y="184790"/>
                  <a:pt x="11977272" y="196339"/>
                </a:cubicBezTo>
                <a:cubicBezTo>
                  <a:pt x="11977272" y="207888"/>
                  <a:pt x="11968033" y="217128"/>
                  <a:pt x="11956484" y="217128"/>
                </a:cubicBezTo>
                <a:cubicBezTo>
                  <a:pt x="11944934" y="217128"/>
                  <a:pt x="11935695" y="207888"/>
                  <a:pt x="11935695" y="196339"/>
                </a:cubicBezTo>
                <a:cubicBezTo>
                  <a:pt x="11935695" y="184790"/>
                  <a:pt x="11944934" y="175550"/>
                  <a:pt x="11956484" y="175550"/>
                </a:cubicBezTo>
                <a:close/>
                <a:moveTo>
                  <a:pt x="11821356" y="175550"/>
                </a:moveTo>
                <a:cubicBezTo>
                  <a:pt x="11832905" y="175550"/>
                  <a:pt x="11842144" y="184790"/>
                  <a:pt x="11842144" y="196339"/>
                </a:cubicBezTo>
                <a:cubicBezTo>
                  <a:pt x="11842144" y="207888"/>
                  <a:pt x="11832905" y="217128"/>
                  <a:pt x="11821356" y="217128"/>
                </a:cubicBezTo>
                <a:cubicBezTo>
                  <a:pt x="11809806" y="217128"/>
                  <a:pt x="11800567" y="207888"/>
                  <a:pt x="11800567" y="196339"/>
                </a:cubicBezTo>
                <a:cubicBezTo>
                  <a:pt x="11800567" y="184790"/>
                  <a:pt x="11809806" y="175550"/>
                  <a:pt x="11821356" y="175550"/>
                </a:cubicBezTo>
                <a:close/>
                <a:moveTo>
                  <a:pt x="11685074" y="175550"/>
                </a:moveTo>
                <a:cubicBezTo>
                  <a:pt x="11696623" y="175550"/>
                  <a:pt x="11705862" y="184790"/>
                  <a:pt x="11705862" y="196339"/>
                </a:cubicBezTo>
                <a:cubicBezTo>
                  <a:pt x="11705862" y="207888"/>
                  <a:pt x="11696623" y="217128"/>
                  <a:pt x="11685074" y="217128"/>
                </a:cubicBezTo>
                <a:cubicBezTo>
                  <a:pt x="11673524" y="217128"/>
                  <a:pt x="11664285" y="207888"/>
                  <a:pt x="11664285" y="196339"/>
                </a:cubicBezTo>
                <a:cubicBezTo>
                  <a:pt x="11664285" y="184790"/>
                  <a:pt x="11673524" y="175550"/>
                  <a:pt x="11685074" y="175550"/>
                </a:cubicBezTo>
                <a:close/>
                <a:moveTo>
                  <a:pt x="10736873" y="175550"/>
                </a:moveTo>
                <a:cubicBezTo>
                  <a:pt x="10748422" y="175550"/>
                  <a:pt x="10757662" y="184790"/>
                  <a:pt x="10757662" y="196339"/>
                </a:cubicBezTo>
                <a:cubicBezTo>
                  <a:pt x="10757662" y="207888"/>
                  <a:pt x="10748422" y="217128"/>
                  <a:pt x="10736873" y="217128"/>
                </a:cubicBezTo>
                <a:cubicBezTo>
                  <a:pt x="10725324" y="217128"/>
                  <a:pt x="10716084" y="207888"/>
                  <a:pt x="10716084" y="196339"/>
                </a:cubicBezTo>
                <a:cubicBezTo>
                  <a:pt x="10716084" y="184790"/>
                  <a:pt x="10725324" y="175550"/>
                  <a:pt x="10736873" y="175550"/>
                </a:cubicBezTo>
                <a:close/>
                <a:moveTo>
                  <a:pt x="10601745" y="175550"/>
                </a:moveTo>
                <a:cubicBezTo>
                  <a:pt x="10613294" y="175550"/>
                  <a:pt x="10622534" y="184790"/>
                  <a:pt x="10622534" y="196339"/>
                </a:cubicBezTo>
                <a:cubicBezTo>
                  <a:pt x="10622534" y="207888"/>
                  <a:pt x="10613294" y="217128"/>
                  <a:pt x="10601745" y="217128"/>
                </a:cubicBezTo>
                <a:cubicBezTo>
                  <a:pt x="10590196" y="217128"/>
                  <a:pt x="10580956" y="207888"/>
                  <a:pt x="10580956" y="196339"/>
                </a:cubicBezTo>
                <a:cubicBezTo>
                  <a:pt x="10580956" y="184790"/>
                  <a:pt x="10590196" y="175550"/>
                  <a:pt x="10601745" y="175550"/>
                </a:cubicBezTo>
                <a:close/>
                <a:moveTo>
                  <a:pt x="8027949" y="175550"/>
                </a:moveTo>
                <a:cubicBezTo>
                  <a:pt x="8039499" y="175550"/>
                  <a:pt x="8048737" y="184790"/>
                  <a:pt x="8048737" y="196339"/>
                </a:cubicBezTo>
                <a:cubicBezTo>
                  <a:pt x="8048737" y="207888"/>
                  <a:pt x="8039499" y="217128"/>
                  <a:pt x="8027949" y="217128"/>
                </a:cubicBezTo>
                <a:cubicBezTo>
                  <a:pt x="8016400" y="217128"/>
                  <a:pt x="8007160" y="207888"/>
                  <a:pt x="8007160" y="196339"/>
                </a:cubicBezTo>
                <a:cubicBezTo>
                  <a:pt x="8007160" y="184790"/>
                  <a:pt x="8016400" y="175550"/>
                  <a:pt x="8027949" y="175550"/>
                </a:cubicBezTo>
                <a:close/>
                <a:moveTo>
                  <a:pt x="7892822" y="175550"/>
                </a:moveTo>
                <a:cubicBezTo>
                  <a:pt x="7904371" y="175550"/>
                  <a:pt x="7913611" y="184790"/>
                  <a:pt x="7913611" y="196339"/>
                </a:cubicBezTo>
                <a:cubicBezTo>
                  <a:pt x="7913611" y="207888"/>
                  <a:pt x="7904371" y="217128"/>
                  <a:pt x="7892822" y="217128"/>
                </a:cubicBezTo>
                <a:cubicBezTo>
                  <a:pt x="7881271" y="217128"/>
                  <a:pt x="7872031" y="207888"/>
                  <a:pt x="7872031" y="196339"/>
                </a:cubicBezTo>
                <a:cubicBezTo>
                  <a:pt x="7872031" y="184790"/>
                  <a:pt x="7881271" y="175550"/>
                  <a:pt x="7892822" y="175550"/>
                </a:cubicBezTo>
                <a:close/>
                <a:moveTo>
                  <a:pt x="7757693" y="175550"/>
                </a:moveTo>
                <a:cubicBezTo>
                  <a:pt x="7769244" y="175550"/>
                  <a:pt x="7778483" y="184790"/>
                  <a:pt x="7778483" y="196339"/>
                </a:cubicBezTo>
                <a:cubicBezTo>
                  <a:pt x="7778483" y="207888"/>
                  <a:pt x="7769244" y="217128"/>
                  <a:pt x="7757693" y="217128"/>
                </a:cubicBezTo>
                <a:cubicBezTo>
                  <a:pt x="7746146" y="217128"/>
                  <a:pt x="7736906" y="207888"/>
                  <a:pt x="7736906" y="196339"/>
                </a:cubicBezTo>
                <a:cubicBezTo>
                  <a:pt x="7736906" y="184790"/>
                  <a:pt x="7746146" y="175550"/>
                  <a:pt x="7757693" y="175550"/>
                </a:cubicBezTo>
                <a:close/>
                <a:moveTo>
                  <a:pt x="7622566" y="175550"/>
                </a:moveTo>
                <a:cubicBezTo>
                  <a:pt x="7632962" y="175550"/>
                  <a:pt x="7643355" y="184790"/>
                  <a:pt x="7643355" y="196339"/>
                </a:cubicBezTo>
                <a:cubicBezTo>
                  <a:pt x="7643355" y="207888"/>
                  <a:pt x="7634115" y="217128"/>
                  <a:pt x="7622566" y="217128"/>
                </a:cubicBezTo>
                <a:cubicBezTo>
                  <a:pt x="7611018" y="217128"/>
                  <a:pt x="7601778" y="207888"/>
                  <a:pt x="7601778" y="196339"/>
                </a:cubicBezTo>
                <a:cubicBezTo>
                  <a:pt x="7601778" y="184790"/>
                  <a:pt x="7611018" y="175550"/>
                  <a:pt x="7622566" y="175550"/>
                </a:cubicBezTo>
                <a:close/>
                <a:moveTo>
                  <a:pt x="7486284" y="175550"/>
                </a:moveTo>
                <a:cubicBezTo>
                  <a:pt x="7497834" y="175550"/>
                  <a:pt x="7507074" y="184790"/>
                  <a:pt x="7507074" y="196339"/>
                </a:cubicBezTo>
                <a:cubicBezTo>
                  <a:pt x="7507074" y="207888"/>
                  <a:pt x="7497834" y="217128"/>
                  <a:pt x="7486284" y="217128"/>
                </a:cubicBezTo>
                <a:cubicBezTo>
                  <a:pt x="7474735" y="217128"/>
                  <a:pt x="7465495" y="207888"/>
                  <a:pt x="7465495" y="196339"/>
                </a:cubicBezTo>
                <a:cubicBezTo>
                  <a:pt x="7465495" y="184790"/>
                  <a:pt x="7474735" y="175550"/>
                  <a:pt x="7486284" y="175550"/>
                </a:cubicBezTo>
                <a:close/>
                <a:moveTo>
                  <a:pt x="7351157" y="175550"/>
                </a:moveTo>
                <a:cubicBezTo>
                  <a:pt x="7362706" y="175550"/>
                  <a:pt x="7371946" y="184790"/>
                  <a:pt x="7371946" y="196339"/>
                </a:cubicBezTo>
                <a:cubicBezTo>
                  <a:pt x="7371946" y="207888"/>
                  <a:pt x="7362706" y="217128"/>
                  <a:pt x="7351157" y="217128"/>
                </a:cubicBezTo>
                <a:cubicBezTo>
                  <a:pt x="7339609" y="217128"/>
                  <a:pt x="7330369" y="207888"/>
                  <a:pt x="7330369" y="196339"/>
                </a:cubicBezTo>
                <a:cubicBezTo>
                  <a:pt x="7330369" y="184790"/>
                  <a:pt x="7339609" y="175550"/>
                  <a:pt x="7351157" y="175550"/>
                </a:cubicBezTo>
                <a:close/>
                <a:moveTo>
                  <a:pt x="7216030" y="175550"/>
                </a:moveTo>
                <a:cubicBezTo>
                  <a:pt x="7227579" y="175550"/>
                  <a:pt x="7236819" y="184790"/>
                  <a:pt x="7236819" y="196339"/>
                </a:cubicBezTo>
                <a:cubicBezTo>
                  <a:pt x="7236819" y="207888"/>
                  <a:pt x="7227579" y="217128"/>
                  <a:pt x="7216030" y="217128"/>
                </a:cubicBezTo>
                <a:cubicBezTo>
                  <a:pt x="7204481" y="217128"/>
                  <a:pt x="7195241" y="207888"/>
                  <a:pt x="7195241" y="196339"/>
                </a:cubicBezTo>
                <a:cubicBezTo>
                  <a:pt x="7195241" y="184790"/>
                  <a:pt x="7204481" y="175550"/>
                  <a:pt x="7216030" y="175550"/>
                </a:cubicBezTo>
                <a:close/>
                <a:moveTo>
                  <a:pt x="7079748" y="175550"/>
                </a:moveTo>
                <a:cubicBezTo>
                  <a:pt x="7091297" y="175550"/>
                  <a:pt x="7100537" y="184790"/>
                  <a:pt x="7100537" y="196339"/>
                </a:cubicBezTo>
                <a:cubicBezTo>
                  <a:pt x="7100537" y="207888"/>
                  <a:pt x="7091297" y="217128"/>
                  <a:pt x="7079748" y="217128"/>
                </a:cubicBezTo>
                <a:cubicBezTo>
                  <a:pt x="7068199" y="217128"/>
                  <a:pt x="7058959" y="207888"/>
                  <a:pt x="7058959" y="196339"/>
                </a:cubicBezTo>
                <a:cubicBezTo>
                  <a:pt x="7058959" y="184790"/>
                  <a:pt x="7068199" y="175550"/>
                  <a:pt x="7079748" y="175550"/>
                </a:cubicBezTo>
                <a:close/>
                <a:moveTo>
                  <a:pt x="6131548" y="175550"/>
                </a:moveTo>
                <a:cubicBezTo>
                  <a:pt x="6143096" y="175550"/>
                  <a:pt x="6152336" y="184790"/>
                  <a:pt x="6152336" y="196339"/>
                </a:cubicBezTo>
                <a:cubicBezTo>
                  <a:pt x="6152336" y="207888"/>
                  <a:pt x="6143096" y="217128"/>
                  <a:pt x="6131548" y="217128"/>
                </a:cubicBezTo>
                <a:cubicBezTo>
                  <a:pt x="6119997" y="217128"/>
                  <a:pt x="6110759" y="207888"/>
                  <a:pt x="6110759" y="196339"/>
                </a:cubicBezTo>
                <a:cubicBezTo>
                  <a:pt x="6110759" y="184790"/>
                  <a:pt x="6119997" y="175550"/>
                  <a:pt x="6131548" y="175550"/>
                </a:cubicBezTo>
                <a:close/>
                <a:moveTo>
                  <a:pt x="5996418" y="175550"/>
                </a:moveTo>
                <a:cubicBezTo>
                  <a:pt x="6007969" y="175550"/>
                  <a:pt x="6017209" y="184790"/>
                  <a:pt x="6017209" y="196339"/>
                </a:cubicBezTo>
                <a:cubicBezTo>
                  <a:pt x="6017209" y="207888"/>
                  <a:pt x="6007969" y="217128"/>
                  <a:pt x="5996418" y="217128"/>
                </a:cubicBezTo>
                <a:cubicBezTo>
                  <a:pt x="5984870" y="217128"/>
                  <a:pt x="5975630" y="207888"/>
                  <a:pt x="5975630" y="196339"/>
                </a:cubicBezTo>
                <a:cubicBezTo>
                  <a:pt x="5975630" y="184790"/>
                  <a:pt x="5984870" y="175550"/>
                  <a:pt x="5996418" y="175550"/>
                </a:cubicBezTo>
                <a:close/>
                <a:moveTo>
                  <a:pt x="3415142" y="175550"/>
                </a:moveTo>
                <a:cubicBezTo>
                  <a:pt x="3426691" y="175550"/>
                  <a:pt x="3435930" y="184790"/>
                  <a:pt x="3435930" y="196339"/>
                </a:cubicBezTo>
                <a:cubicBezTo>
                  <a:pt x="3435930" y="207888"/>
                  <a:pt x="3426691" y="217128"/>
                  <a:pt x="3415142" y="217128"/>
                </a:cubicBezTo>
                <a:cubicBezTo>
                  <a:pt x="3403592" y="217128"/>
                  <a:pt x="3394352" y="207888"/>
                  <a:pt x="3394352" y="196339"/>
                </a:cubicBezTo>
                <a:cubicBezTo>
                  <a:pt x="3394352" y="184790"/>
                  <a:pt x="3403592" y="175550"/>
                  <a:pt x="3415142" y="175550"/>
                </a:cubicBezTo>
                <a:close/>
                <a:moveTo>
                  <a:pt x="3280013" y="175550"/>
                </a:moveTo>
                <a:cubicBezTo>
                  <a:pt x="3291564" y="175550"/>
                  <a:pt x="3300802" y="184790"/>
                  <a:pt x="3300802" y="196339"/>
                </a:cubicBezTo>
                <a:cubicBezTo>
                  <a:pt x="3300802" y="207888"/>
                  <a:pt x="3291564" y="217128"/>
                  <a:pt x="3280013" y="217128"/>
                </a:cubicBezTo>
                <a:cubicBezTo>
                  <a:pt x="3268464" y="217128"/>
                  <a:pt x="3259224" y="207888"/>
                  <a:pt x="3259224" y="196339"/>
                </a:cubicBezTo>
                <a:cubicBezTo>
                  <a:pt x="3259224" y="184790"/>
                  <a:pt x="3268464" y="175550"/>
                  <a:pt x="3280013" y="175550"/>
                </a:cubicBezTo>
                <a:close/>
                <a:moveTo>
                  <a:pt x="3144887" y="175550"/>
                </a:moveTo>
                <a:cubicBezTo>
                  <a:pt x="3156436" y="175550"/>
                  <a:pt x="3165675" y="184790"/>
                  <a:pt x="3165675" y="196339"/>
                </a:cubicBezTo>
                <a:cubicBezTo>
                  <a:pt x="3165675" y="207888"/>
                  <a:pt x="3156436" y="217128"/>
                  <a:pt x="3144887" y="217128"/>
                </a:cubicBezTo>
                <a:cubicBezTo>
                  <a:pt x="3133338" y="217128"/>
                  <a:pt x="3124098" y="207888"/>
                  <a:pt x="3124098" y="196339"/>
                </a:cubicBezTo>
                <a:cubicBezTo>
                  <a:pt x="3124098" y="184790"/>
                  <a:pt x="3133338" y="175550"/>
                  <a:pt x="3144887" y="175550"/>
                </a:cubicBezTo>
                <a:close/>
                <a:moveTo>
                  <a:pt x="3009759" y="175550"/>
                </a:moveTo>
                <a:cubicBezTo>
                  <a:pt x="3020154" y="175550"/>
                  <a:pt x="3030548" y="184790"/>
                  <a:pt x="3030548" y="196339"/>
                </a:cubicBezTo>
                <a:cubicBezTo>
                  <a:pt x="3030548" y="207888"/>
                  <a:pt x="3021308" y="217128"/>
                  <a:pt x="3009759" y="217128"/>
                </a:cubicBezTo>
                <a:cubicBezTo>
                  <a:pt x="2998209" y="217128"/>
                  <a:pt x="2988971" y="207888"/>
                  <a:pt x="2988971" y="196339"/>
                </a:cubicBezTo>
                <a:cubicBezTo>
                  <a:pt x="2988971" y="184790"/>
                  <a:pt x="2998209" y="175550"/>
                  <a:pt x="3009759" y="175550"/>
                </a:cubicBezTo>
                <a:close/>
                <a:moveTo>
                  <a:pt x="2873476" y="175550"/>
                </a:moveTo>
                <a:cubicBezTo>
                  <a:pt x="2885026" y="175550"/>
                  <a:pt x="2894265" y="184790"/>
                  <a:pt x="2894265" y="196339"/>
                </a:cubicBezTo>
                <a:cubicBezTo>
                  <a:pt x="2894265" y="207888"/>
                  <a:pt x="2885026" y="217128"/>
                  <a:pt x="2873476" y="217128"/>
                </a:cubicBezTo>
                <a:cubicBezTo>
                  <a:pt x="2861927" y="217128"/>
                  <a:pt x="2852688" y="207888"/>
                  <a:pt x="2852688" y="196339"/>
                </a:cubicBezTo>
                <a:cubicBezTo>
                  <a:pt x="2852688" y="184790"/>
                  <a:pt x="2861927" y="175550"/>
                  <a:pt x="2873476" y="175550"/>
                </a:cubicBezTo>
                <a:close/>
                <a:moveTo>
                  <a:pt x="2738350" y="175550"/>
                </a:moveTo>
                <a:cubicBezTo>
                  <a:pt x="2749899" y="175550"/>
                  <a:pt x="2759139" y="184790"/>
                  <a:pt x="2759139" y="196339"/>
                </a:cubicBezTo>
                <a:cubicBezTo>
                  <a:pt x="2759139" y="207888"/>
                  <a:pt x="2749899" y="217128"/>
                  <a:pt x="2738350" y="217128"/>
                </a:cubicBezTo>
                <a:cubicBezTo>
                  <a:pt x="2726800" y="217128"/>
                  <a:pt x="2717562" y="207888"/>
                  <a:pt x="2717562" y="196339"/>
                </a:cubicBezTo>
                <a:cubicBezTo>
                  <a:pt x="2717562" y="184790"/>
                  <a:pt x="2726800" y="175550"/>
                  <a:pt x="2738350" y="175550"/>
                </a:cubicBezTo>
                <a:close/>
                <a:moveTo>
                  <a:pt x="2603222" y="175550"/>
                </a:moveTo>
                <a:cubicBezTo>
                  <a:pt x="2614771" y="175550"/>
                  <a:pt x="2624011" y="184790"/>
                  <a:pt x="2624011" y="196339"/>
                </a:cubicBezTo>
                <a:cubicBezTo>
                  <a:pt x="2624011" y="207888"/>
                  <a:pt x="2614771" y="217128"/>
                  <a:pt x="2603222" y="217128"/>
                </a:cubicBezTo>
                <a:cubicBezTo>
                  <a:pt x="2591673" y="217128"/>
                  <a:pt x="2582433" y="207888"/>
                  <a:pt x="2582433" y="196339"/>
                </a:cubicBezTo>
                <a:cubicBezTo>
                  <a:pt x="2582433" y="184790"/>
                  <a:pt x="2591673" y="175550"/>
                  <a:pt x="2603222" y="175550"/>
                </a:cubicBezTo>
                <a:close/>
                <a:moveTo>
                  <a:pt x="2466940" y="175550"/>
                </a:moveTo>
                <a:cubicBezTo>
                  <a:pt x="2478489" y="175550"/>
                  <a:pt x="2487729" y="184790"/>
                  <a:pt x="2487729" y="196339"/>
                </a:cubicBezTo>
                <a:cubicBezTo>
                  <a:pt x="2487729" y="207888"/>
                  <a:pt x="2478489" y="217128"/>
                  <a:pt x="2466940" y="217128"/>
                </a:cubicBezTo>
                <a:cubicBezTo>
                  <a:pt x="2455390" y="217128"/>
                  <a:pt x="2446151" y="207888"/>
                  <a:pt x="2446151" y="196339"/>
                </a:cubicBezTo>
                <a:cubicBezTo>
                  <a:pt x="2446151" y="184790"/>
                  <a:pt x="2455390" y="175550"/>
                  <a:pt x="2466940" y="175550"/>
                </a:cubicBezTo>
                <a:close/>
                <a:moveTo>
                  <a:pt x="1518739" y="175550"/>
                </a:moveTo>
                <a:cubicBezTo>
                  <a:pt x="1530289" y="175550"/>
                  <a:pt x="1539528" y="184790"/>
                  <a:pt x="1539528" y="196339"/>
                </a:cubicBezTo>
                <a:cubicBezTo>
                  <a:pt x="1539528" y="207888"/>
                  <a:pt x="1530289" y="217128"/>
                  <a:pt x="1518739" y="217128"/>
                </a:cubicBezTo>
                <a:cubicBezTo>
                  <a:pt x="1507190" y="217128"/>
                  <a:pt x="1497951" y="207888"/>
                  <a:pt x="1497951" y="196339"/>
                </a:cubicBezTo>
                <a:cubicBezTo>
                  <a:pt x="1497951" y="184790"/>
                  <a:pt x="1507190" y="175550"/>
                  <a:pt x="1518739" y="175550"/>
                </a:cubicBezTo>
                <a:close/>
                <a:moveTo>
                  <a:pt x="1383611" y="175550"/>
                </a:moveTo>
                <a:cubicBezTo>
                  <a:pt x="1395161" y="175550"/>
                  <a:pt x="1404400" y="184790"/>
                  <a:pt x="1404400" y="196339"/>
                </a:cubicBezTo>
                <a:cubicBezTo>
                  <a:pt x="1404400" y="207888"/>
                  <a:pt x="1395161" y="217128"/>
                  <a:pt x="1383611" y="217128"/>
                </a:cubicBezTo>
                <a:cubicBezTo>
                  <a:pt x="1372062" y="217128"/>
                  <a:pt x="1362823" y="207888"/>
                  <a:pt x="1362823" y="196339"/>
                </a:cubicBezTo>
                <a:cubicBezTo>
                  <a:pt x="1362823" y="184790"/>
                  <a:pt x="1372062" y="175550"/>
                  <a:pt x="1383611" y="175550"/>
                </a:cubicBezTo>
                <a:close/>
                <a:moveTo>
                  <a:pt x="11549947" y="172086"/>
                </a:moveTo>
                <a:cubicBezTo>
                  <a:pt x="11562650" y="172086"/>
                  <a:pt x="11573046" y="182480"/>
                  <a:pt x="11573046" y="195185"/>
                </a:cubicBezTo>
                <a:cubicBezTo>
                  <a:pt x="11573046" y="207888"/>
                  <a:pt x="11562650" y="218283"/>
                  <a:pt x="11549947" y="218283"/>
                </a:cubicBezTo>
                <a:cubicBezTo>
                  <a:pt x="11537242" y="218283"/>
                  <a:pt x="11526848" y="207888"/>
                  <a:pt x="11526848" y="195185"/>
                </a:cubicBezTo>
                <a:cubicBezTo>
                  <a:pt x="11526848" y="182480"/>
                  <a:pt x="11537242" y="172086"/>
                  <a:pt x="11549947" y="172086"/>
                </a:cubicBezTo>
                <a:close/>
                <a:moveTo>
                  <a:pt x="10466618" y="172086"/>
                </a:moveTo>
                <a:cubicBezTo>
                  <a:pt x="10479322" y="172086"/>
                  <a:pt x="10489717" y="182480"/>
                  <a:pt x="10489717" y="195185"/>
                </a:cubicBezTo>
                <a:cubicBezTo>
                  <a:pt x="10489717" y="207888"/>
                  <a:pt x="10479322" y="218283"/>
                  <a:pt x="10466618" y="218283"/>
                </a:cubicBezTo>
                <a:cubicBezTo>
                  <a:pt x="10453914" y="218283"/>
                  <a:pt x="10443520" y="207888"/>
                  <a:pt x="10443520" y="195185"/>
                </a:cubicBezTo>
                <a:cubicBezTo>
                  <a:pt x="10443520" y="182480"/>
                  <a:pt x="10453914" y="172086"/>
                  <a:pt x="10466618" y="172086"/>
                </a:cubicBezTo>
                <a:close/>
                <a:moveTo>
                  <a:pt x="9244698" y="172086"/>
                </a:moveTo>
                <a:cubicBezTo>
                  <a:pt x="9258557" y="172086"/>
                  <a:pt x="9268951" y="181325"/>
                  <a:pt x="9270107" y="194029"/>
                </a:cubicBezTo>
                <a:cubicBezTo>
                  <a:pt x="9271261" y="206734"/>
                  <a:pt x="9262022" y="219438"/>
                  <a:pt x="9249318" y="219438"/>
                </a:cubicBezTo>
                <a:cubicBezTo>
                  <a:pt x="9236613" y="219438"/>
                  <a:pt x="9225064" y="210198"/>
                  <a:pt x="9223909" y="197494"/>
                </a:cubicBezTo>
                <a:cubicBezTo>
                  <a:pt x="9222754" y="184790"/>
                  <a:pt x="9231993" y="173240"/>
                  <a:pt x="9244698" y="172086"/>
                </a:cubicBezTo>
                <a:close/>
                <a:moveTo>
                  <a:pt x="8164231" y="172086"/>
                </a:moveTo>
                <a:cubicBezTo>
                  <a:pt x="8176935" y="172086"/>
                  <a:pt x="8187331" y="182480"/>
                  <a:pt x="8187331" y="195185"/>
                </a:cubicBezTo>
                <a:cubicBezTo>
                  <a:pt x="8187331" y="207888"/>
                  <a:pt x="8176935" y="218283"/>
                  <a:pt x="8164231" y="218283"/>
                </a:cubicBezTo>
                <a:cubicBezTo>
                  <a:pt x="8151527" y="218283"/>
                  <a:pt x="8141133" y="207888"/>
                  <a:pt x="8141133" y="195185"/>
                </a:cubicBezTo>
                <a:cubicBezTo>
                  <a:pt x="8141133" y="182480"/>
                  <a:pt x="8151527" y="172086"/>
                  <a:pt x="8164231" y="172086"/>
                </a:cubicBezTo>
                <a:close/>
                <a:moveTo>
                  <a:pt x="6944621" y="172086"/>
                </a:moveTo>
                <a:cubicBezTo>
                  <a:pt x="6957325" y="172086"/>
                  <a:pt x="6967719" y="182480"/>
                  <a:pt x="6967719" y="195185"/>
                </a:cubicBezTo>
                <a:cubicBezTo>
                  <a:pt x="6967719" y="207888"/>
                  <a:pt x="6957325" y="218283"/>
                  <a:pt x="6944621" y="218283"/>
                </a:cubicBezTo>
                <a:cubicBezTo>
                  <a:pt x="6931915" y="218283"/>
                  <a:pt x="6921522" y="207888"/>
                  <a:pt x="6921522" y="195185"/>
                </a:cubicBezTo>
                <a:cubicBezTo>
                  <a:pt x="6921522" y="182480"/>
                  <a:pt x="6931915" y="172086"/>
                  <a:pt x="6944621" y="172086"/>
                </a:cubicBezTo>
                <a:close/>
                <a:moveTo>
                  <a:pt x="5861292" y="172086"/>
                </a:moveTo>
                <a:cubicBezTo>
                  <a:pt x="5873996" y="172086"/>
                  <a:pt x="5884392" y="182480"/>
                  <a:pt x="5884392" y="195185"/>
                </a:cubicBezTo>
                <a:cubicBezTo>
                  <a:pt x="5884392" y="207888"/>
                  <a:pt x="5873996" y="218283"/>
                  <a:pt x="5861292" y="218283"/>
                </a:cubicBezTo>
                <a:cubicBezTo>
                  <a:pt x="5848588" y="218283"/>
                  <a:pt x="5838194" y="207888"/>
                  <a:pt x="5838194" y="195185"/>
                </a:cubicBezTo>
                <a:cubicBezTo>
                  <a:pt x="5838194" y="182480"/>
                  <a:pt x="5848588" y="172086"/>
                  <a:pt x="5861292" y="172086"/>
                </a:cubicBezTo>
                <a:close/>
                <a:moveTo>
                  <a:pt x="4639373" y="172086"/>
                </a:moveTo>
                <a:cubicBezTo>
                  <a:pt x="4653231" y="172086"/>
                  <a:pt x="4663624" y="181325"/>
                  <a:pt x="4664780" y="192875"/>
                </a:cubicBezTo>
                <a:cubicBezTo>
                  <a:pt x="4665935" y="205578"/>
                  <a:pt x="4656695" y="217128"/>
                  <a:pt x="4643991" y="218283"/>
                </a:cubicBezTo>
                <a:cubicBezTo>
                  <a:pt x="4631287" y="219438"/>
                  <a:pt x="4619738" y="210198"/>
                  <a:pt x="4618583" y="197494"/>
                </a:cubicBezTo>
                <a:cubicBezTo>
                  <a:pt x="4617427" y="184790"/>
                  <a:pt x="4626667" y="173240"/>
                  <a:pt x="4639373" y="172086"/>
                </a:cubicBezTo>
                <a:close/>
                <a:moveTo>
                  <a:pt x="3551423" y="172086"/>
                </a:moveTo>
                <a:cubicBezTo>
                  <a:pt x="3564127" y="172086"/>
                  <a:pt x="3574522" y="182480"/>
                  <a:pt x="3574522" y="195185"/>
                </a:cubicBezTo>
                <a:cubicBezTo>
                  <a:pt x="3574522" y="207888"/>
                  <a:pt x="3564127" y="218283"/>
                  <a:pt x="3551423" y="218283"/>
                </a:cubicBezTo>
                <a:cubicBezTo>
                  <a:pt x="3538719" y="218283"/>
                  <a:pt x="3528325" y="207888"/>
                  <a:pt x="3528325" y="195185"/>
                </a:cubicBezTo>
                <a:cubicBezTo>
                  <a:pt x="3528325" y="182480"/>
                  <a:pt x="3538719" y="172086"/>
                  <a:pt x="3551423" y="172086"/>
                </a:cubicBezTo>
                <a:close/>
                <a:moveTo>
                  <a:pt x="2331813" y="172086"/>
                </a:moveTo>
                <a:cubicBezTo>
                  <a:pt x="2344517" y="172086"/>
                  <a:pt x="2354912" y="182480"/>
                  <a:pt x="2354912" y="195185"/>
                </a:cubicBezTo>
                <a:cubicBezTo>
                  <a:pt x="2354912" y="207888"/>
                  <a:pt x="2344517" y="218283"/>
                  <a:pt x="2331813" y="218283"/>
                </a:cubicBezTo>
                <a:cubicBezTo>
                  <a:pt x="2319108" y="218283"/>
                  <a:pt x="2308714" y="207888"/>
                  <a:pt x="2308714" y="195185"/>
                </a:cubicBezTo>
                <a:cubicBezTo>
                  <a:pt x="2308714" y="182480"/>
                  <a:pt x="2319108" y="172086"/>
                  <a:pt x="2331813" y="172086"/>
                </a:cubicBezTo>
                <a:close/>
                <a:moveTo>
                  <a:pt x="1248485" y="172086"/>
                </a:moveTo>
                <a:cubicBezTo>
                  <a:pt x="1261188" y="172086"/>
                  <a:pt x="1271583" y="182480"/>
                  <a:pt x="1271583" y="195185"/>
                </a:cubicBezTo>
                <a:cubicBezTo>
                  <a:pt x="1271583" y="207888"/>
                  <a:pt x="1261188" y="218283"/>
                  <a:pt x="1248485" y="218283"/>
                </a:cubicBezTo>
                <a:cubicBezTo>
                  <a:pt x="1235780" y="218283"/>
                  <a:pt x="1225386" y="207888"/>
                  <a:pt x="1225386" y="195185"/>
                </a:cubicBezTo>
                <a:cubicBezTo>
                  <a:pt x="1225386" y="182480"/>
                  <a:pt x="1235780" y="172086"/>
                  <a:pt x="1248485" y="172086"/>
                </a:cubicBezTo>
                <a:close/>
                <a:moveTo>
                  <a:pt x="26564" y="172086"/>
                </a:moveTo>
                <a:cubicBezTo>
                  <a:pt x="40424" y="172086"/>
                  <a:pt x="50817" y="181325"/>
                  <a:pt x="51973" y="194029"/>
                </a:cubicBezTo>
                <a:cubicBezTo>
                  <a:pt x="53127" y="206734"/>
                  <a:pt x="43888" y="219438"/>
                  <a:pt x="31184" y="219438"/>
                </a:cubicBezTo>
                <a:cubicBezTo>
                  <a:pt x="18479" y="219438"/>
                  <a:pt x="6930" y="210198"/>
                  <a:pt x="5776" y="197494"/>
                </a:cubicBezTo>
                <a:cubicBezTo>
                  <a:pt x="4620" y="184790"/>
                  <a:pt x="13860" y="173240"/>
                  <a:pt x="26564" y="172086"/>
                </a:cubicBezTo>
                <a:close/>
                <a:moveTo>
                  <a:pt x="11414819" y="166311"/>
                </a:moveTo>
                <a:cubicBezTo>
                  <a:pt x="11430988" y="166311"/>
                  <a:pt x="11443693" y="179016"/>
                  <a:pt x="11443693" y="195185"/>
                </a:cubicBezTo>
                <a:cubicBezTo>
                  <a:pt x="11443693" y="211354"/>
                  <a:pt x="11430988" y="224057"/>
                  <a:pt x="11414819" y="224057"/>
                </a:cubicBezTo>
                <a:cubicBezTo>
                  <a:pt x="11398650" y="224057"/>
                  <a:pt x="11385946" y="211354"/>
                  <a:pt x="11385946" y="195185"/>
                </a:cubicBezTo>
                <a:cubicBezTo>
                  <a:pt x="11385946" y="179016"/>
                  <a:pt x="11398650" y="166311"/>
                  <a:pt x="11414819" y="166311"/>
                </a:cubicBezTo>
                <a:close/>
                <a:moveTo>
                  <a:pt x="10330336" y="166311"/>
                </a:moveTo>
                <a:cubicBezTo>
                  <a:pt x="10346505" y="166311"/>
                  <a:pt x="10359209" y="179016"/>
                  <a:pt x="10359209" y="195185"/>
                </a:cubicBezTo>
                <a:cubicBezTo>
                  <a:pt x="10359209" y="211354"/>
                  <a:pt x="10346505" y="224057"/>
                  <a:pt x="10330336" y="224057"/>
                </a:cubicBezTo>
                <a:cubicBezTo>
                  <a:pt x="10314167" y="224057"/>
                  <a:pt x="10301462" y="211354"/>
                  <a:pt x="10301462" y="195185"/>
                </a:cubicBezTo>
                <a:cubicBezTo>
                  <a:pt x="10301462" y="179016"/>
                  <a:pt x="10314167" y="166311"/>
                  <a:pt x="10330336" y="166311"/>
                </a:cubicBezTo>
                <a:close/>
                <a:moveTo>
                  <a:pt x="9382135" y="166311"/>
                </a:moveTo>
                <a:cubicBezTo>
                  <a:pt x="9398304" y="166311"/>
                  <a:pt x="9411009" y="179016"/>
                  <a:pt x="9411009" y="195185"/>
                </a:cubicBezTo>
                <a:cubicBezTo>
                  <a:pt x="9411009" y="211354"/>
                  <a:pt x="9398304" y="224057"/>
                  <a:pt x="9382135" y="224057"/>
                </a:cubicBezTo>
                <a:cubicBezTo>
                  <a:pt x="9365966" y="224057"/>
                  <a:pt x="9353262" y="211354"/>
                  <a:pt x="9353262" y="195185"/>
                </a:cubicBezTo>
                <a:cubicBezTo>
                  <a:pt x="9353262" y="179016"/>
                  <a:pt x="9365966" y="166311"/>
                  <a:pt x="9382135" y="166311"/>
                </a:cubicBezTo>
                <a:close/>
                <a:moveTo>
                  <a:pt x="9112431" y="166311"/>
                </a:moveTo>
                <a:cubicBezTo>
                  <a:pt x="9128600" y="166311"/>
                  <a:pt x="9141305" y="179016"/>
                  <a:pt x="9141305" y="195185"/>
                </a:cubicBezTo>
                <a:cubicBezTo>
                  <a:pt x="9141305" y="211354"/>
                  <a:pt x="9128600" y="224057"/>
                  <a:pt x="9112431" y="224057"/>
                </a:cubicBezTo>
                <a:cubicBezTo>
                  <a:pt x="9096262" y="224057"/>
                  <a:pt x="9083558" y="211354"/>
                  <a:pt x="9083558" y="195185"/>
                </a:cubicBezTo>
                <a:cubicBezTo>
                  <a:pt x="9083558" y="179016"/>
                  <a:pt x="9096262" y="166311"/>
                  <a:pt x="9112431" y="166311"/>
                </a:cubicBezTo>
                <a:close/>
                <a:moveTo>
                  <a:pt x="8299358" y="166311"/>
                </a:moveTo>
                <a:cubicBezTo>
                  <a:pt x="8315526" y="166311"/>
                  <a:pt x="8328231" y="179016"/>
                  <a:pt x="8328231" y="195185"/>
                </a:cubicBezTo>
                <a:cubicBezTo>
                  <a:pt x="8328231" y="211354"/>
                  <a:pt x="8315526" y="224057"/>
                  <a:pt x="8299358" y="224057"/>
                </a:cubicBezTo>
                <a:cubicBezTo>
                  <a:pt x="8283189" y="224057"/>
                  <a:pt x="8270485" y="211354"/>
                  <a:pt x="8270485" y="195185"/>
                </a:cubicBezTo>
                <a:cubicBezTo>
                  <a:pt x="8270485" y="179016"/>
                  <a:pt x="8283189" y="166311"/>
                  <a:pt x="8299358" y="166311"/>
                </a:cubicBezTo>
                <a:close/>
                <a:moveTo>
                  <a:pt x="6809492" y="166311"/>
                </a:moveTo>
                <a:cubicBezTo>
                  <a:pt x="6825661" y="166311"/>
                  <a:pt x="6838367" y="179016"/>
                  <a:pt x="6838367" y="195185"/>
                </a:cubicBezTo>
                <a:cubicBezTo>
                  <a:pt x="6838367" y="211354"/>
                  <a:pt x="6825661" y="224057"/>
                  <a:pt x="6809492" y="224057"/>
                </a:cubicBezTo>
                <a:cubicBezTo>
                  <a:pt x="6793324" y="224057"/>
                  <a:pt x="6780620" y="211354"/>
                  <a:pt x="6780620" y="195185"/>
                </a:cubicBezTo>
                <a:cubicBezTo>
                  <a:pt x="6780620" y="179016"/>
                  <a:pt x="6793324" y="166311"/>
                  <a:pt x="6809492" y="166311"/>
                </a:cubicBezTo>
                <a:close/>
                <a:moveTo>
                  <a:pt x="5726165" y="166311"/>
                </a:moveTo>
                <a:cubicBezTo>
                  <a:pt x="5741178" y="166311"/>
                  <a:pt x="5755038" y="179016"/>
                  <a:pt x="5755038" y="195185"/>
                </a:cubicBezTo>
                <a:cubicBezTo>
                  <a:pt x="5755038" y="211354"/>
                  <a:pt x="5742334" y="224057"/>
                  <a:pt x="5726165" y="224057"/>
                </a:cubicBezTo>
                <a:cubicBezTo>
                  <a:pt x="5709996" y="224057"/>
                  <a:pt x="5697292" y="211354"/>
                  <a:pt x="5697292" y="195185"/>
                </a:cubicBezTo>
                <a:cubicBezTo>
                  <a:pt x="5697292" y="179016"/>
                  <a:pt x="5709996" y="166311"/>
                  <a:pt x="5726165" y="166311"/>
                </a:cubicBezTo>
                <a:close/>
                <a:moveTo>
                  <a:pt x="4776809" y="166311"/>
                </a:moveTo>
                <a:cubicBezTo>
                  <a:pt x="4792978" y="166311"/>
                  <a:pt x="4805682" y="179016"/>
                  <a:pt x="4805682" y="195185"/>
                </a:cubicBezTo>
                <a:cubicBezTo>
                  <a:pt x="4805682" y="211354"/>
                  <a:pt x="4792978" y="224057"/>
                  <a:pt x="4776809" y="224057"/>
                </a:cubicBezTo>
                <a:cubicBezTo>
                  <a:pt x="4760640" y="224057"/>
                  <a:pt x="4747936" y="211354"/>
                  <a:pt x="4747936" y="195185"/>
                </a:cubicBezTo>
                <a:cubicBezTo>
                  <a:pt x="4747936" y="179016"/>
                  <a:pt x="4760640" y="166311"/>
                  <a:pt x="4776809" y="166311"/>
                </a:cubicBezTo>
                <a:close/>
                <a:moveTo>
                  <a:pt x="4499625" y="166311"/>
                </a:moveTo>
                <a:cubicBezTo>
                  <a:pt x="4515793" y="166311"/>
                  <a:pt x="4528499" y="179016"/>
                  <a:pt x="4528499" y="195185"/>
                </a:cubicBezTo>
                <a:cubicBezTo>
                  <a:pt x="4528499" y="211354"/>
                  <a:pt x="4515793" y="224057"/>
                  <a:pt x="4499625" y="224057"/>
                </a:cubicBezTo>
                <a:cubicBezTo>
                  <a:pt x="4483456" y="224057"/>
                  <a:pt x="4470752" y="211354"/>
                  <a:pt x="4470752" y="195185"/>
                </a:cubicBezTo>
                <a:cubicBezTo>
                  <a:pt x="4470752" y="179016"/>
                  <a:pt x="4483456" y="166311"/>
                  <a:pt x="4499625" y="166311"/>
                </a:cubicBezTo>
                <a:close/>
                <a:moveTo>
                  <a:pt x="3686551" y="166311"/>
                </a:moveTo>
                <a:cubicBezTo>
                  <a:pt x="3702719" y="166311"/>
                  <a:pt x="3715424" y="179016"/>
                  <a:pt x="3715424" y="195185"/>
                </a:cubicBezTo>
                <a:cubicBezTo>
                  <a:pt x="3715424" y="211354"/>
                  <a:pt x="3702719" y="224057"/>
                  <a:pt x="3686551" y="224057"/>
                </a:cubicBezTo>
                <a:cubicBezTo>
                  <a:pt x="3670381" y="224057"/>
                  <a:pt x="3657677" y="211354"/>
                  <a:pt x="3657677" y="195185"/>
                </a:cubicBezTo>
                <a:cubicBezTo>
                  <a:pt x="3657677" y="179016"/>
                  <a:pt x="3670381" y="166311"/>
                  <a:pt x="3686551" y="166311"/>
                </a:cubicBezTo>
                <a:close/>
                <a:moveTo>
                  <a:pt x="2196685" y="166311"/>
                </a:moveTo>
                <a:cubicBezTo>
                  <a:pt x="2212854" y="166311"/>
                  <a:pt x="2225559" y="179016"/>
                  <a:pt x="2225559" y="195185"/>
                </a:cubicBezTo>
                <a:cubicBezTo>
                  <a:pt x="2225559" y="211354"/>
                  <a:pt x="2212854" y="224057"/>
                  <a:pt x="2196685" y="224057"/>
                </a:cubicBezTo>
                <a:cubicBezTo>
                  <a:pt x="2180516" y="224057"/>
                  <a:pt x="2167813" y="211354"/>
                  <a:pt x="2167813" y="195185"/>
                </a:cubicBezTo>
                <a:cubicBezTo>
                  <a:pt x="2167813" y="179016"/>
                  <a:pt x="2180516" y="166311"/>
                  <a:pt x="2196685" y="166311"/>
                </a:cubicBezTo>
                <a:close/>
                <a:moveTo>
                  <a:pt x="1112202" y="166311"/>
                </a:moveTo>
                <a:cubicBezTo>
                  <a:pt x="1128371" y="166311"/>
                  <a:pt x="1141075" y="179016"/>
                  <a:pt x="1141075" y="195185"/>
                </a:cubicBezTo>
                <a:cubicBezTo>
                  <a:pt x="1141075" y="211354"/>
                  <a:pt x="1128371" y="224057"/>
                  <a:pt x="1112202" y="224057"/>
                </a:cubicBezTo>
                <a:cubicBezTo>
                  <a:pt x="1096033" y="224057"/>
                  <a:pt x="1083328" y="211354"/>
                  <a:pt x="1083328" y="195185"/>
                </a:cubicBezTo>
                <a:cubicBezTo>
                  <a:pt x="1083328" y="179016"/>
                  <a:pt x="1096033" y="166311"/>
                  <a:pt x="1112202" y="166311"/>
                </a:cubicBezTo>
                <a:close/>
                <a:moveTo>
                  <a:pt x="164001" y="166311"/>
                </a:moveTo>
                <a:cubicBezTo>
                  <a:pt x="180170" y="166311"/>
                  <a:pt x="192875" y="179016"/>
                  <a:pt x="192875" y="195185"/>
                </a:cubicBezTo>
                <a:cubicBezTo>
                  <a:pt x="192875" y="211354"/>
                  <a:pt x="180170" y="224057"/>
                  <a:pt x="164001" y="224057"/>
                </a:cubicBezTo>
                <a:cubicBezTo>
                  <a:pt x="147832" y="224057"/>
                  <a:pt x="135128" y="211354"/>
                  <a:pt x="135128" y="195185"/>
                </a:cubicBezTo>
                <a:cubicBezTo>
                  <a:pt x="135128" y="179016"/>
                  <a:pt x="147832" y="166311"/>
                  <a:pt x="164001" y="166311"/>
                </a:cubicBezTo>
                <a:close/>
                <a:moveTo>
                  <a:pt x="11279692" y="160537"/>
                </a:moveTo>
                <a:cubicBezTo>
                  <a:pt x="11298171" y="160537"/>
                  <a:pt x="11314340" y="176706"/>
                  <a:pt x="11314340" y="195185"/>
                </a:cubicBezTo>
                <a:cubicBezTo>
                  <a:pt x="11314340" y="213664"/>
                  <a:pt x="11299326" y="229833"/>
                  <a:pt x="11279692" y="229833"/>
                </a:cubicBezTo>
                <a:cubicBezTo>
                  <a:pt x="11261213" y="229833"/>
                  <a:pt x="11245044" y="213664"/>
                  <a:pt x="11245044" y="195185"/>
                </a:cubicBezTo>
                <a:cubicBezTo>
                  <a:pt x="11245044" y="176706"/>
                  <a:pt x="11260058" y="160537"/>
                  <a:pt x="11279692" y="160537"/>
                </a:cubicBezTo>
                <a:close/>
                <a:moveTo>
                  <a:pt x="10195208" y="160537"/>
                </a:moveTo>
                <a:cubicBezTo>
                  <a:pt x="10214843" y="160537"/>
                  <a:pt x="10229856" y="176706"/>
                  <a:pt x="10229856" y="195185"/>
                </a:cubicBezTo>
                <a:cubicBezTo>
                  <a:pt x="10229856" y="213664"/>
                  <a:pt x="10213687" y="229833"/>
                  <a:pt x="10195208" y="229833"/>
                </a:cubicBezTo>
                <a:cubicBezTo>
                  <a:pt x="10176729" y="229833"/>
                  <a:pt x="10160560" y="213664"/>
                  <a:pt x="10160560" y="195185"/>
                </a:cubicBezTo>
                <a:cubicBezTo>
                  <a:pt x="10160560" y="176706"/>
                  <a:pt x="10175575" y="160537"/>
                  <a:pt x="10195208" y="160537"/>
                </a:cubicBezTo>
                <a:close/>
                <a:moveTo>
                  <a:pt x="9518417" y="160537"/>
                </a:moveTo>
                <a:cubicBezTo>
                  <a:pt x="9536896" y="160537"/>
                  <a:pt x="9553065" y="176706"/>
                  <a:pt x="9553065" y="195185"/>
                </a:cubicBezTo>
                <a:cubicBezTo>
                  <a:pt x="9553065" y="213664"/>
                  <a:pt x="9536896" y="229833"/>
                  <a:pt x="9518417" y="229833"/>
                </a:cubicBezTo>
                <a:cubicBezTo>
                  <a:pt x="9499938" y="229833"/>
                  <a:pt x="9483769" y="213664"/>
                  <a:pt x="9483769" y="195185"/>
                </a:cubicBezTo>
                <a:cubicBezTo>
                  <a:pt x="9483769" y="176706"/>
                  <a:pt x="9498784" y="160537"/>
                  <a:pt x="9518417" y="160537"/>
                </a:cubicBezTo>
                <a:close/>
                <a:moveTo>
                  <a:pt x="8977304" y="160537"/>
                </a:moveTo>
                <a:cubicBezTo>
                  <a:pt x="8995783" y="160537"/>
                  <a:pt x="9011952" y="176706"/>
                  <a:pt x="9011952" y="195185"/>
                </a:cubicBezTo>
                <a:cubicBezTo>
                  <a:pt x="9011952" y="213664"/>
                  <a:pt x="8996938" y="229833"/>
                  <a:pt x="8977304" y="229833"/>
                </a:cubicBezTo>
                <a:cubicBezTo>
                  <a:pt x="8958825" y="229833"/>
                  <a:pt x="8942656" y="213664"/>
                  <a:pt x="8942656" y="195185"/>
                </a:cubicBezTo>
                <a:cubicBezTo>
                  <a:pt x="8942656" y="176706"/>
                  <a:pt x="8957670" y="160537"/>
                  <a:pt x="8977304" y="160537"/>
                </a:cubicBezTo>
                <a:close/>
                <a:moveTo>
                  <a:pt x="8434485" y="160537"/>
                </a:moveTo>
                <a:cubicBezTo>
                  <a:pt x="8454118" y="160537"/>
                  <a:pt x="8469133" y="176706"/>
                  <a:pt x="8469133" y="195185"/>
                </a:cubicBezTo>
                <a:cubicBezTo>
                  <a:pt x="8469133" y="213664"/>
                  <a:pt x="8454118" y="229833"/>
                  <a:pt x="8434485" y="229833"/>
                </a:cubicBezTo>
                <a:cubicBezTo>
                  <a:pt x="8416006" y="229833"/>
                  <a:pt x="8399837" y="213664"/>
                  <a:pt x="8399837" y="195185"/>
                </a:cubicBezTo>
                <a:cubicBezTo>
                  <a:pt x="8399837" y="176706"/>
                  <a:pt x="8414851" y="160537"/>
                  <a:pt x="8434485" y="160537"/>
                </a:cubicBezTo>
                <a:close/>
                <a:moveTo>
                  <a:pt x="6674366" y="160537"/>
                </a:moveTo>
                <a:cubicBezTo>
                  <a:pt x="6692845" y="160537"/>
                  <a:pt x="6709014" y="176706"/>
                  <a:pt x="6709014" y="195185"/>
                </a:cubicBezTo>
                <a:cubicBezTo>
                  <a:pt x="6709014" y="213664"/>
                  <a:pt x="6692845" y="229833"/>
                  <a:pt x="6674366" y="229833"/>
                </a:cubicBezTo>
                <a:cubicBezTo>
                  <a:pt x="6655888" y="229833"/>
                  <a:pt x="6639717" y="213664"/>
                  <a:pt x="6639717" y="195185"/>
                </a:cubicBezTo>
                <a:cubicBezTo>
                  <a:pt x="6639717" y="176706"/>
                  <a:pt x="6654732" y="160537"/>
                  <a:pt x="6674366" y="160537"/>
                </a:cubicBezTo>
                <a:close/>
                <a:moveTo>
                  <a:pt x="5589882" y="160537"/>
                </a:moveTo>
                <a:cubicBezTo>
                  <a:pt x="5609516" y="160537"/>
                  <a:pt x="5624531" y="176706"/>
                  <a:pt x="5624531" y="195185"/>
                </a:cubicBezTo>
                <a:cubicBezTo>
                  <a:pt x="5624531" y="213664"/>
                  <a:pt x="5609516" y="229833"/>
                  <a:pt x="5589882" y="229833"/>
                </a:cubicBezTo>
                <a:cubicBezTo>
                  <a:pt x="5571403" y="229833"/>
                  <a:pt x="5555234" y="213664"/>
                  <a:pt x="5555234" y="195185"/>
                </a:cubicBezTo>
                <a:cubicBezTo>
                  <a:pt x="5555234" y="176706"/>
                  <a:pt x="5570250" y="160537"/>
                  <a:pt x="5589882" y="160537"/>
                </a:cubicBezTo>
                <a:close/>
                <a:moveTo>
                  <a:pt x="4913091" y="160537"/>
                </a:moveTo>
                <a:cubicBezTo>
                  <a:pt x="4931569" y="160537"/>
                  <a:pt x="4947739" y="176706"/>
                  <a:pt x="4947739" y="195185"/>
                </a:cubicBezTo>
                <a:cubicBezTo>
                  <a:pt x="4947739" y="213664"/>
                  <a:pt x="4932726" y="229833"/>
                  <a:pt x="4913091" y="229833"/>
                </a:cubicBezTo>
                <a:cubicBezTo>
                  <a:pt x="4894612" y="229833"/>
                  <a:pt x="4878443" y="213664"/>
                  <a:pt x="4878443" y="195185"/>
                </a:cubicBezTo>
                <a:cubicBezTo>
                  <a:pt x="4878443" y="176706"/>
                  <a:pt x="4893458" y="160537"/>
                  <a:pt x="4913091" y="160537"/>
                </a:cubicBezTo>
                <a:close/>
                <a:moveTo>
                  <a:pt x="4364498" y="160537"/>
                </a:moveTo>
                <a:cubicBezTo>
                  <a:pt x="4382977" y="160537"/>
                  <a:pt x="4399146" y="176706"/>
                  <a:pt x="4399146" y="195185"/>
                </a:cubicBezTo>
                <a:cubicBezTo>
                  <a:pt x="4399146" y="213664"/>
                  <a:pt x="4384131" y="229833"/>
                  <a:pt x="4364498" y="229833"/>
                </a:cubicBezTo>
                <a:cubicBezTo>
                  <a:pt x="4346018" y="229833"/>
                  <a:pt x="4329850" y="213664"/>
                  <a:pt x="4329850" y="195185"/>
                </a:cubicBezTo>
                <a:cubicBezTo>
                  <a:pt x="4329850" y="176706"/>
                  <a:pt x="4344863" y="160537"/>
                  <a:pt x="4364498" y="160537"/>
                </a:cubicBezTo>
                <a:close/>
                <a:moveTo>
                  <a:pt x="3821678" y="160537"/>
                </a:moveTo>
                <a:cubicBezTo>
                  <a:pt x="3841311" y="160537"/>
                  <a:pt x="3856326" y="176706"/>
                  <a:pt x="3856326" y="195185"/>
                </a:cubicBezTo>
                <a:cubicBezTo>
                  <a:pt x="3856326" y="213664"/>
                  <a:pt x="3841311" y="229833"/>
                  <a:pt x="3821678" y="229833"/>
                </a:cubicBezTo>
                <a:cubicBezTo>
                  <a:pt x="3803199" y="229833"/>
                  <a:pt x="3787030" y="213664"/>
                  <a:pt x="3787030" y="195185"/>
                </a:cubicBezTo>
                <a:cubicBezTo>
                  <a:pt x="3787030" y="176706"/>
                  <a:pt x="3802045" y="160537"/>
                  <a:pt x="3821678" y="160537"/>
                </a:cubicBezTo>
                <a:close/>
                <a:moveTo>
                  <a:pt x="2061558" y="160537"/>
                </a:moveTo>
                <a:cubicBezTo>
                  <a:pt x="2080037" y="160537"/>
                  <a:pt x="2096206" y="176706"/>
                  <a:pt x="2096206" y="195185"/>
                </a:cubicBezTo>
                <a:cubicBezTo>
                  <a:pt x="2096206" y="213664"/>
                  <a:pt x="2081192" y="229833"/>
                  <a:pt x="2061558" y="229833"/>
                </a:cubicBezTo>
                <a:cubicBezTo>
                  <a:pt x="2043080" y="229833"/>
                  <a:pt x="2026910" y="213664"/>
                  <a:pt x="2026910" y="195185"/>
                </a:cubicBezTo>
                <a:cubicBezTo>
                  <a:pt x="2026910" y="176706"/>
                  <a:pt x="2041924" y="160537"/>
                  <a:pt x="2061558" y="160537"/>
                </a:cubicBezTo>
                <a:close/>
                <a:moveTo>
                  <a:pt x="977075" y="160537"/>
                </a:moveTo>
                <a:cubicBezTo>
                  <a:pt x="996709" y="160537"/>
                  <a:pt x="1011723" y="176706"/>
                  <a:pt x="1011723" y="195185"/>
                </a:cubicBezTo>
                <a:cubicBezTo>
                  <a:pt x="1011723" y="213664"/>
                  <a:pt x="995554" y="229833"/>
                  <a:pt x="977075" y="229833"/>
                </a:cubicBezTo>
                <a:cubicBezTo>
                  <a:pt x="958596" y="229833"/>
                  <a:pt x="942427" y="213664"/>
                  <a:pt x="942427" y="195185"/>
                </a:cubicBezTo>
                <a:cubicBezTo>
                  <a:pt x="942427" y="176706"/>
                  <a:pt x="957441" y="160537"/>
                  <a:pt x="977075" y="160537"/>
                </a:cubicBezTo>
                <a:close/>
                <a:moveTo>
                  <a:pt x="300283" y="160537"/>
                </a:moveTo>
                <a:cubicBezTo>
                  <a:pt x="318762" y="160537"/>
                  <a:pt x="334931" y="176706"/>
                  <a:pt x="334931" y="195185"/>
                </a:cubicBezTo>
                <a:cubicBezTo>
                  <a:pt x="334931" y="213664"/>
                  <a:pt x="318762" y="229833"/>
                  <a:pt x="300283" y="229833"/>
                </a:cubicBezTo>
                <a:cubicBezTo>
                  <a:pt x="281804" y="229833"/>
                  <a:pt x="265635" y="213664"/>
                  <a:pt x="265635" y="195185"/>
                </a:cubicBezTo>
                <a:cubicBezTo>
                  <a:pt x="265635" y="176706"/>
                  <a:pt x="280650" y="160537"/>
                  <a:pt x="300283" y="160537"/>
                </a:cubicBezTo>
                <a:close/>
                <a:moveTo>
                  <a:pt x="11143410" y="154761"/>
                </a:moveTo>
                <a:cubicBezTo>
                  <a:pt x="11166509" y="154761"/>
                  <a:pt x="11183832" y="173240"/>
                  <a:pt x="11183832" y="195185"/>
                </a:cubicBezTo>
                <a:cubicBezTo>
                  <a:pt x="11183832" y="217128"/>
                  <a:pt x="11165353" y="235607"/>
                  <a:pt x="11143410" y="235607"/>
                </a:cubicBezTo>
                <a:cubicBezTo>
                  <a:pt x="11121466" y="235607"/>
                  <a:pt x="11102987" y="217128"/>
                  <a:pt x="11102987" y="195185"/>
                </a:cubicBezTo>
                <a:cubicBezTo>
                  <a:pt x="11102987" y="173240"/>
                  <a:pt x="11121466" y="154761"/>
                  <a:pt x="11143410" y="154761"/>
                </a:cubicBezTo>
                <a:close/>
                <a:moveTo>
                  <a:pt x="10873155" y="154761"/>
                </a:moveTo>
                <a:cubicBezTo>
                  <a:pt x="10895098" y="154761"/>
                  <a:pt x="10913577" y="173240"/>
                  <a:pt x="10913577" y="195185"/>
                </a:cubicBezTo>
                <a:cubicBezTo>
                  <a:pt x="10913577" y="217128"/>
                  <a:pt x="10895098" y="235607"/>
                  <a:pt x="10873155" y="235607"/>
                </a:cubicBezTo>
                <a:cubicBezTo>
                  <a:pt x="10851211" y="235607"/>
                  <a:pt x="10832732" y="217128"/>
                  <a:pt x="10832732" y="195185"/>
                </a:cubicBezTo>
                <a:cubicBezTo>
                  <a:pt x="10832732" y="173240"/>
                  <a:pt x="10851211" y="154761"/>
                  <a:pt x="10873155" y="154761"/>
                </a:cubicBezTo>
                <a:close/>
                <a:moveTo>
                  <a:pt x="10060082" y="154761"/>
                </a:moveTo>
                <a:cubicBezTo>
                  <a:pt x="10082025" y="154761"/>
                  <a:pt x="10100504" y="173240"/>
                  <a:pt x="10100504" y="195185"/>
                </a:cubicBezTo>
                <a:cubicBezTo>
                  <a:pt x="10100504" y="217128"/>
                  <a:pt x="10082025" y="235607"/>
                  <a:pt x="10060082" y="235607"/>
                </a:cubicBezTo>
                <a:cubicBezTo>
                  <a:pt x="10038137" y="235607"/>
                  <a:pt x="10019658" y="217128"/>
                  <a:pt x="10019658" y="195185"/>
                </a:cubicBezTo>
                <a:cubicBezTo>
                  <a:pt x="10019658" y="173240"/>
                  <a:pt x="10038137" y="154761"/>
                  <a:pt x="10060082" y="154761"/>
                </a:cubicBezTo>
                <a:close/>
                <a:moveTo>
                  <a:pt x="9653545" y="154761"/>
                </a:moveTo>
                <a:cubicBezTo>
                  <a:pt x="9675488" y="154761"/>
                  <a:pt x="9693967" y="173240"/>
                  <a:pt x="9693967" y="195185"/>
                </a:cubicBezTo>
                <a:cubicBezTo>
                  <a:pt x="9693967" y="217128"/>
                  <a:pt x="9675488" y="235607"/>
                  <a:pt x="9653545" y="235607"/>
                </a:cubicBezTo>
                <a:cubicBezTo>
                  <a:pt x="9631600" y="235607"/>
                  <a:pt x="9613122" y="217128"/>
                  <a:pt x="9613122" y="195185"/>
                </a:cubicBezTo>
                <a:cubicBezTo>
                  <a:pt x="9613122" y="173240"/>
                  <a:pt x="9631600" y="154761"/>
                  <a:pt x="9653545" y="154761"/>
                </a:cubicBezTo>
                <a:close/>
                <a:moveTo>
                  <a:pt x="8841022" y="154761"/>
                </a:moveTo>
                <a:cubicBezTo>
                  <a:pt x="8864121" y="154761"/>
                  <a:pt x="8881444" y="173240"/>
                  <a:pt x="8881444" y="195185"/>
                </a:cubicBezTo>
                <a:cubicBezTo>
                  <a:pt x="8881444" y="217128"/>
                  <a:pt x="8862965" y="235607"/>
                  <a:pt x="8841022" y="235607"/>
                </a:cubicBezTo>
                <a:cubicBezTo>
                  <a:pt x="8819078" y="235607"/>
                  <a:pt x="8800599" y="217128"/>
                  <a:pt x="8800599" y="195185"/>
                </a:cubicBezTo>
                <a:cubicBezTo>
                  <a:pt x="8800599" y="173240"/>
                  <a:pt x="8819078" y="154761"/>
                  <a:pt x="8841022" y="154761"/>
                </a:cubicBezTo>
                <a:close/>
                <a:moveTo>
                  <a:pt x="8570767" y="154761"/>
                </a:moveTo>
                <a:cubicBezTo>
                  <a:pt x="8592711" y="154761"/>
                  <a:pt x="8611190" y="173240"/>
                  <a:pt x="8611190" y="195185"/>
                </a:cubicBezTo>
                <a:cubicBezTo>
                  <a:pt x="8611190" y="217128"/>
                  <a:pt x="8592711" y="235607"/>
                  <a:pt x="8570767" y="235607"/>
                </a:cubicBezTo>
                <a:cubicBezTo>
                  <a:pt x="8548823" y="235607"/>
                  <a:pt x="8530344" y="217128"/>
                  <a:pt x="8530344" y="195185"/>
                </a:cubicBezTo>
                <a:cubicBezTo>
                  <a:pt x="8530344" y="173240"/>
                  <a:pt x="8548823" y="154761"/>
                  <a:pt x="8570767" y="154761"/>
                </a:cubicBezTo>
                <a:close/>
                <a:moveTo>
                  <a:pt x="6538083" y="154761"/>
                </a:moveTo>
                <a:cubicBezTo>
                  <a:pt x="6561183" y="154761"/>
                  <a:pt x="6578507" y="173240"/>
                  <a:pt x="6578507" y="195185"/>
                </a:cubicBezTo>
                <a:cubicBezTo>
                  <a:pt x="6578507" y="217128"/>
                  <a:pt x="6560028" y="235607"/>
                  <a:pt x="6538083" y="235607"/>
                </a:cubicBezTo>
                <a:cubicBezTo>
                  <a:pt x="6516139" y="235607"/>
                  <a:pt x="6497661" y="217128"/>
                  <a:pt x="6497661" y="195185"/>
                </a:cubicBezTo>
                <a:cubicBezTo>
                  <a:pt x="6497661" y="173240"/>
                  <a:pt x="6516139" y="154761"/>
                  <a:pt x="6538083" y="154761"/>
                </a:cubicBezTo>
                <a:close/>
                <a:moveTo>
                  <a:pt x="6267830" y="154761"/>
                </a:moveTo>
                <a:cubicBezTo>
                  <a:pt x="6289772" y="154761"/>
                  <a:pt x="6308251" y="173240"/>
                  <a:pt x="6308251" y="195185"/>
                </a:cubicBezTo>
                <a:cubicBezTo>
                  <a:pt x="6308251" y="217128"/>
                  <a:pt x="6289772" y="235607"/>
                  <a:pt x="6267830" y="235607"/>
                </a:cubicBezTo>
                <a:cubicBezTo>
                  <a:pt x="6245885" y="235607"/>
                  <a:pt x="6227406" y="217128"/>
                  <a:pt x="6227406" y="195185"/>
                </a:cubicBezTo>
                <a:cubicBezTo>
                  <a:pt x="6227406" y="173240"/>
                  <a:pt x="6245885" y="154761"/>
                  <a:pt x="6267830" y="154761"/>
                </a:cubicBezTo>
                <a:close/>
                <a:moveTo>
                  <a:pt x="5454756" y="154761"/>
                </a:moveTo>
                <a:cubicBezTo>
                  <a:pt x="5476698" y="154761"/>
                  <a:pt x="5495178" y="173240"/>
                  <a:pt x="5495178" y="195185"/>
                </a:cubicBezTo>
                <a:cubicBezTo>
                  <a:pt x="5495178" y="217128"/>
                  <a:pt x="5476698" y="235607"/>
                  <a:pt x="5454756" y="235607"/>
                </a:cubicBezTo>
                <a:cubicBezTo>
                  <a:pt x="5432812" y="235607"/>
                  <a:pt x="5414332" y="217128"/>
                  <a:pt x="5414332" y="195185"/>
                </a:cubicBezTo>
                <a:cubicBezTo>
                  <a:pt x="5414332" y="173240"/>
                  <a:pt x="5432812" y="154761"/>
                  <a:pt x="5454756" y="154761"/>
                </a:cubicBezTo>
                <a:close/>
                <a:moveTo>
                  <a:pt x="5048218" y="154761"/>
                </a:moveTo>
                <a:cubicBezTo>
                  <a:pt x="5070162" y="154761"/>
                  <a:pt x="5088641" y="173240"/>
                  <a:pt x="5088641" y="195185"/>
                </a:cubicBezTo>
                <a:cubicBezTo>
                  <a:pt x="5088641" y="217128"/>
                  <a:pt x="5070162" y="235607"/>
                  <a:pt x="5048218" y="235607"/>
                </a:cubicBezTo>
                <a:cubicBezTo>
                  <a:pt x="5026274" y="235607"/>
                  <a:pt x="5007796" y="217128"/>
                  <a:pt x="5007796" y="195185"/>
                </a:cubicBezTo>
                <a:cubicBezTo>
                  <a:pt x="5007796" y="173240"/>
                  <a:pt x="5026274" y="154761"/>
                  <a:pt x="5048218" y="154761"/>
                </a:cubicBezTo>
                <a:close/>
                <a:moveTo>
                  <a:pt x="4228216" y="154761"/>
                </a:moveTo>
                <a:cubicBezTo>
                  <a:pt x="4251315" y="154761"/>
                  <a:pt x="4268637" y="173240"/>
                  <a:pt x="4268637" y="195185"/>
                </a:cubicBezTo>
                <a:cubicBezTo>
                  <a:pt x="4268637" y="217128"/>
                  <a:pt x="4250159" y="235607"/>
                  <a:pt x="4228216" y="235607"/>
                </a:cubicBezTo>
                <a:cubicBezTo>
                  <a:pt x="4206271" y="235607"/>
                  <a:pt x="4187792" y="217128"/>
                  <a:pt x="4187792" y="195185"/>
                </a:cubicBezTo>
                <a:cubicBezTo>
                  <a:pt x="4187792" y="173240"/>
                  <a:pt x="4206271" y="154761"/>
                  <a:pt x="4228216" y="154761"/>
                </a:cubicBezTo>
                <a:close/>
                <a:moveTo>
                  <a:pt x="3957960" y="154761"/>
                </a:moveTo>
                <a:cubicBezTo>
                  <a:pt x="3979904" y="154761"/>
                  <a:pt x="3998382" y="173240"/>
                  <a:pt x="3998382" y="195185"/>
                </a:cubicBezTo>
                <a:cubicBezTo>
                  <a:pt x="3998382" y="217128"/>
                  <a:pt x="3979904" y="235607"/>
                  <a:pt x="3957960" y="235607"/>
                </a:cubicBezTo>
                <a:cubicBezTo>
                  <a:pt x="3936016" y="235607"/>
                  <a:pt x="3917537" y="217128"/>
                  <a:pt x="3917537" y="195185"/>
                </a:cubicBezTo>
                <a:cubicBezTo>
                  <a:pt x="3917537" y="173240"/>
                  <a:pt x="3936016" y="154761"/>
                  <a:pt x="3957960" y="154761"/>
                </a:cubicBezTo>
                <a:close/>
                <a:moveTo>
                  <a:pt x="1925276" y="154761"/>
                </a:moveTo>
                <a:cubicBezTo>
                  <a:pt x="1948375" y="154761"/>
                  <a:pt x="1965698" y="173240"/>
                  <a:pt x="1965698" y="195185"/>
                </a:cubicBezTo>
                <a:cubicBezTo>
                  <a:pt x="1965698" y="217128"/>
                  <a:pt x="1947219" y="235607"/>
                  <a:pt x="1925276" y="235607"/>
                </a:cubicBezTo>
                <a:cubicBezTo>
                  <a:pt x="1903332" y="235607"/>
                  <a:pt x="1884853" y="217128"/>
                  <a:pt x="1884853" y="195185"/>
                </a:cubicBezTo>
                <a:cubicBezTo>
                  <a:pt x="1884853" y="173240"/>
                  <a:pt x="1903332" y="154761"/>
                  <a:pt x="1925276" y="154761"/>
                </a:cubicBezTo>
                <a:close/>
                <a:moveTo>
                  <a:pt x="1655022" y="154761"/>
                </a:moveTo>
                <a:cubicBezTo>
                  <a:pt x="1676965" y="154761"/>
                  <a:pt x="1695444" y="173240"/>
                  <a:pt x="1695444" y="195185"/>
                </a:cubicBezTo>
                <a:cubicBezTo>
                  <a:pt x="1695444" y="217128"/>
                  <a:pt x="1676965" y="235607"/>
                  <a:pt x="1655022" y="235607"/>
                </a:cubicBezTo>
                <a:cubicBezTo>
                  <a:pt x="1633077" y="235607"/>
                  <a:pt x="1614598" y="217128"/>
                  <a:pt x="1614598" y="195185"/>
                </a:cubicBezTo>
                <a:cubicBezTo>
                  <a:pt x="1614598" y="173240"/>
                  <a:pt x="1633077" y="154761"/>
                  <a:pt x="1655022" y="154761"/>
                </a:cubicBezTo>
                <a:close/>
                <a:moveTo>
                  <a:pt x="841948" y="154761"/>
                </a:moveTo>
                <a:cubicBezTo>
                  <a:pt x="863891" y="154761"/>
                  <a:pt x="882370" y="173240"/>
                  <a:pt x="882370" y="195185"/>
                </a:cubicBezTo>
                <a:cubicBezTo>
                  <a:pt x="882370" y="217128"/>
                  <a:pt x="863891" y="235607"/>
                  <a:pt x="841948" y="235607"/>
                </a:cubicBezTo>
                <a:cubicBezTo>
                  <a:pt x="820004" y="235607"/>
                  <a:pt x="801525" y="217128"/>
                  <a:pt x="801525" y="195185"/>
                </a:cubicBezTo>
                <a:cubicBezTo>
                  <a:pt x="801525" y="173240"/>
                  <a:pt x="820004" y="154761"/>
                  <a:pt x="841948" y="154761"/>
                </a:cubicBezTo>
                <a:close/>
                <a:moveTo>
                  <a:pt x="435411" y="154761"/>
                </a:moveTo>
                <a:cubicBezTo>
                  <a:pt x="457354" y="154761"/>
                  <a:pt x="475833" y="173240"/>
                  <a:pt x="475833" y="195185"/>
                </a:cubicBezTo>
                <a:cubicBezTo>
                  <a:pt x="475833" y="217128"/>
                  <a:pt x="457354" y="235607"/>
                  <a:pt x="435411" y="235607"/>
                </a:cubicBezTo>
                <a:cubicBezTo>
                  <a:pt x="413467" y="235607"/>
                  <a:pt x="394988" y="217128"/>
                  <a:pt x="394988" y="195185"/>
                </a:cubicBezTo>
                <a:cubicBezTo>
                  <a:pt x="394988" y="173240"/>
                  <a:pt x="413467" y="154761"/>
                  <a:pt x="435411" y="154761"/>
                </a:cubicBezTo>
                <a:close/>
                <a:moveTo>
                  <a:pt x="11008282" y="144368"/>
                </a:moveTo>
                <a:cubicBezTo>
                  <a:pt x="11036000" y="144368"/>
                  <a:pt x="11059099" y="167466"/>
                  <a:pt x="11059099" y="195185"/>
                </a:cubicBezTo>
                <a:cubicBezTo>
                  <a:pt x="11059099" y="222903"/>
                  <a:pt x="11037156" y="246002"/>
                  <a:pt x="11008282" y="246002"/>
                </a:cubicBezTo>
                <a:cubicBezTo>
                  <a:pt x="10980564" y="246002"/>
                  <a:pt x="10957465" y="222903"/>
                  <a:pt x="10957465" y="195185"/>
                </a:cubicBezTo>
                <a:cubicBezTo>
                  <a:pt x="10957465" y="167466"/>
                  <a:pt x="10979409" y="144368"/>
                  <a:pt x="11008282" y="144368"/>
                </a:cubicBezTo>
                <a:close/>
                <a:moveTo>
                  <a:pt x="9924954" y="144368"/>
                </a:moveTo>
                <a:cubicBezTo>
                  <a:pt x="9952672" y="144368"/>
                  <a:pt x="9975771" y="167466"/>
                  <a:pt x="9975771" y="195185"/>
                </a:cubicBezTo>
                <a:cubicBezTo>
                  <a:pt x="9975771" y="222903"/>
                  <a:pt x="9953828" y="246002"/>
                  <a:pt x="9924954" y="246002"/>
                </a:cubicBezTo>
                <a:cubicBezTo>
                  <a:pt x="9897235" y="246002"/>
                  <a:pt x="9874137" y="222903"/>
                  <a:pt x="9874137" y="195185"/>
                </a:cubicBezTo>
                <a:cubicBezTo>
                  <a:pt x="9874137" y="167466"/>
                  <a:pt x="9896081" y="144368"/>
                  <a:pt x="9924954" y="144368"/>
                </a:cubicBezTo>
                <a:close/>
                <a:moveTo>
                  <a:pt x="9788672" y="144368"/>
                </a:moveTo>
                <a:cubicBezTo>
                  <a:pt x="9817545" y="144368"/>
                  <a:pt x="9839489" y="167466"/>
                  <a:pt x="9839489" y="195185"/>
                </a:cubicBezTo>
                <a:cubicBezTo>
                  <a:pt x="9839489" y="222903"/>
                  <a:pt x="9816390" y="246002"/>
                  <a:pt x="9788672" y="246002"/>
                </a:cubicBezTo>
                <a:cubicBezTo>
                  <a:pt x="9760953" y="246002"/>
                  <a:pt x="9737854" y="222903"/>
                  <a:pt x="9737854" y="195185"/>
                </a:cubicBezTo>
                <a:cubicBezTo>
                  <a:pt x="9737854" y="167466"/>
                  <a:pt x="9759799" y="144368"/>
                  <a:pt x="9788672" y="144368"/>
                </a:cubicBezTo>
                <a:close/>
                <a:moveTo>
                  <a:pt x="8705894" y="144368"/>
                </a:moveTo>
                <a:cubicBezTo>
                  <a:pt x="8733613" y="144368"/>
                  <a:pt x="8756711" y="167466"/>
                  <a:pt x="8756711" y="195185"/>
                </a:cubicBezTo>
                <a:cubicBezTo>
                  <a:pt x="8756711" y="222903"/>
                  <a:pt x="8733613" y="246002"/>
                  <a:pt x="8705894" y="246002"/>
                </a:cubicBezTo>
                <a:cubicBezTo>
                  <a:pt x="8678176" y="246002"/>
                  <a:pt x="8655077" y="222903"/>
                  <a:pt x="8655077" y="195185"/>
                </a:cubicBezTo>
                <a:cubicBezTo>
                  <a:pt x="8655077" y="167466"/>
                  <a:pt x="8677021" y="144368"/>
                  <a:pt x="8705894" y="144368"/>
                </a:cubicBezTo>
                <a:close/>
                <a:moveTo>
                  <a:pt x="6402956" y="144368"/>
                </a:moveTo>
                <a:cubicBezTo>
                  <a:pt x="6431830" y="144368"/>
                  <a:pt x="6453773" y="167466"/>
                  <a:pt x="6453773" y="195185"/>
                </a:cubicBezTo>
                <a:cubicBezTo>
                  <a:pt x="6453773" y="222903"/>
                  <a:pt x="6431830" y="246002"/>
                  <a:pt x="6402956" y="246002"/>
                </a:cubicBezTo>
                <a:cubicBezTo>
                  <a:pt x="6375237" y="246002"/>
                  <a:pt x="6352139" y="222903"/>
                  <a:pt x="6352139" y="195185"/>
                </a:cubicBezTo>
                <a:cubicBezTo>
                  <a:pt x="6352139" y="167466"/>
                  <a:pt x="6374084" y="144368"/>
                  <a:pt x="6402956" y="144368"/>
                </a:cubicBezTo>
                <a:close/>
                <a:moveTo>
                  <a:pt x="5319627" y="144368"/>
                </a:moveTo>
                <a:cubicBezTo>
                  <a:pt x="5347347" y="144368"/>
                  <a:pt x="5370444" y="167466"/>
                  <a:pt x="5370444" y="195185"/>
                </a:cubicBezTo>
                <a:cubicBezTo>
                  <a:pt x="5370444" y="222903"/>
                  <a:pt x="5347347" y="246002"/>
                  <a:pt x="5319627" y="246002"/>
                </a:cubicBezTo>
                <a:cubicBezTo>
                  <a:pt x="5291910" y="246002"/>
                  <a:pt x="5268810" y="222903"/>
                  <a:pt x="5268810" y="195185"/>
                </a:cubicBezTo>
                <a:cubicBezTo>
                  <a:pt x="5268810" y="167466"/>
                  <a:pt x="5290756" y="144368"/>
                  <a:pt x="5319627" y="144368"/>
                </a:cubicBezTo>
                <a:close/>
                <a:moveTo>
                  <a:pt x="5183345" y="144368"/>
                </a:moveTo>
                <a:cubicBezTo>
                  <a:pt x="5212220" y="144368"/>
                  <a:pt x="5234162" y="167466"/>
                  <a:pt x="5234162" y="195185"/>
                </a:cubicBezTo>
                <a:cubicBezTo>
                  <a:pt x="5234162" y="222903"/>
                  <a:pt x="5211064" y="246002"/>
                  <a:pt x="5183345" y="246002"/>
                </a:cubicBezTo>
                <a:cubicBezTo>
                  <a:pt x="5155627" y="246002"/>
                  <a:pt x="5132528" y="222903"/>
                  <a:pt x="5132528" y="195185"/>
                </a:cubicBezTo>
                <a:cubicBezTo>
                  <a:pt x="5132528" y="167466"/>
                  <a:pt x="5154472" y="144368"/>
                  <a:pt x="5183345" y="144368"/>
                </a:cubicBezTo>
                <a:close/>
                <a:moveTo>
                  <a:pt x="4093087" y="144368"/>
                </a:moveTo>
                <a:cubicBezTo>
                  <a:pt x="4120806" y="144368"/>
                  <a:pt x="4143904" y="167466"/>
                  <a:pt x="4143904" y="195185"/>
                </a:cubicBezTo>
                <a:cubicBezTo>
                  <a:pt x="4143904" y="222903"/>
                  <a:pt x="4120806" y="246002"/>
                  <a:pt x="4093087" y="246002"/>
                </a:cubicBezTo>
                <a:cubicBezTo>
                  <a:pt x="4065369" y="246002"/>
                  <a:pt x="4042270" y="222903"/>
                  <a:pt x="4042270" y="195185"/>
                </a:cubicBezTo>
                <a:cubicBezTo>
                  <a:pt x="4042270" y="167466"/>
                  <a:pt x="4064214" y="144368"/>
                  <a:pt x="4093087" y="144368"/>
                </a:cubicBezTo>
                <a:close/>
                <a:moveTo>
                  <a:pt x="1790148" y="144368"/>
                </a:moveTo>
                <a:cubicBezTo>
                  <a:pt x="1817867" y="144368"/>
                  <a:pt x="1840965" y="167466"/>
                  <a:pt x="1840965" y="195185"/>
                </a:cubicBezTo>
                <a:cubicBezTo>
                  <a:pt x="1840965" y="222903"/>
                  <a:pt x="1819022" y="246002"/>
                  <a:pt x="1790148" y="246002"/>
                </a:cubicBezTo>
                <a:cubicBezTo>
                  <a:pt x="1762430" y="246002"/>
                  <a:pt x="1739331" y="222903"/>
                  <a:pt x="1739331" y="195185"/>
                </a:cubicBezTo>
                <a:cubicBezTo>
                  <a:pt x="1739331" y="167466"/>
                  <a:pt x="1761275" y="144368"/>
                  <a:pt x="1790148" y="144368"/>
                </a:cubicBezTo>
                <a:close/>
                <a:moveTo>
                  <a:pt x="706820" y="144368"/>
                </a:moveTo>
                <a:cubicBezTo>
                  <a:pt x="734538" y="144368"/>
                  <a:pt x="757637" y="167466"/>
                  <a:pt x="757637" y="195185"/>
                </a:cubicBezTo>
                <a:cubicBezTo>
                  <a:pt x="757637" y="222903"/>
                  <a:pt x="735694" y="246002"/>
                  <a:pt x="706820" y="246002"/>
                </a:cubicBezTo>
                <a:cubicBezTo>
                  <a:pt x="679101" y="246002"/>
                  <a:pt x="656003" y="222903"/>
                  <a:pt x="656003" y="195185"/>
                </a:cubicBezTo>
                <a:cubicBezTo>
                  <a:pt x="656003" y="167466"/>
                  <a:pt x="677947" y="144368"/>
                  <a:pt x="706820" y="144368"/>
                </a:cubicBezTo>
                <a:close/>
                <a:moveTo>
                  <a:pt x="570538" y="144368"/>
                </a:moveTo>
                <a:cubicBezTo>
                  <a:pt x="599412" y="144368"/>
                  <a:pt x="621355" y="167466"/>
                  <a:pt x="621355" y="195185"/>
                </a:cubicBezTo>
                <a:cubicBezTo>
                  <a:pt x="621355" y="222903"/>
                  <a:pt x="598256" y="246002"/>
                  <a:pt x="570538" y="246002"/>
                </a:cubicBezTo>
                <a:cubicBezTo>
                  <a:pt x="542819" y="246002"/>
                  <a:pt x="519721" y="222903"/>
                  <a:pt x="519721" y="195185"/>
                </a:cubicBezTo>
                <a:cubicBezTo>
                  <a:pt x="519721" y="167466"/>
                  <a:pt x="541665" y="144368"/>
                  <a:pt x="570538" y="144368"/>
                </a:cubicBezTo>
                <a:close/>
                <a:moveTo>
                  <a:pt x="12180541" y="31184"/>
                </a:moveTo>
                <a:cubicBezTo>
                  <a:pt x="12192090" y="31184"/>
                  <a:pt x="12201330" y="40424"/>
                  <a:pt x="12201330" y="51973"/>
                </a:cubicBezTo>
                <a:cubicBezTo>
                  <a:pt x="12201330" y="63522"/>
                  <a:pt x="12192090" y="72762"/>
                  <a:pt x="12180541" y="72762"/>
                </a:cubicBezTo>
                <a:cubicBezTo>
                  <a:pt x="12168992" y="72762"/>
                  <a:pt x="12159752" y="63522"/>
                  <a:pt x="12159752" y="51973"/>
                </a:cubicBezTo>
                <a:cubicBezTo>
                  <a:pt x="12159752" y="40424"/>
                  <a:pt x="12168992" y="31184"/>
                  <a:pt x="12180541" y="31184"/>
                </a:cubicBezTo>
                <a:close/>
                <a:moveTo>
                  <a:pt x="12040793" y="31184"/>
                </a:moveTo>
                <a:cubicBezTo>
                  <a:pt x="12052342" y="31184"/>
                  <a:pt x="12061582" y="40424"/>
                  <a:pt x="12061582" y="51973"/>
                </a:cubicBezTo>
                <a:cubicBezTo>
                  <a:pt x="12061582" y="63522"/>
                  <a:pt x="12052342" y="72762"/>
                  <a:pt x="12040793" y="72762"/>
                </a:cubicBezTo>
                <a:cubicBezTo>
                  <a:pt x="12029244" y="72762"/>
                  <a:pt x="12020004" y="63522"/>
                  <a:pt x="12020004" y="51973"/>
                </a:cubicBezTo>
                <a:cubicBezTo>
                  <a:pt x="12020004" y="40424"/>
                  <a:pt x="12029244" y="31184"/>
                  <a:pt x="12040793" y="31184"/>
                </a:cubicBezTo>
                <a:close/>
                <a:moveTo>
                  <a:pt x="11901047" y="31184"/>
                </a:moveTo>
                <a:cubicBezTo>
                  <a:pt x="11912596" y="31184"/>
                  <a:pt x="11921836" y="40424"/>
                  <a:pt x="11921836" y="51973"/>
                </a:cubicBezTo>
                <a:cubicBezTo>
                  <a:pt x="11921836" y="63522"/>
                  <a:pt x="11912596" y="72762"/>
                  <a:pt x="11901047" y="72762"/>
                </a:cubicBezTo>
                <a:cubicBezTo>
                  <a:pt x="11889498" y="72762"/>
                  <a:pt x="11880258" y="63522"/>
                  <a:pt x="11880258" y="51973"/>
                </a:cubicBezTo>
                <a:cubicBezTo>
                  <a:pt x="11880258" y="40424"/>
                  <a:pt x="11889498" y="31184"/>
                  <a:pt x="11901047" y="31184"/>
                </a:cubicBezTo>
                <a:close/>
                <a:moveTo>
                  <a:pt x="11761299" y="31184"/>
                </a:moveTo>
                <a:cubicBezTo>
                  <a:pt x="11772848" y="31184"/>
                  <a:pt x="11782088" y="40424"/>
                  <a:pt x="11782088" y="51973"/>
                </a:cubicBezTo>
                <a:cubicBezTo>
                  <a:pt x="11782088" y="63522"/>
                  <a:pt x="11772848" y="72762"/>
                  <a:pt x="11761299" y="72762"/>
                </a:cubicBezTo>
                <a:cubicBezTo>
                  <a:pt x="11749750" y="72762"/>
                  <a:pt x="11740510" y="63522"/>
                  <a:pt x="11740510" y="51973"/>
                </a:cubicBezTo>
                <a:cubicBezTo>
                  <a:pt x="11740510" y="40424"/>
                  <a:pt x="11749750" y="31184"/>
                  <a:pt x="11761299" y="31184"/>
                </a:cubicBezTo>
                <a:close/>
                <a:moveTo>
                  <a:pt x="11621553" y="31184"/>
                </a:moveTo>
                <a:cubicBezTo>
                  <a:pt x="11633102" y="31184"/>
                  <a:pt x="11642342" y="40424"/>
                  <a:pt x="11642342" y="51973"/>
                </a:cubicBezTo>
                <a:cubicBezTo>
                  <a:pt x="11642342" y="63522"/>
                  <a:pt x="11633102" y="72762"/>
                  <a:pt x="11621553" y="72762"/>
                </a:cubicBezTo>
                <a:cubicBezTo>
                  <a:pt x="11610003" y="72762"/>
                  <a:pt x="11600764" y="63522"/>
                  <a:pt x="11600764" y="51973"/>
                </a:cubicBezTo>
                <a:cubicBezTo>
                  <a:pt x="11600764" y="40424"/>
                  <a:pt x="11610003" y="31184"/>
                  <a:pt x="11621553" y="31184"/>
                </a:cubicBezTo>
                <a:close/>
                <a:moveTo>
                  <a:pt x="11481805" y="31184"/>
                </a:moveTo>
                <a:cubicBezTo>
                  <a:pt x="11493354" y="31184"/>
                  <a:pt x="11502594" y="40424"/>
                  <a:pt x="11502594" y="51973"/>
                </a:cubicBezTo>
                <a:cubicBezTo>
                  <a:pt x="11502594" y="63522"/>
                  <a:pt x="11493354" y="72762"/>
                  <a:pt x="11481805" y="72762"/>
                </a:cubicBezTo>
                <a:cubicBezTo>
                  <a:pt x="11470256" y="72762"/>
                  <a:pt x="11461016" y="63522"/>
                  <a:pt x="11461016" y="51973"/>
                </a:cubicBezTo>
                <a:cubicBezTo>
                  <a:pt x="11461016" y="40424"/>
                  <a:pt x="11470256" y="31184"/>
                  <a:pt x="11481805" y="31184"/>
                </a:cubicBezTo>
                <a:close/>
                <a:moveTo>
                  <a:pt x="10644478" y="31184"/>
                </a:moveTo>
                <a:cubicBezTo>
                  <a:pt x="10656028" y="31184"/>
                  <a:pt x="10665267" y="40424"/>
                  <a:pt x="10665267" y="51973"/>
                </a:cubicBezTo>
                <a:cubicBezTo>
                  <a:pt x="10665267" y="63522"/>
                  <a:pt x="10656028" y="72762"/>
                  <a:pt x="10644478" y="72762"/>
                </a:cubicBezTo>
                <a:cubicBezTo>
                  <a:pt x="10632929" y="72762"/>
                  <a:pt x="10623690" y="63522"/>
                  <a:pt x="10623690" y="51973"/>
                </a:cubicBezTo>
                <a:cubicBezTo>
                  <a:pt x="10623690" y="40424"/>
                  <a:pt x="10632929" y="31184"/>
                  <a:pt x="10644478" y="31184"/>
                </a:cubicBezTo>
                <a:close/>
                <a:moveTo>
                  <a:pt x="10504731" y="31184"/>
                </a:moveTo>
                <a:cubicBezTo>
                  <a:pt x="10516280" y="31184"/>
                  <a:pt x="10525520" y="40424"/>
                  <a:pt x="10525520" y="51973"/>
                </a:cubicBezTo>
                <a:cubicBezTo>
                  <a:pt x="10525520" y="63522"/>
                  <a:pt x="10516280" y="72762"/>
                  <a:pt x="10504731" y="72762"/>
                </a:cubicBezTo>
                <a:cubicBezTo>
                  <a:pt x="10493181" y="72762"/>
                  <a:pt x="10483942" y="63522"/>
                  <a:pt x="10483942" y="51973"/>
                </a:cubicBezTo>
                <a:cubicBezTo>
                  <a:pt x="10483942" y="40424"/>
                  <a:pt x="10493181" y="31184"/>
                  <a:pt x="10504731" y="31184"/>
                </a:cubicBezTo>
                <a:close/>
                <a:moveTo>
                  <a:pt x="10364984" y="31184"/>
                </a:moveTo>
                <a:cubicBezTo>
                  <a:pt x="10376534" y="31184"/>
                  <a:pt x="10385773" y="40424"/>
                  <a:pt x="10385773" y="51973"/>
                </a:cubicBezTo>
                <a:cubicBezTo>
                  <a:pt x="10385773" y="63522"/>
                  <a:pt x="10376534" y="72762"/>
                  <a:pt x="10364984" y="72762"/>
                </a:cubicBezTo>
                <a:cubicBezTo>
                  <a:pt x="10353435" y="72762"/>
                  <a:pt x="10344196" y="63522"/>
                  <a:pt x="10344196" y="51973"/>
                </a:cubicBezTo>
                <a:cubicBezTo>
                  <a:pt x="10344196" y="40424"/>
                  <a:pt x="10353435" y="31184"/>
                  <a:pt x="10364984" y="31184"/>
                </a:cubicBezTo>
                <a:close/>
                <a:moveTo>
                  <a:pt x="7854709" y="31184"/>
                </a:moveTo>
                <a:cubicBezTo>
                  <a:pt x="7866258" y="31184"/>
                  <a:pt x="7875498" y="40424"/>
                  <a:pt x="7875498" y="51973"/>
                </a:cubicBezTo>
                <a:cubicBezTo>
                  <a:pt x="7875498" y="63522"/>
                  <a:pt x="7866258" y="72762"/>
                  <a:pt x="7854709" y="72762"/>
                </a:cubicBezTo>
                <a:cubicBezTo>
                  <a:pt x="7843160" y="72762"/>
                  <a:pt x="7833921" y="63522"/>
                  <a:pt x="7833921" y="51973"/>
                </a:cubicBezTo>
                <a:cubicBezTo>
                  <a:pt x="7833921" y="40424"/>
                  <a:pt x="7843160" y="31184"/>
                  <a:pt x="7854709" y="31184"/>
                </a:cubicBezTo>
                <a:close/>
                <a:moveTo>
                  <a:pt x="7714960" y="31184"/>
                </a:moveTo>
                <a:cubicBezTo>
                  <a:pt x="7726511" y="31184"/>
                  <a:pt x="7735749" y="40424"/>
                  <a:pt x="7735749" y="51973"/>
                </a:cubicBezTo>
                <a:cubicBezTo>
                  <a:pt x="7735749" y="63522"/>
                  <a:pt x="7726511" y="72762"/>
                  <a:pt x="7714960" y="72762"/>
                </a:cubicBezTo>
                <a:cubicBezTo>
                  <a:pt x="7703411" y="72762"/>
                  <a:pt x="7694172" y="63522"/>
                  <a:pt x="7694172" y="51973"/>
                </a:cubicBezTo>
                <a:cubicBezTo>
                  <a:pt x="7694172" y="40424"/>
                  <a:pt x="7703411" y="31184"/>
                  <a:pt x="7714960" y="31184"/>
                </a:cubicBezTo>
                <a:close/>
                <a:moveTo>
                  <a:pt x="7575214" y="31184"/>
                </a:moveTo>
                <a:cubicBezTo>
                  <a:pt x="7586765" y="31184"/>
                  <a:pt x="7596004" y="40424"/>
                  <a:pt x="7596004" y="51973"/>
                </a:cubicBezTo>
                <a:cubicBezTo>
                  <a:pt x="7596004" y="63522"/>
                  <a:pt x="7586765" y="72762"/>
                  <a:pt x="7575214" y="72762"/>
                </a:cubicBezTo>
                <a:cubicBezTo>
                  <a:pt x="7563665" y="72762"/>
                  <a:pt x="7554427" y="63522"/>
                  <a:pt x="7554427" y="51973"/>
                </a:cubicBezTo>
                <a:cubicBezTo>
                  <a:pt x="7554427" y="40424"/>
                  <a:pt x="7563665" y="31184"/>
                  <a:pt x="7575214" y="31184"/>
                </a:cubicBezTo>
                <a:close/>
                <a:moveTo>
                  <a:pt x="7435467" y="31184"/>
                </a:moveTo>
                <a:cubicBezTo>
                  <a:pt x="7447016" y="31184"/>
                  <a:pt x="7456257" y="40424"/>
                  <a:pt x="7456257" y="51973"/>
                </a:cubicBezTo>
                <a:cubicBezTo>
                  <a:pt x="7456257" y="63522"/>
                  <a:pt x="7447016" y="72762"/>
                  <a:pt x="7435467" y="72762"/>
                </a:cubicBezTo>
                <a:cubicBezTo>
                  <a:pt x="7423918" y="72762"/>
                  <a:pt x="7414678" y="63522"/>
                  <a:pt x="7414678" y="51973"/>
                </a:cubicBezTo>
                <a:cubicBezTo>
                  <a:pt x="7414678" y="40424"/>
                  <a:pt x="7423918" y="31184"/>
                  <a:pt x="7435467" y="31184"/>
                </a:cubicBezTo>
                <a:close/>
                <a:moveTo>
                  <a:pt x="7295720" y="31184"/>
                </a:moveTo>
                <a:cubicBezTo>
                  <a:pt x="7307271" y="31184"/>
                  <a:pt x="7316509" y="40424"/>
                  <a:pt x="7316509" y="51973"/>
                </a:cubicBezTo>
                <a:cubicBezTo>
                  <a:pt x="7316509" y="63522"/>
                  <a:pt x="7307271" y="72762"/>
                  <a:pt x="7295720" y="72762"/>
                </a:cubicBezTo>
                <a:cubicBezTo>
                  <a:pt x="7284172" y="72762"/>
                  <a:pt x="7274932" y="63522"/>
                  <a:pt x="7274932" y="51973"/>
                </a:cubicBezTo>
                <a:cubicBezTo>
                  <a:pt x="7274932" y="40424"/>
                  <a:pt x="7284172" y="31184"/>
                  <a:pt x="7295720" y="31184"/>
                </a:cubicBezTo>
                <a:close/>
                <a:moveTo>
                  <a:pt x="7155974" y="31184"/>
                </a:moveTo>
                <a:cubicBezTo>
                  <a:pt x="7167522" y="31184"/>
                  <a:pt x="7176762" y="40424"/>
                  <a:pt x="7176762" y="51973"/>
                </a:cubicBezTo>
                <a:cubicBezTo>
                  <a:pt x="7176762" y="63522"/>
                  <a:pt x="7167522" y="72762"/>
                  <a:pt x="7155974" y="72762"/>
                </a:cubicBezTo>
                <a:cubicBezTo>
                  <a:pt x="7144423" y="72762"/>
                  <a:pt x="7135183" y="63522"/>
                  <a:pt x="7135183" y="51973"/>
                </a:cubicBezTo>
                <a:cubicBezTo>
                  <a:pt x="7135183" y="40424"/>
                  <a:pt x="7144423" y="31184"/>
                  <a:pt x="7155974" y="31184"/>
                </a:cubicBezTo>
                <a:close/>
                <a:moveTo>
                  <a:pt x="7016227" y="31184"/>
                </a:moveTo>
                <a:cubicBezTo>
                  <a:pt x="7027776" y="31184"/>
                  <a:pt x="7037016" y="40424"/>
                  <a:pt x="7037016" y="51973"/>
                </a:cubicBezTo>
                <a:cubicBezTo>
                  <a:pt x="7037016" y="63522"/>
                  <a:pt x="7027776" y="72762"/>
                  <a:pt x="7016227" y="72762"/>
                </a:cubicBezTo>
                <a:cubicBezTo>
                  <a:pt x="7004678" y="72762"/>
                  <a:pt x="6995438" y="63522"/>
                  <a:pt x="6995438" y="51973"/>
                </a:cubicBezTo>
                <a:cubicBezTo>
                  <a:pt x="6995438" y="40424"/>
                  <a:pt x="7004678" y="31184"/>
                  <a:pt x="7016227" y="31184"/>
                </a:cubicBezTo>
                <a:close/>
                <a:moveTo>
                  <a:pt x="6877634" y="31184"/>
                </a:moveTo>
                <a:cubicBezTo>
                  <a:pt x="6888028" y="31184"/>
                  <a:pt x="6898424" y="40424"/>
                  <a:pt x="6898424" y="51973"/>
                </a:cubicBezTo>
                <a:cubicBezTo>
                  <a:pt x="6898424" y="63522"/>
                  <a:pt x="6889184" y="72762"/>
                  <a:pt x="6877634" y="72762"/>
                </a:cubicBezTo>
                <a:cubicBezTo>
                  <a:pt x="6866085" y="72762"/>
                  <a:pt x="6856845" y="63522"/>
                  <a:pt x="6856845" y="51973"/>
                </a:cubicBezTo>
                <a:cubicBezTo>
                  <a:pt x="6856845" y="40424"/>
                  <a:pt x="6866085" y="31184"/>
                  <a:pt x="6877634" y="31184"/>
                </a:cubicBezTo>
                <a:close/>
                <a:moveTo>
                  <a:pt x="6039151" y="31184"/>
                </a:moveTo>
                <a:cubicBezTo>
                  <a:pt x="6050702" y="31184"/>
                  <a:pt x="6059942" y="40424"/>
                  <a:pt x="6059942" y="51973"/>
                </a:cubicBezTo>
                <a:cubicBezTo>
                  <a:pt x="6059942" y="63522"/>
                  <a:pt x="6050702" y="72762"/>
                  <a:pt x="6039151" y="72762"/>
                </a:cubicBezTo>
                <a:cubicBezTo>
                  <a:pt x="6027603" y="72762"/>
                  <a:pt x="6018363" y="63522"/>
                  <a:pt x="6018363" y="51973"/>
                </a:cubicBezTo>
                <a:cubicBezTo>
                  <a:pt x="6018363" y="40424"/>
                  <a:pt x="6027603" y="31184"/>
                  <a:pt x="6039151" y="31184"/>
                </a:cubicBezTo>
                <a:close/>
                <a:moveTo>
                  <a:pt x="5899405" y="31184"/>
                </a:moveTo>
                <a:cubicBezTo>
                  <a:pt x="5910953" y="31184"/>
                  <a:pt x="5920193" y="40424"/>
                  <a:pt x="5920193" y="51973"/>
                </a:cubicBezTo>
                <a:cubicBezTo>
                  <a:pt x="5920193" y="63522"/>
                  <a:pt x="5910953" y="72762"/>
                  <a:pt x="5899405" y="72762"/>
                </a:cubicBezTo>
                <a:cubicBezTo>
                  <a:pt x="5887855" y="72762"/>
                  <a:pt x="5878616" y="63522"/>
                  <a:pt x="5878616" y="51973"/>
                </a:cubicBezTo>
                <a:cubicBezTo>
                  <a:pt x="5878616" y="40424"/>
                  <a:pt x="5887855" y="31184"/>
                  <a:pt x="5899405" y="31184"/>
                </a:cubicBezTo>
                <a:close/>
                <a:moveTo>
                  <a:pt x="5759658" y="31184"/>
                </a:moveTo>
                <a:cubicBezTo>
                  <a:pt x="5771207" y="31184"/>
                  <a:pt x="5780447" y="40424"/>
                  <a:pt x="5780447" y="51973"/>
                </a:cubicBezTo>
                <a:cubicBezTo>
                  <a:pt x="5780447" y="63522"/>
                  <a:pt x="5771207" y="72762"/>
                  <a:pt x="5759658" y="72762"/>
                </a:cubicBezTo>
                <a:cubicBezTo>
                  <a:pt x="5748109" y="72762"/>
                  <a:pt x="5738869" y="63522"/>
                  <a:pt x="5738869" y="51973"/>
                </a:cubicBezTo>
                <a:cubicBezTo>
                  <a:pt x="5738869" y="40424"/>
                  <a:pt x="5748109" y="31184"/>
                  <a:pt x="5759658" y="31184"/>
                </a:cubicBezTo>
                <a:close/>
                <a:moveTo>
                  <a:pt x="3241901" y="31184"/>
                </a:moveTo>
                <a:cubicBezTo>
                  <a:pt x="3253450" y="31184"/>
                  <a:pt x="3262690" y="40424"/>
                  <a:pt x="3262690" y="51973"/>
                </a:cubicBezTo>
                <a:cubicBezTo>
                  <a:pt x="3262690" y="63522"/>
                  <a:pt x="3253450" y="72762"/>
                  <a:pt x="3241901" y="72762"/>
                </a:cubicBezTo>
                <a:cubicBezTo>
                  <a:pt x="3230352" y="72762"/>
                  <a:pt x="3221112" y="63522"/>
                  <a:pt x="3221112" y="51973"/>
                </a:cubicBezTo>
                <a:cubicBezTo>
                  <a:pt x="3221112" y="40424"/>
                  <a:pt x="3230352" y="31184"/>
                  <a:pt x="3241901" y="31184"/>
                </a:cubicBezTo>
                <a:close/>
                <a:moveTo>
                  <a:pt x="3102153" y="31184"/>
                </a:moveTo>
                <a:cubicBezTo>
                  <a:pt x="3113703" y="31184"/>
                  <a:pt x="3122942" y="40424"/>
                  <a:pt x="3122942" y="51973"/>
                </a:cubicBezTo>
                <a:cubicBezTo>
                  <a:pt x="3122942" y="63522"/>
                  <a:pt x="3113703" y="72762"/>
                  <a:pt x="3102153" y="72762"/>
                </a:cubicBezTo>
                <a:cubicBezTo>
                  <a:pt x="3090605" y="72762"/>
                  <a:pt x="3081365" y="63522"/>
                  <a:pt x="3081365" y="51973"/>
                </a:cubicBezTo>
                <a:cubicBezTo>
                  <a:pt x="3081365" y="40424"/>
                  <a:pt x="3090605" y="31184"/>
                  <a:pt x="3102153" y="31184"/>
                </a:cubicBezTo>
                <a:close/>
                <a:moveTo>
                  <a:pt x="2962407" y="31184"/>
                </a:moveTo>
                <a:cubicBezTo>
                  <a:pt x="2973956" y="31184"/>
                  <a:pt x="2983196" y="40424"/>
                  <a:pt x="2983196" y="51973"/>
                </a:cubicBezTo>
                <a:cubicBezTo>
                  <a:pt x="2983196" y="63522"/>
                  <a:pt x="2973956" y="72762"/>
                  <a:pt x="2962407" y="72762"/>
                </a:cubicBezTo>
                <a:cubicBezTo>
                  <a:pt x="2950858" y="72762"/>
                  <a:pt x="2941618" y="63522"/>
                  <a:pt x="2941618" y="51973"/>
                </a:cubicBezTo>
                <a:cubicBezTo>
                  <a:pt x="2941618" y="40424"/>
                  <a:pt x="2950858" y="31184"/>
                  <a:pt x="2962407" y="31184"/>
                </a:cubicBezTo>
                <a:close/>
                <a:moveTo>
                  <a:pt x="2822659" y="31184"/>
                </a:moveTo>
                <a:cubicBezTo>
                  <a:pt x="2834209" y="31184"/>
                  <a:pt x="2843448" y="40424"/>
                  <a:pt x="2843448" y="51973"/>
                </a:cubicBezTo>
                <a:cubicBezTo>
                  <a:pt x="2843448" y="63522"/>
                  <a:pt x="2834209" y="72762"/>
                  <a:pt x="2822659" y="72762"/>
                </a:cubicBezTo>
                <a:cubicBezTo>
                  <a:pt x="2811110" y="72762"/>
                  <a:pt x="2801871" y="63522"/>
                  <a:pt x="2801871" y="51973"/>
                </a:cubicBezTo>
                <a:cubicBezTo>
                  <a:pt x="2801871" y="40424"/>
                  <a:pt x="2811110" y="31184"/>
                  <a:pt x="2822659" y="31184"/>
                </a:cubicBezTo>
                <a:close/>
                <a:moveTo>
                  <a:pt x="2682913" y="31184"/>
                </a:moveTo>
                <a:cubicBezTo>
                  <a:pt x="2694462" y="31184"/>
                  <a:pt x="2703702" y="40424"/>
                  <a:pt x="2703702" y="51973"/>
                </a:cubicBezTo>
                <a:cubicBezTo>
                  <a:pt x="2703702" y="63522"/>
                  <a:pt x="2694462" y="72762"/>
                  <a:pt x="2682913" y="72762"/>
                </a:cubicBezTo>
                <a:cubicBezTo>
                  <a:pt x="2671365" y="72762"/>
                  <a:pt x="2662124" y="63522"/>
                  <a:pt x="2662124" y="51973"/>
                </a:cubicBezTo>
                <a:cubicBezTo>
                  <a:pt x="2662124" y="40424"/>
                  <a:pt x="2671365" y="31184"/>
                  <a:pt x="2682913" y="31184"/>
                </a:cubicBezTo>
                <a:close/>
                <a:moveTo>
                  <a:pt x="2543167" y="31184"/>
                </a:moveTo>
                <a:cubicBezTo>
                  <a:pt x="2554715" y="31184"/>
                  <a:pt x="2563954" y="40424"/>
                  <a:pt x="2563954" y="51973"/>
                </a:cubicBezTo>
                <a:cubicBezTo>
                  <a:pt x="2563954" y="63522"/>
                  <a:pt x="2554715" y="72762"/>
                  <a:pt x="2543167" y="72762"/>
                </a:cubicBezTo>
                <a:cubicBezTo>
                  <a:pt x="2531616" y="72762"/>
                  <a:pt x="2522376" y="63522"/>
                  <a:pt x="2522376" y="51973"/>
                </a:cubicBezTo>
                <a:cubicBezTo>
                  <a:pt x="2522376" y="40424"/>
                  <a:pt x="2531616" y="31184"/>
                  <a:pt x="2543167" y="31184"/>
                </a:cubicBezTo>
                <a:close/>
                <a:moveTo>
                  <a:pt x="2403419" y="31184"/>
                </a:moveTo>
                <a:cubicBezTo>
                  <a:pt x="2414969" y="31184"/>
                  <a:pt x="2424209" y="40424"/>
                  <a:pt x="2424209" y="51973"/>
                </a:cubicBezTo>
                <a:cubicBezTo>
                  <a:pt x="2424209" y="63522"/>
                  <a:pt x="2414969" y="72762"/>
                  <a:pt x="2403419" y="72762"/>
                </a:cubicBezTo>
                <a:cubicBezTo>
                  <a:pt x="2391869" y="72762"/>
                  <a:pt x="2382630" y="63522"/>
                  <a:pt x="2382630" y="51973"/>
                </a:cubicBezTo>
                <a:cubicBezTo>
                  <a:pt x="2382630" y="40424"/>
                  <a:pt x="2391869" y="31184"/>
                  <a:pt x="2403419" y="31184"/>
                </a:cubicBezTo>
                <a:close/>
                <a:moveTo>
                  <a:pt x="2263671" y="31184"/>
                </a:moveTo>
                <a:cubicBezTo>
                  <a:pt x="2275221" y="31184"/>
                  <a:pt x="2284460" y="40424"/>
                  <a:pt x="2284460" y="51973"/>
                </a:cubicBezTo>
                <a:cubicBezTo>
                  <a:pt x="2284460" y="63522"/>
                  <a:pt x="2275221" y="72762"/>
                  <a:pt x="2263671" y="72762"/>
                </a:cubicBezTo>
                <a:cubicBezTo>
                  <a:pt x="2252122" y="72762"/>
                  <a:pt x="2242883" y="63522"/>
                  <a:pt x="2242883" y="51973"/>
                </a:cubicBezTo>
                <a:cubicBezTo>
                  <a:pt x="2242883" y="40424"/>
                  <a:pt x="2252122" y="31184"/>
                  <a:pt x="2263671" y="31184"/>
                </a:cubicBezTo>
                <a:close/>
                <a:moveTo>
                  <a:pt x="1426344" y="31184"/>
                </a:moveTo>
                <a:cubicBezTo>
                  <a:pt x="1437894" y="31184"/>
                  <a:pt x="1447133" y="40424"/>
                  <a:pt x="1447133" y="51973"/>
                </a:cubicBezTo>
                <a:cubicBezTo>
                  <a:pt x="1447133" y="63522"/>
                  <a:pt x="1437894" y="72762"/>
                  <a:pt x="1426344" y="72762"/>
                </a:cubicBezTo>
                <a:cubicBezTo>
                  <a:pt x="1414795" y="72762"/>
                  <a:pt x="1405556" y="63522"/>
                  <a:pt x="1405556" y="51973"/>
                </a:cubicBezTo>
                <a:cubicBezTo>
                  <a:pt x="1405556" y="40424"/>
                  <a:pt x="1414795" y="31184"/>
                  <a:pt x="1426344" y="31184"/>
                </a:cubicBezTo>
                <a:close/>
                <a:moveTo>
                  <a:pt x="1286597" y="31184"/>
                </a:moveTo>
                <a:cubicBezTo>
                  <a:pt x="1298146" y="31184"/>
                  <a:pt x="1307386" y="40424"/>
                  <a:pt x="1307386" y="51973"/>
                </a:cubicBezTo>
                <a:cubicBezTo>
                  <a:pt x="1307386" y="63522"/>
                  <a:pt x="1298146" y="72762"/>
                  <a:pt x="1286597" y="72762"/>
                </a:cubicBezTo>
                <a:cubicBezTo>
                  <a:pt x="1275048" y="72762"/>
                  <a:pt x="1265808" y="63522"/>
                  <a:pt x="1265808" y="51973"/>
                </a:cubicBezTo>
                <a:cubicBezTo>
                  <a:pt x="1265808" y="40424"/>
                  <a:pt x="1275048" y="31184"/>
                  <a:pt x="1286597" y="31184"/>
                </a:cubicBezTo>
                <a:close/>
                <a:moveTo>
                  <a:pt x="1146851" y="31184"/>
                </a:moveTo>
                <a:cubicBezTo>
                  <a:pt x="1158400" y="31184"/>
                  <a:pt x="1167639" y="40424"/>
                  <a:pt x="1167639" y="51973"/>
                </a:cubicBezTo>
                <a:cubicBezTo>
                  <a:pt x="1167639" y="63522"/>
                  <a:pt x="1158400" y="72762"/>
                  <a:pt x="1146851" y="72762"/>
                </a:cubicBezTo>
                <a:cubicBezTo>
                  <a:pt x="1135301" y="72762"/>
                  <a:pt x="1126062" y="63522"/>
                  <a:pt x="1126062" y="51973"/>
                </a:cubicBezTo>
                <a:cubicBezTo>
                  <a:pt x="1126062" y="40424"/>
                  <a:pt x="1135301" y="31184"/>
                  <a:pt x="1146851" y="31184"/>
                </a:cubicBezTo>
                <a:close/>
                <a:moveTo>
                  <a:pt x="11343213" y="27719"/>
                </a:moveTo>
                <a:cubicBezTo>
                  <a:pt x="11355918" y="27719"/>
                  <a:pt x="11366312" y="38114"/>
                  <a:pt x="11366312" y="50817"/>
                </a:cubicBezTo>
                <a:cubicBezTo>
                  <a:pt x="11366312" y="63522"/>
                  <a:pt x="11355918" y="73916"/>
                  <a:pt x="11343213" y="73916"/>
                </a:cubicBezTo>
                <a:cubicBezTo>
                  <a:pt x="11330509" y="73916"/>
                  <a:pt x="11320114" y="63522"/>
                  <a:pt x="11320114" y="50817"/>
                </a:cubicBezTo>
                <a:cubicBezTo>
                  <a:pt x="11320114" y="38114"/>
                  <a:pt x="11330509" y="27719"/>
                  <a:pt x="11343213" y="27719"/>
                </a:cubicBezTo>
                <a:close/>
                <a:moveTo>
                  <a:pt x="10225237" y="27719"/>
                </a:moveTo>
                <a:cubicBezTo>
                  <a:pt x="10237942" y="27719"/>
                  <a:pt x="10248335" y="38114"/>
                  <a:pt x="10248335" y="50817"/>
                </a:cubicBezTo>
                <a:cubicBezTo>
                  <a:pt x="10248335" y="63522"/>
                  <a:pt x="10237942" y="73916"/>
                  <a:pt x="10225237" y="73916"/>
                </a:cubicBezTo>
                <a:cubicBezTo>
                  <a:pt x="10212533" y="73916"/>
                  <a:pt x="10202138" y="63522"/>
                  <a:pt x="10202138" y="50817"/>
                </a:cubicBezTo>
                <a:cubicBezTo>
                  <a:pt x="10202138" y="38114"/>
                  <a:pt x="10212533" y="27719"/>
                  <a:pt x="10225237" y="27719"/>
                </a:cubicBezTo>
                <a:close/>
                <a:moveTo>
                  <a:pt x="9112431" y="27719"/>
                </a:moveTo>
                <a:cubicBezTo>
                  <a:pt x="9125136" y="27719"/>
                  <a:pt x="9135530" y="38114"/>
                  <a:pt x="9135530" y="50817"/>
                </a:cubicBezTo>
                <a:cubicBezTo>
                  <a:pt x="9135530" y="63522"/>
                  <a:pt x="9125136" y="73916"/>
                  <a:pt x="9112431" y="73916"/>
                </a:cubicBezTo>
                <a:cubicBezTo>
                  <a:pt x="9099727" y="73916"/>
                  <a:pt x="9089332" y="63522"/>
                  <a:pt x="9089332" y="50817"/>
                </a:cubicBezTo>
                <a:cubicBezTo>
                  <a:pt x="9089332" y="38114"/>
                  <a:pt x="9099727" y="27719"/>
                  <a:pt x="9112431" y="27719"/>
                </a:cubicBezTo>
                <a:close/>
                <a:moveTo>
                  <a:pt x="7994456" y="27719"/>
                </a:moveTo>
                <a:cubicBezTo>
                  <a:pt x="8007160" y="27719"/>
                  <a:pt x="8017555" y="38114"/>
                  <a:pt x="8017555" y="50817"/>
                </a:cubicBezTo>
                <a:cubicBezTo>
                  <a:pt x="8017555" y="63522"/>
                  <a:pt x="8007160" y="73916"/>
                  <a:pt x="7994456" y="73916"/>
                </a:cubicBezTo>
                <a:cubicBezTo>
                  <a:pt x="7981752" y="73916"/>
                  <a:pt x="7971356" y="63522"/>
                  <a:pt x="7971356" y="50817"/>
                </a:cubicBezTo>
                <a:cubicBezTo>
                  <a:pt x="7971356" y="38114"/>
                  <a:pt x="7981752" y="27719"/>
                  <a:pt x="7994456" y="27719"/>
                </a:cubicBezTo>
                <a:close/>
                <a:moveTo>
                  <a:pt x="6737887" y="27719"/>
                </a:moveTo>
                <a:cubicBezTo>
                  <a:pt x="6750591" y="27719"/>
                  <a:pt x="6760986" y="38114"/>
                  <a:pt x="6760986" y="50817"/>
                </a:cubicBezTo>
                <a:cubicBezTo>
                  <a:pt x="6760986" y="63522"/>
                  <a:pt x="6750591" y="73916"/>
                  <a:pt x="6737887" y="73916"/>
                </a:cubicBezTo>
                <a:cubicBezTo>
                  <a:pt x="6725183" y="73916"/>
                  <a:pt x="6714789" y="63522"/>
                  <a:pt x="6714789" y="50817"/>
                </a:cubicBezTo>
                <a:cubicBezTo>
                  <a:pt x="6714789" y="38114"/>
                  <a:pt x="6725183" y="27719"/>
                  <a:pt x="6737887" y="27719"/>
                </a:cubicBezTo>
                <a:close/>
                <a:moveTo>
                  <a:pt x="5619911" y="27719"/>
                </a:moveTo>
                <a:cubicBezTo>
                  <a:pt x="5632616" y="27719"/>
                  <a:pt x="5643008" y="38114"/>
                  <a:pt x="5643008" y="50817"/>
                </a:cubicBezTo>
                <a:cubicBezTo>
                  <a:pt x="5643008" y="63522"/>
                  <a:pt x="5632616" y="73916"/>
                  <a:pt x="5619911" y="73916"/>
                </a:cubicBezTo>
                <a:cubicBezTo>
                  <a:pt x="5607207" y="73916"/>
                  <a:pt x="5596812" y="63522"/>
                  <a:pt x="5596812" y="50817"/>
                </a:cubicBezTo>
                <a:cubicBezTo>
                  <a:pt x="5596812" y="38114"/>
                  <a:pt x="5607207" y="27719"/>
                  <a:pt x="5619911" y="27719"/>
                </a:cubicBezTo>
                <a:close/>
                <a:moveTo>
                  <a:pt x="4499625" y="27719"/>
                </a:moveTo>
                <a:cubicBezTo>
                  <a:pt x="4512329" y="27719"/>
                  <a:pt x="4522722" y="38114"/>
                  <a:pt x="4522722" y="50817"/>
                </a:cubicBezTo>
                <a:cubicBezTo>
                  <a:pt x="4522722" y="63522"/>
                  <a:pt x="4512329" y="73916"/>
                  <a:pt x="4499625" y="73916"/>
                </a:cubicBezTo>
                <a:cubicBezTo>
                  <a:pt x="4486920" y="73916"/>
                  <a:pt x="4476525" y="63522"/>
                  <a:pt x="4476525" y="50817"/>
                </a:cubicBezTo>
                <a:cubicBezTo>
                  <a:pt x="4476525" y="38114"/>
                  <a:pt x="4486920" y="27719"/>
                  <a:pt x="4499625" y="27719"/>
                </a:cubicBezTo>
                <a:close/>
                <a:moveTo>
                  <a:pt x="3381648" y="27719"/>
                </a:moveTo>
                <a:cubicBezTo>
                  <a:pt x="3394352" y="27719"/>
                  <a:pt x="3404746" y="38114"/>
                  <a:pt x="3404746" y="50817"/>
                </a:cubicBezTo>
                <a:cubicBezTo>
                  <a:pt x="3404746" y="63522"/>
                  <a:pt x="3394352" y="73916"/>
                  <a:pt x="3381648" y="73916"/>
                </a:cubicBezTo>
                <a:cubicBezTo>
                  <a:pt x="3368944" y="73916"/>
                  <a:pt x="3358549" y="63522"/>
                  <a:pt x="3358549" y="50817"/>
                </a:cubicBezTo>
                <a:cubicBezTo>
                  <a:pt x="3358549" y="38114"/>
                  <a:pt x="3368944" y="27719"/>
                  <a:pt x="3381648" y="27719"/>
                </a:cubicBezTo>
                <a:close/>
                <a:moveTo>
                  <a:pt x="2125079" y="27719"/>
                </a:moveTo>
                <a:cubicBezTo>
                  <a:pt x="2137784" y="27719"/>
                  <a:pt x="2148178" y="38114"/>
                  <a:pt x="2148178" y="50817"/>
                </a:cubicBezTo>
                <a:cubicBezTo>
                  <a:pt x="2148178" y="63522"/>
                  <a:pt x="2137784" y="73916"/>
                  <a:pt x="2125079" y="73916"/>
                </a:cubicBezTo>
                <a:cubicBezTo>
                  <a:pt x="2112376" y="73916"/>
                  <a:pt x="2101980" y="63522"/>
                  <a:pt x="2101980" y="50817"/>
                </a:cubicBezTo>
                <a:cubicBezTo>
                  <a:pt x="2101980" y="38114"/>
                  <a:pt x="2112376" y="27719"/>
                  <a:pt x="2125079" y="27719"/>
                </a:cubicBezTo>
                <a:close/>
                <a:moveTo>
                  <a:pt x="1007103" y="27719"/>
                </a:moveTo>
                <a:cubicBezTo>
                  <a:pt x="1019808" y="27719"/>
                  <a:pt x="1030201" y="38114"/>
                  <a:pt x="1030201" y="50817"/>
                </a:cubicBezTo>
                <a:cubicBezTo>
                  <a:pt x="1030201" y="63522"/>
                  <a:pt x="1019808" y="73916"/>
                  <a:pt x="1007103" y="73916"/>
                </a:cubicBezTo>
                <a:cubicBezTo>
                  <a:pt x="994399" y="73916"/>
                  <a:pt x="984004" y="63522"/>
                  <a:pt x="984004" y="50817"/>
                </a:cubicBezTo>
                <a:cubicBezTo>
                  <a:pt x="984004" y="38114"/>
                  <a:pt x="994399" y="27719"/>
                  <a:pt x="1007103" y="27719"/>
                </a:cubicBezTo>
                <a:close/>
                <a:moveTo>
                  <a:pt x="11203466" y="21945"/>
                </a:moveTo>
                <a:cubicBezTo>
                  <a:pt x="11218480" y="21945"/>
                  <a:pt x="11232339" y="34648"/>
                  <a:pt x="11232339" y="50817"/>
                </a:cubicBezTo>
                <a:cubicBezTo>
                  <a:pt x="11232339" y="66986"/>
                  <a:pt x="11219636" y="79691"/>
                  <a:pt x="11203466" y="79691"/>
                </a:cubicBezTo>
                <a:cubicBezTo>
                  <a:pt x="11187298" y="79691"/>
                  <a:pt x="11174593" y="66986"/>
                  <a:pt x="11174593" y="50817"/>
                </a:cubicBezTo>
                <a:cubicBezTo>
                  <a:pt x="11174593" y="34648"/>
                  <a:pt x="11187298" y="21945"/>
                  <a:pt x="11203466" y="21945"/>
                </a:cubicBezTo>
                <a:close/>
                <a:moveTo>
                  <a:pt x="10085490" y="21945"/>
                </a:moveTo>
                <a:cubicBezTo>
                  <a:pt x="10101659" y="21945"/>
                  <a:pt x="10114363" y="35804"/>
                  <a:pt x="10114363" y="51973"/>
                </a:cubicBezTo>
                <a:cubicBezTo>
                  <a:pt x="10114363" y="68142"/>
                  <a:pt x="10101659" y="80846"/>
                  <a:pt x="10085490" y="80846"/>
                </a:cubicBezTo>
                <a:cubicBezTo>
                  <a:pt x="10069321" y="80846"/>
                  <a:pt x="10056616" y="66986"/>
                  <a:pt x="10056616" y="50817"/>
                </a:cubicBezTo>
                <a:cubicBezTo>
                  <a:pt x="10056616" y="34648"/>
                  <a:pt x="10069321" y="21945"/>
                  <a:pt x="10085490" y="21945"/>
                </a:cubicBezTo>
                <a:close/>
                <a:moveTo>
                  <a:pt x="9247008" y="21945"/>
                </a:moveTo>
                <a:cubicBezTo>
                  <a:pt x="9263177" y="21945"/>
                  <a:pt x="9275881" y="34648"/>
                  <a:pt x="9275881" y="50817"/>
                </a:cubicBezTo>
                <a:cubicBezTo>
                  <a:pt x="9275881" y="66986"/>
                  <a:pt x="9263177" y="80846"/>
                  <a:pt x="9247008" y="80846"/>
                </a:cubicBezTo>
                <a:cubicBezTo>
                  <a:pt x="9230839" y="80846"/>
                  <a:pt x="9218134" y="65832"/>
                  <a:pt x="9218134" y="50817"/>
                </a:cubicBezTo>
                <a:cubicBezTo>
                  <a:pt x="9218134" y="35804"/>
                  <a:pt x="9230839" y="21945"/>
                  <a:pt x="9247008" y="21945"/>
                </a:cubicBezTo>
                <a:close/>
                <a:moveTo>
                  <a:pt x="8972685" y="21945"/>
                </a:moveTo>
                <a:cubicBezTo>
                  <a:pt x="8988854" y="21945"/>
                  <a:pt x="9001557" y="34648"/>
                  <a:pt x="9001557" y="50817"/>
                </a:cubicBezTo>
                <a:cubicBezTo>
                  <a:pt x="9001557" y="66986"/>
                  <a:pt x="8988854" y="79691"/>
                  <a:pt x="8972685" y="79691"/>
                </a:cubicBezTo>
                <a:cubicBezTo>
                  <a:pt x="8956515" y="79691"/>
                  <a:pt x="8943811" y="66986"/>
                  <a:pt x="8943811" y="50817"/>
                </a:cubicBezTo>
                <a:cubicBezTo>
                  <a:pt x="8943811" y="34648"/>
                  <a:pt x="8956515" y="21945"/>
                  <a:pt x="8972685" y="21945"/>
                </a:cubicBezTo>
                <a:close/>
                <a:moveTo>
                  <a:pt x="8134203" y="21945"/>
                </a:moveTo>
                <a:cubicBezTo>
                  <a:pt x="8150373" y="21945"/>
                  <a:pt x="8163075" y="34648"/>
                  <a:pt x="8163075" y="50817"/>
                </a:cubicBezTo>
                <a:cubicBezTo>
                  <a:pt x="8163075" y="66986"/>
                  <a:pt x="8150373" y="79691"/>
                  <a:pt x="8134203" y="79691"/>
                </a:cubicBezTo>
                <a:cubicBezTo>
                  <a:pt x="8118034" y="79691"/>
                  <a:pt x="8105330" y="66986"/>
                  <a:pt x="8105330" y="50817"/>
                </a:cubicBezTo>
                <a:cubicBezTo>
                  <a:pt x="8105330" y="34648"/>
                  <a:pt x="8118034" y="21945"/>
                  <a:pt x="8134203" y="21945"/>
                </a:cubicBezTo>
                <a:close/>
                <a:moveTo>
                  <a:pt x="6598140" y="21945"/>
                </a:moveTo>
                <a:cubicBezTo>
                  <a:pt x="6613155" y="21945"/>
                  <a:pt x="6627013" y="34648"/>
                  <a:pt x="6627013" y="50817"/>
                </a:cubicBezTo>
                <a:cubicBezTo>
                  <a:pt x="6627013" y="66986"/>
                  <a:pt x="6614309" y="79691"/>
                  <a:pt x="6598140" y="79691"/>
                </a:cubicBezTo>
                <a:cubicBezTo>
                  <a:pt x="6581971" y="79691"/>
                  <a:pt x="6569267" y="66986"/>
                  <a:pt x="6569267" y="50817"/>
                </a:cubicBezTo>
                <a:cubicBezTo>
                  <a:pt x="6569267" y="34648"/>
                  <a:pt x="6581971" y="21945"/>
                  <a:pt x="6598140" y="21945"/>
                </a:cubicBezTo>
                <a:close/>
                <a:moveTo>
                  <a:pt x="5480165" y="21945"/>
                </a:moveTo>
                <a:cubicBezTo>
                  <a:pt x="5496333" y="21945"/>
                  <a:pt x="5509037" y="34648"/>
                  <a:pt x="5509037" y="50817"/>
                </a:cubicBezTo>
                <a:cubicBezTo>
                  <a:pt x="5509037" y="66986"/>
                  <a:pt x="5496333" y="79691"/>
                  <a:pt x="5480165" y="79691"/>
                </a:cubicBezTo>
                <a:cubicBezTo>
                  <a:pt x="5463996" y="79691"/>
                  <a:pt x="5451289" y="66986"/>
                  <a:pt x="5451289" y="50817"/>
                </a:cubicBezTo>
                <a:cubicBezTo>
                  <a:pt x="5451289" y="34648"/>
                  <a:pt x="5463996" y="21945"/>
                  <a:pt x="5480165" y="21945"/>
                </a:cubicBezTo>
                <a:close/>
                <a:moveTo>
                  <a:pt x="4641682" y="21945"/>
                </a:moveTo>
                <a:cubicBezTo>
                  <a:pt x="4657851" y="21945"/>
                  <a:pt x="4670555" y="34648"/>
                  <a:pt x="4670555" y="50817"/>
                </a:cubicBezTo>
                <a:cubicBezTo>
                  <a:pt x="4670555" y="66986"/>
                  <a:pt x="4657851" y="79691"/>
                  <a:pt x="4641682" y="79691"/>
                </a:cubicBezTo>
                <a:cubicBezTo>
                  <a:pt x="4625513" y="79691"/>
                  <a:pt x="4612809" y="66986"/>
                  <a:pt x="4612809" y="50817"/>
                </a:cubicBezTo>
                <a:cubicBezTo>
                  <a:pt x="4612809" y="34648"/>
                  <a:pt x="4625513" y="21945"/>
                  <a:pt x="4641682" y="21945"/>
                </a:cubicBezTo>
                <a:close/>
                <a:moveTo>
                  <a:pt x="4359878" y="21945"/>
                </a:moveTo>
                <a:cubicBezTo>
                  <a:pt x="4376046" y="21945"/>
                  <a:pt x="4388751" y="34648"/>
                  <a:pt x="4388751" y="50817"/>
                </a:cubicBezTo>
                <a:cubicBezTo>
                  <a:pt x="4388751" y="66986"/>
                  <a:pt x="4376046" y="79691"/>
                  <a:pt x="4359878" y="79691"/>
                </a:cubicBezTo>
                <a:cubicBezTo>
                  <a:pt x="4343709" y="79691"/>
                  <a:pt x="4331003" y="66986"/>
                  <a:pt x="4331003" y="50817"/>
                </a:cubicBezTo>
                <a:cubicBezTo>
                  <a:pt x="4331003" y="34648"/>
                  <a:pt x="4343709" y="21945"/>
                  <a:pt x="4359878" y="21945"/>
                </a:cubicBezTo>
                <a:close/>
                <a:moveTo>
                  <a:pt x="3521396" y="21945"/>
                </a:moveTo>
                <a:cubicBezTo>
                  <a:pt x="3537564" y="21945"/>
                  <a:pt x="3550268" y="34648"/>
                  <a:pt x="3550268" y="50817"/>
                </a:cubicBezTo>
                <a:cubicBezTo>
                  <a:pt x="3550268" y="66986"/>
                  <a:pt x="3537564" y="79691"/>
                  <a:pt x="3521396" y="79691"/>
                </a:cubicBezTo>
                <a:cubicBezTo>
                  <a:pt x="3505226" y="79691"/>
                  <a:pt x="3492521" y="66986"/>
                  <a:pt x="3492521" y="50817"/>
                </a:cubicBezTo>
                <a:cubicBezTo>
                  <a:pt x="3492521" y="34648"/>
                  <a:pt x="3505226" y="21945"/>
                  <a:pt x="3521396" y="21945"/>
                </a:cubicBezTo>
                <a:close/>
                <a:moveTo>
                  <a:pt x="1985333" y="21945"/>
                </a:moveTo>
                <a:cubicBezTo>
                  <a:pt x="2000346" y="21945"/>
                  <a:pt x="2014205" y="34648"/>
                  <a:pt x="2014205" y="50817"/>
                </a:cubicBezTo>
                <a:cubicBezTo>
                  <a:pt x="2014205" y="66986"/>
                  <a:pt x="2001502" y="79691"/>
                  <a:pt x="1985333" y="79691"/>
                </a:cubicBezTo>
                <a:cubicBezTo>
                  <a:pt x="1969164" y="79691"/>
                  <a:pt x="1956459" y="66986"/>
                  <a:pt x="1956459" y="50817"/>
                </a:cubicBezTo>
                <a:cubicBezTo>
                  <a:pt x="1956459" y="34648"/>
                  <a:pt x="1969164" y="21945"/>
                  <a:pt x="1985333" y="21945"/>
                </a:cubicBezTo>
                <a:close/>
                <a:moveTo>
                  <a:pt x="867356" y="21945"/>
                </a:moveTo>
                <a:cubicBezTo>
                  <a:pt x="883525" y="21945"/>
                  <a:pt x="896229" y="35804"/>
                  <a:pt x="896229" y="51973"/>
                </a:cubicBezTo>
                <a:cubicBezTo>
                  <a:pt x="896229" y="68142"/>
                  <a:pt x="883525" y="80846"/>
                  <a:pt x="867356" y="80846"/>
                </a:cubicBezTo>
                <a:cubicBezTo>
                  <a:pt x="851187" y="80846"/>
                  <a:pt x="838482" y="66986"/>
                  <a:pt x="838482" y="50817"/>
                </a:cubicBezTo>
                <a:cubicBezTo>
                  <a:pt x="838482" y="34648"/>
                  <a:pt x="851187" y="21945"/>
                  <a:pt x="867356" y="21945"/>
                </a:cubicBezTo>
                <a:close/>
                <a:moveTo>
                  <a:pt x="28874" y="21945"/>
                </a:moveTo>
                <a:cubicBezTo>
                  <a:pt x="45043" y="21945"/>
                  <a:pt x="57747" y="34648"/>
                  <a:pt x="57747" y="50817"/>
                </a:cubicBezTo>
                <a:cubicBezTo>
                  <a:pt x="57747" y="66986"/>
                  <a:pt x="45043" y="80846"/>
                  <a:pt x="28874" y="80846"/>
                </a:cubicBezTo>
                <a:cubicBezTo>
                  <a:pt x="12705" y="80846"/>
                  <a:pt x="0" y="65832"/>
                  <a:pt x="0" y="50817"/>
                </a:cubicBezTo>
                <a:cubicBezTo>
                  <a:pt x="0" y="35804"/>
                  <a:pt x="12705" y="21945"/>
                  <a:pt x="28874" y="21945"/>
                </a:cubicBezTo>
                <a:close/>
                <a:moveTo>
                  <a:pt x="11063719" y="16169"/>
                </a:moveTo>
                <a:cubicBezTo>
                  <a:pt x="11082198" y="16169"/>
                  <a:pt x="11098367" y="32338"/>
                  <a:pt x="11098367" y="50817"/>
                </a:cubicBezTo>
                <a:cubicBezTo>
                  <a:pt x="11098367" y="69296"/>
                  <a:pt x="11083353" y="85465"/>
                  <a:pt x="11063719" y="85465"/>
                </a:cubicBezTo>
                <a:cubicBezTo>
                  <a:pt x="11045240" y="85465"/>
                  <a:pt x="11029071" y="69296"/>
                  <a:pt x="11029071" y="50817"/>
                </a:cubicBezTo>
                <a:cubicBezTo>
                  <a:pt x="11029071" y="32338"/>
                  <a:pt x="11044086" y="16169"/>
                  <a:pt x="11063719" y="16169"/>
                </a:cubicBezTo>
                <a:close/>
                <a:moveTo>
                  <a:pt x="9945743" y="16169"/>
                </a:moveTo>
                <a:cubicBezTo>
                  <a:pt x="9965377" y="16169"/>
                  <a:pt x="9980391" y="32338"/>
                  <a:pt x="9980391" y="50817"/>
                </a:cubicBezTo>
                <a:cubicBezTo>
                  <a:pt x="9980391" y="69296"/>
                  <a:pt x="9964222" y="85465"/>
                  <a:pt x="9945743" y="85465"/>
                </a:cubicBezTo>
                <a:cubicBezTo>
                  <a:pt x="9927264" y="85465"/>
                  <a:pt x="9911094" y="69296"/>
                  <a:pt x="9911094" y="50817"/>
                </a:cubicBezTo>
                <a:cubicBezTo>
                  <a:pt x="9911094" y="32338"/>
                  <a:pt x="9926109" y="16169"/>
                  <a:pt x="9945743" y="16169"/>
                </a:cubicBezTo>
                <a:close/>
                <a:moveTo>
                  <a:pt x="9386754" y="16169"/>
                </a:moveTo>
                <a:cubicBezTo>
                  <a:pt x="9406389" y="16169"/>
                  <a:pt x="9421402" y="32338"/>
                  <a:pt x="9421402" y="50817"/>
                </a:cubicBezTo>
                <a:cubicBezTo>
                  <a:pt x="9421402" y="69296"/>
                  <a:pt x="9405233" y="85465"/>
                  <a:pt x="9386754" y="85465"/>
                </a:cubicBezTo>
                <a:cubicBezTo>
                  <a:pt x="9368275" y="85465"/>
                  <a:pt x="9352106" y="69296"/>
                  <a:pt x="9352106" y="50817"/>
                </a:cubicBezTo>
                <a:cubicBezTo>
                  <a:pt x="9352106" y="32338"/>
                  <a:pt x="9367121" y="16169"/>
                  <a:pt x="9386754" y="16169"/>
                </a:cubicBezTo>
                <a:close/>
                <a:moveTo>
                  <a:pt x="8832937" y="16169"/>
                </a:moveTo>
                <a:cubicBezTo>
                  <a:pt x="8852571" y="16169"/>
                  <a:pt x="8867585" y="32338"/>
                  <a:pt x="8867585" y="50817"/>
                </a:cubicBezTo>
                <a:cubicBezTo>
                  <a:pt x="8867585" y="69296"/>
                  <a:pt x="8852571" y="85465"/>
                  <a:pt x="8832937" y="85465"/>
                </a:cubicBezTo>
                <a:cubicBezTo>
                  <a:pt x="8814458" y="85465"/>
                  <a:pt x="8798289" y="69296"/>
                  <a:pt x="8798289" y="50817"/>
                </a:cubicBezTo>
                <a:cubicBezTo>
                  <a:pt x="8798289" y="32338"/>
                  <a:pt x="8813304" y="16169"/>
                  <a:pt x="8832937" y="16169"/>
                </a:cubicBezTo>
                <a:close/>
                <a:moveTo>
                  <a:pt x="8273949" y="16169"/>
                </a:moveTo>
                <a:cubicBezTo>
                  <a:pt x="8293584" y="16169"/>
                  <a:pt x="8308598" y="32338"/>
                  <a:pt x="8308598" y="50817"/>
                </a:cubicBezTo>
                <a:cubicBezTo>
                  <a:pt x="8308598" y="69296"/>
                  <a:pt x="8293584" y="85465"/>
                  <a:pt x="8273949" y="85465"/>
                </a:cubicBezTo>
                <a:cubicBezTo>
                  <a:pt x="8255471" y="85465"/>
                  <a:pt x="8239301" y="69296"/>
                  <a:pt x="8239301" y="50817"/>
                </a:cubicBezTo>
                <a:cubicBezTo>
                  <a:pt x="8239301" y="32338"/>
                  <a:pt x="8254316" y="16169"/>
                  <a:pt x="8273949" y="16169"/>
                </a:cubicBezTo>
                <a:close/>
                <a:moveTo>
                  <a:pt x="6458393" y="16169"/>
                </a:moveTo>
                <a:cubicBezTo>
                  <a:pt x="6476871" y="16169"/>
                  <a:pt x="6493041" y="32338"/>
                  <a:pt x="6493041" y="50817"/>
                </a:cubicBezTo>
                <a:cubicBezTo>
                  <a:pt x="6493041" y="69296"/>
                  <a:pt x="6476871" y="85465"/>
                  <a:pt x="6458393" y="85465"/>
                </a:cubicBezTo>
                <a:cubicBezTo>
                  <a:pt x="6439914" y="85465"/>
                  <a:pt x="6423745" y="69296"/>
                  <a:pt x="6423745" y="50817"/>
                </a:cubicBezTo>
                <a:cubicBezTo>
                  <a:pt x="6423745" y="32338"/>
                  <a:pt x="6438760" y="16169"/>
                  <a:pt x="6458393" y="16169"/>
                </a:cubicBezTo>
                <a:close/>
                <a:moveTo>
                  <a:pt x="5340416" y="16169"/>
                </a:moveTo>
                <a:cubicBezTo>
                  <a:pt x="5360051" y="16169"/>
                  <a:pt x="5375064" y="32338"/>
                  <a:pt x="5375064" y="50817"/>
                </a:cubicBezTo>
                <a:cubicBezTo>
                  <a:pt x="5375064" y="69296"/>
                  <a:pt x="5358895" y="85465"/>
                  <a:pt x="5340416" y="85465"/>
                </a:cubicBezTo>
                <a:cubicBezTo>
                  <a:pt x="5321938" y="85465"/>
                  <a:pt x="5305769" y="69296"/>
                  <a:pt x="5305769" y="50817"/>
                </a:cubicBezTo>
                <a:cubicBezTo>
                  <a:pt x="5305769" y="32338"/>
                  <a:pt x="5320783" y="16169"/>
                  <a:pt x="5340416" y="16169"/>
                </a:cubicBezTo>
                <a:close/>
                <a:moveTo>
                  <a:pt x="4781429" y="16169"/>
                </a:moveTo>
                <a:cubicBezTo>
                  <a:pt x="4801062" y="16169"/>
                  <a:pt x="4816075" y="32338"/>
                  <a:pt x="4816075" y="50817"/>
                </a:cubicBezTo>
                <a:cubicBezTo>
                  <a:pt x="4816075" y="69296"/>
                  <a:pt x="4799906" y="85465"/>
                  <a:pt x="4781429" y="85465"/>
                </a:cubicBezTo>
                <a:cubicBezTo>
                  <a:pt x="4762949" y="85465"/>
                  <a:pt x="4746781" y="69296"/>
                  <a:pt x="4746781" y="50817"/>
                </a:cubicBezTo>
                <a:cubicBezTo>
                  <a:pt x="4746781" y="32338"/>
                  <a:pt x="4761794" y="16169"/>
                  <a:pt x="4781429" y="16169"/>
                </a:cubicBezTo>
                <a:close/>
                <a:moveTo>
                  <a:pt x="4220129" y="16169"/>
                </a:moveTo>
                <a:cubicBezTo>
                  <a:pt x="4239764" y="16169"/>
                  <a:pt x="4254779" y="32338"/>
                  <a:pt x="4254779" y="50817"/>
                </a:cubicBezTo>
                <a:cubicBezTo>
                  <a:pt x="4254779" y="69296"/>
                  <a:pt x="4239764" y="85465"/>
                  <a:pt x="4220129" y="85465"/>
                </a:cubicBezTo>
                <a:cubicBezTo>
                  <a:pt x="4201651" y="85465"/>
                  <a:pt x="4185482" y="69296"/>
                  <a:pt x="4185482" y="50817"/>
                </a:cubicBezTo>
                <a:cubicBezTo>
                  <a:pt x="4185482" y="32338"/>
                  <a:pt x="4200498" y="16169"/>
                  <a:pt x="4220129" y="16169"/>
                </a:cubicBezTo>
                <a:close/>
                <a:moveTo>
                  <a:pt x="3661142" y="16169"/>
                </a:moveTo>
                <a:cubicBezTo>
                  <a:pt x="3680776" y="16169"/>
                  <a:pt x="3695791" y="32338"/>
                  <a:pt x="3695791" y="50817"/>
                </a:cubicBezTo>
                <a:cubicBezTo>
                  <a:pt x="3695791" y="69296"/>
                  <a:pt x="3680776" y="85465"/>
                  <a:pt x="3661142" y="85465"/>
                </a:cubicBezTo>
                <a:cubicBezTo>
                  <a:pt x="3642663" y="85465"/>
                  <a:pt x="3626494" y="69296"/>
                  <a:pt x="3626494" y="50817"/>
                </a:cubicBezTo>
                <a:cubicBezTo>
                  <a:pt x="3626494" y="32338"/>
                  <a:pt x="3641508" y="16169"/>
                  <a:pt x="3661142" y="16169"/>
                </a:cubicBezTo>
                <a:close/>
                <a:moveTo>
                  <a:pt x="1845585" y="16169"/>
                </a:moveTo>
                <a:cubicBezTo>
                  <a:pt x="1864064" y="16169"/>
                  <a:pt x="1880233" y="32338"/>
                  <a:pt x="1880233" y="50817"/>
                </a:cubicBezTo>
                <a:cubicBezTo>
                  <a:pt x="1880233" y="69296"/>
                  <a:pt x="1865220" y="85465"/>
                  <a:pt x="1845585" y="85465"/>
                </a:cubicBezTo>
                <a:cubicBezTo>
                  <a:pt x="1827106" y="85465"/>
                  <a:pt x="1810937" y="69296"/>
                  <a:pt x="1810937" y="50817"/>
                </a:cubicBezTo>
                <a:cubicBezTo>
                  <a:pt x="1810937" y="32338"/>
                  <a:pt x="1825952" y="16169"/>
                  <a:pt x="1845585" y="16169"/>
                </a:cubicBezTo>
                <a:close/>
                <a:moveTo>
                  <a:pt x="727609" y="16169"/>
                </a:moveTo>
                <a:cubicBezTo>
                  <a:pt x="747243" y="16169"/>
                  <a:pt x="762257" y="32338"/>
                  <a:pt x="762257" y="50817"/>
                </a:cubicBezTo>
                <a:cubicBezTo>
                  <a:pt x="762257" y="69296"/>
                  <a:pt x="746088" y="85465"/>
                  <a:pt x="727609" y="85465"/>
                </a:cubicBezTo>
                <a:cubicBezTo>
                  <a:pt x="709130" y="85465"/>
                  <a:pt x="692961" y="69296"/>
                  <a:pt x="692961" y="50817"/>
                </a:cubicBezTo>
                <a:cubicBezTo>
                  <a:pt x="692961" y="32338"/>
                  <a:pt x="707976" y="16169"/>
                  <a:pt x="727609" y="16169"/>
                </a:cubicBezTo>
                <a:close/>
                <a:moveTo>
                  <a:pt x="168621" y="16169"/>
                </a:moveTo>
                <a:cubicBezTo>
                  <a:pt x="188255" y="16169"/>
                  <a:pt x="203269" y="32338"/>
                  <a:pt x="203269" y="50817"/>
                </a:cubicBezTo>
                <a:cubicBezTo>
                  <a:pt x="203269" y="69296"/>
                  <a:pt x="187100" y="85465"/>
                  <a:pt x="168621" y="85465"/>
                </a:cubicBezTo>
                <a:cubicBezTo>
                  <a:pt x="150142" y="85465"/>
                  <a:pt x="133973" y="69296"/>
                  <a:pt x="133973" y="50817"/>
                </a:cubicBezTo>
                <a:cubicBezTo>
                  <a:pt x="133973" y="32338"/>
                  <a:pt x="148988" y="16169"/>
                  <a:pt x="168621" y="16169"/>
                </a:cubicBezTo>
                <a:close/>
                <a:moveTo>
                  <a:pt x="10923972" y="10395"/>
                </a:moveTo>
                <a:cubicBezTo>
                  <a:pt x="10945916" y="10395"/>
                  <a:pt x="10964394" y="28874"/>
                  <a:pt x="10964394" y="50817"/>
                </a:cubicBezTo>
                <a:cubicBezTo>
                  <a:pt x="10964394" y="72762"/>
                  <a:pt x="10945916" y="91241"/>
                  <a:pt x="10923972" y="91241"/>
                </a:cubicBezTo>
                <a:cubicBezTo>
                  <a:pt x="10902028" y="91241"/>
                  <a:pt x="10883549" y="72762"/>
                  <a:pt x="10883549" y="50817"/>
                </a:cubicBezTo>
                <a:cubicBezTo>
                  <a:pt x="10883549" y="28874"/>
                  <a:pt x="10902028" y="10395"/>
                  <a:pt x="10923972" y="10395"/>
                </a:cubicBezTo>
                <a:close/>
                <a:moveTo>
                  <a:pt x="9805996" y="10395"/>
                </a:moveTo>
                <a:cubicBezTo>
                  <a:pt x="9827939" y="10395"/>
                  <a:pt x="9846418" y="30029"/>
                  <a:pt x="9846418" y="51973"/>
                </a:cubicBezTo>
                <a:cubicBezTo>
                  <a:pt x="9846418" y="73916"/>
                  <a:pt x="9827939" y="92395"/>
                  <a:pt x="9805996" y="92395"/>
                </a:cubicBezTo>
                <a:cubicBezTo>
                  <a:pt x="9784052" y="92395"/>
                  <a:pt x="9765573" y="72762"/>
                  <a:pt x="9765573" y="50817"/>
                </a:cubicBezTo>
                <a:cubicBezTo>
                  <a:pt x="9765573" y="28874"/>
                  <a:pt x="9784052" y="10395"/>
                  <a:pt x="9805996" y="10395"/>
                </a:cubicBezTo>
                <a:close/>
                <a:moveTo>
                  <a:pt x="9526502" y="10395"/>
                </a:moveTo>
                <a:cubicBezTo>
                  <a:pt x="9548445" y="10395"/>
                  <a:pt x="9566924" y="30029"/>
                  <a:pt x="9566924" y="51973"/>
                </a:cubicBezTo>
                <a:cubicBezTo>
                  <a:pt x="9566924" y="73916"/>
                  <a:pt x="9548445" y="92395"/>
                  <a:pt x="9526502" y="92395"/>
                </a:cubicBezTo>
                <a:cubicBezTo>
                  <a:pt x="9504558" y="92395"/>
                  <a:pt x="9486079" y="72762"/>
                  <a:pt x="9486079" y="50817"/>
                </a:cubicBezTo>
                <a:cubicBezTo>
                  <a:pt x="9486079" y="28874"/>
                  <a:pt x="9504558" y="10395"/>
                  <a:pt x="9526502" y="10395"/>
                </a:cubicBezTo>
                <a:close/>
                <a:moveTo>
                  <a:pt x="8693190" y="10395"/>
                </a:moveTo>
                <a:cubicBezTo>
                  <a:pt x="8715134" y="10395"/>
                  <a:pt x="8733613" y="28874"/>
                  <a:pt x="8733613" y="50817"/>
                </a:cubicBezTo>
                <a:cubicBezTo>
                  <a:pt x="8733613" y="72762"/>
                  <a:pt x="8715134" y="91241"/>
                  <a:pt x="8693190" y="91241"/>
                </a:cubicBezTo>
                <a:cubicBezTo>
                  <a:pt x="8671246" y="91241"/>
                  <a:pt x="8652767" y="72762"/>
                  <a:pt x="8652767" y="50817"/>
                </a:cubicBezTo>
                <a:cubicBezTo>
                  <a:pt x="8652767" y="28874"/>
                  <a:pt x="8671246" y="10395"/>
                  <a:pt x="8693190" y="10395"/>
                </a:cubicBezTo>
                <a:close/>
                <a:moveTo>
                  <a:pt x="8413696" y="10395"/>
                </a:moveTo>
                <a:cubicBezTo>
                  <a:pt x="8435640" y="10395"/>
                  <a:pt x="8454118" y="28874"/>
                  <a:pt x="8454118" y="50817"/>
                </a:cubicBezTo>
                <a:cubicBezTo>
                  <a:pt x="8454118" y="72762"/>
                  <a:pt x="8435640" y="91241"/>
                  <a:pt x="8413696" y="91241"/>
                </a:cubicBezTo>
                <a:cubicBezTo>
                  <a:pt x="8391752" y="91241"/>
                  <a:pt x="8373274" y="72762"/>
                  <a:pt x="8373274" y="50817"/>
                </a:cubicBezTo>
                <a:cubicBezTo>
                  <a:pt x="8373274" y="28874"/>
                  <a:pt x="8391752" y="10395"/>
                  <a:pt x="8413696" y="10395"/>
                </a:cubicBezTo>
                <a:close/>
                <a:moveTo>
                  <a:pt x="6318647" y="10395"/>
                </a:moveTo>
                <a:cubicBezTo>
                  <a:pt x="6340589" y="10395"/>
                  <a:pt x="6359068" y="28874"/>
                  <a:pt x="6359068" y="50817"/>
                </a:cubicBezTo>
                <a:cubicBezTo>
                  <a:pt x="6359068" y="72762"/>
                  <a:pt x="6340589" y="91241"/>
                  <a:pt x="6318647" y="91241"/>
                </a:cubicBezTo>
                <a:cubicBezTo>
                  <a:pt x="6296702" y="91241"/>
                  <a:pt x="6278223" y="72762"/>
                  <a:pt x="6278223" y="50817"/>
                </a:cubicBezTo>
                <a:cubicBezTo>
                  <a:pt x="6278223" y="28874"/>
                  <a:pt x="6296702" y="10395"/>
                  <a:pt x="6318647" y="10395"/>
                </a:cubicBezTo>
                <a:close/>
                <a:moveTo>
                  <a:pt x="5200669" y="10395"/>
                </a:moveTo>
                <a:cubicBezTo>
                  <a:pt x="5222613" y="10395"/>
                  <a:pt x="5241093" y="28874"/>
                  <a:pt x="5241093" y="50817"/>
                </a:cubicBezTo>
                <a:cubicBezTo>
                  <a:pt x="5241093" y="72762"/>
                  <a:pt x="5222613" y="91241"/>
                  <a:pt x="5200669" y="91241"/>
                </a:cubicBezTo>
                <a:cubicBezTo>
                  <a:pt x="5178725" y="91241"/>
                  <a:pt x="5160247" y="72762"/>
                  <a:pt x="5160247" y="50817"/>
                </a:cubicBezTo>
                <a:cubicBezTo>
                  <a:pt x="5160247" y="28874"/>
                  <a:pt x="5178725" y="10395"/>
                  <a:pt x="5200669" y="10395"/>
                </a:cubicBezTo>
                <a:close/>
                <a:moveTo>
                  <a:pt x="4921176" y="10395"/>
                </a:moveTo>
                <a:cubicBezTo>
                  <a:pt x="4944275" y="10395"/>
                  <a:pt x="4961597" y="28874"/>
                  <a:pt x="4961597" y="50817"/>
                </a:cubicBezTo>
                <a:cubicBezTo>
                  <a:pt x="4961597" y="72762"/>
                  <a:pt x="4943120" y="91241"/>
                  <a:pt x="4921176" y="91241"/>
                </a:cubicBezTo>
                <a:cubicBezTo>
                  <a:pt x="4899232" y="91241"/>
                  <a:pt x="4880752" y="72762"/>
                  <a:pt x="4880752" y="50817"/>
                </a:cubicBezTo>
                <a:cubicBezTo>
                  <a:pt x="4880752" y="28874"/>
                  <a:pt x="4899232" y="10395"/>
                  <a:pt x="4921176" y="10395"/>
                </a:cubicBezTo>
                <a:close/>
                <a:moveTo>
                  <a:pt x="4080383" y="10395"/>
                </a:moveTo>
                <a:cubicBezTo>
                  <a:pt x="4102326" y="10395"/>
                  <a:pt x="4120806" y="28874"/>
                  <a:pt x="4120806" y="50817"/>
                </a:cubicBezTo>
                <a:cubicBezTo>
                  <a:pt x="4120806" y="72762"/>
                  <a:pt x="4102326" y="91241"/>
                  <a:pt x="4080383" y="91241"/>
                </a:cubicBezTo>
                <a:cubicBezTo>
                  <a:pt x="4058439" y="91241"/>
                  <a:pt x="4039961" y="72762"/>
                  <a:pt x="4039961" y="50817"/>
                </a:cubicBezTo>
                <a:cubicBezTo>
                  <a:pt x="4039961" y="28874"/>
                  <a:pt x="4058439" y="10395"/>
                  <a:pt x="4080383" y="10395"/>
                </a:cubicBezTo>
                <a:close/>
                <a:moveTo>
                  <a:pt x="3800889" y="10395"/>
                </a:moveTo>
                <a:cubicBezTo>
                  <a:pt x="3822833" y="10395"/>
                  <a:pt x="3841311" y="28874"/>
                  <a:pt x="3841311" y="50817"/>
                </a:cubicBezTo>
                <a:cubicBezTo>
                  <a:pt x="3841311" y="72762"/>
                  <a:pt x="3822833" y="91241"/>
                  <a:pt x="3800889" y="91241"/>
                </a:cubicBezTo>
                <a:cubicBezTo>
                  <a:pt x="3778945" y="91241"/>
                  <a:pt x="3760466" y="72762"/>
                  <a:pt x="3760466" y="50817"/>
                </a:cubicBezTo>
                <a:cubicBezTo>
                  <a:pt x="3760466" y="28874"/>
                  <a:pt x="3778945" y="10395"/>
                  <a:pt x="3800889" y="10395"/>
                </a:cubicBezTo>
                <a:close/>
                <a:moveTo>
                  <a:pt x="1705839" y="10395"/>
                </a:moveTo>
                <a:cubicBezTo>
                  <a:pt x="1727782" y="10395"/>
                  <a:pt x="1746261" y="28874"/>
                  <a:pt x="1746261" y="50817"/>
                </a:cubicBezTo>
                <a:cubicBezTo>
                  <a:pt x="1746261" y="72762"/>
                  <a:pt x="1727782" y="91241"/>
                  <a:pt x="1705839" y="91241"/>
                </a:cubicBezTo>
                <a:cubicBezTo>
                  <a:pt x="1683894" y="91241"/>
                  <a:pt x="1665415" y="72762"/>
                  <a:pt x="1665415" y="50817"/>
                </a:cubicBezTo>
                <a:cubicBezTo>
                  <a:pt x="1665415" y="28874"/>
                  <a:pt x="1683894" y="10395"/>
                  <a:pt x="1705839" y="10395"/>
                </a:cubicBezTo>
                <a:close/>
                <a:moveTo>
                  <a:pt x="587862" y="10395"/>
                </a:moveTo>
                <a:cubicBezTo>
                  <a:pt x="609806" y="10395"/>
                  <a:pt x="628284" y="30029"/>
                  <a:pt x="628284" y="51973"/>
                </a:cubicBezTo>
                <a:cubicBezTo>
                  <a:pt x="628284" y="73916"/>
                  <a:pt x="609806" y="92395"/>
                  <a:pt x="587862" y="92395"/>
                </a:cubicBezTo>
                <a:cubicBezTo>
                  <a:pt x="565918" y="92395"/>
                  <a:pt x="547439" y="72762"/>
                  <a:pt x="547439" y="50817"/>
                </a:cubicBezTo>
                <a:cubicBezTo>
                  <a:pt x="547439" y="28874"/>
                  <a:pt x="565918" y="10395"/>
                  <a:pt x="587862" y="10395"/>
                </a:cubicBezTo>
                <a:close/>
                <a:moveTo>
                  <a:pt x="308368" y="10395"/>
                </a:moveTo>
                <a:cubicBezTo>
                  <a:pt x="330311" y="10395"/>
                  <a:pt x="348790" y="30029"/>
                  <a:pt x="348790" y="51973"/>
                </a:cubicBezTo>
                <a:cubicBezTo>
                  <a:pt x="348790" y="73916"/>
                  <a:pt x="330311" y="92395"/>
                  <a:pt x="308368" y="92395"/>
                </a:cubicBezTo>
                <a:cubicBezTo>
                  <a:pt x="286424" y="92395"/>
                  <a:pt x="267945" y="72762"/>
                  <a:pt x="267945" y="50817"/>
                </a:cubicBezTo>
                <a:cubicBezTo>
                  <a:pt x="267945" y="28874"/>
                  <a:pt x="286424" y="10395"/>
                  <a:pt x="308368" y="10395"/>
                </a:cubicBezTo>
                <a:close/>
                <a:moveTo>
                  <a:pt x="10784225" y="0"/>
                </a:moveTo>
                <a:cubicBezTo>
                  <a:pt x="10811943" y="0"/>
                  <a:pt x="10835042" y="23099"/>
                  <a:pt x="10835042" y="50817"/>
                </a:cubicBezTo>
                <a:cubicBezTo>
                  <a:pt x="10835042" y="78536"/>
                  <a:pt x="10811943" y="101634"/>
                  <a:pt x="10784225" y="101634"/>
                </a:cubicBezTo>
                <a:cubicBezTo>
                  <a:pt x="10756506" y="101634"/>
                  <a:pt x="10733408" y="78536"/>
                  <a:pt x="10733408" y="50817"/>
                </a:cubicBezTo>
                <a:cubicBezTo>
                  <a:pt x="10733408" y="23099"/>
                  <a:pt x="10755352" y="0"/>
                  <a:pt x="10784225" y="0"/>
                </a:cubicBezTo>
                <a:close/>
                <a:moveTo>
                  <a:pt x="9666248" y="0"/>
                </a:moveTo>
                <a:cubicBezTo>
                  <a:pt x="9695122" y="0"/>
                  <a:pt x="9717066" y="23099"/>
                  <a:pt x="9717066" y="50817"/>
                </a:cubicBezTo>
                <a:cubicBezTo>
                  <a:pt x="9717066" y="78536"/>
                  <a:pt x="9695122" y="101634"/>
                  <a:pt x="9666248" y="101634"/>
                </a:cubicBezTo>
                <a:cubicBezTo>
                  <a:pt x="9638530" y="101634"/>
                  <a:pt x="9615431" y="78536"/>
                  <a:pt x="9615431" y="50817"/>
                </a:cubicBezTo>
                <a:cubicBezTo>
                  <a:pt x="9615431" y="23099"/>
                  <a:pt x="9637376" y="0"/>
                  <a:pt x="9666248" y="0"/>
                </a:cubicBezTo>
                <a:close/>
                <a:moveTo>
                  <a:pt x="8553443" y="0"/>
                </a:moveTo>
                <a:cubicBezTo>
                  <a:pt x="8582317" y="0"/>
                  <a:pt x="8604260" y="23099"/>
                  <a:pt x="8604260" y="50817"/>
                </a:cubicBezTo>
                <a:cubicBezTo>
                  <a:pt x="8604260" y="78536"/>
                  <a:pt x="8582317" y="101634"/>
                  <a:pt x="8553443" y="101634"/>
                </a:cubicBezTo>
                <a:cubicBezTo>
                  <a:pt x="8525724" y="101634"/>
                  <a:pt x="8502626" y="78536"/>
                  <a:pt x="8502626" y="50817"/>
                </a:cubicBezTo>
                <a:cubicBezTo>
                  <a:pt x="8502626" y="23099"/>
                  <a:pt x="8524570" y="0"/>
                  <a:pt x="8553443" y="0"/>
                </a:cubicBezTo>
                <a:close/>
                <a:moveTo>
                  <a:pt x="6178898" y="0"/>
                </a:moveTo>
                <a:cubicBezTo>
                  <a:pt x="6206618" y="0"/>
                  <a:pt x="6229715" y="23099"/>
                  <a:pt x="6229715" y="50817"/>
                </a:cubicBezTo>
                <a:cubicBezTo>
                  <a:pt x="6229715" y="78536"/>
                  <a:pt x="6206618" y="101634"/>
                  <a:pt x="6178898" y="101634"/>
                </a:cubicBezTo>
                <a:cubicBezTo>
                  <a:pt x="6151180" y="101634"/>
                  <a:pt x="6128081" y="78536"/>
                  <a:pt x="6128081" y="50817"/>
                </a:cubicBezTo>
                <a:cubicBezTo>
                  <a:pt x="6128081" y="23099"/>
                  <a:pt x="6150025" y="0"/>
                  <a:pt x="6178898" y="0"/>
                </a:cubicBezTo>
                <a:close/>
                <a:moveTo>
                  <a:pt x="5060922" y="0"/>
                </a:moveTo>
                <a:cubicBezTo>
                  <a:pt x="5089795" y="0"/>
                  <a:pt x="5111739" y="23099"/>
                  <a:pt x="5111739" y="50817"/>
                </a:cubicBezTo>
                <a:cubicBezTo>
                  <a:pt x="5111739" y="78536"/>
                  <a:pt x="5088641" y="101634"/>
                  <a:pt x="5060922" y="101634"/>
                </a:cubicBezTo>
                <a:cubicBezTo>
                  <a:pt x="5033205" y="101634"/>
                  <a:pt x="5010105" y="78536"/>
                  <a:pt x="5010105" y="50817"/>
                </a:cubicBezTo>
                <a:cubicBezTo>
                  <a:pt x="5010105" y="23099"/>
                  <a:pt x="5032050" y="0"/>
                  <a:pt x="5060922" y="0"/>
                </a:cubicBezTo>
                <a:close/>
                <a:moveTo>
                  <a:pt x="3940636" y="0"/>
                </a:moveTo>
                <a:cubicBezTo>
                  <a:pt x="3969510" y="0"/>
                  <a:pt x="3991453" y="23099"/>
                  <a:pt x="3991453" y="50817"/>
                </a:cubicBezTo>
                <a:cubicBezTo>
                  <a:pt x="3991453" y="78536"/>
                  <a:pt x="3969510" y="101634"/>
                  <a:pt x="3940636" y="101634"/>
                </a:cubicBezTo>
                <a:cubicBezTo>
                  <a:pt x="3912917" y="101634"/>
                  <a:pt x="3889819" y="78536"/>
                  <a:pt x="3889819" y="50817"/>
                </a:cubicBezTo>
                <a:cubicBezTo>
                  <a:pt x="3889819" y="23099"/>
                  <a:pt x="3911763" y="0"/>
                  <a:pt x="3940636" y="0"/>
                </a:cubicBezTo>
                <a:close/>
                <a:moveTo>
                  <a:pt x="1566091" y="0"/>
                </a:moveTo>
                <a:cubicBezTo>
                  <a:pt x="1593810" y="0"/>
                  <a:pt x="1616908" y="23099"/>
                  <a:pt x="1616908" y="50817"/>
                </a:cubicBezTo>
                <a:cubicBezTo>
                  <a:pt x="1616908" y="78536"/>
                  <a:pt x="1593810" y="101634"/>
                  <a:pt x="1566091" y="101634"/>
                </a:cubicBezTo>
                <a:cubicBezTo>
                  <a:pt x="1538373" y="101634"/>
                  <a:pt x="1515274" y="78536"/>
                  <a:pt x="1515274" y="50817"/>
                </a:cubicBezTo>
                <a:cubicBezTo>
                  <a:pt x="1515274" y="23099"/>
                  <a:pt x="1537218" y="0"/>
                  <a:pt x="1566091" y="0"/>
                </a:cubicBezTo>
                <a:close/>
                <a:moveTo>
                  <a:pt x="448115" y="0"/>
                </a:moveTo>
                <a:cubicBezTo>
                  <a:pt x="476989" y="0"/>
                  <a:pt x="498932" y="23099"/>
                  <a:pt x="498932" y="50817"/>
                </a:cubicBezTo>
                <a:cubicBezTo>
                  <a:pt x="498932" y="78536"/>
                  <a:pt x="476989" y="101634"/>
                  <a:pt x="448115" y="101634"/>
                </a:cubicBezTo>
                <a:cubicBezTo>
                  <a:pt x="420396" y="101634"/>
                  <a:pt x="397298" y="78536"/>
                  <a:pt x="397298" y="50817"/>
                </a:cubicBezTo>
                <a:cubicBezTo>
                  <a:pt x="397298" y="23099"/>
                  <a:pt x="419242" y="0"/>
                  <a:pt x="448115" y="0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E0526AF-A3E0-4BF9-92D3-0B47E6AED7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971800"/>
            <a:ext cx="12192000" cy="2286001"/>
          </a:xfrm>
          <a:prstGeom prst="rect">
            <a:avLst/>
          </a:prstGeom>
        </p:spPr>
      </p:pic>
      <p:sp>
        <p:nvSpPr>
          <p:cNvPr id="28" name="Dot Pattern crop">
            <a:extLst>
              <a:ext uri="{FF2B5EF4-FFF2-40B4-BE49-F238E27FC236}">
                <a16:creationId xmlns:a16="http://schemas.microsoft.com/office/drawing/2014/main" id="{9016D9B6-4941-4923-9792-AC1FAE070EC9}"/>
              </a:ext>
            </a:extLst>
          </p:cNvPr>
          <p:cNvSpPr/>
          <p:nvPr userDrawn="1"/>
        </p:nvSpPr>
        <p:spPr>
          <a:xfrm>
            <a:off x="-3082" y="4648002"/>
            <a:ext cx="12251873" cy="609800"/>
          </a:xfrm>
          <a:custGeom>
            <a:avLst/>
            <a:gdLst>
              <a:gd name="connsiteX0" fmla="*/ 12227892 w 12248682"/>
              <a:gd name="connsiteY0" fmla="*/ 608651 h 609800"/>
              <a:gd name="connsiteX1" fmla="*/ 12230601 w 12248682"/>
              <a:gd name="connsiteY1" fmla="*/ 609800 h 609800"/>
              <a:gd name="connsiteX2" fmla="*/ 12225102 w 12248682"/>
              <a:gd name="connsiteY2" fmla="*/ 609800 h 609800"/>
              <a:gd name="connsiteX3" fmla="*/ 12091610 w 12248682"/>
              <a:gd name="connsiteY3" fmla="*/ 608651 h 609800"/>
              <a:gd name="connsiteX4" fmla="*/ 12094400 w 12248682"/>
              <a:gd name="connsiteY4" fmla="*/ 609800 h 609800"/>
              <a:gd name="connsiteX5" fmla="*/ 12088820 w 12248682"/>
              <a:gd name="connsiteY5" fmla="*/ 609800 h 609800"/>
              <a:gd name="connsiteX6" fmla="*/ 11956484 w 12248682"/>
              <a:gd name="connsiteY6" fmla="*/ 608651 h 609800"/>
              <a:gd name="connsiteX7" fmla="*/ 11959274 w 12248682"/>
              <a:gd name="connsiteY7" fmla="*/ 609800 h 609800"/>
              <a:gd name="connsiteX8" fmla="*/ 11953693 w 12248682"/>
              <a:gd name="connsiteY8" fmla="*/ 609800 h 609800"/>
              <a:gd name="connsiteX9" fmla="*/ 11821356 w 12248682"/>
              <a:gd name="connsiteY9" fmla="*/ 608651 h 609800"/>
              <a:gd name="connsiteX10" fmla="*/ 11824146 w 12248682"/>
              <a:gd name="connsiteY10" fmla="*/ 609800 h 609800"/>
              <a:gd name="connsiteX11" fmla="*/ 11818565 w 12248682"/>
              <a:gd name="connsiteY11" fmla="*/ 609800 h 609800"/>
              <a:gd name="connsiteX12" fmla="*/ 11685074 w 12248682"/>
              <a:gd name="connsiteY12" fmla="*/ 608651 h 609800"/>
              <a:gd name="connsiteX13" fmla="*/ 11687864 w 12248682"/>
              <a:gd name="connsiteY13" fmla="*/ 609800 h 609800"/>
              <a:gd name="connsiteX14" fmla="*/ 11682283 w 12248682"/>
              <a:gd name="connsiteY14" fmla="*/ 609800 h 609800"/>
              <a:gd name="connsiteX15" fmla="*/ 10736873 w 12248682"/>
              <a:gd name="connsiteY15" fmla="*/ 608651 h 609800"/>
              <a:gd name="connsiteX16" fmla="*/ 10739663 w 12248682"/>
              <a:gd name="connsiteY16" fmla="*/ 609800 h 609800"/>
              <a:gd name="connsiteX17" fmla="*/ 10734082 w 12248682"/>
              <a:gd name="connsiteY17" fmla="*/ 609800 h 609800"/>
              <a:gd name="connsiteX18" fmla="*/ 10601745 w 12248682"/>
              <a:gd name="connsiteY18" fmla="*/ 608651 h 609800"/>
              <a:gd name="connsiteX19" fmla="*/ 10604536 w 12248682"/>
              <a:gd name="connsiteY19" fmla="*/ 609800 h 609800"/>
              <a:gd name="connsiteX20" fmla="*/ 10598955 w 12248682"/>
              <a:gd name="connsiteY20" fmla="*/ 609800 h 609800"/>
              <a:gd name="connsiteX21" fmla="*/ 8027949 w 12248682"/>
              <a:gd name="connsiteY21" fmla="*/ 608651 h 609800"/>
              <a:gd name="connsiteX22" fmla="*/ 8030740 w 12248682"/>
              <a:gd name="connsiteY22" fmla="*/ 609800 h 609800"/>
              <a:gd name="connsiteX23" fmla="*/ 8025159 w 12248682"/>
              <a:gd name="connsiteY23" fmla="*/ 609800 h 609800"/>
              <a:gd name="connsiteX24" fmla="*/ 7892822 w 12248682"/>
              <a:gd name="connsiteY24" fmla="*/ 608651 h 609800"/>
              <a:gd name="connsiteX25" fmla="*/ 7895613 w 12248682"/>
              <a:gd name="connsiteY25" fmla="*/ 609800 h 609800"/>
              <a:gd name="connsiteX26" fmla="*/ 7890031 w 12248682"/>
              <a:gd name="connsiteY26" fmla="*/ 609800 h 609800"/>
              <a:gd name="connsiteX27" fmla="*/ 7757693 w 12248682"/>
              <a:gd name="connsiteY27" fmla="*/ 608651 h 609800"/>
              <a:gd name="connsiteX28" fmla="*/ 7760484 w 12248682"/>
              <a:gd name="connsiteY28" fmla="*/ 609800 h 609800"/>
              <a:gd name="connsiteX29" fmla="*/ 7754903 w 12248682"/>
              <a:gd name="connsiteY29" fmla="*/ 609800 h 609800"/>
              <a:gd name="connsiteX30" fmla="*/ 7622566 w 12248682"/>
              <a:gd name="connsiteY30" fmla="*/ 608651 h 609800"/>
              <a:gd name="connsiteX31" fmla="*/ 7625275 w 12248682"/>
              <a:gd name="connsiteY31" fmla="*/ 609800 h 609800"/>
              <a:gd name="connsiteX32" fmla="*/ 7619776 w 12248682"/>
              <a:gd name="connsiteY32" fmla="*/ 609800 h 609800"/>
              <a:gd name="connsiteX33" fmla="*/ 7486284 w 12248682"/>
              <a:gd name="connsiteY33" fmla="*/ 608651 h 609800"/>
              <a:gd name="connsiteX34" fmla="*/ 7489075 w 12248682"/>
              <a:gd name="connsiteY34" fmla="*/ 609800 h 609800"/>
              <a:gd name="connsiteX35" fmla="*/ 7483494 w 12248682"/>
              <a:gd name="connsiteY35" fmla="*/ 609800 h 609800"/>
              <a:gd name="connsiteX36" fmla="*/ 7351157 w 12248682"/>
              <a:gd name="connsiteY36" fmla="*/ 608651 h 609800"/>
              <a:gd name="connsiteX37" fmla="*/ 7353948 w 12248682"/>
              <a:gd name="connsiteY37" fmla="*/ 609800 h 609800"/>
              <a:gd name="connsiteX38" fmla="*/ 7348367 w 12248682"/>
              <a:gd name="connsiteY38" fmla="*/ 609800 h 609800"/>
              <a:gd name="connsiteX39" fmla="*/ 7216030 w 12248682"/>
              <a:gd name="connsiteY39" fmla="*/ 608651 h 609800"/>
              <a:gd name="connsiteX40" fmla="*/ 7218821 w 12248682"/>
              <a:gd name="connsiteY40" fmla="*/ 609800 h 609800"/>
              <a:gd name="connsiteX41" fmla="*/ 7213240 w 12248682"/>
              <a:gd name="connsiteY41" fmla="*/ 609800 h 609800"/>
              <a:gd name="connsiteX42" fmla="*/ 7079748 w 12248682"/>
              <a:gd name="connsiteY42" fmla="*/ 608651 h 609800"/>
              <a:gd name="connsiteX43" fmla="*/ 7082539 w 12248682"/>
              <a:gd name="connsiteY43" fmla="*/ 609800 h 609800"/>
              <a:gd name="connsiteX44" fmla="*/ 7076958 w 12248682"/>
              <a:gd name="connsiteY44" fmla="*/ 609800 h 609800"/>
              <a:gd name="connsiteX45" fmla="*/ 6131548 w 12248682"/>
              <a:gd name="connsiteY45" fmla="*/ 608651 h 609800"/>
              <a:gd name="connsiteX46" fmla="*/ 6134339 w 12248682"/>
              <a:gd name="connsiteY46" fmla="*/ 609800 h 609800"/>
              <a:gd name="connsiteX47" fmla="*/ 6128758 w 12248682"/>
              <a:gd name="connsiteY47" fmla="*/ 609800 h 609800"/>
              <a:gd name="connsiteX48" fmla="*/ 5996418 w 12248682"/>
              <a:gd name="connsiteY48" fmla="*/ 608651 h 609800"/>
              <a:gd name="connsiteX49" fmla="*/ 5999209 w 12248682"/>
              <a:gd name="connsiteY49" fmla="*/ 609800 h 609800"/>
              <a:gd name="connsiteX50" fmla="*/ 5993628 w 12248682"/>
              <a:gd name="connsiteY50" fmla="*/ 609800 h 609800"/>
              <a:gd name="connsiteX51" fmla="*/ 3415142 w 12248682"/>
              <a:gd name="connsiteY51" fmla="*/ 608651 h 609800"/>
              <a:gd name="connsiteX52" fmla="*/ 3417933 w 12248682"/>
              <a:gd name="connsiteY52" fmla="*/ 609800 h 609800"/>
              <a:gd name="connsiteX53" fmla="*/ 3412352 w 12248682"/>
              <a:gd name="connsiteY53" fmla="*/ 609800 h 609800"/>
              <a:gd name="connsiteX54" fmla="*/ 3280013 w 12248682"/>
              <a:gd name="connsiteY54" fmla="*/ 608651 h 609800"/>
              <a:gd name="connsiteX55" fmla="*/ 3282804 w 12248682"/>
              <a:gd name="connsiteY55" fmla="*/ 609800 h 609800"/>
              <a:gd name="connsiteX56" fmla="*/ 3277223 w 12248682"/>
              <a:gd name="connsiteY56" fmla="*/ 609800 h 609800"/>
              <a:gd name="connsiteX57" fmla="*/ 3144887 w 12248682"/>
              <a:gd name="connsiteY57" fmla="*/ 608651 h 609800"/>
              <a:gd name="connsiteX58" fmla="*/ 3147678 w 12248682"/>
              <a:gd name="connsiteY58" fmla="*/ 609800 h 609800"/>
              <a:gd name="connsiteX59" fmla="*/ 3142097 w 12248682"/>
              <a:gd name="connsiteY59" fmla="*/ 609800 h 609800"/>
              <a:gd name="connsiteX60" fmla="*/ 3009759 w 12248682"/>
              <a:gd name="connsiteY60" fmla="*/ 608651 h 609800"/>
              <a:gd name="connsiteX61" fmla="*/ 3012468 w 12248682"/>
              <a:gd name="connsiteY61" fmla="*/ 609800 h 609800"/>
              <a:gd name="connsiteX62" fmla="*/ 3006969 w 12248682"/>
              <a:gd name="connsiteY62" fmla="*/ 609800 h 609800"/>
              <a:gd name="connsiteX63" fmla="*/ 2873476 w 12248682"/>
              <a:gd name="connsiteY63" fmla="*/ 608651 h 609800"/>
              <a:gd name="connsiteX64" fmla="*/ 2876267 w 12248682"/>
              <a:gd name="connsiteY64" fmla="*/ 609800 h 609800"/>
              <a:gd name="connsiteX65" fmla="*/ 2870686 w 12248682"/>
              <a:gd name="connsiteY65" fmla="*/ 609800 h 609800"/>
              <a:gd name="connsiteX66" fmla="*/ 2738350 w 12248682"/>
              <a:gd name="connsiteY66" fmla="*/ 608651 h 609800"/>
              <a:gd name="connsiteX67" fmla="*/ 2741141 w 12248682"/>
              <a:gd name="connsiteY67" fmla="*/ 609800 h 609800"/>
              <a:gd name="connsiteX68" fmla="*/ 2735560 w 12248682"/>
              <a:gd name="connsiteY68" fmla="*/ 609800 h 609800"/>
              <a:gd name="connsiteX69" fmla="*/ 2603222 w 12248682"/>
              <a:gd name="connsiteY69" fmla="*/ 608651 h 609800"/>
              <a:gd name="connsiteX70" fmla="*/ 2606013 w 12248682"/>
              <a:gd name="connsiteY70" fmla="*/ 609800 h 609800"/>
              <a:gd name="connsiteX71" fmla="*/ 2600432 w 12248682"/>
              <a:gd name="connsiteY71" fmla="*/ 609800 h 609800"/>
              <a:gd name="connsiteX72" fmla="*/ 2466940 w 12248682"/>
              <a:gd name="connsiteY72" fmla="*/ 608651 h 609800"/>
              <a:gd name="connsiteX73" fmla="*/ 2469731 w 12248682"/>
              <a:gd name="connsiteY73" fmla="*/ 609800 h 609800"/>
              <a:gd name="connsiteX74" fmla="*/ 2464150 w 12248682"/>
              <a:gd name="connsiteY74" fmla="*/ 609800 h 609800"/>
              <a:gd name="connsiteX75" fmla="*/ 1518739 w 12248682"/>
              <a:gd name="connsiteY75" fmla="*/ 608651 h 609800"/>
              <a:gd name="connsiteX76" fmla="*/ 1521530 w 12248682"/>
              <a:gd name="connsiteY76" fmla="*/ 609800 h 609800"/>
              <a:gd name="connsiteX77" fmla="*/ 1515949 w 12248682"/>
              <a:gd name="connsiteY77" fmla="*/ 609800 h 609800"/>
              <a:gd name="connsiteX78" fmla="*/ 1383611 w 12248682"/>
              <a:gd name="connsiteY78" fmla="*/ 608651 h 609800"/>
              <a:gd name="connsiteX79" fmla="*/ 1386402 w 12248682"/>
              <a:gd name="connsiteY79" fmla="*/ 609800 h 609800"/>
              <a:gd name="connsiteX80" fmla="*/ 1380821 w 12248682"/>
              <a:gd name="connsiteY80" fmla="*/ 609800 h 609800"/>
              <a:gd name="connsiteX81" fmla="*/ 11549947 w 12248682"/>
              <a:gd name="connsiteY81" fmla="*/ 606341 h 609800"/>
              <a:gd name="connsiteX82" fmla="*/ 11558263 w 12248682"/>
              <a:gd name="connsiteY82" fmla="*/ 609800 h 609800"/>
              <a:gd name="connsiteX83" fmla="*/ 11541630 w 12248682"/>
              <a:gd name="connsiteY83" fmla="*/ 609800 h 609800"/>
              <a:gd name="connsiteX84" fmla="*/ 10466618 w 12248682"/>
              <a:gd name="connsiteY84" fmla="*/ 606341 h 609800"/>
              <a:gd name="connsiteX85" fmla="*/ 10474935 w 12248682"/>
              <a:gd name="connsiteY85" fmla="*/ 609800 h 609800"/>
              <a:gd name="connsiteX86" fmla="*/ 10458302 w 12248682"/>
              <a:gd name="connsiteY86" fmla="*/ 609800 h 609800"/>
              <a:gd name="connsiteX87" fmla="*/ 9244698 w 12248682"/>
              <a:gd name="connsiteY87" fmla="*/ 606341 h 609800"/>
              <a:gd name="connsiteX88" fmla="*/ 9256325 w 12248682"/>
              <a:gd name="connsiteY88" fmla="*/ 609800 h 609800"/>
              <a:gd name="connsiteX89" fmla="*/ 9238257 w 12248682"/>
              <a:gd name="connsiteY89" fmla="*/ 609800 h 609800"/>
              <a:gd name="connsiteX90" fmla="*/ 8164231 w 12248682"/>
              <a:gd name="connsiteY90" fmla="*/ 606341 h 609800"/>
              <a:gd name="connsiteX91" fmla="*/ 8172548 w 12248682"/>
              <a:gd name="connsiteY91" fmla="*/ 609800 h 609800"/>
              <a:gd name="connsiteX92" fmla="*/ 8155915 w 12248682"/>
              <a:gd name="connsiteY92" fmla="*/ 609800 h 609800"/>
              <a:gd name="connsiteX93" fmla="*/ 6944621 w 12248682"/>
              <a:gd name="connsiteY93" fmla="*/ 606341 h 609800"/>
              <a:gd name="connsiteX94" fmla="*/ 6952937 w 12248682"/>
              <a:gd name="connsiteY94" fmla="*/ 609800 h 609800"/>
              <a:gd name="connsiteX95" fmla="*/ 6936304 w 12248682"/>
              <a:gd name="connsiteY95" fmla="*/ 609800 h 609800"/>
              <a:gd name="connsiteX96" fmla="*/ 5861292 w 12248682"/>
              <a:gd name="connsiteY96" fmla="*/ 606341 h 609800"/>
              <a:gd name="connsiteX97" fmla="*/ 5869609 w 12248682"/>
              <a:gd name="connsiteY97" fmla="*/ 609800 h 609800"/>
              <a:gd name="connsiteX98" fmla="*/ 5852976 w 12248682"/>
              <a:gd name="connsiteY98" fmla="*/ 609800 h 609800"/>
              <a:gd name="connsiteX99" fmla="*/ 4639374 w 12248682"/>
              <a:gd name="connsiteY99" fmla="*/ 606341 h 609800"/>
              <a:gd name="connsiteX100" fmla="*/ 4651000 w 12248682"/>
              <a:gd name="connsiteY100" fmla="*/ 609800 h 609800"/>
              <a:gd name="connsiteX101" fmla="*/ 4632932 w 12248682"/>
              <a:gd name="connsiteY101" fmla="*/ 609800 h 609800"/>
              <a:gd name="connsiteX102" fmla="*/ 3551423 w 12248682"/>
              <a:gd name="connsiteY102" fmla="*/ 606341 h 609800"/>
              <a:gd name="connsiteX103" fmla="*/ 3559740 w 12248682"/>
              <a:gd name="connsiteY103" fmla="*/ 609800 h 609800"/>
              <a:gd name="connsiteX104" fmla="*/ 3543107 w 12248682"/>
              <a:gd name="connsiteY104" fmla="*/ 609800 h 609800"/>
              <a:gd name="connsiteX105" fmla="*/ 2331813 w 12248682"/>
              <a:gd name="connsiteY105" fmla="*/ 606341 h 609800"/>
              <a:gd name="connsiteX106" fmla="*/ 2340130 w 12248682"/>
              <a:gd name="connsiteY106" fmla="*/ 609800 h 609800"/>
              <a:gd name="connsiteX107" fmla="*/ 2323497 w 12248682"/>
              <a:gd name="connsiteY107" fmla="*/ 609800 h 609800"/>
              <a:gd name="connsiteX108" fmla="*/ 1248485 w 12248682"/>
              <a:gd name="connsiteY108" fmla="*/ 606341 h 609800"/>
              <a:gd name="connsiteX109" fmla="*/ 1256801 w 12248682"/>
              <a:gd name="connsiteY109" fmla="*/ 609800 h 609800"/>
              <a:gd name="connsiteX110" fmla="*/ 1240169 w 12248682"/>
              <a:gd name="connsiteY110" fmla="*/ 609800 h 609800"/>
              <a:gd name="connsiteX111" fmla="*/ 26564 w 12248682"/>
              <a:gd name="connsiteY111" fmla="*/ 606341 h 609800"/>
              <a:gd name="connsiteX112" fmla="*/ 38192 w 12248682"/>
              <a:gd name="connsiteY112" fmla="*/ 609800 h 609800"/>
              <a:gd name="connsiteX113" fmla="*/ 20123 w 12248682"/>
              <a:gd name="connsiteY113" fmla="*/ 609800 h 609800"/>
              <a:gd name="connsiteX114" fmla="*/ 11414819 w 12248682"/>
              <a:gd name="connsiteY114" fmla="*/ 600566 h 609800"/>
              <a:gd name="connsiteX115" fmla="*/ 11435319 w 12248682"/>
              <a:gd name="connsiteY115" fmla="*/ 608940 h 609800"/>
              <a:gd name="connsiteX116" fmla="*/ 11435671 w 12248682"/>
              <a:gd name="connsiteY116" fmla="*/ 609800 h 609800"/>
              <a:gd name="connsiteX117" fmla="*/ 11393968 w 12248682"/>
              <a:gd name="connsiteY117" fmla="*/ 609800 h 609800"/>
              <a:gd name="connsiteX118" fmla="*/ 11394319 w 12248682"/>
              <a:gd name="connsiteY118" fmla="*/ 608940 h 609800"/>
              <a:gd name="connsiteX119" fmla="*/ 11414819 w 12248682"/>
              <a:gd name="connsiteY119" fmla="*/ 600566 h 609800"/>
              <a:gd name="connsiteX120" fmla="*/ 10330336 w 12248682"/>
              <a:gd name="connsiteY120" fmla="*/ 600566 h 609800"/>
              <a:gd name="connsiteX121" fmla="*/ 10350836 w 12248682"/>
              <a:gd name="connsiteY121" fmla="*/ 608940 h 609800"/>
              <a:gd name="connsiteX122" fmla="*/ 10351187 w 12248682"/>
              <a:gd name="connsiteY122" fmla="*/ 609800 h 609800"/>
              <a:gd name="connsiteX123" fmla="*/ 10309484 w 12248682"/>
              <a:gd name="connsiteY123" fmla="*/ 609800 h 609800"/>
              <a:gd name="connsiteX124" fmla="*/ 10309836 w 12248682"/>
              <a:gd name="connsiteY124" fmla="*/ 608940 h 609800"/>
              <a:gd name="connsiteX125" fmla="*/ 10330336 w 12248682"/>
              <a:gd name="connsiteY125" fmla="*/ 600566 h 609800"/>
              <a:gd name="connsiteX126" fmla="*/ 9382135 w 12248682"/>
              <a:gd name="connsiteY126" fmla="*/ 600566 h 609800"/>
              <a:gd name="connsiteX127" fmla="*/ 9402635 w 12248682"/>
              <a:gd name="connsiteY127" fmla="*/ 608940 h 609800"/>
              <a:gd name="connsiteX128" fmla="*/ 9402987 w 12248682"/>
              <a:gd name="connsiteY128" fmla="*/ 609800 h 609800"/>
              <a:gd name="connsiteX129" fmla="*/ 9361284 w 12248682"/>
              <a:gd name="connsiteY129" fmla="*/ 609800 h 609800"/>
              <a:gd name="connsiteX130" fmla="*/ 9361635 w 12248682"/>
              <a:gd name="connsiteY130" fmla="*/ 608940 h 609800"/>
              <a:gd name="connsiteX131" fmla="*/ 9382135 w 12248682"/>
              <a:gd name="connsiteY131" fmla="*/ 600566 h 609800"/>
              <a:gd name="connsiteX132" fmla="*/ 9112431 w 12248682"/>
              <a:gd name="connsiteY132" fmla="*/ 600566 h 609800"/>
              <a:gd name="connsiteX133" fmla="*/ 9132931 w 12248682"/>
              <a:gd name="connsiteY133" fmla="*/ 608940 h 609800"/>
              <a:gd name="connsiteX134" fmla="*/ 9133283 w 12248682"/>
              <a:gd name="connsiteY134" fmla="*/ 609800 h 609800"/>
              <a:gd name="connsiteX135" fmla="*/ 9091580 w 12248682"/>
              <a:gd name="connsiteY135" fmla="*/ 609800 h 609800"/>
              <a:gd name="connsiteX136" fmla="*/ 9091931 w 12248682"/>
              <a:gd name="connsiteY136" fmla="*/ 608940 h 609800"/>
              <a:gd name="connsiteX137" fmla="*/ 9112431 w 12248682"/>
              <a:gd name="connsiteY137" fmla="*/ 600566 h 609800"/>
              <a:gd name="connsiteX138" fmla="*/ 8299358 w 12248682"/>
              <a:gd name="connsiteY138" fmla="*/ 600566 h 609800"/>
              <a:gd name="connsiteX139" fmla="*/ 8319858 w 12248682"/>
              <a:gd name="connsiteY139" fmla="*/ 608940 h 609800"/>
              <a:gd name="connsiteX140" fmla="*/ 8320209 w 12248682"/>
              <a:gd name="connsiteY140" fmla="*/ 609800 h 609800"/>
              <a:gd name="connsiteX141" fmla="*/ 8278507 w 12248682"/>
              <a:gd name="connsiteY141" fmla="*/ 609800 h 609800"/>
              <a:gd name="connsiteX142" fmla="*/ 8278858 w 12248682"/>
              <a:gd name="connsiteY142" fmla="*/ 608940 h 609800"/>
              <a:gd name="connsiteX143" fmla="*/ 8299358 w 12248682"/>
              <a:gd name="connsiteY143" fmla="*/ 600566 h 609800"/>
              <a:gd name="connsiteX144" fmla="*/ 6809492 w 12248682"/>
              <a:gd name="connsiteY144" fmla="*/ 600566 h 609800"/>
              <a:gd name="connsiteX145" fmla="*/ 6829993 w 12248682"/>
              <a:gd name="connsiteY145" fmla="*/ 608940 h 609800"/>
              <a:gd name="connsiteX146" fmla="*/ 6830345 w 12248682"/>
              <a:gd name="connsiteY146" fmla="*/ 609800 h 609800"/>
              <a:gd name="connsiteX147" fmla="*/ 6788642 w 12248682"/>
              <a:gd name="connsiteY147" fmla="*/ 609800 h 609800"/>
              <a:gd name="connsiteX148" fmla="*/ 6788993 w 12248682"/>
              <a:gd name="connsiteY148" fmla="*/ 608940 h 609800"/>
              <a:gd name="connsiteX149" fmla="*/ 6809492 w 12248682"/>
              <a:gd name="connsiteY149" fmla="*/ 600566 h 609800"/>
              <a:gd name="connsiteX150" fmla="*/ 5726165 w 12248682"/>
              <a:gd name="connsiteY150" fmla="*/ 600566 h 609800"/>
              <a:gd name="connsiteX151" fmla="*/ 5746232 w 12248682"/>
              <a:gd name="connsiteY151" fmla="*/ 608940 h 609800"/>
              <a:gd name="connsiteX152" fmla="*/ 5746601 w 12248682"/>
              <a:gd name="connsiteY152" fmla="*/ 609800 h 609800"/>
              <a:gd name="connsiteX153" fmla="*/ 5705314 w 12248682"/>
              <a:gd name="connsiteY153" fmla="*/ 609800 h 609800"/>
              <a:gd name="connsiteX154" fmla="*/ 5705666 w 12248682"/>
              <a:gd name="connsiteY154" fmla="*/ 608940 h 609800"/>
              <a:gd name="connsiteX155" fmla="*/ 5726165 w 12248682"/>
              <a:gd name="connsiteY155" fmla="*/ 600566 h 609800"/>
              <a:gd name="connsiteX156" fmla="*/ 4776809 w 12248682"/>
              <a:gd name="connsiteY156" fmla="*/ 600566 h 609800"/>
              <a:gd name="connsiteX157" fmla="*/ 4797309 w 12248682"/>
              <a:gd name="connsiteY157" fmla="*/ 608940 h 609800"/>
              <a:gd name="connsiteX158" fmla="*/ 4797661 w 12248682"/>
              <a:gd name="connsiteY158" fmla="*/ 609800 h 609800"/>
              <a:gd name="connsiteX159" fmla="*/ 4755958 w 12248682"/>
              <a:gd name="connsiteY159" fmla="*/ 609800 h 609800"/>
              <a:gd name="connsiteX160" fmla="*/ 4756310 w 12248682"/>
              <a:gd name="connsiteY160" fmla="*/ 608940 h 609800"/>
              <a:gd name="connsiteX161" fmla="*/ 4776809 w 12248682"/>
              <a:gd name="connsiteY161" fmla="*/ 600566 h 609800"/>
              <a:gd name="connsiteX162" fmla="*/ 4499625 w 12248682"/>
              <a:gd name="connsiteY162" fmla="*/ 600566 h 609800"/>
              <a:gd name="connsiteX163" fmla="*/ 4520126 w 12248682"/>
              <a:gd name="connsiteY163" fmla="*/ 608940 h 609800"/>
              <a:gd name="connsiteX164" fmla="*/ 4520477 w 12248682"/>
              <a:gd name="connsiteY164" fmla="*/ 609800 h 609800"/>
              <a:gd name="connsiteX165" fmla="*/ 4478774 w 12248682"/>
              <a:gd name="connsiteY165" fmla="*/ 609800 h 609800"/>
              <a:gd name="connsiteX166" fmla="*/ 4479126 w 12248682"/>
              <a:gd name="connsiteY166" fmla="*/ 608940 h 609800"/>
              <a:gd name="connsiteX167" fmla="*/ 4499625 w 12248682"/>
              <a:gd name="connsiteY167" fmla="*/ 600566 h 609800"/>
              <a:gd name="connsiteX168" fmla="*/ 3686551 w 12248682"/>
              <a:gd name="connsiteY168" fmla="*/ 600566 h 609800"/>
              <a:gd name="connsiteX169" fmla="*/ 3707051 w 12248682"/>
              <a:gd name="connsiteY169" fmla="*/ 608940 h 609800"/>
              <a:gd name="connsiteX170" fmla="*/ 3707402 w 12248682"/>
              <a:gd name="connsiteY170" fmla="*/ 609800 h 609800"/>
              <a:gd name="connsiteX171" fmla="*/ 3665699 w 12248682"/>
              <a:gd name="connsiteY171" fmla="*/ 609800 h 609800"/>
              <a:gd name="connsiteX172" fmla="*/ 3666051 w 12248682"/>
              <a:gd name="connsiteY172" fmla="*/ 608940 h 609800"/>
              <a:gd name="connsiteX173" fmla="*/ 3686551 w 12248682"/>
              <a:gd name="connsiteY173" fmla="*/ 600566 h 609800"/>
              <a:gd name="connsiteX174" fmla="*/ 2196685 w 12248682"/>
              <a:gd name="connsiteY174" fmla="*/ 600566 h 609800"/>
              <a:gd name="connsiteX175" fmla="*/ 2217186 w 12248682"/>
              <a:gd name="connsiteY175" fmla="*/ 608940 h 609800"/>
              <a:gd name="connsiteX176" fmla="*/ 2217537 w 12248682"/>
              <a:gd name="connsiteY176" fmla="*/ 609800 h 609800"/>
              <a:gd name="connsiteX177" fmla="*/ 2175835 w 12248682"/>
              <a:gd name="connsiteY177" fmla="*/ 609800 h 609800"/>
              <a:gd name="connsiteX178" fmla="*/ 2176186 w 12248682"/>
              <a:gd name="connsiteY178" fmla="*/ 608940 h 609800"/>
              <a:gd name="connsiteX179" fmla="*/ 2196685 w 12248682"/>
              <a:gd name="connsiteY179" fmla="*/ 600566 h 609800"/>
              <a:gd name="connsiteX180" fmla="*/ 1112202 w 12248682"/>
              <a:gd name="connsiteY180" fmla="*/ 600566 h 609800"/>
              <a:gd name="connsiteX181" fmla="*/ 1132702 w 12248682"/>
              <a:gd name="connsiteY181" fmla="*/ 608940 h 609800"/>
              <a:gd name="connsiteX182" fmla="*/ 1133053 w 12248682"/>
              <a:gd name="connsiteY182" fmla="*/ 609800 h 609800"/>
              <a:gd name="connsiteX183" fmla="*/ 1091351 w 12248682"/>
              <a:gd name="connsiteY183" fmla="*/ 609800 h 609800"/>
              <a:gd name="connsiteX184" fmla="*/ 1091702 w 12248682"/>
              <a:gd name="connsiteY184" fmla="*/ 608940 h 609800"/>
              <a:gd name="connsiteX185" fmla="*/ 1112202 w 12248682"/>
              <a:gd name="connsiteY185" fmla="*/ 600566 h 609800"/>
              <a:gd name="connsiteX186" fmla="*/ 164001 w 12248682"/>
              <a:gd name="connsiteY186" fmla="*/ 600566 h 609800"/>
              <a:gd name="connsiteX187" fmla="*/ 184502 w 12248682"/>
              <a:gd name="connsiteY187" fmla="*/ 608940 h 609800"/>
              <a:gd name="connsiteX188" fmla="*/ 184853 w 12248682"/>
              <a:gd name="connsiteY188" fmla="*/ 609800 h 609800"/>
              <a:gd name="connsiteX189" fmla="*/ 143150 w 12248682"/>
              <a:gd name="connsiteY189" fmla="*/ 609800 h 609800"/>
              <a:gd name="connsiteX190" fmla="*/ 143501 w 12248682"/>
              <a:gd name="connsiteY190" fmla="*/ 608940 h 609800"/>
              <a:gd name="connsiteX191" fmla="*/ 164001 w 12248682"/>
              <a:gd name="connsiteY191" fmla="*/ 600566 h 609800"/>
              <a:gd name="connsiteX192" fmla="*/ 11279692 w 12248682"/>
              <a:gd name="connsiteY192" fmla="*/ 594792 h 609800"/>
              <a:gd name="connsiteX193" fmla="*/ 11303946 w 12248682"/>
              <a:gd name="connsiteY193" fmla="*/ 605187 h 609800"/>
              <a:gd name="connsiteX194" fmla="*/ 11305923 w 12248682"/>
              <a:gd name="connsiteY194" fmla="*/ 609800 h 609800"/>
              <a:gd name="connsiteX195" fmla="*/ 11253110 w 12248682"/>
              <a:gd name="connsiteY195" fmla="*/ 609800 h 609800"/>
              <a:gd name="connsiteX196" fmla="*/ 11255005 w 12248682"/>
              <a:gd name="connsiteY196" fmla="*/ 605187 h 609800"/>
              <a:gd name="connsiteX197" fmla="*/ 11279692 w 12248682"/>
              <a:gd name="connsiteY197" fmla="*/ 594792 h 609800"/>
              <a:gd name="connsiteX198" fmla="*/ 10195208 w 12248682"/>
              <a:gd name="connsiteY198" fmla="*/ 594792 h 609800"/>
              <a:gd name="connsiteX199" fmla="*/ 10219895 w 12248682"/>
              <a:gd name="connsiteY199" fmla="*/ 605187 h 609800"/>
              <a:gd name="connsiteX200" fmla="*/ 10221790 w 12248682"/>
              <a:gd name="connsiteY200" fmla="*/ 609800 h 609800"/>
              <a:gd name="connsiteX201" fmla="*/ 10168627 w 12248682"/>
              <a:gd name="connsiteY201" fmla="*/ 609800 h 609800"/>
              <a:gd name="connsiteX202" fmla="*/ 10170522 w 12248682"/>
              <a:gd name="connsiteY202" fmla="*/ 605187 h 609800"/>
              <a:gd name="connsiteX203" fmla="*/ 10195208 w 12248682"/>
              <a:gd name="connsiteY203" fmla="*/ 594792 h 609800"/>
              <a:gd name="connsiteX204" fmla="*/ 9518417 w 12248682"/>
              <a:gd name="connsiteY204" fmla="*/ 594792 h 609800"/>
              <a:gd name="connsiteX205" fmla="*/ 9542671 w 12248682"/>
              <a:gd name="connsiteY205" fmla="*/ 605187 h 609800"/>
              <a:gd name="connsiteX206" fmla="*/ 9544648 w 12248682"/>
              <a:gd name="connsiteY206" fmla="*/ 609800 h 609800"/>
              <a:gd name="connsiteX207" fmla="*/ 9491836 w 12248682"/>
              <a:gd name="connsiteY207" fmla="*/ 609800 h 609800"/>
              <a:gd name="connsiteX208" fmla="*/ 9493731 w 12248682"/>
              <a:gd name="connsiteY208" fmla="*/ 605187 h 609800"/>
              <a:gd name="connsiteX209" fmla="*/ 9518417 w 12248682"/>
              <a:gd name="connsiteY209" fmla="*/ 594792 h 609800"/>
              <a:gd name="connsiteX210" fmla="*/ 8977304 w 12248682"/>
              <a:gd name="connsiteY210" fmla="*/ 594792 h 609800"/>
              <a:gd name="connsiteX211" fmla="*/ 9001558 w 12248682"/>
              <a:gd name="connsiteY211" fmla="*/ 605187 h 609800"/>
              <a:gd name="connsiteX212" fmla="*/ 9003535 w 12248682"/>
              <a:gd name="connsiteY212" fmla="*/ 609800 h 609800"/>
              <a:gd name="connsiteX213" fmla="*/ 8950722 w 12248682"/>
              <a:gd name="connsiteY213" fmla="*/ 609800 h 609800"/>
              <a:gd name="connsiteX214" fmla="*/ 8952617 w 12248682"/>
              <a:gd name="connsiteY214" fmla="*/ 605187 h 609800"/>
              <a:gd name="connsiteX215" fmla="*/ 8977304 w 12248682"/>
              <a:gd name="connsiteY215" fmla="*/ 594792 h 609800"/>
              <a:gd name="connsiteX216" fmla="*/ 8434485 w 12248682"/>
              <a:gd name="connsiteY216" fmla="*/ 594792 h 609800"/>
              <a:gd name="connsiteX217" fmla="*/ 8459172 w 12248682"/>
              <a:gd name="connsiteY217" fmla="*/ 605187 h 609800"/>
              <a:gd name="connsiteX218" fmla="*/ 8461066 w 12248682"/>
              <a:gd name="connsiteY218" fmla="*/ 609800 h 609800"/>
              <a:gd name="connsiteX219" fmla="*/ 8407903 w 12248682"/>
              <a:gd name="connsiteY219" fmla="*/ 609800 h 609800"/>
              <a:gd name="connsiteX220" fmla="*/ 8409798 w 12248682"/>
              <a:gd name="connsiteY220" fmla="*/ 605187 h 609800"/>
              <a:gd name="connsiteX221" fmla="*/ 8434485 w 12248682"/>
              <a:gd name="connsiteY221" fmla="*/ 594792 h 609800"/>
              <a:gd name="connsiteX222" fmla="*/ 6674366 w 12248682"/>
              <a:gd name="connsiteY222" fmla="*/ 594792 h 609800"/>
              <a:gd name="connsiteX223" fmla="*/ 6698620 w 12248682"/>
              <a:gd name="connsiteY223" fmla="*/ 605187 h 609800"/>
              <a:gd name="connsiteX224" fmla="*/ 6700597 w 12248682"/>
              <a:gd name="connsiteY224" fmla="*/ 609800 h 609800"/>
              <a:gd name="connsiteX225" fmla="*/ 6647784 w 12248682"/>
              <a:gd name="connsiteY225" fmla="*/ 609800 h 609800"/>
              <a:gd name="connsiteX226" fmla="*/ 6649679 w 12248682"/>
              <a:gd name="connsiteY226" fmla="*/ 605187 h 609800"/>
              <a:gd name="connsiteX227" fmla="*/ 6674366 w 12248682"/>
              <a:gd name="connsiteY227" fmla="*/ 594792 h 609800"/>
              <a:gd name="connsiteX228" fmla="*/ 5589882 w 12248682"/>
              <a:gd name="connsiteY228" fmla="*/ 594792 h 609800"/>
              <a:gd name="connsiteX229" fmla="*/ 5614570 w 12248682"/>
              <a:gd name="connsiteY229" fmla="*/ 605187 h 609800"/>
              <a:gd name="connsiteX230" fmla="*/ 5616465 w 12248682"/>
              <a:gd name="connsiteY230" fmla="*/ 609800 h 609800"/>
              <a:gd name="connsiteX231" fmla="*/ 5563301 w 12248682"/>
              <a:gd name="connsiteY231" fmla="*/ 609800 h 609800"/>
              <a:gd name="connsiteX232" fmla="*/ 5565196 w 12248682"/>
              <a:gd name="connsiteY232" fmla="*/ 605187 h 609800"/>
              <a:gd name="connsiteX233" fmla="*/ 5589882 w 12248682"/>
              <a:gd name="connsiteY233" fmla="*/ 594792 h 609800"/>
              <a:gd name="connsiteX234" fmla="*/ 4913091 w 12248682"/>
              <a:gd name="connsiteY234" fmla="*/ 594792 h 609800"/>
              <a:gd name="connsiteX235" fmla="*/ 4937345 w 12248682"/>
              <a:gd name="connsiteY235" fmla="*/ 605187 h 609800"/>
              <a:gd name="connsiteX236" fmla="*/ 4939322 w 12248682"/>
              <a:gd name="connsiteY236" fmla="*/ 609800 h 609800"/>
              <a:gd name="connsiteX237" fmla="*/ 4886510 w 12248682"/>
              <a:gd name="connsiteY237" fmla="*/ 609800 h 609800"/>
              <a:gd name="connsiteX238" fmla="*/ 4888405 w 12248682"/>
              <a:gd name="connsiteY238" fmla="*/ 605187 h 609800"/>
              <a:gd name="connsiteX239" fmla="*/ 4913091 w 12248682"/>
              <a:gd name="connsiteY239" fmla="*/ 594792 h 609800"/>
              <a:gd name="connsiteX240" fmla="*/ 4364499 w 12248682"/>
              <a:gd name="connsiteY240" fmla="*/ 594792 h 609800"/>
              <a:gd name="connsiteX241" fmla="*/ 4388752 w 12248682"/>
              <a:gd name="connsiteY241" fmla="*/ 605187 h 609800"/>
              <a:gd name="connsiteX242" fmla="*/ 4390729 w 12248682"/>
              <a:gd name="connsiteY242" fmla="*/ 609800 h 609800"/>
              <a:gd name="connsiteX243" fmla="*/ 4337917 w 12248682"/>
              <a:gd name="connsiteY243" fmla="*/ 609800 h 609800"/>
              <a:gd name="connsiteX244" fmla="*/ 4339811 w 12248682"/>
              <a:gd name="connsiteY244" fmla="*/ 605187 h 609800"/>
              <a:gd name="connsiteX245" fmla="*/ 4364499 w 12248682"/>
              <a:gd name="connsiteY245" fmla="*/ 594792 h 609800"/>
              <a:gd name="connsiteX246" fmla="*/ 3821678 w 12248682"/>
              <a:gd name="connsiteY246" fmla="*/ 594792 h 609800"/>
              <a:gd name="connsiteX247" fmla="*/ 3846365 w 12248682"/>
              <a:gd name="connsiteY247" fmla="*/ 605187 h 609800"/>
              <a:gd name="connsiteX248" fmla="*/ 3848260 w 12248682"/>
              <a:gd name="connsiteY248" fmla="*/ 609800 h 609800"/>
              <a:gd name="connsiteX249" fmla="*/ 3795097 w 12248682"/>
              <a:gd name="connsiteY249" fmla="*/ 609800 h 609800"/>
              <a:gd name="connsiteX250" fmla="*/ 3796992 w 12248682"/>
              <a:gd name="connsiteY250" fmla="*/ 605187 h 609800"/>
              <a:gd name="connsiteX251" fmla="*/ 3821678 w 12248682"/>
              <a:gd name="connsiteY251" fmla="*/ 594792 h 609800"/>
              <a:gd name="connsiteX252" fmla="*/ 2061558 w 12248682"/>
              <a:gd name="connsiteY252" fmla="*/ 594792 h 609800"/>
              <a:gd name="connsiteX253" fmla="*/ 2085812 w 12248682"/>
              <a:gd name="connsiteY253" fmla="*/ 605187 h 609800"/>
              <a:gd name="connsiteX254" fmla="*/ 2087789 w 12248682"/>
              <a:gd name="connsiteY254" fmla="*/ 609800 h 609800"/>
              <a:gd name="connsiteX255" fmla="*/ 2034977 w 12248682"/>
              <a:gd name="connsiteY255" fmla="*/ 609800 h 609800"/>
              <a:gd name="connsiteX256" fmla="*/ 2036871 w 12248682"/>
              <a:gd name="connsiteY256" fmla="*/ 605187 h 609800"/>
              <a:gd name="connsiteX257" fmla="*/ 2061558 w 12248682"/>
              <a:gd name="connsiteY257" fmla="*/ 594792 h 609800"/>
              <a:gd name="connsiteX258" fmla="*/ 977075 w 12248682"/>
              <a:gd name="connsiteY258" fmla="*/ 594792 h 609800"/>
              <a:gd name="connsiteX259" fmla="*/ 1001762 w 12248682"/>
              <a:gd name="connsiteY259" fmla="*/ 605187 h 609800"/>
              <a:gd name="connsiteX260" fmla="*/ 1003657 w 12248682"/>
              <a:gd name="connsiteY260" fmla="*/ 609800 h 609800"/>
              <a:gd name="connsiteX261" fmla="*/ 950494 w 12248682"/>
              <a:gd name="connsiteY261" fmla="*/ 609800 h 609800"/>
              <a:gd name="connsiteX262" fmla="*/ 952388 w 12248682"/>
              <a:gd name="connsiteY262" fmla="*/ 605187 h 609800"/>
              <a:gd name="connsiteX263" fmla="*/ 977075 w 12248682"/>
              <a:gd name="connsiteY263" fmla="*/ 594792 h 609800"/>
              <a:gd name="connsiteX264" fmla="*/ 300283 w 12248682"/>
              <a:gd name="connsiteY264" fmla="*/ 594792 h 609800"/>
              <a:gd name="connsiteX265" fmla="*/ 324537 w 12248682"/>
              <a:gd name="connsiteY265" fmla="*/ 605187 h 609800"/>
              <a:gd name="connsiteX266" fmla="*/ 326514 w 12248682"/>
              <a:gd name="connsiteY266" fmla="*/ 609800 h 609800"/>
              <a:gd name="connsiteX267" fmla="*/ 273702 w 12248682"/>
              <a:gd name="connsiteY267" fmla="*/ 609800 h 609800"/>
              <a:gd name="connsiteX268" fmla="*/ 275597 w 12248682"/>
              <a:gd name="connsiteY268" fmla="*/ 605187 h 609800"/>
              <a:gd name="connsiteX269" fmla="*/ 300283 w 12248682"/>
              <a:gd name="connsiteY269" fmla="*/ 594792 h 609800"/>
              <a:gd name="connsiteX270" fmla="*/ 11143410 w 12248682"/>
              <a:gd name="connsiteY270" fmla="*/ 589016 h 609800"/>
              <a:gd name="connsiteX271" fmla="*/ 11172283 w 12248682"/>
              <a:gd name="connsiteY271" fmla="*/ 600999 h 609800"/>
              <a:gd name="connsiteX272" fmla="*/ 11175857 w 12248682"/>
              <a:gd name="connsiteY272" fmla="*/ 609800 h 609800"/>
              <a:gd name="connsiteX273" fmla="*/ 11111262 w 12248682"/>
              <a:gd name="connsiteY273" fmla="*/ 609800 h 609800"/>
              <a:gd name="connsiteX274" fmla="*/ 11114970 w 12248682"/>
              <a:gd name="connsiteY274" fmla="*/ 600999 h 609800"/>
              <a:gd name="connsiteX275" fmla="*/ 11143410 w 12248682"/>
              <a:gd name="connsiteY275" fmla="*/ 589016 h 609800"/>
              <a:gd name="connsiteX276" fmla="*/ 10873155 w 12248682"/>
              <a:gd name="connsiteY276" fmla="*/ 589016 h 609800"/>
              <a:gd name="connsiteX277" fmla="*/ 10901595 w 12248682"/>
              <a:gd name="connsiteY277" fmla="*/ 600999 h 609800"/>
              <a:gd name="connsiteX278" fmla="*/ 10905303 w 12248682"/>
              <a:gd name="connsiteY278" fmla="*/ 609800 h 609800"/>
              <a:gd name="connsiteX279" fmla="*/ 10841006 w 12248682"/>
              <a:gd name="connsiteY279" fmla="*/ 609800 h 609800"/>
              <a:gd name="connsiteX280" fmla="*/ 10844715 w 12248682"/>
              <a:gd name="connsiteY280" fmla="*/ 600999 h 609800"/>
              <a:gd name="connsiteX281" fmla="*/ 10873155 w 12248682"/>
              <a:gd name="connsiteY281" fmla="*/ 589016 h 609800"/>
              <a:gd name="connsiteX282" fmla="*/ 10060082 w 12248682"/>
              <a:gd name="connsiteY282" fmla="*/ 589016 h 609800"/>
              <a:gd name="connsiteX283" fmla="*/ 10088522 w 12248682"/>
              <a:gd name="connsiteY283" fmla="*/ 600999 h 609800"/>
              <a:gd name="connsiteX284" fmla="*/ 10092230 w 12248682"/>
              <a:gd name="connsiteY284" fmla="*/ 609800 h 609800"/>
              <a:gd name="connsiteX285" fmla="*/ 10027932 w 12248682"/>
              <a:gd name="connsiteY285" fmla="*/ 609800 h 609800"/>
              <a:gd name="connsiteX286" fmla="*/ 10031640 w 12248682"/>
              <a:gd name="connsiteY286" fmla="*/ 600999 h 609800"/>
              <a:gd name="connsiteX287" fmla="*/ 10060082 w 12248682"/>
              <a:gd name="connsiteY287" fmla="*/ 589016 h 609800"/>
              <a:gd name="connsiteX288" fmla="*/ 9653545 w 12248682"/>
              <a:gd name="connsiteY288" fmla="*/ 589016 h 609800"/>
              <a:gd name="connsiteX289" fmla="*/ 9681985 w 12248682"/>
              <a:gd name="connsiteY289" fmla="*/ 600999 h 609800"/>
              <a:gd name="connsiteX290" fmla="*/ 9685693 w 12248682"/>
              <a:gd name="connsiteY290" fmla="*/ 609800 h 609800"/>
              <a:gd name="connsiteX291" fmla="*/ 9621396 w 12248682"/>
              <a:gd name="connsiteY291" fmla="*/ 609800 h 609800"/>
              <a:gd name="connsiteX292" fmla="*/ 9625104 w 12248682"/>
              <a:gd name="connsiteY292" fmla="*/ 600999 h 609800"/>
              <a:gd name="connsiteX293" fmla="*/ 9653545 w 12248682"/>
              <a:gd name="connsiteY293" fmla="*/ 589016 h 609800"/>
              <a:gd name="connsiteX294" fmla="*/ 8841022 w 12248682"/>
              <a:gd name="connsiteY294" fmla="*/ 589016 h 609800"/>
              <a:gd name="connsiteX295" fmla="*/ 8869895 w 12248682"/>
              <a:gd name="connsiteY295" fmla="*/ 600999 h 609800"/>
              <a:gd name="connsiteX296" fmla="*/ 8873469 w 12248682"/>
              <a:gd name="connsiteY296" fmla="*/ 609800 h 609800"/>
              <a:gd name="connsiteX297" fmla="*/ 8808873 w 12248682"/>
              <a:gd name="connsiteY297" fmla="*/ 609800 h 609800"/>
              <a:gd name="connsiteX298" fmla="*/ 8812582 w 12248682"/>
              <a:gd name="connsiteY298" fmla="*/ 600999 h 609800"/>
              <a:gd name="connsiteX299" fmla="*/ 8841022 w 12248682"/>
              <a:gd name="connsiteY299" fmla="*/ 589016 h 609800"/>
              <a:gd name="connsiteX300" fmla="*/ 8570767 w 12248682"/>
              <a:gd name="connsiteY300" fmla="*/ 589016 h 609800"/>
              <a:gd name="connsiteX301" fmla="*/ 8599207 w 12248682"/>
              <a:gd name="connsiteY301" fmla="*/ 600999 h 609800"/>
              <a:gd name="connsiteX302" fmla="*/ 8602916 w 12248682"/>
              <a:gd name="connsiteY302" fmla="*/ 609800 h 609800"/>
              <a:gd name="connsiteX303" fmla="*/ 8538618 w 12248682"/>
              <a:gd name="connsiteY303" fmla="*/ 609800 h 609800"/>
              <a:gd name="connsiteX304" fmla="*/ 8542327 w 12248682"/>
              <a:gd name="connsiteY304" fmla="*/ 600999 h 609800"/>
              <a:gd name="connsiteX305" fmla="*/ 8570767 w 12248682"/>
              <a:gd name="connsiteY305" fmla="*/ 589016 h 609800"/>
              <a:gd name="connsiteX306" fmla="*/ 6538083 w 12248682"/>
              <a:gd name="connsiteY306" fmla="*/ 589016 h 609800"/>
              <a:gd name="connsiteX307" fmla="*/ 6566958 w 12248682"/>
              <a:gd name="connsiteY307" fmla="*/ 600999 h 609800"/>
              <a:gd name="connsiteX308" fmla="*/ 6570532 w 12248682"/>
              <a:gd name="connsiteY308" fmla="*/ 609800 h 609800"/>
              <a:gd name="connsiteX309" fmla="*/ 6505935 w 12248682"/>
              <a:gd name="connsiteY309" fmla="*/ 609800 h 609800"/>
              <a:gd name="connsiteX310" fmla="*/ 6509643 w 12248682"/>
              <a:gd name="connsiteY310" fmla="*/ 600999 h 609800"/>
              <a:gd name="connsiteX311" fmla="*/ 6538083 w 12248682"/>
              <a:gd name="connsiteY311" fmla="*/ 589016 h 609800"/>
              <a:gd name="connsiteX312" fmla="*/ 6267830 w 12248682"/>
              <a:gd name="connsiteY312" fmla="*/ 589016 h 609800"/>
              <a:gd name="connsiteX313" fmla="*/ 6296269 w 12248682"/>
              <a:gd name="connsiteY313" fmla="*/ 600999 h 609800"/>
              <a:gd name="connsiteX314" fmla="*/ 6299977 w 12248682"/>
              <a:gd name="connsiteY314" fmla="*/ 609800 h 609800"/>
              <a:gd name="connsiteX315" fmla="*/ 6235681 w 12248682"/>
              <a:gd name="connsiteY315" fmla="*/ 609800 h 609800"/>
              <a:gd name="connsiteX316" fmla="*/ 6239389 w 12248682"/>
              <a:gd name="connsiteY316" fmla="*/ 600999 h 609800"/>
              <a:gd name="connsiteX317" fmla="*/ 6267830 w 12248682"/>
              <a:gd name="connsiteY317" fmla="*/ 589016 h 609800"/>
              <a:gd name="connsiteX318" fmla="*/ 5454756 w 12248682"/>
              <a:gd name="connsiteY318" fmla="*/ 589016 h 609800"/>
              <a:gd name="connsiteX319" fmla="*/ 5483196 w 12248682"/>
              <a:gd name="connsiteY319" fmla="*/ 600999 h 609800"/>
              <a:gd name="connsiteX320" fmla="*/ 5486904 w 12248682"/>
              <a:gd name="connsiteY320" fmla="*/ 609800 h 609800"/>
              <a:gd name="connsiteX321" fmla="*/ 5422607 w 12248682"/>
              <a:gd name="connsiteY321" fmla="*/ 609800 h 609800"/>
              <a:gd name="connsiteX322" fmla="*/ 5426315 w 12248682"/>
              <a:gd name="connsiteY322" fmla="*/ 600999 h 609800"/>
              <a:gd name="connsiteX323" fmla="*/ 5454756 w 12248682"/>
              <a:gd name="connsiteY323" fmla="*/ 589016 h 609800"/>
              <a:gd name="connsiteX324" fmla="*/ 5048218 w 12248682"/>
              <a:gd name="connsiteY324" fmla="*/ 589016 h 609800"/>
              <a:gd name="connsiteX325" fmla="*/ 5076659 w 12248682"/>
              <a:gd name="connsiteY325" fmla="*/ 600999 h 609800"/>
              <a:gd name="connsiteX326" fmla="*/ 5080367 w 12248682"/>
              <a:gd name="connsiteY326" fmla="*/ 609800 h 609800"/>
              <a:gd name="connsiteX327" fmla="*/ 5016070 w 12248682"/>
              <a:gd name="connsiteY327" fmla="*/ 609800 h 609800"/>
              <a:gd name="connsiteX328" fmla="*/ 5019778 w 12248682"/>
              <a:gd name="connsiteY328" fmla="*/ 600999 h 609800"/>
              <a:gd name="connsiteX329" fmla="*/ 5048218 w 12248682"/>
              <a:gd name="connsiteY329" fmla="*/ 589016 h 609800"/>
              <a:gd name="connsiteX330" fmla="*/ 4228217 w 12248682"/>
              <a:gd name="connsiteY330" fmla="*/ 589016 h 609800"/>
              <a:gd name="connsiteX331" fmla="*/ 4257089 w 12248682"/>
              <a:gd name="connsiteY331" fmla="*/ 600999 h 609800"/>
              <a:gd name="connsiteX332" fmla="*/ 4260663 w 12248682"/>
              <a:gd name="connsiteY332" fmla="*/ 609800 h 609800"/>
              <a:gd name="connsiteX333" fmla="*/ 4196067 w 12248682"/>
              <a:gd name="connsiteY333" fmla="*/ 609800 h 609800"/>
              <a:gd name="connsiteX334" fmla="*/ 4199775 w 12248682"/>
              <a:gd name="connsiteY334" fmla="*/ 600999 h 609800"/>
              <a:gd name="connsiteX335" fmla="*/ 4228217 w 12248682"/>
              <a:gd name="connsiteY335" fmla="*/ 589016 h 609800"/>
              <a:gd name="connsiteX336" fmla="*/ 3957960 w 12248682"/>
              <a:gd name="connsiteY336" fmla="*/ 589016 h 609800"/>
              <a:gd name="connsiteX337" fmla="*/ 3986400 w 12248682"/>
              <a:gd name="connsiteY337" fmla="*/ 600999 h 609800"/>
              <a:gd name="connsiteX338" fmla="*/ 3990108 w 12248682"/>
              <a:gd name="connsiteY338" fmla="*/ 609800 h 609800"/>
              <a:gd name="connsiteX339" fmla="*/ 3925812 w 12248682"/>
              <a:gd name="connsiteY339" fmla="*/ 609800 h 609800"/>
              <a:gd name="connsiteX340" fmla="*/ 3929520 w 12248682"/>
              <a:gd name="connsiteY340" fmla="*/ 600999 h 609800"/>
              <a:gd name="connsiteX341" fmla="*/ 3957960 w 12248682"/>
              <a:gd name="connsiteY341" fmla="*/ 589016 h 609800"/>
              <a:gd name="connsiteX342" fmla="*/ 1925276 w 12248682"/>
              <a:gd name="connsiteY342" fmla="*/ 589016 h 609800"/>
              <a:gd name="connsiteX343" fmla="*/ 1954149 w 12248682"/>
              <a:gd name="connsiteY343" fmla="*/ 600999 h 609800"/>
              <a:gd name="connsiteX344" fmla="*/ 1957723 w 12248682"/>
              <a:gd name="connsiteY344" fmla="*/ 609800 h 609800"/>
              <a:gd name="connsiteX345" fmla="*/ 1893128 w 12248682"/>
              <a:gd name="connsiteY345" fmla="*/ 609800 h 609800"/>
              <a:gd name="connsiteX346" fmla="*/ 1896836 w 12248682"/>
              <a:gd name="connsiteY346" fmla="*/ 600999 h 609800"/>
              <a:gd name="connsiteX347" fmla="*/ 1925276 w 12248682"/>
              <a:gd name="connsiteY347" fmla="*/ 589016 h 609800"/>
              <a:gd name="connsiteX348" fmla="*/ 1655022 w 12248682"/>
              <a:gd name="connsiteY348" fmla="*/ 589016 h 609800"/>
              <a:gd name="connsiteX349" fmla="*/ 1683462 w 12248682"/>
              <a:gd name="connsiteY349" fmla="*/ 600999 h 609800"/>
              <a:gd name="connsiteX350" fmla="*/ 1687170 w 12248682"/>
              <a:gd name="connsiteY350" fmla="*/ 609800 h 609800"/>
              <a:gd name="connsiteX351" fmla="*/ 1622873 w 12248682"/>
              <a:gd name="connsiteY351" fmla="*/ 609800 h 609800"/>
              <a:gd name="connsiteX352" fmla="*/ 1626581 w 12248682"/>
              <a:gd name="connsiteY352" fmla="*/ 600999 h 609800"/>
              <a:gd name="connsiteX353" fmla="*/ 1655022 w 12248682"/>
              <a:gd name="connsiteY353" fmla="*/ 589016 h 609800"/>
              <a:gd name="connsiteX354" fmla="*/ 841948 w 12248682"/>
              <a:gd name="connsiteY354" fmla="*/ 589016 h 609800"/>
              <a:gd name="connsiteX355" fmla="*/ 870388 w 12248682"/>
              <a:gd name="connsiteY355" fmla="*/ 600999 h 609800"/>
              <a:gd name="connsiteX356" fmla="*/ 874096 w 12248682"/>
              <a:gd name="connsiteY356" fmla="*/ 609800 h 609800"/>
              <a:gd name="connsiteX357" fmla="*/ 809800 w 12248682"/>
              <a:gd name="connsiteY357" fmla="*/ 609800 h 609800"/>
              <a:gd name="connsiteX358" fmla="*/ 813508 w 12248682"/>
              <a:gd name="connsiteY358" fmla="*/ 600999 h 609800"/>
              <a:gd name="connsiteX359" fmla="*/ 841948 w 12248682"/>
              <a:gd name="connsiteY359" fmla="*/ 589016 h 609800"/>
              <a:gd name="connsiteX360" fmla="*/ 435411 w 12248682"/>
              <a:gd name="connsiteY360" fmla="*/ 589016 h 609800"/>
              <a:gd name="connsiteX361" fmla="*/ 463851 w 12248682"/>
              <a:gd name="connsiteY361" fmla="*/ 600999 h 609800"/>
              <a:gd name="connsiteX362" fmla="*/ 467559 w 12248682"/>
              <a:gd name="connsiteY362" fmla="*/ 609800 h 609800"/>
              <a:gd name="connsiteX363" fmla="*/ 403263 w 12248682"/>
              <a:gd name="connsiteY363" fmla="*/ 609800 h 609800"/>
              <a:gd name="connsiteX364" fmla="*/ 406971 w 12248682"/>
              <a:gd name="connsiteY364" fmla="*/ 600999 h 609800"/>
              <a:gd name="connsiteX365" fmla="*/ 435411 w 12248682"/>
              <a:gd name="connsiteY365" fmla="*/ 589016 h 609800"/>
              <a:gd name="connsiteX366" fmla="*/ 11008282 w 12248682"/>
              <a:gd name="connsiteY366" fmla="*/ 577467 h 609800"/>
              <a:gd name="connsiteX367" fmla="*/ 11044085 w 12248682"/>
              <a:gd name="connsiteY367" fmla="*/ 592481 h 609800"/>
              <a:gd name="connsiteX368" fmla="*/ 11051348 w 12248682"/>
              <a:gd name="connsiteY368" fmla="*/ 609800 h 609800"/>
              <a:gd name="connsiteX369" fmla="*/ 10964993 w 12248682"/>
              <a:gd name="connsiteY369" fmla="*/ 609800 h 609800"/>
              <a:gd name="connsiteX370" fmla="*/ 10972046 w 12248682"/>
              <a:gd name="connsiteY370" fmla="*/ 592481 h 609800"/>
              <a:gd name="connsiteX371" fmla="*/ 11008282 w 12248682"/>
              <a:gd name="connsiteY371" fmla="*/ 577467 h 609800"/>
              <a:gd name="connsiteX372" fmla="*/ 9924954 w 12248682"/>
              <a:gd name="connsiteY372" fmla="*/ 577467 h 609800"/>
              <a:gd name="connsiteX373" fmla="*/ 9960757 w 12248682"/>
              <a:gd name="connsiteY373" fmla="*/ 592481 h 609800"/>
              <a:gd name="connsiteX374" fmla="*/ 9968020 w 12248682"/>
              <a:gd name="connsiteY374" fmla="*/ 609800 h 609800"/>
              <a:gd name="connsiteX375" fmla="*/ 9881665 w 12248682"/>
              <a:gd name="connsiteY375" fmla="*/ 609800 h 609800"/>
              <a:gd name="connsiteX376" fmla="*/ 9888718 w 12248682"/>
              <a:gd name="connsiteY376" fmla="*/ 592481 h 609800"/>
              <a:gd name="connsiteX377" fmla="*/ 9924954 w 12248682"/>
              <a:gd name="connsiteY377" fmla="*/ 577467 h 609800"/>
              <a:gd name="connsiteX378" fmla="*/ 9788672 w 12248682"/>
              <a:gd name="connsiteY378" fmla="*/ 577467 h 609800"/>
              <a:gd name="connsiteX379" fmla="*/ 9824908 w 12248682"/>
              <a:gd name="connsiteY379" fmla="*/ 593059 h 609800"/>
              <a:gd name="connsiteX380" fmla="*/ 9831618 w 12248682"/>
              <a:gd name="connsiteY380" fmla="*/ 609800 h 609800"/>
              <a:gd name="connsiteX381" fmla="*/ 9745864 w 12248682"/>
              <a:gd name="connsiteY381" fmla="*/ 609800 h 609800"/>
              <a:gd name="connsiteX382" fmla="*/ 9752868 w 12248682"/>
              <a:gd name="connsiteY382" fmla="*/ 592626 h 609800"/>
              <a:gd name="connsiteX383" fmla="*/ 9788672 w 12248682"/>
              <a:gd name="connsiteY383" fmla="*/ 577467 h 609800"/>
              <a:gd name="connsiteX384" fmla="*/ 8705894 w 12248682"/>
              <a:gd name="connsiteY384" fmla="*/ 577467 h 609800"/>
              <a:gd name="connsiteX385" fmla="*/ 8741697 w 12248682"/>
              <a:gd name="connsiteY385" fmla="*/ 592481 h 609800"/>
              <a:gd name="connsiteX386" fmla="*/ 8748960 w 12248682"/>
              <a:gd name="connsiteY386" fmla="*/ 609800 h 609800"/>
              <a:gd name="connsiteX387" fmla="*/ 8662605 w 12248682"/>
              <a:gd name="connsiteY387" fmla="*/ 609800 h 609800"/>
              <a:gd name="connsiteX388" fmla="*/ 8669658 w 12248682"/>
              <a:gd name="connsiteY388" fmla="*/ 592481 h 609800"/>
              <a:gd name="connsiteX389" fmla="*/ 8705894 w 12248682"/>
              <a:gd name="connsiteY389" fmla="*/ 577467 h 609800"/>
              <a:gd name="connsiteX390" fmla="*/ 6402956 w 12248682"/>
              <a:gd name="connsiteY390" fmla="*/ 577467 h 609800"/>
              <a:gd name="connsiteX391" fmla="*/ 6439192 w 12248682"/>
              <a:gd name="connsiteY391" fmla="*/ 592481 h 609800"/>
              <a:gd name="connsiteX392" fmla="*/ 6446246 w 12248682"/>
              <a:gd name="connsiteY392" fmla="*/ 609800 h 609800"/>
              <a:gd name="connsiteX393" fmla="*/ 6359667 w 12248682"/>
              <a:gd name="connsiteY393" fmla="*/ 609800 h 609800"/>
              <a:gd name="connsiteX394" fmla="*/ 6366721 w 12248682"/>
              <a:gd name="connsiteY394" fmla="*/ 592481 h 609800"/>
              <a:gd name="connsiteX395" fmla="*/ 6402956 w 12248682"/>
              <a:gd name="connsiteY395" fmla="*/ 577467 h 609800"/>
              <a:gd name="connsiteX396" fmla="*/ 5319628 w 12248682"/>
              <a:gd name="connsiteY396" fmla="*/ 577467 h 609800"/>
              <a:gd name="connsiteX397" fmla="*/ 5355431 w 12248682"/>
              <a:gd name="connsiteY397" fmla="*/ 592481 h 609800"/>
              <a:gd name="connsiteX398" fmla="*/ 5362693 w 12248682"/>
              <a:gd name="connsiteY398" fmla="*/ 609800 h 609800"/>
              <a:gd name="connsiteX399" fmla="*/ 5276339 w 12248682"/>
              <a:gd name="connsiteY399" fmla="*/ 609800 h 609800"/>
              <a:gd name="connsiteX400" fmla="*/ 5283392 w 12248682"/>
              <a:gd name="connsiteY400" fmla="*/ 592481 h 609800"/>
              <a:gd name="connsiteX401" fmla="*/ 5319628 w 12248682"/>
              <a:gd name="connsiteY401" fmla="*/ 577467 h 609800"/>
              <a:gd name="connsiteX402" fmla="*/ 5183346 w 12248682"/>
              <a:gd name="connsiteY402" fmla="*/ 577467 h 609800"/>
              <a:gd name="connsiteX403" fmla="*/ 5219582 w 12248682"/>
              <a:gd name="connsiteY403" fmla="*/ 592481 h 609800"/>
              <a:gd name="connsiteX404" fmla="*/ 5226635 w 12248682"/>
              <a:gd name="connsiteY404" fmla="*/ 609800 h 609800"/>
              <a:gd name="connsiteX405" fmla="*/ 5140056 w 12248682"/>
              <a:gd name="connsiteY405" fmla="*/ 609800 h 609800"/>
              <a:gd name="connsiteX406" fmla="*/ 5147110 w 12248682"/>
              <a:gd name="connsiteY406" fmla="*/ 592481 h 609800"/>
              <a:gd name="connsiteX407" fmla="*/ 5183346 w 12248682"/>
              <a:gd name="connsiteY407" fmla="*/ 577467 h 609800"/>
              <a:gd name="connsiteX408" fmla="*/ 4093087 w 12248682"/>
              <a:gd name="connsiteY408" fmla="*/ 577467 h 609800"/>
              <a:gd name="connsiteX409" fmla="*/ 4128890 w 12248682"/>
              <a:gd name="connsiteY409" fmla="*/ 592481 h 609800"/>
              <a:gd name="connsiteX410" fmla="*/ 4136153 w 12248682"/>
              <a:gd name="connsiteY410" fmla="*/ 609800 h 609800"/>
              <a:gd name="connsiteX411" fmla="*/ 4049798 w 12248682"/>
              <a:gd name="connsiteY411" fmla="*/ 609800 h 609800"/>
              <a:gd name="connsiteX412" fmla="*/ 4056851 w 12248682"/>
              <a:gd name="connsiteY412" fmla="*/ 592481 h 609800"/>
              <a:gd name="connsiteX413" fmla="*/ 4093087 w 12248682"/>
              <a:gd name="connsiteY413" fmla="*/ 577467 h 609800"/>
              <a:gd name="connsiteX414" fmla="*/ 1790148 w 12248682"/>
              <a:gd name="connsiteY414" fmla="*/ 577467 h 609800"/>
              <a:gd name="connsiteX415" fmla="*/ 1825951 w 12248682"/>
              <a:gd name="connsiteY415" fmla="*/ 592481 h 609800"/>
              <a:gd name="connsiteX416" fmla="*/ 1833214 w 12248682"/>
              <a:gd name="connsiteY416" fmla="*/ 609800 h 609800"/>
              <a:gd name="connsiteX417" fmla="*/ 1746859 w 12248682"/>
              <a:gd name="connsiteY417" fmla="*/ 609800 h 609800"/>
              <a:gd name="connsiteX418" fmla="*/ 1753912 w 12248682"/>
              <a:gd name="connsiteY418" fmla="*/ 592481 h 609800"/>
              <a:gd name="connsiteX419" fmla="*/ 1790148 w 12248682"/>
              <a:gd name="connsiteY419" fmla="*/ 577467 h 609800"/>
              <a:gd name="connsiteX420" fmla="*/ 706820 w 12248682"/>
              <a:gd name="connsiteY420" fmla="*/ 577467 h 609800"/>
              <a:gd name="connsiteX421" fmla="*/ 742623 w 12248682"/>
              <a:gd name="connsiteY421" fmla="*/ 592481 h 609800"/>
              <a:gd name="connsiteX422" fmla="*/ 749886 w 12248682"/>
              <a:gd name="connsiteY422" fmla="*/ 609800 h 609800"/>
              <a:gd name="connsiteX423" fmla="*/ 663531 w 12248682"/>
              <a:gd name="connsiteY423" fmla="*/ 609800 h 609800"/>
              <a:gd name="connsiteX424" fmla="*/ 670584 w 12248682"/>
              <a:gd name="connsiteY424" fmla="*/ 592481 h 609800"/>
              <a:gd name="connsiteX425" fmla="*/ 706820 w 12248682"/>
              <a:gd name="connsiteY425" fmla="*/ 577467 h 609800"/>
              <a:gd name="connsiteX426" fmla="*/ 570538 w 12248682"/>
              <a:gd name="connsiteY426" fmla="*/ 577467 h 609800"/>
              <a:gd name="connsiteX427" fmla="*/ 606775 w 12248682"/>
              <a:gd name="connsiteY427" fmla="*/ 593059 h 609800"/>
              <a:gd name="connsiteX428" fmla="*/ 613484 w 12248682"/>
              <a:gd name="connsiteY428" fmla="*/ 609800 h 609800"/>
              <a:gd name="connsiteX429" fmla="*/ 527731 w 12248682"/>
              <a:gd name="connsiteY429" fmla="*/ 609800 h 609800"/>
              <a:gd name="connsiteX430" fmla="*/ 534735 w 12248682"/>
              <a:gd name="connsiteY430" fmla="*/ 592626 h 609800"/>
              <a:gd name="connsiteX431" fmla="*/ 570538 w 12248682"/>
              <a:gd name="connsiteY431" fmla="*/ 577467 h 609800"/>
              <a:gd name="connsiteX432" fmla="*/ 12180541 w 12248682"/>
              <a:gd name="connsiteY432" fmla="*/ 464284 h 609800"/>
              <a:gd name="connsiteX433" fmla="*/ 12201330 w 12248682"/>
              <a:gd name="connsiteY433" fmla="*/ 485072 h 609800"/>
              <a:gd name="connsiteX434" fmla="*/ 12180541 w 12248682"/>
              <a:gd name="connsiteY434" fmla="*/ 505861 h 609800"/>
              <a:gd name="connsiteX435" fmla="*/ 12159752 w 12248682"/>
              <a:gd name="connsiteY435" fmla="*/ 485072 h 609800"/>
              <a:gd name="connsiteX436" fmla="*/ 12180541 w 12248682"/>
              <a:gd name="connsiteY436" fmla="*/ 464284 h 609800"/>
              <a:gd name="connsiteX437" fmla="*/ 12040793 w 12248682"/>
              <a:gd name="connsiteY437" fmla="*/ 464284 h 609800"/>
              <a:gd name="connsiteX438" fmla="*/ 12061582 w 12248682"/>
              <a:gd name="connsiteY438" fmla="*/ 485072 h 609800"/>
              <a:gd name="connsiteX439" fmla="*/ 12040793 w 12248682"/>
              <a:gd name="connsiteY439" fmla="*/ 505861 h 609800"/>
              <a:gd name="connsiteX440" fmla="*/ 12020004 w 12248682"/>
              <a:gd name="connsiteY440" fmla="*/ 485072 h 609800"/>
              <a:gd name="connsiteX441" fmla="*/ 12040793 w 12248682"/>
              <a:gd name="connsiteY441" fmla="*/ 464284 h 609800"/>
              <a:gd name="connsiteX442" fmla="*/ 11901047 w 12248682"/>
              <a:gd name="connsiteY442" fmla="*/ 464284 h 609800"/>
              <a:gd name="connsiteX443" fmla="*/ 11921836 w 12248682"/>
              <a:gd name="connsiteY443" fmla="*/ 485072 h 609800"/>
              <a:gd name="connsiteX444" fmla="*/ 11901047 w 12248682"/>
              <a:gd name="connsiteY444" fmla="*/ 505861 h 609800"/>
              <a:gd name="connsiteX445" fmla="*/ 11880258 w 12248682"/>
              <a:gd name="connsiteY445" fmla="*/ 485072 h 609800"/>
              <a:gd name="connsiteX446" fmla="*/ 11901047 w 12248682"/>
              <a:gd name="connsiteY446" fmla="*/ 464284 h 609800"/>
              <a:gd name="connsiteX447" fmla="*/ 11761299 w 12248682"/>
              <a:gd name="connsiteY447" fmla="*/ 464284 h 609800"/>
              <a:gd name="connsiteX448" fmla="*/ 11782088 w 12248682"/>
              <a:gd name="connsiteY448" fmla="*/ 485072 h 609800"/>
              <a:gd name="connsiteX449" fmla="*/ 11761299 w 12248682"/>
              <a:gd name="connsiteY449" fmla="*/ 505861 h 609800"/>
              <a:gd name="connsiteX450" fmla="*/ 11740510 w 12248682"/>
              <a:gd name="connsiteY450" fmla="*/ 485072 h 609800"/>
              <a:gd name="connsiteX451" fmla="*/ 11761299 w 12248682"/>
              <a:gd name="connsiteY451" fmla="*/ 464284 h 609800"/>
              <a:gd name="connsiteX452" fmla="*/ 11621553 w 12248682"/>
              <a:gd name="connsiteY452" fmla="*/ 464284 h 609800"/>
              <a:gd name="connsiteX453" fmla="*/ 11642342 w 12248682"/>
              <a:gd name="connsiteY453" fmla="*/ 485072 h 609800"/>
              <a:gd name="connsiteX454" fmla="*/ 11621553 w 12248682"/>
              <a:gd name="connsiteY454" fmla="*/ 505861 h 609800"/>
              <a:gd name="connsiteX455" fmla="*/ 11600764 w 12248682"/>
              <a:gd name="connsiteY455" fmla="*/ 485072 h 609800"/>
              <a:gd name="connsiteX456" fmla="*/ 11621553 w 12248682"/>
              <a:gd name="connsiteY456" fmla="*/ 464284 h 609800"/>
              <a:gd name="connsiteX457" fmla="*/ 11481805 w 12248682"/>
              <a:gd name="connsiteY457" fmla="*/ 464284 h 609800"/>
              <a:gd name="connsiteX458" fmla="*/ 11502594 w 12248682"/>
              <a:gd name="connsiteY458" fmla="*/ 485072 h 609800"/>
              <a:gd name="connsiteX459" fmla="*/ 11481805 w 12248682"/>
              <a:gd name="connsiteY459" fmla="*/ 505861 h 609800"/>
              <a:gd name="connsiteX460" fmla="*/ 11461016 w 12248682"/>
              <a:gd name="connsiteY460" fmla="*/ 485072 h 609800"/>
              <a:gd name="connsiteX461" fmla="*/ 11481805 w 12248682"/>
              <a:gd name="connsiteY461" fmla="*/ 464284 h 609800"/>
              <a:gd name="connsiteX462" fmla="*/ 10644478 w 12248682"/>
              <a:gd name="connsiteY462" fmla="*/ 464284 h 609800"/>
              <a:gd name="connsiteX463" fmla="*/ 10665267 w 12248682"/>
              <a:gd name="connsiteY463" fmla="*/ 485072 h 609800"/>
              <a:gd name="connsiteX464" fmla="*/ 10644478 w 12248682"/>
              <a:gd name="connsiteY464" fmla="*/ 505861 h 609800"/>
              <a:gd name="connsiteX465" fmla="*/ 10623690 w 12248682"/>
              <a:gd name="connsiteY465" fmla="*/ 485072 h 609800"/>
              <a:gd name="connsiteX466" fmla="*/ 10644478 w 12248682"/>
              <a:gd name="connsiteY466" fmla="*/ 464284 h 609800"/>
              <a:gd name="connsiteX467" fmla="*/ 10504731 w 12248682"/>
              <a:gd name="connsiteY467" fmla="*/ 464284 h 609800"/>
              <a:gd name="connsiteX468" fmla="*/ 10525520 w 12248682"/>
              <a:gd name="connsiteY468" fmla="*/ 485072 h 609800"/>
              <a:gd name="connsiteX469" fmla="*/ 10504731 w 12248682"/>
              <a:gd name="connsiteY469" fmla="*/ 505861 h 609800"/>
              <a:gd name="connsiteX470" fmla="*/ 10483942 w 12248682"/>
              <a:gd name="connsiteY470" fmla="*/ 485072 h 609800"/>
              <a:gd name="connsiteX471" fmla="*/ 10504731 w 12248682"/>
              <a:gd name="connsiteY471" fmla="*/ 464284 h 609800"/>
              <a:gd name="connsiteX472" fmla="*/ 10364984 w 12248682"/>
              <a:gd name="connsiteY472" fmla="*/ 464284 h 609800"/>
              <a:gd name="connsiteX473" fmla="*/ 10385773 w 12248682"/>
              <a:gd name="connsiteY473" fmla="*/ 485072 h 609800"/>
              <a:gd name="connsiteX474" fmla="*/ 10364984 w 12248682"/>
              <a:gd name="connsiteY474" fmla="*/ 505861 h 609800"/>
              <a:gd name="connsiteX475" fmla="*/ 10344196 w 12248682"/>
              <a:gd name="connsiteY475" fmla="*/ 485072 h 609800"/>
              <a:gd name="connsiteX476" fmla="*/ 10364984 w 12248682"/>
              <a:gd name="connsiteY476" fmla="*/ 464284 h 609800"/>
              <a:gd name="connsiteX477" fmla="*/ 7854709 w 12248682"/>
              <a:gd name="connsiteY477" fmla="*/ 464284 h 609800"/>
              <a:gd name="connsiteX478" fmla="*/ 7875498 w 12248682"/>
              <a:gd name="connsiteY478" fmla="*/ 485072 h 609800"/>
              <a:gd name="connsiteX479" fmla="*/ 7854709 w 12248682"/>
              <a:gd name="connsiteY479" fmla="*/ 505861 h 609800"/>
              <a:gd name="connsiteX480" fmla="*/ 7833921 w 12248682"/>
              <a:gd name="connsiteY480" fmla="*/ 485072 h 609800"/>
              <a:gd name="connsiteX481" fmla="*/ 7854709 w 12248682"/>
              <a:gd name="connsiteY481" fmla="*/ 464284 h 609800"/>
              <a:gd name="connsiteX482" fmla="*/ 7714960 w 12248682"/>
              <a:gd name="connsiteY482" fmla="*/ 464284 h 609800"/>
              <a:gd name="connsiteX483" fmla="*/ 7735749 w 12248682"/>
              <a:gd name="connsiteY483" fmla="*/ 485072 h 609800"/>
              <a:gd name="connsiteX484" fmla="*/ 7714960 w 12248682"/>
              <a:gd name="connsiteY484" fmla="*/ 505861 h 609800"/>
              <a:gd name="connsiteX485" fmla="*/ 7694172 w 12248682"/>
              <a:gd name="connsiteY485" fmla="*/ 485072 h 609800"/>
              <a:gd name="connsiteX486" fmla="*/ 7714960 w 12248682"/>
              <a:gd name="connsiteY486" fmla="*/ 464284 h 609800"/>
              <a:gd name="connsiteX487" fmla="*/ 7575214 w 12248682"/>
              <a:gd name="connsiteY487" fmla="*/ 464284 h 609800"/>
              <a:gd name="connsiteX488" fmla="*/ 7596004 w 12248682"/>
              <a:gd name="connsiteY488" fmla="*/ 485072 h 609800"/>
              <a:gd name="connsiteX489" fmla="*/ 7575214 w 12248682"/>
              <a:gd name="connsiteY489" fmla="*/ 505861 h 609800"/>
              <a:gd name="connsiteX490" fmla="*/ 7554427 w 12248682"/>
              <a:gd name="connsiteY490" fmla="*/ 485072 h 609800"/>
              <a:gd name="connsiteX491" fmla="*/ 7575214 w 12248682"/>
              <a:gd name="connsiteY491" fmla="*/ 464284 h 609800"/>
              <a:gd name="connsiteX492" fmla="*/ 7435467 w 12248682"/>
              <a:gd name="connsiteY492" fmla="*/ 464284 h 609800"/>
              <a:gd name="connsiteX493" fmla="*/ 7456257 w 12248682"/>
              <a:gd name="connsiteY493" fmla="*/ 485072 h 609800"/>
              <a:gd name="connsiteX494" fmla="*/ 7435467 w 12248682"/>
              <a:gd name="connsiteY494" fmla="*/ 505861 h 609800"/>
              <a:gd name="connsiteX495" fmla="*/ 7414678 w 12248682"/>
              <a:gd name="connsiteY495" fmla="*/ 485072 h 609800"/>
              <a:gd name="connsiteX496" fmla="*/ 7435467 w 12248682"/>
              <a:gd name="connsiteY496" fmla="*/ 464284 h 609800"/>
              <a:gd name="connsiteX497" fmla="*/ 7295720 w 12248682"/>
              <a:gd name="connsiteY497" fmla="*/ 464284 h 609800"/>
              <a:gd name="connsiteX498" fmla="*/ 7316509 w 12248682"/>
              <a:gd name="connsiteY498" fmla="*/ 485072 h 609800"/>
              <a:gd name="connsiteX499" fmla="*/ 7295720 w 12248682"/>
              <a:gd name="connsiteY499" fmla="*/ 505861 h 609800"/>
              <a:gd name="connsiteX500" fmla="*/ 7274932 w 12248682"/>
              <a:gd name="connsiteY500" fmla="*/ 485072 h 609800"/>
              <a:gd name="connsiteX501" fmla="*/ 7295720 w 12248682"/>
              <a:gd name="connsiteY501" fmla="*/ 464284 h 609800"/>
              <a:gd name="connsiteX502" fmla="*/ 7155974 w 12248682"/>
              <a:gd name="connsiteY502" fmla="*/ 464284 h 609800"/>
              <a:gd name="connsiteX503" fmla="*/ 7176762 w 12248682"/>
              <a:gd name="connsiteY503" fmla="*/ 485072 h 609800"/>
              <a:gd name="connsiteX504" fmla="*/ 7155974 w 12248682"/>
              <a:gd name="connsiteY504" fmla="*/ 505861 h 609800"/>
              <a:gd name="connsiteX505" fmla="*/ 7135183 w 12248682"/>
              <a:gd name="connsiteY505" fmla="*/ 485072 h 609800"/>
              <a:gd name="connsiteX506" fmla="*/ 7155974 w 12248682"/>
              <a:gd name="connsiteY506" fmla="*/ 464284 h 609800"/>
              <a:gd name="connsiteX507" fmla="*/ 7016227 w 12248682"/>
              <a:gd name="connsiteY507" fmla="*/ 464284 h 609800"/>
              <a:gd name="connsiteX508" fmla="*/ 7037016 w 12248682"/>
              <a:gd name="connsiteY508" fmla="*/ 485072 h 609800"/>
              <a:gd name="connsiteX509" fmla="*/ 7016227 w 12248682"/>
              <a:gd name="connsiteY509" fmla="*/ 505861 h 609800"/>
              <a:gd name="connsiteX510" fmla="*/ 6995438 w 12248682"/>
              <a:gd name="connsiteY510" fmla="*/ 485072 h 609800"/>
              <a:gd name="connsiteX511" fmla="*/ 7016227 w 12248682"/>
              <a:gd name="connsiteY511" fmla="*/ 464284 h 609800"/>
              <a:gd name="connsiteX512" fmla="*/ 6877634 w 12248682"/>
              <a:gd name="connsiteY512" fmla="*/ 464284 h 609800"/>
              <a:gd name="connsiteX513" fmla="*/ 6898424 w 12248682"/>
              <a:gd name="connsiteY513" fmla="*/ 485072 h 609800"/>
              <a:gd name="connsiteX514" fmla="*/ 6877634 w 12248682"/>
              <a:gd name="connsiteY514" fmla="*/ 505861 h 609800"/>
              <a:gd name="connsiteX515" fmla="*/ 6856845 w 12248682"/>
              <a:gd name="connsiteY515" fmla="*/ 485072 h 609800"/>
              <a:gd name="connsiteX516" fmla="*/ 6877634 w 12248682"/>
              <a:gd name="connsiteY516" fmla="*/ 464284 h 609800"/>
              <a:gd name="connsiteX517" fmla="*/ 6039151 w 12248682"/>
              <a:gd name="connsiteY517" fmla="*/ 464284 h 609800"/>
              <a:gd name="connsiteX518" fmla="*/ 6059942 w 12248682"/>
              <a:gd name="connsiteY518" fmla="*/ 485072 h 609800"/>
              <a:gd name="connsiteX519" fmla="*/ 6039151 w 12248682"/>
              <a:gd name="connsiteY519" fmla="*/ 505861 h 609800"/>
              <a:gd name="connsiteX520" fmla="*/ 6018363 w 12248682"/>
              <a:gd name="connsiteY520" fmla="*/ 485072 h 609800"/>
              <a:gd name="connsiteX521" fmla="*/ 6039151 w 12248682"/>
              <a:gd name="connsiteY521" fmla="*/ 464284 h 609800"/>
              <a:gd name="connsiteX522" fmla="*/ 5899406 w 12248682"/>
              <a:gd name="connsiteY522" fmla="*/ 464284 h 609800"/>
              <a:gd name="connsiteX523" fmla="*/ 5920193 w 12248682"/>
              <a:gd name="connsiteY523" fmla="*/ 485072 h 609800"/>
              <a:gd name="connsiteX524" fmla="*/ 5899406 w 12248682"/>
              <a:gd name="connsiteY524" fmla="*/ 505861 h 609800"/>
              <a:gd name="connsiteX525" fmla="*/ 5878616 w 12248682"/>
              <a:gd name="connsiteY525" fmla="*/ 485072 h 609800"/>
              <a:gd name="connsiteX526" fmla="*/ 5899406 w 12248682"/>
              <a:gd name="connsiteY526" fmla="*/ 464284 h 609800"/>
              <a:gd name="connsiteX527" fmla="*/ 5759658 w 12248682"/>
              <a:gd name="connsiteY527" fmla="*/ 464284 h 609800"/>
              <a:gd name="connsiteX528" fmla="*/ 5780448 w 12248682"/>
              <a:gd name="connsiteY528" fmla="*/ 485072 h 609800"/>
              <a:gd name="connsiteX529" fmla="*/ 5759658 w 12248682"/>
              <a:gd name="connsiteY529" fmla="*/ 505861 h 609800"/>
              <a:gd name="connsiteX530" fmla="*/ 5738869 w 12248682"/>
              <a:gd name="connsiteY530" fmla="*/ 485072 h 609800"/>
              <a:gd name="connsiteX531" fmla="*/ 5759658 w 12248682"/>
              <a:gd name="connsiteY531" fmla="*/ 464284 h 609800"/>
              <a:gd name="connsiteX532" fmla="*/ 3241901 w 12248682"/>
              <a:gd name="connsiteY532" fmla="*/ 464284 h 609800"/>
              <a:gd name="connsiteX533" fmla="*/ 3262690 w 12248682"/>
              <a:gd name="connsiteY533" fmla="*/ 485072 h 609800"/>
              <a:gd name="connsiteX534" fmla="*/ 3241901 w 12248682"/>
              <a:gd name="connsiteY534" fmla="*/ 505861 h 609800"/>
              <a:gd name="connsiteX535" fmla="*/ 3221112 w 12248682"/>
              <a:gd name="connsiteY535" fmla="*/ 485072 h 609800"/>
              <a:gd name="connsiteX536" fmla="*/ 3241901 w 12248682"/>
              <a:gd name="connsiteY536" fmla="*/ 464284 h 609800"/>
              <a:gd name="connsiteX537" fmla="*/ 3102153 w 12248682"/>
              <a:gd name="connsiteY537" fmla="*/ 464284 h 609800"/>
              <a:gd name="connsiteX538" fmla="*/ 3122942 w 12248682"/>
              <a:gd name="connsiteY538" fmla="*/ 485072 h 609800"/>
              <a:gd name="connsiteX539" fmla="*/ 3102153 w 12248682"/>
              <a:gd name="connsiteY539" fmla="*/ 505861 h 609800"/>
              <a:gd name="connsiteX540" fmla="*/ 3081365 w 12248682"/>
              <a:gd name="connsiteY540" fmla="*/ 485072 h 609800"/>
              <a:gd name="connsiteX541" fmla="*/ 3102153 w 12248682"/>
              <a:gd name="connsiteY541" fmla="*/ 464284 h 609800"/>
              <a:gd name="connsiteX542" fmla="*/ 2962407 w 12248682"/>
              <a:gd name="connsiteY542" fmla="*/ 464284 h 609800"/>
              <a:gd name="connsiteX543" fmla="*/ 2983196 w 12248682"/>
              <a:gd name="connsiteY543" fmla="*/ 485072 h 609800"/>
              <a:gd name="connsiteX544" fmla="*/ 2962407 w 12248682"/>
              <a:gd name="connsiteY544" fmla="*/ 505861 h 609800"/>
              <a:gd name="connsiteX545" fmla="*/ 2941618 w 12248682"/>
              <a:gd name="connsiteY545" fmla="*/ 485072 h 609800"/>
              <a:gd name="connsiteX546" fmla="*/ 2962407 w 12248682"/>
              <a:gd name="connsiteY546" fmla="*/ 464284 h 609800"/>
              <a:gd name="connsiteX547" fmla="*/ 2822659 w 12248682"/>
              <a:gd name="connsiteY547" fmla="*/ 464284 h 609800"/>
              <a:gd name="connsiteX548" fmla="*/ 2843448 w 12248682"/>
              <a:gd name="connsiteY548" fmla="*/ 485072 h 609800"/>
              <a:gd name="connsiteX549" fmla="*/ 2822659 w 12248682"/>
              <a:gd name="connsiteY549" fmla="*/ 505861 h 609800"/>
              <a:gd name="connsiteX550" fmla="*/ 2801871 w 12248682"/>
              <a:gd name="connsiteY550" fmla="*/ 485072 h 609800"/>
              <a:gd name="connsiteX551" fmla="*/ 2822659 w 12248682"/>
              <a:gd name="connsiteY551" fmla="*/ 464284 h 609800"/>
              <a:gd name="connsiteX552" fmla="*/ 2682913 w 12248682"/>
              <a:gd name="connsiteY552" fmla="*/ 464284 h 609800"/>
              <a:gd name="connsiteX553" fmla="*/ 2703702 w 12248682"/>
              <a:gd name="connsiteY553" fmla="*/ 485072 h 609800"/>
              <a:gd name="connsiteX554" fmla="*/ 2682913 w 12248682"/>
              <a:gd name="connsiteY554" fmla="*/ 505861 h 609800"/>
              <a:gd name="connsiteX555" fmla="*/ 2662124 w 12248682"/>
              <a:gd name="connsiteY555" fmla="*/ 485072 h 609800"/>
              <a:gd name="connsiteX556" fmla="*/ 2682913 w 12248682"/>
              <a:gd name="connsiteY556" fmla="*/ 464284 h 609800"/>
              <a:gd name="connsiteX557" fmla="*/ 2543167 w 12248682"/>
              <a:gd name="connsiteY557" fmla="*/ 464284 h 609800"/>
              <a:gd name="connsiteX558" fmla="*/ 2563954 w 12248682"/>
              <a:gd name="connsiteY558" fmla="*/ 485072 h 609800"/>
              <a:gd name="connsiteX559" fmla="*/ 2543167 w 12248682"/>
              <a:gd name="connsiteY559" fmla="*/ 505861 h 609800"/>
              <a:gd name="connsiteX560" fmla="*/ 2522376 w 12248682"/>
              <a:gd name="connsiteY560" fmla="*/ 485072 h 609800"/>
              <a:gd name="connsiteX561" fmla="*/ 2543167 w 12248682"/>
              <a:gd name="connsiteY561" fmla="*/ 464284 h 609800"/>
              <a:gd name="connsiteX562" fmla="*/ 2403419 w 12248682"/>
              <a:gd name="connsiteY562" fmla="*/ 464284 h 609800"/>
              <a:gd name="connsiteX563" fmla="*/ 2424209 w 12248682"/>
              <a:gd name="connsiteY563" fmla="*/ 485072 h 609800"/>
              <a:gd name="connsiteX564" fmla="*/ 2403419 w 12248682"/>
              <a:gd name="connsiteY564" fmla="*/ 505861 h 609800"/>
              <a:gd name="connsiteX565" fmla="*/ 2382630 w 12248682"/>
              <a:gd name="connsiteY565" fmla="*/ 485072 h 609800"/>
              <a:gd name="connsiteX566" fmla="*/ 2403419 w 12248682"/>
              <a:gd name="connsiteY566" fmla="*/ 464284 h 609800"/>
              <a:gd name="connsiteX567" fmla="*/ 2263671 w 12248682"/>
              <a:gd name="connsiteY567" fmla="*/ 464284 h 609800"/>
              <a:gd name="connsiteX568" fmla="*/ 2284460 w 12248682"/>
              <a:gd name="connsiteY568" fmla="*/ 485072 h 609800"/>
              <a:gd name="connsiteX569" fmla="*/ 2263671 w 12248682"/>
              <a:gd name="connsiteY569" fmla="*/ 505861 h 609800"/>
              <a:gd name="connsiteX570" fmla="*/ 2242883 w 12248682"/>
              <a:gd name="connsiteY570" fmla="*/ 485072 h 609800"/>
              <a:gd name="connsiteX571" fmla="*/ 2263671 w 12248682"/>
              <a:gd name="connsiteY571" fmla="*/ 464284 h 609800"/>
              <a:gd name="connsiteX572" fmla="*/ 1426344 w 12248682"/>
              <a:gd name="connsiteY572" fmla="*/ 464284 h 609800"/>
              <a:gd name="connsiteX573" fmla="*/ 1447133 w 12248682"/>
              <a:gd name="connsiteY573" fmla="*/ 485072 h 609800"/>
              <a:gd name="connsiteX574" fmla="*/ 1426344 w 12248682"/>
              <a:gd name="connsiteY574" fmla="*/ 505861 h 609800"/>
              <a:gd name="connsiteX575" fmla="*/ 1405556 w 12248682"/>
              <a:gd name="connsiteY575" fmla="*/ 485072 h 609800"/>
              <a:gd name="connsiteX576" fmla="*/ 1426344 w 12248682"/>
              <a:gd name="connsiteY576" fmla="*/ 464284 h 609800"/>
              <a:gd name="connsiteX577" fmla="*/ 1286597 w 12248682"/>
              <a:gd name="connsiteY577" fmla="*/ 464284 h 609800"/>
              <a:gd name="connsiteX578" fmla="*/ 1307386 w 12248682"/>
              <a:gd name="connsiteY578" fmla="*/ 485072 h 609800"/>
              <a:gd name="connsiteX579" fmla="*/ 1286597 w 12248682"/>
              <a:gd name="connsiteY579" fmla="*/ 505861 h 609800"/>
              <a:gd name="connsiteX580" fmla="*/ 1265808 w 12248682"/>
              <a:gd name="connsiteY580" fmla="*/ 485072 h 609800"/>
              <a:gd name="connsiteX581" fmla="*/ 1286597 w 12248682"/>
              <a:gd name="connsiteY581" fmla="*/ 464284 h 609800"/>
              <a:gd name="connsiteX582" fmla="*/ 1146851 w 12248682"/>
              <a:gd name="connsiteY582" fmla="*/ 464284 h 609800"/>
              <a:gd name="connsiteX583" fmla="*/ 1167639 w 12248682"/>
              <a:gd name="connsiteY583" fmla="*/ 485072 h 609800"/>
              <a:gd name="connsiteX584" fmla="*/ 1146851 w 12248682"/>
              <a:gd name="connsiteY584" fmla="*/ 505861 h 609800"/>
              <a:gd name="connsiteX585" fmla="*/ 1126062 w 12248682"/>
              <a:gd name="connsiteY585" fmla="*/ 485072 h 609800"/>
              <a:gd name="connsiteX586" fmla="*/ 1146851 w 12248682"/>
              <a:gd name="connsiteY586" fmla="*/ 464284 h 609800"/>
              <a:gd name="connsiteX587" fmla="*/ 11343213 w 12248682"/>
              <a:gd name="connsiteY587" fmla="*/ 461974 h 609800"/>
              <a:gd name="connsiteX588" fmla="*/ 11366312 w 12248682"/>
              <a:gd name="connsiteY588" fmla="*/ 485072 h 609800"/>
              <a:gd name="connsiteX589" fmla="*/ 11343213 w 12248682"/>
              <a:gd name="connsiteY589" fmla="*/ 508171 h 609800"/>
              <a:gd name="connsiteX590" fmla="*/ 11320114 w 12248682"/>
              <a:gd name="connsiteY590" fmla="*/ 485072 h 609800"/>
              <a:gd name="connsiteX591" fmla="*/ 11343213 w 12248682"/>
              <a:gd name="connsiteY591" fmla="*/ 461974 h 609800"/>
              <a:gd name="connsiteX592" fmla="*/ 10225237 w 12248682"/>
              <a:gd name="connsiteY592" fmla="*/ 461974 h 609800"/>
              <a:gd name="connsiteX593" fmla="*/ 10248335 w 12248682"/>
              <a:gd name="connsiteY593" fmla="*/ 485072 h 609800"/>
              <a:gd name="connsiteX594" fmla="*/ 10225237 w 12248682"/>
              <a:gd name="connsiteY594" fmla="*/ 508171 h 609800"/>
              <a:gd name="connsiteX595" fmla="*/ 10202138 w 12248682"/>
              <a:gd name="connsiteY595" fmla="*/ 485072 h 609800"/>
              <a:gd name="connsiteX596" fmla="*/ 10225237 w 12248682"/>
              <a:gd name="connsiteY596" fmla="*/ 461974 h 609800"/>
              <a:gd name="connsiteX597" fmla="*/ 9112431 w 12248682"/>
              <a:gd name="connsiteY597" fmla="*/ 461974 h 609800"/>
              <a:gd name="connsiteX598" fmla="*/ 9135530 w 12248682"/>
              <a:gd name="connsiteY598" fmla="*/ 485072 h 609800"/>
              <a:gd name="connsiteX599" fmla="*/ 9112431 w 12248682"/>
              <a:gd name="connsiteY599" fmla="*/ 508171 h 609800"/>
              <a:gd name="connsiteX600" fmla="*/ 9089332 w 12248682"/>
              <a:gd name="connsiteY600" fmla="*/ 485072 h 609800"/>
              <a:gd name="connsiteX601" fmla="*/ 9112431 w 12248682"/>
              <a:gd name="connsiteY601" fmla="*/ 461974 h 609800"/>
              <a:gd name="connsiteX602" fmla="*/ 7994456 w 12248682"/>
              <a:gd name="connsiteY602" fmla="*/ 461974 h 609800"/>
              <a:gd name="connsiteX603" fmla="*/ 8017555 w 12248682"/>
              <a:gd name="connsiteY603" fmla="*/ 485072 h 609800"/>
              <a:gd name="connsiteX604" fmla="*/ 7994456 w 12248682"/>
              <a:gd name="connsiteY604" fmla="*/ 508171 h 609800"/>
              <a:gd name="connsiteX605" fmla="*/ 7971356 w 12248682"/>
              <a:gd name="connsiteY605" fmla="*/ 485072 h 609800"/>
              <a:gd name="connsiteX606" fmla="*/ 7994456 w 12248682"/>
              <a:gd name="connsiteY606" fmla="*/ 461974 h 609800"/>
              <a:gd name="connsiteX607" fmla="*/ 6737887 w 12248682"/>
              <a:gd name="connsiteY607" fmla="*/ 461974 h 609800"/>
              <a:gd name="connsiteX608" fmla="*/ 6760986 w 12248682"/>
              <a:gd name="connsiteY608" fmla="*/ 485072 h 609800"/>
              <a:gd name="connsiteX609" fmla="*/ 6737887 w 12248682"/>
              <a:gd name="connsiteY609" fmla="*/ 508171 h 609800"/>
              <a:gd name="connsiteX610" fmla="*/ 6714789 w 12248682"/>
              <a:gd name="connsiteY610" fmla="*/ 485072 h 609800"/>
              <a:gd name="connsiteX611" fmla="*/ 6737887 w 12248682"/>
              <a:gd name="connsiteY611" fmla="*/ 461974 h 609800"/>
              <a:gd name="connsiteX612" fmla="*/ 5619912 w 12248682"/>
              <a:gd name="connsiteY612" fmla="*/ 461974 h 609800"/>
              <a:gd name="connsiteX613" fmla="*/ 5643008 w 12248682"/>
              <a:gd name="connsiteY613" fmla="*/ 485072 h 609800"/>
              <a:gd name="connsiteX614" fmla="*/ 5619912 w 12248682"/>
              <a:gd name="connsiteY614" fmla="*/ 508171 h 609800"/>
              <a:gd name="connsiteX615" fmla="*/ 5596812 w 12248682"/>
              <a:gd name="connsiteY615" fmla="*/ 485072 h 609800"/>
              <a:gd name="connsiteX616" fmla="*/ 5619912 w 12248682"/>
              <a:gd name="connsiteY616" fmla="*/ 461974 h 609800"/>
              <a:gd name="connsiteX617" fmla="*/ 4499625 w 12248682"/>
              <a:gd name="connsiteY617" fmla="*/ 461974 h 609800"/>
              <a:gd name="connsiteX618" fmla="*/ 4522722 w 12248682"/>
              <a:gd name="connsiteY618" fmla="*/ 485072 h 609800"/>
              <a:gd name="connsiteX619" fmla="*/ 4499625 w 12248682"/>
              <a:gd name="connsiteY619" fmla="*/ 508171 h 609800"/>
              <a:gd name="connsiteX620" fmla="*/ 4476525 w 12248682"/>
              <a:gd name="connsiteY620" fmla="*/ 485072 h 609800"/>
              <a:gd name="connsiteX621" fmla="*/ 4499625 w 12248682"/>
              <a:gd name="connsiteY621" fmla="*/ 461974 h 609800"/>
              <a:gd name="connsiteX622" fmla="*/ 3381648 w 12248682"/>
              <a:gd name="connsiteY622" fmla="*/ 461974 h 609800"/>
              <a:gd name="connsiteX623" fmla="*/ 3404746 w 12248682"/>
              <a:gd name="connsiteY623" fmla="*/ 485072 h 609800"/>
              <a:gd name="connsiteX624" fmla="*/ 3381648 w 12248682"/>
              <a:gd name="connsiteY624" fmla="*/ 508171 h 609800"/>
              <a:gd name="connsiteX625" fmla="*/ 3358549 w 12248682"/>
              <a:gd name="connsiteY625" fmla="*/ 485072 h 609800"/>
              <a:gd name="connsiteX626" fmla="*/ 3381648 w 12248682"/>
              <a:gd name="connsiteY626" fmla="*/ 461974 h 609800"/>
              <a:gd name="connsiteX627" fmla="*/ 2125079 w 12248682"/>
              <a:gd name="connsiteY627" fmla="*/ 461974 h 609800"/>
              <a:gd name="connsiteX628" fmla="*/ 2148178 w 12248682"/>
              <a:gd name="connsiteY628" fmla="*/ 485072 h 609800"/>
              <a:gd name="connsiteX629" fmla="*/ 2125079 w 12248682"/>
              <a:gd name="connsiteY629" fmla="*/ 508171 h 609800"/>
              <a:gd name="connsiteX630" fmla="*/ 2101980 w 12248682"/>
              <a:gd name="connsiteY630" fmla="*/ 485072 h 609800"/>
              <a:gd name="connsiteX631" fmla="*/ 2125079 w 12248682"/>
              <a:gd name="connsiteY631" fmla="*/ 461974 h 609800"/>
              <a:gd name="connsiteX632" fmla="*/ 1007103 w 12248682"/>
              <a:gd name="connsiteY632" fmla="*/ 461974 h 609800"/>
              <a:gd name="connsiteX633" fmla="*/ 1030201 w 12248682"/>
              <a:gd name="connsiteY633" fmla="*/ 485072 h 609800"/>
              <a:gd name="connsiteX634" fmla="*/ 1007103 w 12248682"/>
              <a:gd name="connsiteY634" fmla="*/ 508171 h 609800"/>
              <a:gd name="connsiteX635" fmla="*/ 984004 w 12248682"/>
              <a:gd name="connsiteY635" fmla="*/ 485072 h 609800"/>
              <a:gd name="connsiteX636" fmla="*/ 1007103 w 12248682"/>
              <a:gd name="connsiteY636" fmla="*/ 461974 h 609800"/>
              <a:gd name="connsiteX637" fmla="*/ 11203466 w 12248682"/>
              <a:gd name="connsiteY637" fmla="*/ 456200 h 609800"/>
              <a:gd name="connsiteX638" fmla="*/ 11232339 w 12248682"/>
              <a:gd name="connsiteY638" fmla="*/ 485072 h 609800"/>
              <a:gd name="connsiteX639" fmla="*/ 11203466 w 12248682"/>
              <a:gd name="connsiteY639" fmla="*/ 513946 h 609800"/>
              <a:gd name="connsiteX640" fmla="*/ 11174593 w 12248682"/>
              <a:gd name="connsiteY640" fmla="*/ 485072 h 609800"/>
              <a:gd name="connsiteX641" fmla="*/ 11203466 w 12248682"/>
              <a:gd name="connsiteY641" fmla="*/ 456200 h 609800"/>
              <a:gd name="connsiteX642" fmla="*/ 10085490 w 12248682"/>
              <a:gd name="connsiteY642" fmla="*/ 456200 h 609800"/>
              <a:gd name="connsiteX643" fmla="*/ 10114363 w 12248682"/>
              <a:gd name="connsiteY643" fmla="*/ 485072 h 609800"/>
              <a:gd name="connsiteX644" fmla="*/ 10085490 w 12248682"/>
              <a:gd name="connsiteY644" fmla="*/ 513946 h 609800"/>
              <a:gd name="connsiteX645" fmla="*/ 10056616 w 12248682"/>
              <a:gd name="connsiteY645" fmla="*/ 485072 h 609800"/>
              <a:gd name="connsiteX646" fmla="*/ 10085490 w 12248682"/>
              <a:gd name="connsiteY646" fmla="*/ 456200 h 609800"/>
              <a:gd name="connsiteX647" fmla="*/ 9247008 w 12248682"/>
              <a:gd name="connsiteY647" fmla="*/ 456200 h 609800"/>
              <a:gd name="connsiteX648" fmla="*/ 9275881 w 12248682"/>
              <a:gd name="connsiteY648" fmla="*/ 485072 h 609800"/>
              <a:gd name="connsiteX649" fmla="*/ 9247008 w 12248682"/>
              <a:gd name="connsiteY649" fmla="*/ 513946 h 609800"/>
              <a:gd name="connsiteX650" fmla="*/ 9218134 w 12248682"/>
              <a:gd name="connsiteY650" fmla="*/ 485072 h 609800"/>
              <a:gd name="connsiteX651" fmla="*/ 9247008 w 12248682"/>
              <a:gd name="connsiteY651" fmla="*/ 456200 h 609800"/>
              <a:gd name="connsiteX652" fmla="*/ 8972685 w 12248682"/>
              <a:gd name="connsiteY652" fmla="*/ 456200 h 609800"/>
              <a:gd name="connsiteX653" fmla="*/ 9001557 w 12248682"/>
              <a:gd name="connsiteY653" fmla="*/ 485072 h 609800"/>
              <a:gd name="connsiteX654" fmla="*/ 8972685 w 12248682"/>
              <a:gd name="connsiteY654" fmla="*/ 513946 h 609800"/>
              <a:gd name="connsiteX655" fmla="*/ 8943811 w 12248682"/>
              <a:gd name="connsiteY655" fmla="*/ 485072 h 609800"/>
              <a:gd name="connsiteX656" fmla="*/ 8972685 w 12248682"/>
              <a:gd name="connsiteY656" fmla="*/ 456200 h 609800"/>
              <a:gd name="connsiteX657" fmla="*/ 8134203 w 12248682"/>
              <a:gd name="connsiteY657" fmla="*/ 456200 h 609800"/>
              <a:gd name="connsiteX658" fmla="*/ 8163075 w 12248682"/>
              <a:gd name="connsiteY658" fmla="*/ 485072 h 609800"/>
              <a:gd name="connsiteX659" fmla="*/ 8134203 w 12248682"/>
              <a:gd name="connsiteY659" fmla="*/ 513946 h 609800"/>
              <a:gd name="connsiteX660" fmla="*/ 8105330 w 12248682"/>
              <a:gd name="connsiteY660" fmla="*/ 485072 h 609800"/>
              <a:gd name="connsiteX661" fmla="*/ 8134203 w 12248682"/>
              <a:gd name="connsiteY661" fmla="*/ 456200 h 609800"/>
              <a:gd name="connsiteX662" fmla="*/ 6598140 w 12248682"/>
              <a:gd name="connsiteY662" fmla="*/ 456200 h 609800"/>
              <a:gd name="connsiteX663" fmla="*/ 6627013 w 12248682"/>
              <a:gd name="connsiteY663" fmla="*/ 485072 h 609800"/>
              <a:gd name="connsiteX664" fmla="*/ 6598140 w 12248682"/>
              <a:gd name="connsiteY664" fmla="*/ 513946 h 609800"/>
              <a:gd name="connsiteX665" fmla="*/ 6569267 w 12248682"/>
              <a:gd name="connsiteY665" fmla="*/ 485072 h 609800"/>
              <a:gd name="connsiteX666" fmla="*/ 6598140 w 12248682"/>
              <a:gd name="connsiteY666" fmla="*/ 456200 h 609800"/>
              <a:gd name="connsiteX667" fmla="*/ 5480165 w 12248682"/>
              <a:gd name="connsiteY667" fmla="*/ 456200 h 609800"/>
              <a:gd name="connsiteX668" fmla="*/ 5509037 w 12248682"/>
              <a:gd name="connsiteY668" fmla="*/ 485072 h 609800"/>
              <a:gd name="connsiteX669" fmla="*/ 5480165 w 12248682"/>
              <a:gd name="connsiteY669" fmla="*/ 513946 h 609800"/>
              <a:gd name="connsiteX670" fmla="*/ 5451289 w 12248682"/>
              <a:gd name="connsiteY670" fmla="*/ 485072 h 609800"/>
              <a:gd name="connsiteX671" fmla="*/ 5480165 w 12248682"/>
              <a:gd name="connsiteY671" fmla="*/ 456200 h 609800"/>
              <a:gd name="connsiteX672" fmla="*/ 4641682 w 12248682"/>
              <a:gd name="connsiteY672" fmla="*/ 456200 h 609800"/>
              <a:gd name="connsiteX673" fmla="*/ 4670555 w 12248682"/>
              <a:gd name="connsiteY673" fmla="*/ 485072 h 609800"/>
              <a:gd name="connsiteX674" fmla="*/ 4641682 w 12248682"/>
              <a:gd name="connsiteY674" fmla="*/ 513946 h 609800"/>
              <a:gd name="connsiteX675" fmla="*/ 4612809 w 12248682"/>
              <a:gd name="connsiteY675" fmla="*/ 485072 h 609800"/>
              <a:gd name="connsiteX676" fmla="*/ 4641682 w 12248682"/>
              <a:gd name="connsiteY676" fmla="*/ 456200 h 609800"/>
              <a:gd name="connsiteX677" fmla="*/ 4359878 w 12248682"/>
              <a:gd name="connsiteY677" fmla="*/ 456200 h 609800"/>
              <a:gd name="connsiteX678" fmla="*/ 4388751 w 12248682"/>
              <a:gd name="connsiteY678" fmla="*/ 485072 h 609800"/>
              <a:gd name="connsiteX679" fmla="*/ 4359878 w 12248682"/>
              <a:gd name="connsiteY679" fmla="*/ 513946 h 609800"/>
              <a:gd name="connsiteX680" fmla="*/ 4331004 w 12248682"/>
              <a:gd name="connsiteY680" fmla="*/ 485072 h 609800"/>
              <a:gd name="connsiteX681" fmla="*/ 4359878 w 12248682"/>
              <a:gd name="connsiteY681" fmla="*/ 456200 h 609800"/>
              <a:gd name="connsiteX682" fmla="*/ 3521396 w 12248682"/>
              <a:gd name="connsiteY682" fmla="*/ 456200 h 609800"/>
              <a:gd name="connsiteX683" fmla="*/ 3550268 w 12248682"/>
              <a:gd name="connsiteY683" fmla="*/ 485072 h 609800"/>
              <a:gd name="connsiteX684" fmla="*/ 3521396 w 12248682"/>
              <a:gd name="connsiteY684" fmla="*/ 513946 h 609800"/>
              <a:gd name="connsiteX685" fmla="*/ 3492521 w 12248682"/>
              <a:gd name="connsiteY685" fmla="*/ 485072 h 609800"/>
              <a:gd name="connsiteX686" fmla="*/ 3521396 w 12248682"/>
              <a:gd name="connsiteY686" fmla="*/ 456200 h 609800"/>
              <a:gd name="connsiteX687" fmla="*/ 1985333 w 12248682"/>
              <a:gd name="connsiteY687" fmla="*/ 456200 h 609800"/>
              <a:gd name="connsiteX688" fmla="*/ 2014205 w 12248682"/>
              <a:gd name="connsiteY688" fmla="*/ 485072 h 609800"/>
              <a:gd name="connsiteX689" fmla="*/ 1985333 w 12248682"/>
              <a:gd name="connsiteY689" fmla="*/ 513946 h 609800"/>
              <a:gd name="connsiteX690" fmla="*/ 1956459 w 12248682"/>
              <a:gd name="connsiteY690" fmla="*/ 485072 h 609800"/>
              <a:gd name="connsiteX691" fmla="*/ 1985333 w 12248682"/>
              <a:gd name="connsiteY691" fmla="*/ 456200 h 609800"/>
              <a:gd name="connsiteX692" fmla="*/ 867356 w 12248682"/>
              <a:gd name="connsiteY692" fmla="*/ 456200 h 609800"/>
              <a:gd name="connsiteX693" fmla="*/ 896229 w 12248682"/>
              <a:gd name="connsiteY693" fmla="*/ 485072 h 609800"/>
              <a:gd name="connsiteX694" fmla="*/ 867356 w 12248682"/>
              <a:gd name="connsiteY694" fmla="*/ 513946 h 609800"/>
              <a:gd name="connsiteX695" fmla="*/ 838482 w 12248682"/>
              <a:gd name="connsiteY695" fmla="*/ 485072 h 609800"/>
              <a:gd name="connsiteX696" fmla="*/ 867356 w 12248682"/>
              <a:gd name="connsiteY696" fmla="*/ 456200 h 609800"/>
              <a:gd name="connsiteX697" fmla="*/ 28874 w 12248682"/>
              <a:gd name="connsiteY697" fmla="*/ 456200 h 609800"/>
              <a:gd name="connsiteX698" fmla="*/ 57747 w 12248682"/>
              <a:gd name="connsiteY698" fmla="*/ 485072 h 609800"/>
              <a:gd name="connsiteX699" fmla="*/ 28874 w 12248682"/>
              <a:gd name="connsiteY699" fmla="*/ 513946 h 609800"/>
              <a:gd name="connsiteX700" fmla="*/ 0 w 12248682"/>
              <a:gd name="connsiteY700" fmla="*/ 485072 h 609800"/>
              <a:gd name="connsiteX701" fmla="*/ 28874 w 12248682"/>
              <a:gd name="connsiteY701" fmla="*/ 456200 h 609800"/>
              <a:gd name="connsiteX702" fmla="*/ 11063719 w 12248682"/>
              <a:gd name="connsiteY702" fmla="*/ 449270 h 609800"/>
              <a:gd name="connsiteX703" fmla="*/ 11098367 w 12248682"/>
              <a:gd name="connsiteY703" fmla="*/ 483918 h 609800"/>
              <a:gd name="connsiteX704" fmla="*/ 11063719 w 12248682"/>
              <a:gd name="connsiteY704" fmla="*/ 518566 h 609800"/>
              <a:gd name="connsiteX705" fmla="*/ 11029071 w 12248682"/>
              <a:gd name="connsiteY705" fmla="*/ 483918 h 609800"/>
              <a:gd name="connsiteX706" fmla="*/ 11063719 w 12248682"/>
              <a:gd name="connsiteY706" fmla="*/ 449270 h 609800"/>
              <a:gd name="connsiteX707" fmla="*/ 9945743 w 12248682"/>
              <a:gd name="connsiteY707" fmla="*/ 449270 h 609800"/>
              <a:gd name="connsiteX708" fmla="*/ 9980391 w 12248682"/>
              <a:gd name="connsiteY708" fmla="*/ 483918 h 609800"/>
              <a:gd name="connsiteX709" fmla="*/ 9945743 w 12248682"/>
              <a:gd name="connsiteY709" fmla="*/ 518566 h 609800"/>
              <a:gd name="connsiteX710" fmla="*/ 9911094 w 12248682"/>
              <a:gd name="connsiteY710" fmla="*/ 483918 h 609800"/>
              <a:gd name="connsiteX711" fmla="*/ 9945743 w 12248682"/>
              <a:gd name="connsiteY711" fmla="*/ 449270 h 609800"/>
              <a:gd name="connsiteX712" fmla="*/ 9386754 w 12248682"/>
              <a:gd name="connsiteY712" fmla="*/ 449270 h 609800"/>
              <a:gd name="connsiteX713" fmla="*/ 9421402 w 12248682"/>
              <a:gd name="connsiteY713" fmla="*/ 483918 h 609800"/>
              <a:gd name="connsiteX714" fmla="*/ 9386754 w 12248682"/>
              <a:gd name="connsiteY714" fmla="*/ 518566 h 609800"/>
              <a:gd name="connsiteX715" fmla="*/ 9352106 w 12248682"/>
              <a:gd name="connsiteY715" fmla="*/ 483918 h 609800"/>
              <a:gd name="connsiteX716" fmla="*/ 9386754 w 12248682"/>
              <a:gd name="connsiteY716" fmla="*/ 449270 h 609800"/>
              <a:gd name="connsiteX717" fmla="*/ 8832937 w 12248682"/>
              <a:gd name="connsiteY717" fmla="*/ 449270 h 609800"/>
              <a:gd name="connsiteX718" fmla="*/ 8867585 w 12248682"/>
              <a:gd name="connsiteY718" fmla="*/ 483918 h 609800"/>
              <a:gd name="connsiteX719" fmla="*/ 8832937 w 12248682"/>
              <a:gd name="connsiteY719" fmla="*/ 518566 h 609800"/>
              <a:gd name="connsiteX720" fmla="*/ 8798289 w 12248682"/>
              <a:gd name="connsiteY720" fmla="*/ 483918 h 609800"/>
              <a:gd name="connsiteX721" fmla="*/ 8832937 w 12248682"/>
              <a:gd name="connsiteY721" fmla="*/ 449270 h 609800"/>
              <a:gd name="connsiteX722" fmla="*/ 8273949 w 12248682"/>
              <a:gd name="connsiteY722" fmla="*/ 449270 h 609800"/>
              <a:gd name="connsiteX723" fmla="*/ 8308598 w 12248682"/>
              <a:gd name="connsiteY723" fmla="*/ 483918 h 609800"/>
              <a:gd name="connsiteX724" fmla="*/ 8273949 w 12248682"/>
              <a:gd name="connsiteY724" fmla="*/ 518566 h 609800"/>
              <a:gd name="connsiteX725" fmla="*/ 8239301 w 12248682"/>
              <a:gd name="connsiteY725" fmla="*/ 483918 h 609800"/>
              <a:gd name="connsiteX726" fmla="*/ 8273949 w 12248682"/>
              <a:gd name="connsiteY726" fmla="*/ 449270 h 609800"/>
              <a:gd name="connsiteX727" fmla="*/ 6458393 w 12248682"/>
              <a:gd name="connsiteY727" fmla="*/ 449270 h 609800"/>
              <a:gd name="connsiteX728" fmla="*/ 6493041 w 12248682"/>
              <a:gd name="connsiteY728" fmla="*/ 483918 h 609800"/>
              <a:gd name="connsiteX729" fmla="*/ 6458393 w 12248682"/>
              <a:gd name="connsiteY729" fmla="*/ 518566 h 609800"/>
              <a:gd name="connsiteX730" fmla="*/ 6423745 w 12248682"/>
              <a:gd name="connsiteY730" fmla="*/ 483918 h 609800"/>
              <a:gd name="connsiteX731" fmla="*/ 6458393 w 12248682"/>
              <a:gd name="connsiteY731" fmla="*/ 449270 h 609800"/>
              <a:gd name="connsiteX732" fmla="*/ 5340416 w 12248682"/>
              <a:gd name="connsiteY732" fmla="*/ 449270 h 609800"/>
              <a:gd name="connsiteX733" fmla="*/ 5375064 w 12248682"/>
              <a:gd name="connsiteY733" fmla="*/ 483918 h 609800"/>
              <a:gd name="connsiteX734" fmla="*/ 5340416 w 12248682"/>
              <a:gd name="connsiteY734" fmla="*/ 518566 h 609800"/>
              <a:gd name="connsiteX735" fmla="*/ 5305769 w 12248682"/>
              <a:gd name="connsiteY735" fmla="*/ 483918 h 609800"/>
              <a:gd name="connsiteX736" fmla="*/ 5340416 w 12248682"/>
              <a:gd name="connsiteY736" fmla="*/ 449270 h 609800"/>
              <a:gd name="connsiteX737" fmla="*/ 4781429 w 12248682"/>
              <a:gd name="connsiteY737" fmla="*/ 449270 h 609800"/>
              <a:gd name="connsiteX738" fmla="*/ 4816075 w 12248682"/>
              <a:gd name="connsiteY738" fmla="*/ 483918 h 609800"/>
              <a:gd name="connsiteX739" fmla="*/ 4781429 w 12248682"/>
              <a:gd name="connsiteY739" fmla="*/ 518566 h 609800"/>
              <a:gd name="connsiteX740" fmla="*/ 4746781 w 12248682"/>
              <a:gd name="connsiteY740" fmla="*/ 483918 h 609800"/>
              <a:gd name="connsiteX741" fmla="*/ 4781429 w 12248682"/>
              <a:gd name="connsiteY741" fmla="*/ 449270 h 609800"/>
              <a:gd name="connsiteX742" fmla="*/ 4220129 w 12248682"/>
              <a:gd name="connsiteY742" fmla="*/ 449270 h 609800"/>
              <a:gd name="connsiteX743" fmla="*/ 4254779 w 12248682"/>
              <a:gd name="connsiteY743" fmla="*/ 483918 h 609800"/>
              <a:gd name="connsiteX744" fmla="*/ 4220129 w 12248682"/>
              <a:gd name="connsiteY744" fmla="*/ 518566 h 609800"/>
              <a:gd name="connsiteX745" fmla="*/ 4185482 w 12248682"/>
              <a:gd name="connsiteY745" fmla="*/ 483918 h 609800"/>
              <a:gd name="connsiteX746" fmla="*/ 4220129 w 12248682"/>
              <a:gd name="connsiteY746" fmla="*/ 449270 h 609800"/>
              <a:gd name="connsiteX747" fmla="*/ 3661142 w 12248682"/>
              <a:gd name="connsiteY747" fmla="*/ 449270 h 609800"/>
              <a:gd name="connsiteX748" fmla="*/ 3695791 w 12248682"/>
              <a:gd name="connsiteY748" fmla="*/ 483918 h 609800"/>
              <a:gd name="connsiteX749" fmla="*/ 3661142 w 12248682"/>
              <a:gd name="connsiteY749" fmla="*/ 518566 h 609800"/>
              <a:gd name="connsiteX750" fmla="*/ 3626494 w 12248682"/>
              <a:gd name="connsiteY750" fmla="*/ 483918 h 609800"/>
              <a:gd name="connsiteX751" fmla="*/ 3661142 w 12248682"/>
              <a:gd name="connsiteY751" fmla="*/ 449270 h 609800"/>
              <a:gd name="connsiteX752" fmla="*/ 1845585 w 12248682"/>
              <a:gd name="connsiteY752" fmla="*/ 449270 h 609800"/>
              <a:gd name="connsiteX753" fmla="*/ 1880233 w 12248682"/>
              <a:gd name="connsiteY753" fmla="*/ 483918 h 609800"/>
              <a:gd name="connsiteX754" fmla="*/ 1845585 w 12248682"/>
              <a:gd name="connsiteY754" fmla="*/ 518566 h 609800"/>
              <a:gd name="connsiteX755" fmla="*/ 1810937 w 12248682"/>
              <a:gd name="connsiteY755" fmla="*/ 483918 h 609800"/>
              <a:gd name="connsiteX756" fmla="*/ 1845585 w 12248682"/>
              <a:gd name="connsiteY756" fmla="*/ 449270 h 609800"/>
              <a:gd name="connsiteX757" fmla="*/ 727609 w 12248682"/>
              <a:gd name="connsiteY757" fmla="*/ 449270 h 609800"/>
              <a:gd name="connsiteX758" fmla="*/ 762257 w 12248682"/>
              <a:gd name="connsiteY758" fmla="*/ 483918 h 609800"/>
              <a:gd name="connsiteX759" fmla="*/ 727609 w 12248682"/>
              <a:gd name="connsiteY759" fmla="*/ 518566 h 609800"/>
              <a:gd name="connsiteX760" fmla="*/ 692961 w 12248682"/>
              <a:gd name="connsiteY760" fmla="*/ 483918 h 609800"/>
              <a:gd name="connsiteX761" fmla="*/ 727609 w 12248682"/>
              <a:gd name="connsiteY761" fmla="*/ 449270 h 609800"/>
              <a:gd name="connsiteX762" fmla="*/ 168621 w 12248682"/>
              <a:gd name="connsiteY762" fmla="*/ 449270 h 609800"/>
              <a:gd name="connsiteX763" fmla="*/ 203269 w 12248682"/>
              <a:gd name="connsiteY763" fmla="*/ 483918 h 609800"/>
              <a:gd name="connsiteX764" fmla="*/ 168621 w 12248682"/>
              <a:gd name="connsiteY764" fmla="*/ 518566 h 609800"/>
              <a:gd name="connsiteX765" fmla="*/ 133973 w 12248682"/>
              <a:gd name="connsiteY765" fmla="*/ 483918 h 609800"/>
              <a:gd name="connsiteX766" fmla="*/ 168621 w 12248682"/>
              <a:gd name="connsiteY766" fmla="*/ 449270 h 609800"/>
              <a:gd name="connsiteX767" fmla="*/ 10923972 w 12248682"/>
              <a:gd name="connsiteY767" fmla="*/ 443495 h 609800"/>
              <a:gd name="connsiteX768" fmla="*/ 10964394 w 12248682"/>
              <a:gd name="connsiteY768" fmla="*/ 483918 h 609800"/>
              <a:gd name="connsiteX769" fmla="*/ 10923972 w 12248682"/>
              <a:gd name="connsiteY769" fmla="*/ 524340 h 609800"/>
              <a:gd name="connsiteX770" fmla="*/ 10883549 w 12248682"/>
              <a:gd name="connsiteY770" fmla="*/ 483918 h 609800"/>
              <a:gd name="connsiteX771" fmla="*/ 10923972 w 12248682"/>
              <a:gd name="connsiteY771" fmla="*/ 443495 h 609800"/>
              <a:gd name="connsiteX772" fmla="*/ 9805996 w 12248682"/>
              <a:gd name="connsiteY772" fmla="*/ 443495 h 609800"/>
              <a:gd name="connsiteX773" fmla="*/ 9846418 w 12248682"/>
              <a:gd name="connsiteY773" fmla="*/ 483918 h 609800"/>
              <a:gd name="connsiteX774" fmla="*/ 9805996 w 12248682"/>
              <a:gd name="connsiteY774" fmla="*/ 524340 h 609800"/>
              <a:gd name="connsiteX775" fmla="*/ 9765573 w 12248682"/>
              <a:gd name="connsiteY775" fmla="*/ 483918 h 609800"/>
              <a:gd name="connsiteX776" fmla="*/ 9805996 w 12248682"/>
              <a:gd name="connsiteY776" fmla="*/ 443495 h 609800"/>
              <a:gd name="connsiteX777" fmla="*/ 9526502 w 12248682"/>
              <a:gd name="connsiteY777" fmla="*/ 443495 h 609800"/>
              <a:gd name="connsiteX778" fmla="*/ 9566924 w 12248682"/>
              <a:gd name="connsiteY778" fmla="*/ 483918 h 609800"/>
              <a:gd name="connsiteX779" fmla="*/ 9526502 w 12248682"/>
              <a:gd name="connsiteY779" fmla="*/ 524340 h 609800"/>
              <a:gd name="connsiteX780" fmla="*/ 9486079 w 12248682"/>
              <a:gd name="connsiteY780" fmla="*/ 483918 h 609800"/>
              <a:gd name="connsiteX781" fmla="*/ 9526502 w 12248682"/>
              <a:gd name="connsiteY781" fmla="*/ 443495 h 609800"/>
              <a:gd name="connsiteX782" fmla="*/ 8693190 w 12248682"/>
              <a:gd name="connsiteY782" fmla="*/ 443495 h 609800"/>
              <a:gd name="connsiteX783" fmla="*/ 8733613 w 12248682"/>
              <a:gd name="connsiteY783" fmla="*/ 483918 h 609800"/>
              <a:gd name="connsiteX784" fmla="*/ 8693190 w 12248682"/>
              <a:gd name="connsiteY784" fmla="*/ 524340 h 609800"/>
              <a:gd name="connsiteX785" fmla="*/ 8652767 w 12248682"/>
              <a:gd name="connsiteY785" fmla="*/ 483918 h 609800"/>
              <a:gd name="connsiteX786" fmla="*/ 8693190 w 12248682"/>
              <a:gd name="connsiteY786" fmla="*/ 443495 h 609800"/>
              <a:gd name="connsiteX787" fmla="*/ 8413696 w 12248682"/>
              <a:gd name="connsiteY787" fmla="*/ 443495 h 609800"/>
              <a:gd name="connsiteX788" fmla="*/ 8454118 w 12248682"/>
              <a:gd name="connsiteY788" fmla="*/ 483918 h 609800"/>
              <a:gd name="connsiteX789" fmla="*/ 8413696 w 12248682"/>
              <a:gd name="connsiteY789" fmla="*/ 524340 h 609800"/>
              <a:gd name="connsiteX790" fmla="*/ 8373274 w 12248682"/>
              <a:gd name="connsiteY790" fmla="*/ 483918 h 609800"/>
              <a:gd name="connsiteX791" fmla="*/ 8413696 w 12248682"/>
              <a:gd name="connsiteY791" fmla="*/ 443495 h 609800"/>
              <a:gd name="connsiteX792" fmla="*/ 6318647 w 12248682"/>
              <a:gd name="connsiteY792" fmla="*/ 443495 h 609800"/>
              <a:gd name="connsiteX793" fmla="*/ 6359068 w 12248682"/>
              <a:gd name="connsiteY793" fmla="*/ 483918 h 609800"/>
              <a:gd name="connsiteX794" fmla="*/ 6318647 w 12248682"/>
              <a:gd name="connsiteY794" fmla="*/ 524340 h 609800"/>
              <a:gd name="connsiteX795" fmla="*/ 6278223 w 12248682"/>
              <a:gd name="connsiteY795" fmla="*/ 483918 h 609800"/>
              <a:gd name="connsiteX796" fmla="*/ 6318647 w 12248682"/>
              <a:gd name="connsiteY796" fmla="*/ 443495 h 609800"/>
              <a:gd name="connsiteX797" fmla="*/ 5200670 w 12248682"/>
              <a:gd name="connsiteY797" fmla="*/ 443495 h 609800"/>
              <a:gd name="connsiteX798" fmla="*/ 5241093 w 12248682"/>
              <a:gd name="connsiteY798" fmla="*/ 483918 h 609800"/>
              <a:gd name="connsiteX799" fmla="*/ 5200670 w 12248682"/>
              <a:gd name="connsiteY799" fmla="*/ 524340 h 609800"/>
              <a:gd name="connsiteX800" fmla="*/ 5160247 w 12248682"/>
              <a:gd name="connsiteY800" fmla="*/ 483918 h 609800"/>
              <a:gd name="connsiteX801" fmla="*/ 5200670 w 12248682"/>
              <a:gd name="connsiteY801" fmla="*/ 443495 h 609800"/>
              <a:gd name="connsiteX802" fmla="*/ 4921176 w 12248682"/>
              <a:gd name="connsiteY802" fmla="*/ 443495 h 609800"/>
              <a:gd name="connsiteX803" fmla="*/ 4961598 w 12248682"/>
              <a:gd name="connsiteY803" fmla="*/ 483918 h 609800"/>
              <a:gd name="connsiteX804" fmla="*/ 4921176 w 12248682"/>
              <a:gd name="connsiteY804" fmla="*/ 524340 h 609800"/>
              <a:gd name="connsiteX805" fmla="*/ 4880752 w 12248682"/>
              <a:gd name="connsiteY805" fmla="*/ 483918 h 609800"/>
              <a:gd name="connsiteX806" fmla="*/ 4921176 w 12248682"/>
              <a:gd name="connsiteY806" fmla="*/ 443495 h 609800"/>
              <a:gd name="connsiteX807" fmla="*/ 4080383 w 12248682"/>
              <a:gd name="connsiteY807" fmla="*/ 443495 h 609800"/>
              <a:gd name="connsiteX808" fmla="*/ 4120806 w 12248682"/>
              <a:gd name="connsiteY808" fmla="*/ 483918 h 609800"/>
              <a:gd name="connsiteX809" fmla="*/ 4080383 w 12248682"/>
              <a:gd name="connsiteY809" fmla="*/ 524340 h 609800"/>
              <a:gd name="connsiteX810" fmla="*/ 4039961 w 12248682"/>
              <a:gd name="connsiteY810" fmla="*/ 483918 h 609800"/>
              <a:gd name="connsiteX811" fmla="*/ 4080383 w 12248682"/>
              <a:gd name="connsiteY811" fmla="*/ 443495 h 609800"/>
              <a:gd name="connsiteX812" fmla="*/ 3800889 w 12248682"/>
              <a:gd name="connsiteY812" fmla="*/ 443495 h 609800"/>
              <a:gd name="connsiteX813" fmla="*/ 3841311 w 12248682"/>
              <a:gd name="connsiteY813" fmla="*/ 483918 h 609800"/>
              <a:gd name="connsiteX814" fmla="*/ 3800889 w 12248682"/>
              <a:gd name="connsiteY814" fmla="*/ 524340 h 609800"/>
              <a:gd name="connsiteX815" fmla="*/ 3760466 w 12248682"/>
              <a:gd name="connsiteY815" fmla="*/ 483918 h 609800"/>
              <a:gd name="connsiteX816" fmla="*/ 3800889 w 12248682"/>
              <a:gd name="connsiteY816" fmla="*/ 443495 h 609800"/>
              <a:gd name="connsiteX817" fmla="*/ 1705839 w 12248682"/>
              <a:gd name="connsiteY817" fmla="*/ 443495 h 609800"/>
              <a:gd name="connsiteX818" fmla="*/ 1746261 w 12248682"/>
              <a:gd name="connsiteY818" fmla="*/ 483918 h 609800"/>
              <a:gd name="connsiteX819" fmla="*/ 1705839 w 12248682"/>
              <a:gd name="connsiteY819" fmla="*/ 524340 h 609800"/>
              <a:gd name="connsiteX820" fmla="*/ 1665415 w 12248682"/>
              <a:gd name="connsiteY820" fmla="*/ 483918 h 609800"/>
              <a:gd name="connsiteX821" fmla="*/ 1705839 w 12248682"/>
              <a:gd name="connsiteY821" fmla="*/ 443495 h 609800"/>
              <a:gd name="connsiteX822" fmla="*/ 587862 w 12248682"/>
              <a:gd name="connsiteY822" fmla="*/ 443495 h 609800"/>
              <a:gd name="connsiteX823" fmla="*/ 628284 w 12248682"/>
              <a:gd name="connsiteY823" fmla="*/ 483918 h 609800"/>
              <a:gd name="connsiteX824" fmla="*/ 587862 w 12248682"/>
              <a:gd name="connsiteY824" fmla="*/ 524340 h 609800"/>
              <a:gd name="connsiteX825" fmla="*/ 547439 w 12248682"/>
              <a:gd name="connsiteY825" fmla="*/ 483918 h 609800"/>
              <a:gd name="connsiteX826" fmla="*/ 587862 w 12248682"/>
              <a:gd name="connsiteY826" fmla="*/ 443495 h 609800"/>
              <a:gd name="connsiteX827" fmla="*/ 308368 w 12248682"/>
              <a:gd name="connsiteY827" fmla="*/ 443495 h 609800"/>
              <a:gd name="connsiteX828" fmla="*/ 348790 w 12248682"/>
              <a:gd name="connsiteY828" fmla="*/ 483918 h 609800"/>
              <a:gd name="connsiteX829" fmla="*/ 308368 w 12248682"/>
              <a:gd name="connsiteY829" fmla="*/ 524340 h 609800"/>
              <a:gd name="connsiteX830" fmla="*/ 267945 w 12248682"/>
              <a:gd name="connsiteY830" fmla="*/ 483918 h 609800"/>
              <a:gd name="connsiteX831" fmla="*/ 308368 w 12248682"/>
              <a:gd name="connsiteY831" fmla="*/ 443495 h 609800"/>
              <a:gd name="connsiteX832" fmla="*/ 10784225 w 12248682"/>
              <a:gd name="connsiteY832" fmla="*/ 433101 h 609800"/>
              <a:gd name="connsiteX833" fmla="*/ 10835042 w 12248682"/>
              <a:gd name="connsiteY833" fmla="*/ 483918 h 609800"/>
              <a:gd name="connsiteX834" fmla="*/ 10784225 w 12248682"/>
              <a:gd name="connsiteY834" fmla="*/ 534735 h 609800"/>
              <a:gd name="connsiteX835" fmla="*/ 10733408 w 12248682"/>
              <a:gd name="connsiteY835" fmla="*/ 483918 h 609800"/>
              <a:gd name="connsiteX836" fmla="*/ 10784225 w 12248682"/>
              <a:gd name="connsiteY836" fmla="*/ 433101 h 609800"/>
              <a:gd name="connsiteX837" fmla="*/ 9666248 w 12248682"/>
              <a:gd name="connsiteY837" fmla="*/ 433101 h 609800"/>
              <a:gd name="connsiteX838" fmla="*/ 9717066 w 12248682"/>
              <a:gd name="connsiteY838" fmla="*/ 483918 h 609800"/>
              <a:gd name="connsiteX839" fmla="*/ 9666248 w 12248682"/>
              <a:gd name="connsiteY839" fmla="*/ 534735 h 609800"/>
              <a:gd name="connsiteX840" fmla="*/ 9615431 w 12248682"/>
              <a:gd name="connsiteY840" fmla="*/ 483918 h 609800"/>
              <a:gd name="connsiteX841" fmla="*/ 9666248 w 12248682"/>
              <a:gd name="connsiteY841" fmla="*/ 433101 h 609800"/>
              <a:gd name="connsiteX842" fmla="*/ 8553443 w 12248682"/>
              <a:gd name="connsiteY842" fmla="*/ 433101 h 609800"/>
              <a:gd name="connsiteX843" fmla="*/ 8604260 w 12248682"/>
              <a:gd name="connsiteY843" fmla="*/ 483918 h 609800"/>
              <a:gd name="connsiteX844" fmla="*/ 8553443 w 12248682"/>
              <a:gd name="connsiteY844" fmla="*/ 534735 h 609800"/>
              <a:gd name="connsiteX845" fmla="*/ 8502626 w 12248682"/>
              <a:gd name="connsiteY845" fmla="*/ 483918 h 609800"/>
              <a:gd name="connsiteX846" fmla="*/ 8553443 w 12248682"/>
              <a:gd name="connsiteY846" fmla="*/ 433101 h 609800"/>
              <a:gd name="connsiteX847" fmla="*/ 6178898 w 12248682"/>
              <a:gd name="connsiteY847" fmla="*/ 433101 h 609800"/>
              <a:gd name="connsiteX848" fmla="*/ 6229715 w 12248682"/>
              <a:gd name="connsiteY848" fmla="*/ 483918 h 609800"/>
              <a:gd name="connsiteX849" fmla="*/ 6178898 w 12248682"/>
              <a:gd name="connsiteY849" fmla="*/ 534735 h 609800"/>
              <a:gd name="connsiteX850" fmla="*/ 6128081 w 12248682"/>
              <a:gd name="connsiteY850" fmla="*/ 483918 h 609800"/>
              <a:gd name="connsiteX851" fmla="*/ 6178898 w 12248682"/>
              <a:gd name="connsiteY851" fmla="*/ 433101 h 609800"/>
              <a:gd name="connsiteX852" fmla="*/ 5060922 w 12248682"/>
              <a:gd name="connsiteY852" fmla="*/ 433101 h 609800"/>
              <a:gd name="connsiteX853" fmla="*/ 5111740 w 12248682"/>
              <a:gd name="connsiteY853" fmla="*/ 483918 h 609800"/>
              <a:gd name="connsiteX854" fmla="*/ 5060922 w 12248682"/>
              <a:gd name="connsiteY854" fmla="*/ 534735 h 609800"/>
              <a:gd name="connsiteX855" fmla="*/ 5010105 w 12248682"/>
              <a:gd name="connsiteY855" fmla="*/ 483918 h 609800"/>
              <a:gd name="connsiteX856" fmla="*/ 5060922 w 12248682"/>
              <a:gd name="connsiteY856" fmla="*/ 433101 h 609800"/>
              <a:gd name="connsiteX857" fmla="*/ 3940636 w 12248682"/>
              <a:gd name="connsiteY857" fmla="*/ 433101 h 609800"/>
              <a:gd name="connsiteX858" fmla="*/ 3991453 w 12248682"/>
              <a:gd name="connsiteY858" fmla="*/ 483918 h 609800"/>
              <a:gd name="connsiteX859" fmla="*/ 3940636 w 12248682"/>
              <a:gd name="connsiteY859" fmla="*/ 534735 h 609800"/>
              <a:gd name="connsiteX860" fmla="*/ 3889819 w 12248682"/>
              <a:gd name="connsiteY860" fmla="*/ 483918 h 609800"/>
              <a:gd name="connsiteX861" fmla="*/ 3940636 w 12248682"/>
              <a:gd name="connsiteY861" fmla="*/ 433101 h 609800"/>
              <a:gd name="connsiteX862" fmla="*/ 1566091 w 12248682"/>
              <a:gd name="connsiteY862" fmla="*/ 433101 h 609800"/>
              <a:gd name="connsiteX863" fmla="*/ 1616908 w 12248682"/>
              <a:gd name="connsiteY863" fmla="*/ 483918 h 609800"/>
              <a:gd name="connsiteX864" fmla="*/ 1566091 w 12248682"/>
              <a:gd name="connsiteY864" fmla="*/ 534735 h 609800"/>
              <a:gd name="connsiteX865" fmla="*/ 1515274 w 12248682"/>
              <a:gd name="connsiteY865" fmla="*/ 483918 h 609800"/>
              <a:gd name="connsiteX866" fmla="*/ 1566091 w 12248682"/>
              <a:gd name="connsiteY866" fmla="*/ 433101 h 609800"/>
              <a:gd name="connsiteX867" fmla="*/ 448115 w 12248682"/>
              <a:gd name="connsiteY867" fmla="*/ 433101 h 609800"/>
              <a:gd name="connsiteX868" fmla="*/ 498932 w 12248682"/>
              <a:gd name="connsiteY868" fmla="*/ 483918 h 609800"/>
              <a:gd name="connsiteX869" fmla="*/ 448115 w 12248682"/>
              <a:gd name="connsiteY869" fmla="*/ 534735 h 609800"/>
              <a:gd name="connsiteX870" fmla="*/ 397298 w 12248682"/>
              <a:gd name="connsiteY870" fmla="*/ 483918 h 609800"/>
              <a:gd name="connsiteX871" fmla="*/ 448115 w 12248682"/>
              <a:gd name="connsiteY871" fmla="*/ 433101 h 609800"/>
              <a:gd name="connsiteX872" fmla="*/ 12210569 w 12248682"/>
              <a:gd name="connsiteY872" fmla="*/ 319917 h 609800"/>
              <a:gd name="connsiteX873" fmla="*/ 12231358 w 12248682"/>
              <a:gd name="connsiteY873" fmla="*/ 340706 h 609800"/>
              <a:gd name="connsiteX874" fmla="*/ 12210569 w 12248682"/>
              <a:gd name="connsiteY874" fmla="*/ 361495 h 609800"/>
              <a:gd name="connsiteX875" fmla="*/ 12189780 w 12248682"/>
              <a:gd name="connsiteY875" fmla="*/ 340706 h 609800"/>
              <a:gd name="connsiteX876" fmla="*/ 12210569 w 12248682"/>
              <a:gd name="connsiteY876" fmla="*/ 319917 h 609800"/>
              <a:gd name="connsiteX877" fmla="*/ 12071977 w 12248682"/>
              <a:gd name="connsiteY877" fmla="*/ 319917 h 609800"/>
              <a:gd name="connsiteX878" fmla="*/ 12092766 w 12248682"/>
              <a:gd name="connsiteY878" fmla="*/ 340706 h 609800"/>
              <a:gd name="connsiteX879" fmla="*/ 12071977 w 12248682"/>
              <a:gd name="connsiteY879" fmla="*/ 361495 h 609800"/>
              <a:gd name="connsiteX880" fmla="*/ 12051188 w 12248682"/>
              <a:gd name="connsiteY880" fmla="*/ 340706 h 609800"/>
              <a:gd name="connsiteX881" fmla="*/ 12071977 w 12248682"/>
              <a:gd name="connsiteY881" fmla="*/ 319917 h 609800"/>
              <a:gd name="connsiteX882" fmla="*/ 11934539 w 12248682"/>
              <a:gd name="connsiteY882" fmla="*/ 319917 h 609800"/>
              <a:gd name="connsiteX883" fmla="*/ 11955328 w 12248682"/>
              <a:gd name="connsiteY883" fmla="*/ 340706 h 609800"/>
              <a:gd name="connsiteX884" fmla="*/ 11934539 w 12248682"/>
              <a:gd name="connsiteY884" fmla="*/ 361495 h 609800"/>
              <a:gd name="connsiteX885" fmla="*/ 11913750 w 12248682"/>
              <a:gd name="connsiteY885" fmla="*/ 340706 h 609800"/>
              <a:gd name="connsiteX886" fmla="*/ 11934539 w 12248682"/>
              <a:gd name="connsiteY886" fmla="*/ 319917 h 609800"/>
              <a:gd name="connsiteX887" fmla="*/ 11797103 w 12248682"/>
              <a:gd name="connsiteY887" fmla="*/ 319917 h 609800"/>
              <a:gd name="connsiteX888" fmla="*/ 11817892 w 12248682"/>
              <a:gd name="connsiteY888" fmla="*/ 340706 h 609800"/>
              <a:gd name="connsiteX889" fmla="*/ 11797103 w 12248682"/>
              <a:gd name="connsiteY889" fmla="*/ 361495 h 609800"/>
              <a:gd name="connsiteX890" fmla="*/ 11776314 w 12248682"/>
              <a:gd name="connsiteY890" fmla="*/ 340706 h 609800"/>
              <a:gd name="connsiteX891" fmla="*/ 11797103 w 12248682"/>
              <a:gd name="connsiteY891" fmla="*/ 319917 h 609800"/>
              <a:gd name="connsiteX892" fmla="*/ 10645633 w 12248682"/>
              <a:gd name="connsiteY892" fmla="*/ 319917 h 609800"/>
              <a:gd name="connsiteX893" fmla="*/ 10666422 w 12248682"/>
              <a:gd name="connsiteY893" fmla="*/ 340706 h 609800"/>
              <a:gd name="connsiteX894" fmla="*/ 10645633 w 12248682"/>
              <a:gd name="connsiteY894" fmla="*/ 361495 h 609800"/>
              <a:gd name="connsiteX895" fmla="*/ 10624844 w 12248682"/>
              <a:gd name="connsiteY895" fmla="*/ 340706 h 609800"/>
              <a:gd name="connsiteX896" fmla="*/ 10645633 w 12248682"/>
              <a:gd name="connsiteY896" fmla="*/ 319917 h 609800"/>
              <a:gd name="connsiteX897" fmla="*/ 9247008 w 12248682"/>
              <a:gd name="connsiteY897" fmla="*/ 319917 h 609800"/>
              <a:gd name="connsiteX898" fmla="*/ 9267797 w 12248682"/>
              <a:gd name="connsiteY898" fmla="*/ 340706 h 609800"/>
              <a:gd name="connsiteX899" fmla="*/ 9247008 w 12248682"/>
              <a:gd name="connsiteY899" fmla="*/ 361495 h 609800"/>
              <a:gd name="connsiteX900" fmla="*/ 9226219 w 12248682"/>
              <a:gd name="connsiteY900" fmla="*/ 340706 h 609800"/>
              <a:gd name="connsiteX901" fmla="*/ 9247008 w 12248682"/>
              <a:gd name="connsiteY901" fmla="*/ 319917 h 609800"/>
              <a:gd name="connsiteX902" fmla="*/ 8148062 w 12248682"/>
              <a:gd name="connsiteY902" fmla="*/ 319917 h 609800"/>
              <a:gd name="connsiteX903" fmla="*/ 8168851 w 12248682"/>
              <a:gd name="connsiteY903" fmla="*/ 340706 h 609800"/>
              <a:gd name="connsiteX904" fmla="*/ 8148062 w 12248682"/>
              <a:gd name="connsiteY904" fmla="*/ 361495 h 609800"/>
              <a:gd name="connsiteX905" fmla="*/ 8127274 w 12248682"/>
              <a:gd name="connsiteY905" fmla="*/ 340706 h 609800"/>
              <a:gd name="connsiteX906" fmla="*/ 8148062 w 12248682"/>
              <a:gd name="connsiteY906" fmla="*/ 319917 h 609800"/>
              <a:gd name="connsiteX907" fmla="*/ 8009471 w 12248682"/>
              <a:gd name="connsiteY907" fmla="*/ 319917 h 609800"/>
              <a:gd name="connsiteX908" fmla="*/ 8030259 w 12248682"/>
              <a:gd name="connsiteY908" fmla="*/ 340706 h 609800"/>
              <a:gd name="connsiteX909" fmla="*/ 8009471 w 12248682"/>
              <a:gd name="connsiteY909" fmla="*/ 361495 h 609800"/>
              <a:gd name="connsiteX910" fmla="*/ 7988682 w 12248682"/>
              <a:gd name="connsiteY910" fmla="*/ 340706 h 609800"/>
              <a:gd name="connsiteX911" fmla="*/ 8009471 w 12248682"/>
              <a:gd name="connsiteY911" fmla="*/ 319917 h 609800"/>
              <a:gd name="connsiteX912" fmla="*/ 7872031 w 12248682"/>
              <a:gd name="connsiteY912" fmla="*/ 319917 h 609800"/>
              <a:gd name="connsiteX913" fmla="*/ 7892822 w 12248682"/>
              <a:gd name="connsiteY913" fmla="*/ 340706 h 609800"/>
              <a:gd name="connsiteX914" fmla="*/ 7872031 w 12248682"/>
              <a:gd name="connsiteY914" fmla="*/ 361495 h 609800"/>
              <a:gd name="connsiteX915" fmla="*/ 7851244 w 12248682"/>
              <a:gd name="connsiteY915" fmla="*/ 340706 h 609800"/>
              <a:gd name="connsiteX916" fmla="*/ 7872031 w 12248682"/>
              <a:gd name="connsiteY916" fmla="*/ 319917 h 609800"/>
              <a:gd name="connsiteX917" fmla="*/ 7713807 w 12248682"/>
              <a:gd name="connsiteY917" fmla="*/ 319917 h 609800"/>
              <a:gd name="connsiteX918" fmla="*/ 7734596 w 12248682"/>
              <a:gd name="connsiteY918" fmla="*/ 340706 h 609800"/>
              <a:gd name="connsiteX919" fmla="*/ 7713807 w 12248682"/>
              <a:gd name="connsiteY919" fmla="*/ 361495 h 609800"/>
              <a:gd name="connsiteX920" fmla="*/ 7693019 w 12248682"/>
              <a:gd name="connsiteY920" fmla="*/ 340706 h 609800"/>
              <a:gd name="connsiteX921" fmla="*/ 7713807 w 12248682"/>
              <a:gd name="connsiteY921" fmla="*/ 319917 h 609800"/>
              <a:gd name="connsiteX922" fmla="*/ 7605244 w 12248682"/>
              <a:gd name="connsiteY922" fmla="*/ 319917 h 609800"/>
              <a:gd name="connsiteX923" fmla="*/ 7626031 w 12248682"/>
              <a:gd name="connsiteY923" fmla="*/ 340706 h 609800"/>
              <a:gd name="connsiteX924" fmla="*/ 7605244 w 12248682"/>
              <a:gd name="connsiteY924" fmla="*/ 361495 h 609800"/>
              <a:gd name="connsiteX925" fmla="*/ 7584454 w 12248682"/>
              <a:gd name="connsiteY925" fmla="*/ 340706 h 609800"/>
              <a:gd name="connsiteX926" fmla="*/ 7605244 w 12248682"/>
              <a:gd name="connsiteY926" fmla="*/ 319917 h 609800"/>
              <a:gd name="connsiteX927" fmla="*/ 7466651 w 12248682"/>
              <a:gd name="connsiteY927" fmla="*/ 319917 h 609800"/>
              <a:gd name="connsiteX928" fmla="*/ 7487439 w 12248682"/>
              <a:gd name="connsiteY928" fmla="*/ 340706 h 609800"/>
              <a:gd name="connsiteX929" fmla="*/ 7466651 w 12248682"/>
              <a:gd name="connsiteY929" fmla="*/ 361495 h 609800"/>
              <a:gd name="connsiteX930" fmla="*/ 7445863 w 12248682"/>
              <a:gd name="connsiteY930" fmla="*/ 340706 h 609800"/>
              <a:gd name="connsiteX931" fmla="*/ 7466651 w 12248682"/>
              <a:gd name="connsiteY931" fmla="*/ 319917 h 609800"/>
              <a:gd name="connsiteX932" fmla="*/ 7329213 w 12248682"/>
              <a:gd name="connsiteY932" fmla="*/ 319917 h 609800"/>
              <a:gd name="connsiteX933" fmla="*/ 7350002 w 12248682"/>
              <a:gd name="connsiteY933" fmla="*/ 340706 h 609800"/>
              <a:gd name="connsiteX934" fmla="*/ 7329213 w 12248682"/>
              <a:gd name="connsiteY934" fmla="*/ 361495 h 609800"/>
              <a:gd name="connsiteX935" fmla="*/ 7308425 w 12248682"/>
              <a:gd name="connsiteY935" fmla="*/ 340706 h 609800"/>
              <a:gd name="connsiteX936" fmla="*/ 7329213 w 12248682"/>
              <a:gd name="connsiteY936" fmla="*/ 319917 h 609800"/>
              <a:gd name="connsiteX937" fmla="*/ 7191777 w 12248682"/>
              <a:gd name="connsiteY937" fmla="*/ 319917 h 609800"/>
              <a:gd name="connsiteX938" fmla="*/ 7212566 w 12248682"/>
              <a:gd name="connsiteY938" fmla="*/ 340706 h 609800"/>
              <a:gd name="connsiteX939" fmla="*/ 7191777 w 12248682"/>
              <a:gd name="connsiteY939" fmla="*/ 361495 h 609800"/>
              <a:gd name="connsiteX940" fmla="*/ 7170987 w 12248682"/>
              <a:gd name="connsiteY940" fmla="*/ 340706 h 609800"/>
              <a:gd name="connsiteX941" fmla="*/ 7191777 w 12248682"/>
              <a:gd name="connsiteY941" fmla="*/ 319917 h 609800"/>
              <a:gd name="connsiteX942" fmla="*/ 6040307 w 12248682"/>
              <a:gd name="connsiteY942" fmla="*/ 319917 h 609800"/>
              <a:gd name="connsiteX943" fmla="*/ 6061095 w 12248682"/>
              <a:gd name="connsiteY943" fmla="*/ 340706 h 609800"/>
              <a:gd name="connsiteX944" fmla="*/ 6040307 w 12248682"/>
              <a:gd name="connsiteY944" fmla="*/ 361495 h 609800"/>
              <a:gd name="connsiteX945" fmla="*/ 6019518 w 12248682"/>
              <a:gd name="connsiteY945" fmla="*/ 340706 h 609800"/>
              <a:gd name="connsiteX946" fmla="*/ 6040307 w 12248682"/>
              <a:gd name="connsiteY946" fmla="*/ 319917 h 609800"/>
              <a:gd name="connsiteX947" fmla="*/ 4641682 w 12248682"/>
              <a:gd name="connsiteY947" fmla="*/ 319917 h 609800"/>
              <a:gd name="connsiteX948" fmla="*/ 4662472 w 12248682"/>
              <a:gd name="connsiteY948" fmla="*/ 340706 h 609800"/>
              <a:gd name="connsiteX949" fmla="*/ 4641682 w 12248682"/>
              <a:gd name="connsiteY949" fmla="*/ 361495 h 609800"/>
              <a:gd name="connsiteX950" fmla="*/ 4620893 w 12248682"/>
              <a:gd name="connsiteY950" fmla="*/ 340706 h 609800"/>
              <a:gd name="connsiteX951" fmla="*/ 4641682 w 12248682"/>
              <a:gd name="connsiteY951" fmla="*/ 319917 h 609800"/>
              <a:gd name="connsiteX952" fmla="*/ 3535254 w 12248682"/>
              <a:gd name="connsiteY952" fmla="*/ 319917 h 609800"/>
              <a:gd name="connsiteX953" fmla="*/ 3556043 w 12248682"/>
              <a:gd name="connsiteY953" fmla="*/ 340706 h 609800"/>
              <a:gd name="connsiteX954" fmla="*/ 3535254 w 12248682"/>
              <a:gd name="connsiteY954" fmla="*/ 361495 h 609800"/>
              <a:gd name="connsiteX955" fmla="*/ 3514466 w 12248682"/>
              <a:gd name="connsiteY955" fmla="*/ 340706 h 609800"/>
              <a:gd name="connsiteX956" fmla="*/ 3535254 w 12248682"/>
              <a:gd name="connsiteY956" fmla="*/ 319917 h 609800"/>
              <a:gd name="connsiteX957" fmla="*/ 3396662 w 12248682"/>
              <a:gd name="connsiteY957" fmla="*/ 319917 h 609800"/>
              <a:gd name="connsiteX958" fmla="*/ 3417451 w 12248682"/>
              <a:gd name="connsiteY958" fmla="*/ 340706 h 609800"/>
              <a:gd name="connsiteX959" fmla="*/ 3396662 w 12248682"/>
              <a:gd name="connsiteY959" fmla="*/ 361495 h 609800"/>
              <a:gd name="connsiteX960" fmla="*/ 3375874 w 12248682"/>
              <a:gd name="connsiteY960" fmla="*/ 340706 h 609800"/>
              <a:gd name="connsiteX961" fmla="*/ 3396662 w 12248682"/>
              <a:gd name="connsiteY961" fmla="*/ 319917 h 609800"/>
              <a:gd name="connsiteX962" fmla="*/ 3259224 w 12248682"/>
              <a:gd name="connsiteY962" fmla="*/ 319917 h 609800"/>
              <a:gd name="connsiteX963" fmla="*/ 3280013 w 12248682"/>
              <a:gd name="connsiteY963" fmla="*/ 340706 h 609800"/>
              <a:gd name="connsiteX964" fmla="*/ 3259224 w 12248682"/>
              <a:gd name="connsiteY964" fmla="*/ 361495 h 609800"/>
              <a:gd name="connsiteX965" fmla="*/ 3238436 w 12248682"/>
              <a:gd name="connsiteY965" fmla="*/ 340706 h 609800"/>
              <a:gd name="connsiteX966" fmla="*/ 3259224 w 12248682"/>
              <a:gd name="connsiteY966" fmla="*/ 319917 h 609800"/>
              <a:gd name="connsiteX967" fmla="*/ 3100999 w 12248682"/>
              <a:gd name="connsiteY967" fmla="*/ 319917 h 609800"/>
              <a:gd name="connsiteX968" fmla="*/ 3121789 w 12248682"/>
              <a:gd name="connsiteY968" fmla="*/ 340706 h 609800"/>
              <a:gd name="connsiteX969" fmla="*/ 3100999 w 12248682"/>
              <a:gd name="connsiteY969" fmla="*/ 361495 h 609800"/>
              <a:gd name="connsiteX970" fmla="*/ 3080212 w 12248682"/>
              <a:gd name="connsiteY970" fmla="*/ 340706 h 609800"/>
              <a:gd name="connsiteX971" fmla="*/ 3100999 w 12248682"/>
              <a:gd name="connsiteY971" fmla="*/ 319917 h 609800"/>
              <a:gd name="connsiteX972" fmla="*/ 2992435 w 12248682"/>
              <a:gd name="connsiteY972" fmla="*/ 319917 h 609800"/>
              <a:gd name="connsiteX973" fmla="*/ 3013224 w 12248682"/>
              <a:gd name="connsiteY973" fmla="*/ 340706 h 609800"/>
              <a:gd name="connsiteX974" fmla="*/ 2992435 w 12248682"/>
              <a:gd name="connsiteY974" fmla="*/ 361495 h 609800"/>
              <a:gd name="connsiteX975" fmla="*/ 2971647 w 12248682"/>
              <a:gd name="connsiteY975" fmla="*/ 340706 h 609800"/>
              <a:gd name="connsiteX976" fmla="*/ 2992435 w 12248682"/>
              <a:gd name="connsiteY976" fmla="*/ 319917 h 609800"/>
              <a:gd name="connsiteX977" fmla="*/ 2853843 w 12248682"/>
              <a:gd name="connsiteY977" fmla="*/ 319917 h 609800"/>
              <a:gd name="connsiteX978" fmla="*/ 2874633 w 12248682"/>
              <a:gd name="connsiteY978" fmla="*/ 340706 h 609800"/>
              <a:gd name="connsiteX979" fmla="*/ 2853843 w 12248682"/>
              <a:gd name="connsiteY979" fmla="*/ 361495 h 609800"/>
              <a:gd name="connsiteX980" fmla="*/ 2833056 w 12248682"/>
              <a:gd name="connsiteY980" fmla="*/ 340706 h 609800"/>
              <a:gd name="connsiteX981" fmla="*/ 2853843 w 12248682"/>
              <a:gd name="connsiteY981" fmla="*/ 319917 h 609800"/>
              <a:gd name="connsiteX982" fmla="*/ 2716405 w 12248682"/>
              <a:gd name="connsiteY982" fmla="*/ 319917 h 609800"/>
              <a:gd name="connsiteX983" fmla="*/ 2737195 w 12248682"/>
              <a:gd name="connsiteY983" fmla="*/ 340706 h 609800"/>
              <a:gd name="connsiteX984" fmla="*/ 2716405 w 12248682"/>
              <a:gd name="connsiteY984" fmla="*/ 361495 h 609800"/>
              <a:gd name="connsiteX985" fmla="*/ 2695618 w 12248682"/>
              <a:gd name="connsiteY985" fmla="*/ 340706 h 609800"/>
              <a:gd name="connsiteX986" fmla="*/ 2716405 w 12248682"/>
              <a:gd name="connsiteY986" fmla="*/ 319917 h 609800"/>
              <a:gd name="connsiteX987" fmla="*/ 2578969 w 12248682"/>
              <a:gd name="connsiteY987" fmla="*/ 319917 h 609800"/>
              <a:gd name="connsiteX988" fmla="*/ 2599758 w 12248682"/>
              <a:gd name="connsiteY988" fmla="*/ 340706 h 609800"/>
              <a:gd name="connsiteX989" fmla="*/ 2578969 w 12248682"/>
              <a:gd name="connsiteY989" fmla="*/ 361495 h 609800"/>
              <a:gd name="connsiteX990" fmla="*/ 2558180 w 12248682"/>
              <a:gd name="connsiteY990" fmla="*/ 340706 h 609800"/>
              <a:gd name="connsiteX991" fmla="*/ 2578969 w 12248682"/>
              <a:gd name="connsiteY991" fmla="*/ 319917 h 609800"/>
              <a:gd name="connsiteX992" fmla="*/ 1427499 w 12248682"/>
              <a:gd name="connsiteY992" fmla="*/ 319917 h 609800"/>
              <a:gd name="connsiteX993" fmla="*/ 1448288 w 12248682"/>
              <a:gd name="connsiteY993" fmla="*/ 340706 h 609800"/>
              <a:gd name="connsiteX994" fmla="*/ 1427499 w 12248682"/>
              <a:gd name="connsiteY994" fmla="*/ 361495 h 609800"/>
              <a:gd name="connsiteX995" fmla="*/ 1406710 w 12248682"/>
              <a:gd name="connsiteY995" fmla="*/ 340706 h 609800"/>
              <a:gd name="connsiteX996" fmla="*/ 1427499 w 12248682"/>
              <a:gd name="connsiteY996" fmla="*/ 319917 h 609800"/>
              <a:gd name="connsiteX997" fmla="*/ 28874 w 12248682"/>
              <a:gd name="connsiteY997" fmla="*/ 319917 h 609800"/>
              <a:gd name="connsiteX998" fmla="*/ 49663 w 12248682"/>
              <a:gd name="connsiteY998" fmla="*/ 340706 h 609800"/>
              <a:gd name="connsiteX999" fmla="*/ 28874 w 12248682"/>
              <a:gd name="connsiteY999" fmla="*/ 361495 h 609800"/>
              <a:gd name="connsiteX1000" fmla="*/ 8085 w 12248682"/>
              <a:gd name="connsiteY1000" fmla="*/ 340706 h 609800"/>
              <a:gd name="connsiteX1001" fmla="*/ 28874 w 12248682"/>
              <a:gd name="connsiteY1001" fmla="*/ 319917 h 609800"/>
              <a:gd name="connsiteX1002" fmla="*/ 11658510 w 12248682"/>
              <a:gd name="connsiteY1002" fmla="*/ 316452 h 609800"/>
              <a:gd name="connsiteX1003" fmla="*/ 11681609 w 12248682"/>
              <a:gd name="connsiteY1003" fmla="*/ 339551 h 609800"/>
              <a:gd name="connsiteX1004" fmla="*/ 11658510 w 12248682"/>
              <a:gd name="connsiteY1004" fmla="*/ 362649 h 609800"/>
              <a:gd name="connsiteX1005" fmla="*/ 11635412 w 12248682"/>
              <a:gd name="connsiteY1005" fmla="*/ 339551 h 609800"/>
              <a:gd name="connsiteX1006" fmla="*/ 11658510 w 12248682"/>
              <a:gd name="connsiteY1006" fmla="*/ 316452 h 609800"/>
              <a:gd name="connsiteX1007" fmla="*/ 10508196 w 12248682"/>
              <a:gd name="connsiteY1007" fmla="*/ 316452 h 609800"/>
              <a:gd name="connsiteX1008" fmla="*/ 10531295 w 12248682"/>
              <a:gd name="connsiteY1008" fmla="*/ 339551 h 609800"/>
              <a:gd name="connsiteX1009" fmla="*/ 10508196 w 12248682"/>
              <a:gd name="connsiteY1009" fmla="*/ 362649 h 609800"/>
              <a:gd name="connsiteX1010" fmla="*/ 10485098 w 12248682"/>
              <a:gd name="connsiteY1010" fmla="*/ 339551 h 609800"/>
              <a:gd name="connsiteX1011" fmla="*/ 10508196 w 12248682"/>
              <a:gd name="connsiteY1011" fmla="*/ 316452 h 609800"/>
              <a:gd name="connsiteX1012" fmla="*/ 9405233 w 12248682"/>
              <a:gd name="connsiteY1012" fmla="*/ 316452 h 609800"/>
              <a:gd name="connsiteX1013" fmla="*/ 9428332 w 12248682"/>
              <a:gd name="connsiteY1013" fmla="*/ 339551 h 609800"/>
              <a:gd name="connsiteX1014" fmla="*/ 9405233 w 12248682"/>
              <a:gd name="connsiteY1014" fmla="*/ 362649 h 609800"/>
              <a:gd name="connsiteX1015" fmla="*/ 9382135 w 12248682"/>
              <a:gd name="connsiteY1015" fmla="*/ 339551 h 609800"/>
              <a:gd name="connsiteX1016" fmla="*/ 9405233 w 12248682"/>
              <a:gd name="connsiteY1016" fmla="*/ 316452 h 609800"/>
              <a:gd name="connsiteX1017" fmla="*/ 8285498 w 12248682"/>
              <a:gd name="connsiteY1017" fmla="*/ 316452 h 609800"/>
              <a:gd name="connsiteX1018" fmla="*/ 8308598 w 12248682"/>
              <a:gd name="connsiteY1018" fmla="*/ 339551 h 609800"/>
              <a:gd name="connsiteX1019" fmla="*/ 8285498 w 12248682"/>
              <a:gd name="connsiteY1019" fmla="*/ 362649 h 609800"/>
              <a:gd name="connsiteX1020" fmla="*/ 8262401 w 12248682"/>
              <a:gd name="connsiteY1020" fmla="*/ 339551 h 609800"/>
              <a:gd name="connsiteX1021" fmla="*/ 8285498 w 12248682"/>
              <a:gd name="connsiteY1021" fmla="*/ 316452 h 609800"/>
              <a:gd name="connsiteX1022" fmla="*/ 7053184 w 12248682"/>
              <a:gd name="connsiteY1022" fmla="*/ 316452 h 609800"/>
              <a:gd name="connsiteX1023" fmla="*/ 7076283 w 12248682"/>
              <a:gd name="connsiteY1023" fmla="*/ 339551 h 609800"/>
              <a:gd name="connsiteX1024" fmla="*/ 7053184 w 12248682"/>
              <a:gd name="connsiteY1024" fmla="*/ 362649 h 609800"/>
              <a:gd name="connsiteX1025" fmla="*/ 7030086 w 12248682"/>
              <a:gd name="connsiteY1025" fmla="*/ 339551 h 609800"/>
              <a:gd name="connsiteX1026" fmla="*/ 7053184 w 12248682"/>
              <a:gd name="connsiteY1026" fmla="*/ 316452 h 609800"/>
              <a:gd name="connsiteX1027" fmla="*/ 5902869 w 12248682"/>
              <a:gd name="connsiteY1027" fmla="*/ 316452 h 609800"/>
              <a:gd name="connsiteX1028" fmla="*/ 5925969 w 12248682"/>
              <a:gd name="connsiteY1028" fmla="*/ 339551 h 609800"/>
              <a:gd name="connsiteX1029" fmla="*/ 5902869 w 12248682"/>
              <a:gd name="connsiteY1029" fmla="*/ 362649 h 609800"/>
              <a:gd name="connsiteX1030" fmla="*/ 5879771 w 12248682"/>
              <a:gd name="connsiteY1030" fmla="*/ 339551 h 609800"/>
              <a:gd name="connsiteX1031" fmla="*/ 5902869 w 12248682"/>
              <a:gd name="connsiteY1031" fmla="*/ 316452 h 609800"/>
              <a:gd name="connsiteX1032" fmla="*/ 4799906 w 12248682"/>
              <a:gd name="connsiteY1032" fmla="*/ 316452 h 609800"/>
              <a:gd name="connsiteX1033" fmla="*/ 4823006 w 12248682"/>
              <a:gd name="connsiteY1033" fmla="*/ 339551 h 609800"/>
              <a:gd name="connsiteX1034" fmla="*/ 4799906 w 12248682"/>
              <a:gd name="connsiteY1034" fmla="*/ 362649 h 609800"/>
              <a:gd name="connsiteX1035" fmla="*/ 4776809 w 12248682"/>
              <a:gd name="connsiteY1035" fmla="*/ 339551 h 609800"/>
              <a:gd name="connsiteX1036" fmla="*/ 4799906 w 12248682"/>
              <a:gd name="connsiteY1036" fmla="*/ 316452 h 609800"/>
              <a:gd name="connsiteX1037" fmla="*/ 3672691 w 12248682"/>
              <a:gd name="connsiteY1037" fmla="*/ 316452 h 609800"/>
              <a:gd name="connsiteX1038" fmla="*/ 3695791 w 12248682"/>
              <a:gd name="connsiteY1038" fmla="*/ 339551 h 609800"/>
              <a:gd name="connsiteX1039" fmla="*/ 3672691 w 12248682"/>
              <a:gd name="connsiteY1039" fmla="*/ 362649 h 609800"/>
              <a:gd name="connsiteX1040" fmla="*/ 3649592 w 12248682"/>
              <a:gd name="connsiteY1040" fmla="*/ 339551 h 609800"/>
              <a:gd name="connsiteX1041" fmla="*/ 3672691 w 12248682"/>
              <a:gd name="connsiteY1041" fmla="*/ 316452 h 609800"/>
              <a:gd name="connsiteX1042" fmla="*/ 2440377 w 12248682"/>
              <a:gd name="connsiteY1042" fmla="*/ 316452 h 609800"/>
              <a:gd name="connsiteX1043" fmla="*/ 2463475 w 12248682"/>
              <a:gd name="connsiteY1043" fmla="*/ 339551 h 609800"/>
              <a:gd name="connsiteX1044" fmla="*/ 2440377 w 12248682"/>
              <a:gd name="connsiteY1044" fmla="*/ 362649 h 609800"/>
              <a:gd name="connsiteX1045" fmla="*/ 2417278 w 12248682"/>
              <a:gd name="connsiteY1045" fmla="*/ 339551 h 609800"/>
              <a:gd name="connsiteX1046" fmla="*/ 2440377 w 12248682"/>
              <a:gd name="connsiteY1046" fmla="*/ 316452 h 609800"/>
              <a:gd name="connsiteX1047" fmla="*/ 1290062 w 12248682"/>
              <a:gd name="connsiteY1047" fmla="*/ 316452 h 609800"/>
              <a:gd name="connsiteX1048" fmla="*/ 1313161 w 12248682"/>
              <a:gd name="connsiteY1048" fmla="*/ 339551 h 609800"/>
              <a:gd name="connsiteX1049" fmla="*/ 1290062 w 12248682"/>
              <a:gd name="connsiteY1049" fmla="*/ 362649 h 609800"/>
              <a:gd name="connsiteX1050" fmla="*/ 1266964 w 12248682"/>
              <a:gd name="connsiteY1050" fmla="*/ 339551 h 609800"/>
              <a:gd name="connsiteX1051" fmla="*/ 1290062 w 12248682"/>
              <a:gd name="connsiteY1051" fmla="*/ 316452 h 609800"/>
              <a:gd name="connsiteX1052" fmla="*/ 187100 w 12248682"/>
              <a:gd name="connsiteY1052" fmla="*/ 316452 h 609800"/>
              <a:gd name="connsiteX1053" fmla="*/ 210198 w 12248682"/>
              <a:gd name="connsiteY1053" fmla="*/ 339551 h 609800"/>
              <a:gd name="connsiteX1054" fmla="*/ 187100 w 12248682"/>
              <a:gd name="connsiteY1054" fmla="*/ 362649 h 609800"/>
              <a:gd name="connsiteX1055" fmla="*/ 164001 w 12248682"/>
              <a:gd name="connsiteY1055" fmla="*/ 339551 h 609800"/>
              <a:gd name="connsiteX1056" fmla="*/ 187100 w 12248682"/>
              <a:gd name="connsiteY1056" fmla="*/ 316452 h 609800"/>
              <a:gd name="connsiteX1057" fmla="*/ 11521073 w 12248682"/>
              <a:gd name="connsiteY1057" fmla="*/ 310678 h 609800"/>
              <a:gd name="connsiteX1058" fmla="*/ 11549947 w 12248682"/>
              <a:gd name="connsiteY1058" fmla="*/ 339551 h 609800"/>
              <a:gd name="connsiteX1059" fmla="*/ 11521073 w 12248682"/>
              <a:gd name="connsiteY1059" fmla="*/ 368425 h 609800"/>
              <a:gd name="connsiteX1060" fmla="*/ 11492200 w 12248682"/>
              <a:gd name="connsiteY1060" fmla="*/ 339551 h 609800"/>
              <a:gd name="connsiteX1061" fmla="*/ 11521073 w 12248682"/>
              <a:gd name="connsiteY1061" fmla="*/ 310678 h 609800"/>
              <a:gd name="connsiteX1062" fmla="*/ 10369604 w 12248682"/>
              <a:gd name="connsiteY1062" fmla="*/ 310678 h 609800"/>
              <a:gd name="connsiteX1063" fmla="*/ 10398477 w 12248682"/>
              <a:gd name="connsiteY1063" fmla="*/ 339551 h 609800"/>
              <a:gd name="connsiteX1064" fmla="*/ 10369604 w 12248682"/>
              <a:gd name="connsiteY1064" fmla="*/ 368425 h 609800"/>
              <a:gd name="connsiteX1065" fmla="*/ 10340730 w 12248682"/>
              <a:gd name="connsiteY1065" fmla="*/ 339551 h 609800"/>
              <a:gd name="connsiteX1066" fmla="*/ 10369604 w 12248682"/>
              <a:gd name="connsiteY1066" fmla="*/ 310678 h 609800"/>
              <a:gd name="connsiteX1067" fmla="*/ 9543825 w 12248682"/>
              <a:gd name="connsiteY1067" fmla="*/ 310678 h 609800"/>
              <a:gd name="connsiteX1068" fmla="*/ 9572699 w 12248682"/>
              <a:gd name="connsiteY1068" fmla="*/ 339551 h 609800"/>
              <a:gd name="connsiteX1069" fmla="*/ 9543825 w 12248682"/>
              <a:gd name="connsiteY1069" fmla="*/ 368425 h 609800"/>
              <a:gd name="connsiteX1070" fmla="*/ 9514953 w 12248682"/>
              <a:gd name="connsiteY1070" fmla="*/ 339551 h 609800"/>
              <a:gd name="connsiteX1071" fmla="*/ 9543825 w 12248682"/>
              <a:gd name="connsiteY1071" fmla="*/ 310678 h 609800"/>
              <a:gd name="connsiteX1072" fmla="*/ 8422936 w 12248682"/>
              <a:gd name="connsiteY1072" fmla="*/ 310678 h 609800"/>
              <a:gd name="connsiteX1073" fmla="*/ 8451809 w 12248682"/>
              <a:gd name="connsiteY1073" fmla="*/ 339551 h 609800"/>
              <a:gd name="connsiteX1074" fmla="*/ 8422936 w 12248682"/>
              <a:gd name="connsiteY1074" fmla="*/ 368425 h 609800"/>
              <a:gd name="connsiteX1075" fmla="*/ 8394062 w 12248682"/>
              <a:gd name="connsiteY1075" fmla="*/ 339551 h 609800"/>
              <a:gd name="connsiteX1076" fmla="*/ 8422936 w 12248682"/>
              <a:gd name="connsiteY1076" fmla="*/ 310678 h 609800"/>
              <a:gd name="connsiteX1077" fmla="*/ 6915746 w 12248682"/>
              <a:gd name="connsiteY1077" fmla="*/ 310678 h 609800"/>
              <a:gd name="connsiteX1078" fmla="*/ 6944621 w 12248682"/>
              <a:gd name="connsiteY1078" fmla="*/ 339551 h 609800"/>
              <a:gd name="connsiteX1079" fmla="*/ 6915746 w 12248682"/>
              <a:gd name="connsiteY1079" fmla="*/ 368425 h 609800"/>
              <a:gd name="connsiteX1080" fmla="*/ 6886873 w 12248682"/>
              <a:gd name="connsiteY1080" fmla="*/ 339551 h 609800"/>
              <a:gd name="connsiteX1081" fmla="*/ 6915746 w 12248682"/>
              <a:gd name="connsiteY1081" fmla="*/ 310678 h 609800"/>
              <a:gd name="connsiteX1082" fmla="*/ 5764278 w 12248682"/>
              <a:gd name="connsiteY1082" fmla="*/ 310678 h 609800"/>
              <a:gd name="connsiteX1083" fmla="*/ 5793151 w 12248682"/>
              <a:gd name="connsiteY1083" fmla="*/ 339551 h 609800"/>
              <a:gd name="connsiteX1084" fmla="*/ 5764278 w 12248682"/>
              <a:gd name="connsiteY1084" fmla="*/ 368425 h 609800"/>
              <a:gd name="connsiteX1085" fmla="*/ 5735405 w 12248682"/>
              <a:gd name="connsiteY1085" fmla="*/ 339551 h 609800"/>
              <a:gd name="connsiteX1086" fmla="*/ 5764278 w 12248682"/>
              <a:gd name="connsiteY1086" fmla="*/ 310678 h 609800"/>
              <a:gd name="connsiteX1087" fmla="*/ 4938500 w 12248682"/>
              <a:gd name="connsiteY1087" fmla="*/ 310678 h 609800"/>
              <a:gd name="connsiteX1088" fmla="*/ 4967373 w 12248682"/>
              <a:gd name="connsiteY1088" fmla="*/ 339551 h 609800"/>
              <a:gd name="connsiteX1089" fmla="*/ 4938500 w 12248682"/>
              <a:gd name="connsiteY1089" fmla="*/ 368425 h 609800"/>
              <a:gd name="connsiteX1090" fmla="*/ 4909627 w 12248682"/>
              <a:gd name="connsiteY1090" fmla="*/ 339551 h 609800"/>
              <a:gd name="connsiteX1091" fmla="*/ 4938500 w 12248682"/>
              <a:gd name="connsiteY1091" fmla="*/ 310678 h 609800"/>
              <a:gd name="connsiteX1092" fmla="*/ 3810129 w 12248682"/>
              <a:gd name="connsiteY1092" fmla="*/ 310678 h 609800"/>
              <a:gd name="connsiteX1093" fmla="*/ 3839002 w 12248682"/>
              <a:gd name="connsiteY1093" fmla="*/ 339551 h 609800"/>
              <a:gd name="connsiteX1094" fmla="*/ 3810129 w 12248682"/>
              <a:gd name="connsiteY1094" fmla="*/ 368425 h 609800"/>
              <a:gd name="connsiteX1095" fmla="*/ 3781255 w 12248682"/>
              <a:gd name="connsiteY1095" fmla="*/ 339551 h 609800"/>
              <a:gd name="connsiteX1096" fmla="*/ 3810129 w 12248682"/>
              <a:gd name="connsiteY1096" fmla="*/ 310678 h 609800"/>
              <a:gd name="connsiteX1097" fmla="*/ 2302939 w 12248682"/>
              <a:gd name="connsiteY1097" fmla="*/ 310678 h 609800"/>
              <a:gd name="connsiteX1098" fmla="*/ 2331813 w 12248682"/>
              <a:gd name="connsiteY1098" fmla="*/ 339551 h 609800"/>
              <a:gd name="connsiteX1099" fmla="*/ 2302939 w 12248682"/>
              <a:gd name="connsiteY1099" fmla="*/ 368425 h 609800"/>
              <a:gd name="connsiteX1100" fmla="*/ 2274067 w 12248682"/>
              <a:gd name="connsiteY1100" fmla="*/ 339551 h 609800"/>
              <a:gd name="connsiteX1101" fmla="*/ 2302939 w 12248682"/>
              <a:gd name="connsiteY1101" fmla="*/ 310678 h 609800"/>
              <a:gd name="connsiteX1102" fmla="*/ 1151470 w 12248682"/>
              <a:gd name="connsiteY1102" fmla="*/ 310678 h 609800"/>
              <a:gd name="connsiteX1103" fmla="*/ 1180343 w 12248682"/>
              <a:gd name="connsiteY1103" fmla="*/ 339551 h 609800"/>
              <a:gd name="connsiteX1104" fmla="*/ 1151470 w 12248682"/>
              <a:gd name="connsiteY1104" fmla="*/ 368425 h 609800"/>
              <a:gd name="connsiteX1105" fmla="*/ 1122596 w 12248682"/>
              <a:gd name="connsiteY1105" fmla="*/ 339551 h 609800"/>
              <a:gd name="connsiteX1106" fmla="*/ 1151470 w 12248682"/>
              <a:gd name="connsiteY1106" fmla="*/ 310678 h 609800"/>
              <a:gd name="connsiteX1107" fmla="*/ 325692 w 12248682"/>
              <a:gd name="connsiteY1107" fmla="*/ 310678 h 609800"/>
              <a:gd name="connsiteX1108" fmla="*/ 354566 w 12248682"/>
              <a:gd name="connsiteY1108" fmla="*/ 339551 h 609800"/>
              <a:gd name="connsiteX1109" fmla="*/ 325692 w 12248682"/>
              <a:gd name="connsiteY1109" fmla="*/ 368425 h 609800"/>
              <a:gd name="connsiteX1110" fmla="*/ 296819 w 12248682"/>
              <a:gd name="connsiteY1110" fmla="*/ 339551 h 609800"/>
              <a:gd name="connsiteX1111" fmla="*/ 325692 w 12248682"/>
              <a:gd name="connsiteY1111" fmla="*/ 310678 h 609800"/>
              <a:gd name="connsiteX1112" fmla="*/ 11383636 w 12248682"/>
              <a:gd name="connsiteY1112" fmla="*/ 304903 h 609800"/>
              <a:gd name="connsiteX1113" fmla="*/ 11418284 w 12248682"/>
              <a:gd name="connsiteY1113" fmla="*/ 339551 h 609800"/>
              <a:gd name="connsiteX1114" fmla="*/ 11383636 w 12248682"/>
              <a:gd name="connsiteY1114" fmla="*/ 374199 h 609800"/>
              <a:gd name="connsiteX1115" fmla="*/ 11348988 w 12248682"/>
              <a:gd name="connsiteY1115" fmla="*/ 339551 h 609800"/>
              <a:gd name="connsiteX1116" fmla="*/ 11383636 w 12248682"/>
              <a:gd name="connsiteY1116" fmla="*/ 304903 h 609800"/>
              <a:gd name="connsiteX1117" fmla="*/ 10811943 w 12248682"/>
              <a:gd name="connsiteY1117" fmla="*/ 304903 h 609800"/>
              <a:gd name="connsiteX1118" fmla="*/ 10846591 w 12248682"/>
              <a:gd name="connsiteY1118" fmla="*/ 339551 h 609800"/>
              <a:gd name="connsiteX1119" fmla="*/ 10811943 w 12248682"/>
              <a:gd name="connsiteY1119" fmla="*/ 374199 h 609800"/>
              <a:gd name="connsiteX1120" fmla="*/ 10777295 w 12248682"/>
              <a:gd name="connsiteY1120" fmla="*/ 339551 h 609800"/>
              <a:gd name="connsiteX1121" fmla="*/ 10811943 w 12248682"/>
              <a:gd name="connsiteY1121" fmla="*/ 304903 h 609800"/>
              <a:gd name="connsiteX1122" fmla="*/ 10232166 w 12248682"/>
              <a:gd name="connsiteY1122" fmla="*/ 304903 h 609800"/>
              <a:gd name="connsiteX1123" fmla="*/ 10266814 w 12248682"/>
              <a:gd name="connsiteY1123" fmla="*/ 339551 h 609800"/>
              <a:gd name="connsiteX1124" fmla="*/ 10232166 w 12248682"/>
              <a:gd name="connsiteY1124" fmla="*/ 374199 h 609800"/>
              <a:gd name="connsiteX1125" fmla="*/ 10197518 w 12248682"/>
              <a:gd name="connsiteY1125" fmla="*/ 339551 h 609800"/>
              <a:gd name="connsiteX1126" fmla="*/ 10232166 w 12248682"/>
              <a:gd name="connsiteY1126" fmla="*/ 304903 h 609800"/>
              <a:gd name="connsiteX1127" fmla="*/ 9681263 w 12248682"/>
              <a:gd name="connsiteY1127" fmla="*/ 304903 h 609800"/>
              <a:gd name="connsiteX1128" fmla="*/ 9715911 w 12248682"/>
              <a:gd name="connsiteY1128" fmla="*/ 339551 h 609800"/>
              <a:gd name="connsiteX1129" fmla="*/ 9681263 w 12248682"/>
              <a:gd name="connsiteY1129" fmla="*/ 374199 h 609800"/>
              <a:gd name="connsiteX1130" fmla="*/ 9646615 w 12248682"/>
              <a:gd name="connsiteY1130" fmla="*/ 339551 h 609800"/>
              <a:gd name="connsiteX1131" fmla="*/ 9681263 w 12248682"/>
              <a:gd name="connsiteY1131" fmla="*/ 304903 h 609800"/>
              <a:gd name="connsiteX1132" fmla="*/ 9112431 w 12248682"/>
              <a:gd name="connsiteY1132" fmla="*/ 304903 h 609800"/>
              <a:gd name="connsiteX1133" fmla="*/ 9147079 w 12248682"/>
              <a:gd name="connsiteY1133" fmla="*/ 339551 h 609800"/>
              <a:gd name="connsiteX1134" fmla="*/ 9112431 w 12248682"/>
              <a:gd name="connsiteY1134" fmla="*/ 374199 h 609800"/>
              <a:gd name="connsiteX1135" fmla="*/ 9077783 w 12248682"/>
              <a:gd name="connsiteY1135" fmla="*/ 339551 h 609800"/>
              <a:gd name="connsiteX1136" fmla="*/ 9112431 w 12248682"/>
              <a:gd name="connsiteY1136" fmla="*/ 304903 h 609800"/>
              <a:gd name="connsiteX1137" fmla="*/ 8561528 w 12248682"/>
              <a:gd name="connsiteY1137" fmla="*/ 304903 h 609800"/>
              <a:gd name="connsiteX1138" fmla="*/ 8596176 w 12248682"/>
              <a:gd name="connsiteY1138" fmla="*/ 339551 h 609800"/>
              <a:gd name="connsiteX1139" fmla="*/ 8561528 w 12248682"/>
              <a:gd name="connsiteY1139" fmla="*/ 374199 h 609800"/>
              <a:gd name="connsiteX1140" fmla="*/ 8526880 w 12248682"/>
              <a:gd name="connsiteY1140" fmla="*/ 339551 h 609800"/>
              <a:gd name="connsiteX1141" fmla="*/ 8561528 w 12248682"/>
              <a:gd name="connsiteY1141" fmla="*/ 304903 h 609800"/>
              <a:gd name="connsiteX1142" fmla="*/ 6778310 w 12248682"/>
              <a:gd name="connsiteY1142" fmla="*/ 304903 h 609800"/>
              <a:gd name="connsiteX1143" fmla="*/ 6812959 w 12248682"/>
              <a:gd name="connsiteY1143" fmla="*/ 339551 h 609800"/>
              <a:gd name="connsiteX1144" fmla="*/ 6778310 w 12248682"/>
              <a:gd name="connsiteY1144" fmla="*/ 374199 h 609800"/>
              <a:gd name="connsiteX1145" fmla="*/ 6743662 w 12248682"/>
              <a:gd name="connsiteY1145" fmla="*/ 339551 h 609800"/>
              <a:gd name="connsiteX1146" fmla="*/ 6778310 w 12248682"/>
              <a:gd name="connsiteY1146" fmla="*/ 304903 h 609800"/>
              <a:gd name="connsiteX1147" fmla="*/ 6206618 w 12248682"/>
              <a:gd name="connsiteY1147" fmla="*/ 304903 h 609800"/>
              <a:gd name="connsiteX1148" fmla="*/ 6241265 w 12248682"/>
              <a:gd name="connsiteY1148" fmla="*/ 339551 h 609800"/>
              <a:gd name="connsiteX1149" fmla="*/ 6206618 w 12248682"/>
              <a:gd name="connsiteY1149" fmla="*/ 374199 h 609800"/>
              <a:gd name="connsiteX1150" fmla="*/ 6171969 w 12248682"/>
              <a:gd name="connsiteY1150" fmla="*/ 339551 h 609800"/>
              <a:gd name="connsiteX1151" fmla="*/ 6206618 w 12248682"/>
              <a:gd name="connsiteY1151" fmla="*/ 304903 h 609800"/>
              <a:gd name="connsiteX1152" fmla="*/ 5626840 w 12248682"/>
              <a:gd name="connsiteY1152" fmla="*/ 304903 h 609800"/>
              <a:gd name="connsiteX1153" fmla="*/ 5661488 w 12248682"/>
              <a:gd name="connsiteY1153" fmla="*/ 339551 h 609800"/>
              <a:gd name="connsiteX1154" fmla="*/ 5626840 w 12248682"/>
              <a:gd name="connsiteY1154" fmla="*/ 374199 h 609800"/>
              <a:gd name="connsiteX1155" fmla="*/ 5592192 w 12248682"/>
              <a:gd name="connsiteY1155" fmla="*/ 339551 h 609800"/>
              <a:gd name="connsiteX1156" fmla="*/ 5626840 w 12248682"/>
              <a:gd name="connsiteY1156" fmla="*/ 304903 h 609800"/>
              <a:gd name="connsiteX1157" fmla="*/ 5075938 w 12248682"/>
              <a:gd name="connsiteY1157" fmla="*/ 304903 h 609800"/>
              <a:gd name="connsiteX1158" fmla="*/ 5110584 w 12248682"/>
              <a:gd name="connsiteY1158" fmla="*/ 339551 h 609800"/>
              <a:gd name="connsiteX1159" fmla="*/ 5075938 w 12248682"/>
              <a:gd name="connsiteY1159" fmla="*/ 374199 h 609800"/>
              <a:gd name="connsiteX1160" fmla="*/ 5041289 w 12248682"/>
              <a:gd name="connsiteY1160" fmla="*/ 339551 h 609800"/>
              <a:gd name="connsiteX1161" fmla="*/ 5075938 w 12248682"/>
              <a:gd name="connsiteY1161" fmla="*/ 304903 h 609800"/>
              <a:gd name="connsiteX1162" fmla="*/ 4499625 w 12248682"/>
              <a:gd name="connsiteY1162" fmla="*/ 304903 h 609800"/>
              <a:gd name="connsiteX1163" fmla="*/ 4534273 w 12248682"/>
              <a:gd name="connsiteY1163" fmla="*/ 339551 h 609800"/>
              <a:gd name="connsiteX1164" fmla="*/ 4499625 w 12248682"/>
              <a:gd name="connsiteY1164" fmla="*/ 374199 h 609800"/>
              <a:gd name="connsiteX1165" fmla="*/ 4464976 w 12248682"/>
              <a:gd name="connsiteY1165" fmla="*/ 339551 h 609800"/>
              <a:gd name="connsiteX1166" fmla="*/ 4499625 w 12248682"/>
              <a:gd name="connsiteY1166" fmla="*/ 304903 h 609800"/>
              <a:gd name="connsiteX1167" fmla="*/ 3948721 w 12248682"/>
              <a:gd name="connsiteY1167" fmla="*/ 304903 h 609800"/>
              <a:gd name="connsiteX1168" fmla="*/ 3983369 w 12248682"/>
              <a:gd name="connsiteY1168" fmla="*/ 339551 h 609800"/>
              <a:gd name="connsiteX1169" fmla="*/ 3948721 w 12248682"/>
              <a:gd name="connsiteY1169" fmla="*/ 374199 h 609800"/>
              <a:gd name="connsiteX1170" fmla="*/ 3914073 w 12248682"/>
              <a:gd name="connsiteY1170" fmla="*/ 339551 h 609800"/>
              <a:gd name="connsiteX1171" fmla="*/ 3948721 w 12248682"/>
              <a:gd name="connsiteY1171" fmla="*/ 304903 h 609800"/>
              <a:gd name="connsiteX1172" fmla="*/ 2165502 w 12248682"/>
              <a:gd name="connsiteY1172" fmla="*/ 304903 h 609800"/>
              <a:gd name="connsiteX1173" fmla="*/ 2200150 w 12248682"/>
              <a:gd name="connsiteY1173" fmla="*/ 339551 h 609800"/>
              <a:gd name="connsiteX1174" fmla="*/ 2165502 w 12248682"/>
              <a:gd name="connsiteY1174" fmla="*/ 374199 h 609800"/>
              <a:gd name="connsiteX1175" fmla="*/ 2130854 w 12248682"/>
              <a:gd name="connsiteY1175" fmla="*/ 339551 h 609800"/>
              <a:gd name="connsiteX1176" fmla="*/ 2165502 w 12248682"/>
              <a:gd name="connsiteY1176" fmla="*/ 304903 h 609800"/>
              <a:gd name="connsiteX1177" fmla="*/ 1593810 w 12248682"/>
              <a:gd name="connsiteY1177" fmla="*/ 304903 h 609800"/>
              <a:gd name="connsiteX1178" fmla="*/ 1628457 w 12248682"/>
              <a:gd name="connsiteY1178" fmla="*/ 339551 h 609800"/>
              <a:gd name="connsiteX1179" fmla="*/ 1593810 w 12248682"/>
              <a:gd name="connsiteY1179" fmla="*/ 374199 h 609800"/>
              <a:gd name="connsiteX1180" fmla="*/ 1559161 w 12248682"/>
              <a:gd name="connsiteY1180" fmla="*/ 339551 h 609800"/>
              <a:gd name="connsiteX1181" fmla="*/ 1593810 w 12248682"/>
              <a:gd name="connsiteY1181" fmla="*/ 304903 h 609800"/>
              <a:gd name="connsiteX1182" fmla="*/ 1014032 w 12248682"/>
              <a:gd name="connsiteY1182" fmla="*/ 304903 h 609800"/>
              <a:gd name="connsiteX1183" fmla="*/ 1048681 w 12248682"/>
              <a:gd name="connsiteY1183" fmla="*/ 339551 h 609800"/>
              <a:gd name="connsiteX1184" fmla="*/ 1014032 w 12248682"/>
              <a:gd name="connsiteY1184" fmla="*/ 374199 h 609800"/>
              <a:gd name="connsiteX1185" fmla="*/ 979384 w 12248682"/>
              <a:gd name="connsiteY1185" fmla="*/ 339551 h 609800"/>
              <a:gd name="connsiteX1186" fmla="*/ 1014032 w 12248682"/>
              <a:gd name="connsiteY1186" fmla="*/ 304903 h 609800"/>
              <a:gd name="connsiteX1187" fmla="*/ 463129 w 12248682"/>
              <a:gd name="connsiteY1187" fmla="*/ 304903 h 609800"/>
              <a:gd name="connsiteX1188" fmla="*/ 497778 w 12248682"/>
              <a:gd name="connsiteY1188" fmla="*/ 339551 h 609800"/>
              <a:gd name="connsiteX1189" fmla="*/ 463129 w 12248682"/>
              <a:gd name="connsiteY1189" fmla="*/ 374199 h 609800"/>
              <a:gd name="connsiteX1190" fmla="*/ 428481 w 12248682"/>
              <a:gd name="connsiteY1190" fmla="*/ 339551 h 609800"/>
              <a:gd name="connsiteX1191" fmla="*/ 463129 w 12248682"/>
              <a:gd name="connsiteY1191" fmla="*/ 304903 h 609800"/>
              <a:gd name="connsiteX1192" fmla="*/ 11245044 w 12248682"/>
              <a:gd name="connsiteY1192" fmla="*/ 299129 h 609800"/>
              <a:gd name="connsiteX1193" fmla="*/ 11285466 w 12248682"/>
              <a:gd name="connsiteY1193" fmla="*/ 339551 h 609800"/>
              <a:gd name="connsiteX1194" fmla="*/ 11245044 w 12248682"/>
              <a:gd name="connsiteY1194" fmla="*/ 379974 h 609800"/>
              <a:gd name="connsiteX1195" fmla="*/ 11204621 w 12248682"/>
              <a:gd name="connsiteY1195" fmla="*/ 339551 h 609800"/>
              <a:gd name="connsiteX1196" fmla="*/ 11245044 w 12248682"/>
              <a:gd name="connsiteY1196" fmla="*/ 299129 h 609800"/>
              <a:gd name="connsiteX1197" fmla="*/ 10970170 w 12248682"/>
              <a:gd name="connsiteY1197" fmla="*/ 299129 h 609800"/>
              <a:gd name="connsiteX1198" fmla="*/ 11010592 w 12248682"/>
              <a:gd name="connsiteY1198" fmla="*/ 339551 h 609800"/>
              <a:gd name="connsiteX1199" fmla="*/ 10970170 w 12248682"/>
              <a:gd name="connsiteY1199" fmla="*/ 379974 h 609800"/>
              <a:gd name="connsiteX1200" fmla="*/ 10929746 w 12248682"/>
              <a:gd name="connsiteY1200" fmla="*/ 339551 h 609800"/>
              <a:gd name="connsiteX1201" fmla="*/ 10970170 w 12248682"/>
              <a:gd name="connsiteY1201" fmla="*/ 299129 h 609800"/>
              <a:gd name="connsiteX1202" fmla="*/ 10094730 w 12248682"/>
              <a:gd name="connsiteY1202" fmla="*/ 299129 h 609800"/>
              <a:gd name="connsiteX1203" fmla="*/ 10135152 w 12248682"/>
              <a:gd name="connsiteY1203" fmla="*/ 339551 h 609800"/>
              <a:gd name="connsiteX1204" fmla="*/ 10094730 w 12248682"/>
              <a:gd name="connsiteY1204" fmla="*/ 379974 h 609800"/>
              <a:gd name="connsiteX1205" fmla="*/ 10054306 w 12248682"/>
              <a:gd name="connsiteY1205" fmla="*/ 339551 h 609800"/>
              <a:gd name="connsiteX1206" fmla="*/ 10094730 w 12248682"/>
              <a:gd name="connsiteY1206" fmla="*/ 299129 h 609800"/>
              <a:gd name="connsiteX1207" fmla="*/ 9818700 w 12248682"/>
              <a:gd name="connsiteY1207" fmla="*/ 299129 h 609800"/>
              <a:gd name="connsiteX1208" fmla="*/ 9859123 w 12248682"/>
              <a:gd name="connsiteY1208" fmla="*/ 340706 h 609800"/>
              <a:gd name="connsiteX1209" fmla="*/ 9818700 w 12248682"/>
              <a:gd name="connsiteY1209" fmla="*/ 381128 h 609800"/>
              <a:gd name="connsiteX1210" fmla="*/ 9778278 w 12248682"/>
              <a:gd name="connsiteY1210" fmla="*/ 339551 h 609800"/>
              <a:gd name="connsiteX1211" fmla="*/ 9818700 w 12248682"/>
              <a:gd name="connsiteY1211" fmla="*/ 299129 h 609800"/>
              <a:gd name="connsiteX1212" fmla="*/ 8974994 w 12248682"/>
              <a:gd name="connsiteY1212" fmla="*/ 299129 h 609800"/>
              <a:gd name="connsiteX1213" fmla="*/ 9015416 w 12248682"/>
              <a:gd name="connsiteY1213" fmla="*/ 339551 h 609800"/>
              <a:gd name="connsiteX1214" fmla="*/ 8974994 w 12248682"/>
              <a:gd name="connsiteY1214" fmla="*/ 379974 h 609800"/>
              <a:gd name="connsiteX1215" fmla="*/ 8934571 w 12248682"/>
              <a:gd name="connsiteY1215" fmla="*/ 339551 h 609800"/>
              <a:gd name="connsiteX1216" fmla="*/ 8974994 w 12248682"/>
              <a:gd name="connsiteY1216" fmla="*/ 299129 h 609800"/>
              <a:gd name="connsiteX1217" fmla="*/ 8698965 w 12248682"/>
              <a:gd name="connsiteY1217" fmla="*/ 299129 h 609800"/>
              <a:gd name="connsiteX1218" fmla="*/ 8739388 w 12248682"/>
              <a:gd name="connsiteY1218" fmla="*/ 339551 h 609800"/>
              <a:gd name="connsiteX1219" fmla="*/ 8698965 w 12248682"/>
              <a:gd name="connsiteY1219" fmla="*/ 379974 h 609800"/>
              <a:gd name="connsiteX1220" fmla="*/ 8658542 w 12248682"/>
              <a:gd name="connsiteY1220" fmla="*/ 339551 h 609800"/>
              <a:gd name="connsiteX1221" fmla="*/ 8698965 w 12248682"/>
              <a:gd name="connsiteY1221" fmla="*/ 299129 h 609800"/>
              <a:gd name="connsiteX1222" fmla="*/ 6639717 w 12248682"/>
              <a:gd name="connsiteY1222" fmla="*/ 299129 h 609800"/>
              <a:gd name="connsiteX1223" fmla="*/ 6680139 w 12248682"/>
              <a:gd name="connsiteY1223" fmla="*/ 339551 h 609800"/>
              <a:gd name="connsiteX1224" fmla="*/ 6639717 w 12248682"/>
              <a:gd name="connsiteY1224" fmla="*/ 379974 h 609800"/>
              <a:gd name="connsiteX1225" fmla="*/ 6599295 w 12248682"/>
              <a:gd name="connsiteY1225" fmla="*/ 339551 h 609800"/>
              <a:gd name="connsiteX1226" fmla="*/ 6639717 w 12248682"/>
              <a:gd name="connsiteY1226" fmla="*/ 299129 h 609800"/>
              <a:gd name="connsiteX1227" fmla="*/ 6364844 w 12248682"/>
              <a:gd name="connsiteY1227" fmla="*/ 299129 h 609800"/>
              <a:gd name="connsiteX1228" fmla="*/ 6405265 w 12248682"/>
              <a:gd name="connsiteY1228" fmla="*/ 339551 h 609800"/>
              <a:gd name="connsiteX1229" fmla="*/ 6364844 w 12248682"/>
              <a:gd name="connsiteY1229" fmla="*/ 379974 h 609800"/>
              <a:gd name="connsiteX1230" fmla="*/ 6324420 w 12248682"/>
              <a:gd name="connsiteY1230" fmla="*/ 339551 h 609800"/>
              <a:gd name="connsiteX1231" fmla="*/ 6364844 w 12248682"/>
              <a:gd name="connsiteY1231" fmla="*/ 299129 h 609800"/>
              <a:gd name="connsiteX1232" fmla="*/ 5489405 w 12248682"/>
              <a:gd name="connsiteY1232" fmla="*/ 299129 h 609800"/>
              <a:gd name="connsiteX1233" fmla="*/ 5529827 w 12248682"/>
              <a:gd name="connsiteY1233" fmla="*/ 339551 h 609800"/>
              <a:gd name="connsiteX1234" fmla="*/ 5489405 w 12248682"/>
              <a:gd name="connsiteY1234" fmla="*/ 379974 h 609800"/>
              <a:gd name="connsiteX1235" fmla="*/ 5448980 w 12248682"/>
              <a:gd name="connsiteY1235" fmla="*/ 339551 h 609800"/>
              <a:gd name="connsiteX1236" fmla="*/ 5489405 w 12248682"/>
              <a:gd name="connsiteY1236" fmla="*/ 299129 h 609800"/>
              <a:gd name="connsiteX1237" fmla="*/ 5213373 w 12248682"/>
              <a:gd name="connsiteY1237" fmla="*/ 299129 h 609800"/>
              <a:gd name="connsiteX1238" fmla="*/ 5253797 w 12248682"/>
              <a:gd name="connsiteY1238" fmla="*/ 339551 h 609800"/>
              <a:gd name="connsiteX1239" fmla="*/ 5213373 w 12248682"/>
              <a:gd name="connsiteY1239" fmla="*/ 379974 h 609800"/>
              <a:gd name="connsiteX1240" fmla="*/ 5172952 w 12248682"/>
              <a:gd name="connsiteY1240" fmla="*/ 339551 h 609800"/>
              <a:gd name="connsiteX1241" fmla="*/ 5213373 w 12248682"/>
              <a:gd name="connsiteY1241" fmla="*/ 299129 h 609800"/>
              <a:gd name="connsiteX1242" fmla="*/ 4361031 w 12248682"/>
              <a:gd name="connsiteY1242" fmla="*/ 299129 h 609800"/>
              <a:gd name="connsiteX1243" fmla="*/ 4401455 w 12248682"/>
              <a:gd name="connsiteY1243" fmla="*/ 339551 h 609800"/>
              <a:gd name="connsiteX1244" fmla="*/ 4361031 w 12248682"/>
              <a:gd name="connsiteY1244" fmla="*/ 379974 h 609800"/>
              <a:gd name="connsiteX1245" fmla="*/ 4320610 w 12248682"/>
              <a:gd name="connsiteY1245" fmla="*/ 339551 h 609800"/>
              <a:gd name="connsiteX1246" fmla="*/ 4361031 w 12248682"/>
              <a:gd name="connsiteY1246" fmla="*/ 299129 h 609800"/>
              <a:gd name="connsiteX1247" fmla="*/ 4086158 w 12248682"/>
              <a:gd name="connsiteY1247" fmla="*/ 299129 h 609800"/>
              <a:gd name="connsiteX1248" fmla="*/ 4126582 w 12248682"/>
              <a:gd name="connsiteY1248" fmla="*/ 339551 h 609800"/>
              <a:gd name="connsiteX1249" fmla="*/ 4086158 w 12248682"/>
              <a:gd name="connsiteY1249" fmla="*/ 379974 h 609800"/>
              <a:gd name="connsiteX1250" fmla="*/ 4045735 w 12248682"/>
              <a:gd name="connsiteY1250" fmla="*/ 339551 h 609800"/>
              <a:gd name="connsiteX1251" fmla="*/ 4086158 w 12248682"/>
              <a:gd name="connsiteY1251" fmla="*/ 299129 h 609800"/>
              <a:gd name="connsiteX1252" fmla="*/ 2026910 w 12248682"/>
              <a:gd name="connsiteY1252" fmla="*/ 299129 h 609800"/>
              <a:gd name="connsiteX1253" fmla="*/ 2067332 w 12248682"/>
              <a:gd name="connsiteY1253" fmla="*/ 339551 h 609800"/>
              <a:gd name="connsiteX1254" fmla="*/ 2026910 w 12248682"/>
              <a:gd name="connsiteY1254" fmla="*/ 379974 h 609800"/>
              <a:gd name="connsiteX1255" fmla="*/ 1986487 w 12248682"/>
              <a:gd name="connsiteY1255" fmla="*/ 339551 h 609800"/>
              <a:gd name="connsiteX1256" fmla="*/ 2026910 w 12248682"/>
              <a:gd name="connsiteY1256" fmla="*/ 299129 h 609800"/>
              <a:gd name="connsiteX1257" fmla="*/ 1752036 w 12248682"/>
              <a:gd name="connsiteY1257" fmla="*/ 299129 h 609800"/>
              <a:gd name="connsiteX1258" fmla="*/ 1792458 w 12248682"/>
              <a:gd name="connsiteY1258" fmla="*/ 339551 h 609800"/>
              <a:gd name="connsiteX1259" fmla="*/ 1752036 w 12248682"/>
              <a:gd name="connsiteY1259" fmla="*/ 379974 h 609800"/>
              <a:gd name="connsiteX1260" fmla="*/ 1711613 w 12248682"/>
              <a:gd name="connsiteY1260" fmla="*/ 339551 h 609800"/>
              <a:gd name="connsiteX1261" fmla="*/ 1752036 w 12248682"/>
              <a:gd name="connsiteY1261" fmla="*/ 299129 h 609800"/>
              <a:gd name="connsiteX1262" fmla="*/ 876596 w 12248682"/>
              <a:gd name="connsiteY1262" fmla="*/ 299129 h 609800"/>
              <a:gd name="connsiteX1263" fmla="*/ 917018 w 12248682"/>
              <a:gd name="connsiteY1263" fmla="*/ 339551 h 609800"/>
              <a:gd name="connsiteX1264" fmla="*/ 876596 w 12248682"/>
              <a:gd name="connsiteY1264" fmla="*/ 379974 h 609800"/>
              <a:gd name="connsiteX1265" fmla="*/ 836172 w 12248682"/>
              <a:gd name="connsiteY1265" fmla="*/ 339551 h 609800"/>
              <a:gd name="connsiteX1266" fmla="*/ 876596 w 12248682"/>
              <a:gd name="connsiteY1266" fmla="*/ 299129 h 609800"/>
              <a:gd name="connsiteX1267" fmla="*/ 600566 w 12248682"/>
              <a:gd name="connsiteY1267" fmla="*/ 299129 h 609800"/>
              <a:gd name="connsiteX1268" fmla="*/ 640989 w 12248682"/>
              <a:gd name="connsiteY1268" fmla="*/ 340706 h 609800"/>
              <a:gd name="connsiteX1269" fmla="*/ 600566 w 12248682"/>
              <a:gd name="connsiteY1269" fmla="*/ 381128 h 609800"/>
              <a:gd name="connsiteX1270" fmla="*/ 560144 w 12248682"/>
              <a:gd name="connsiteY1270" fmla="*/ 339551 h 609800"/>
              <a:gd name="connsiteX1271" fmla="*/ 600566 w 12248682"/>
              <a:gd name="connsiteY1271" fmla="*/ 299129 h 609800"/>
              <a:gd name="connsiteX1272" fmla="*/ 11107606 w 12248682"/>
              <a:gd name="connsiteY1272" fmla="*/ 288734 h 609800"/>
              <a:gd name="connsiteX1273" fmla="*/ 11158424 w 12248682"/>
              <a:gd name="connsiteY1273" fmla="*/ 339551 h 609800"/>
              <a:gd name="connsiteX1274" fmla="*/ 11107606 w 12248682"/>
              <a:gd name="connsiteY1274" fmla="*/ 390368 h 609800"/>
              <a:gd name="connsiteX1275" fmla="*/ 11056789 w 12248682"/>
              <a:gd name="connsiteY1275" fmla="*/ 339551 h 609800"/>
              <a:gd name="connsiteX1276" fmla="*/ 11107606 w 12248682"/>
              <a:gd name="connsiteY1276" fmla="*/ 288734 h 609800"/>
              <a:gd name="connsiteX1277" fmla="*/ 9957292 w 12248682"/>
              <a:gd name="connsiteY1277" fmla="*/ 288734 h 609800"/>
              <a:gd name="connsiteX1278" fmla="*/ 10008109 w 12248682"/>
              <a:gd name="connsiteY1278" fmla="*/ 339551 h 609800"/>
              <a:gd name="connsiteX1279" fmla="*/ 9957292 w 12248682"/>
              <a:gd name="connsiteY1279" fmla="*/ 390368 h 609800"/>
              <a:gd name="connsiteX1280" fmla="*/ 9906475 w 12248682"/>
              <a:gd name="connsiteY1280" fmla="*/ 339551 h 609800"/>
              <a:gd name="connsiteX1281" fmla="*/ 9957292 w 12248682"/>
              <a:gd name="connsiteY1281" fmla="*/ 288734 h 609800"/>
              <a:gd name="connsiteX1282" fmla="*/ 8836402 w 12248682"/>
              <a:gd name="connsiteY1282" fmla="*/ 288734 h 609800"/>
              <a:gd name="connsiteX1283" fmla="*/ 8887219 w 12248682"/>
              <a:gd name="connsiteY1283" fmla="*/ 339551 h 609800"/>
              <a:gd name="connsiteX1284" fmla="*/ 8836402 w 12248682"/>
              <a:gd name="connsiteY1284" fmla="*/ 390368 h 609800"/>
              <a:gd name="connsiteX1285" fmla="*/ 8785585 w 12248682"/>
              <a:gd name="connsiteY1285" fmla="*/ 339551 h 609800"/>
              <a:gd name="connsiteX1286" fmla="*/ 8836402 w 12248682"/>
              <a:gd name="connsiteY1286" fmla="*/ 288734 h 609800"/>
              <a:gd name="connsiteX1287" fmla="*/ 6502281 w 12248682"/>
              <a:gd name="connsiteY1287" fmla="*/ 288734 h 609800"/>
              <a:gd name="connsiteX1288" fmla="*/ 6553098 w 12248682"/>
              <a:gd name="connsiteY1288" fmla="*/ 339551 h 609800"/>
              <a:gd name="connsiteX1289" fmla="*/ 6502281 w 12248682"/>
              <a:gd name="connsiteY1289" fmla="*/ 390368 h 609800"/>
              <a:gd name="connsiteX1290" fmla="*/ 6451462 w 12248682"/>
              <a:gd name="connsiteY1290" fmla="*/ 339551 h 609800"/>
              <a:gd name="connsiteX1291" fmla="*/ 6502281 w 12248682"/>
              <a:gd name="connsiteY1291" fmla="*/ 288734 h 609800"/>
              <a:gd name="connsiteX1292" fmla="*/ 5351966 w 12248682"/>
              <a:gd name="connsiteY1292" fmla="*/ 288734 h 609800"/>
              <a:gd name="connsiteX1293" fmla="*/ 5402784 w 12248682"/>
              <a:gd name="connsiteY1293" fmla="*/ 339551 h 609800"/>
              <a:gd name="connsiteX1294" fmla="*/ 5351966 w 12248682"/>
              <a:gd name="connsiteY1294" fmla="*/ 390368 h 609800"/>
              <a:gd name="connsiteX1295" fmla="*/ 5301149 w 12248682"/>
              <a:gd name="connsiteY1295" fmla="*/ 339551 h 609800"/>
              <a:gd name="connsiteX1296" fmla="*/ 5351966 w 12248682"/>
              <a:gd name="connsiteY1296" fmla="*/ 288734 h 609800"/>
              <a:gd name="connsiteX1297" fmla="*/ 4223596 w 12248682"/>
              <a:gd name="connsiteY1297" fmla="*/ 288734 h 609800"/>
              <a:gd name="connsiteX1298" fmla="*/ 4274414 w 12248682"/>
              <a:gd name="connsiteY1298" fmla="*/ 339551 h 609800"/>
              <a:gd name="connsiteX1299" fmla="*/ 4223596 w 12248682"/>
              <a:gd name="connsiteY1299" fmla="*/ 390368 h 609800"/>
              <a:gd name="connsiteX1300" fmla="*/ 4172779 w 12248682"/>
              <a:gd name="connsiteY1300" fmla="*/ 339551 h 609800"/>
              <a:gd name="connsiteX1301" fmla="*/ 4223596 w 12248682"/>
              <a:gd name="connsiteY1301" fmla="*/ 288734 h 609800"/>
              <a:gd name="connsiteX1302" fmla="*/ 1889473 w 12248682"/>
              <a:gd name="connsiteY1302" fmla="*/ 288734 h 609800"/>
              <a:gd name="connsiteX1303" fmla="*/ 1940290 w 12248682"/>
              <a:gd name="connsiteY1303" fmla="*/ 339551 h 609800"/>
              <a:gd name="connsiteX1304" fmla="*/ 1889473 w 12248682"/>
              <a:gd name="connsiteY1304" fmla="*/ 390368 h 609800"/>
              <a:gd name="connsiteX1305" fmla="*/ 1838656 w 12248682"/>
              <a:gd name="connsiteY1305" fmla="*/ 339551 h 609800"/>
              <a:gd name="connsiteX1306" fmla="*/ 1889473 w 12248682"/>
              <a:gd name="connsiteY1306" fmla="*/ 288734 h 609800"/>
              <a:gd name="connsiteX1307" fmla="*/ 739158 w 12248682"/>
              <a:gd name="connsiteY1307" fmla="*/ 288734 h 609800"/>
              <a:gd name="connsiteX1308" fmla="*/ 789975 w 12248682"/>
              <a:gd name="connsiteY1308" fmla="*/ 339551 h 609800"/>
              <a:gd name="connsiteX1309" fmla="*/ 739158 w 12248682"/>
              <a:gd name="connsiteY1309" fmla="*/ 390368 h 609800"/>
              <a:gd name="connsiteX1310" fmla="*/ 688341 w 12248682"/>
              <a:gd name="connsiteY1310" fmla="*/ 339551 h 609800"/>
              <a:gd name="connsiteX1311" fmla="*/ 739158 w 12248682"/>
              <a:gd name="connsiteY1311" fmla="*/ 288734 h 609800"/>
              <a:gd name="connsiteX1312" fmla="*/ 12227892 w 12248682"/>
              <a:gd name="connsiteY1312" fmla="*/ 175550 h 609800"/>
              <a:gd name="connsiteX1313" fmla="*/ 12248682 w 12248682"/>
              <a:gd name="connsiteY1313" fmla="*/ 196339 h 609800"/>
              <a:gd name="connsiteX1314" fmla="*/ 12227892 w 12248682"/>
              <a:gd name="connsiteY1314" fmla="*/ 217128 h 609800"/>
              <a:gd name="connsiteX1315" fmla="*/ 12207104 w 12248682"/>
              <a:gd name="connsiteY1315" fmla="*/ 196339 h 609800"/>
              <a:gd name="connsiteX1316" fmla="*/ 12227892 w 12248682"/>
              <a:gd name="connsiteY1316" fmla="*/ 175550 h 609800"/>
              <a:gd name="connsiteX1317" fmla="*/ 12091610 w 12248682"/>
              <a:gd name="connsiteY1317" fmla="*/ 175550 h 609800"/>
              <a:gd name="connsiteX1318" fmla="*/ 12112399 w 12248682"/>
              <a:gd name="connsiteY1318" fmla="*/ 196339 h 609800"/>
              <a:gd name="connsiteX1319" fmla="*/ 12091610 w 12248682"/>
              <a:gd name="connsiteY1319" fmla="*/ 217128 h 609800"/>
              <a:gd name="connsiteX1320" fmla="*/ 12070822 w 12248682"/>
              <a:gd name="connsiteY1320" fmla="*/ 196339 h 609800"/>
              <a:gd name="connsiteX1321" fmla="*/ 12091610 w 12248682"/>
              <a:gd name="connsiteY1321" fmla="*/ 175550 h 609800"/>
              <a:gd name="connsiteX1322" fmla="*/ 11956484 w 12248682"/>
              <a:gd name="connsiteY1322" fmla="*/ 175550 h 609800"/>
              <a:gd name="connsiteX1323" fmla="*/ 11977272 w 12248682"/>
              <a:gd name="connsiteY1323" fmla="*/ 196339 h 609800"/>
              <a:gd name="connsiteX1324" fmla="*/ 11956484 w 12248682"/>
              <a:gd name="connsiteY1324" fmla="*/ 217128 h 609800"/>
              <a:gd name="connsiteX1325" fmla="*/ 11935695 w 12248682"/>
              <a:gd name="connsiteY1325" fmla="*/ 196339 h 609800"/>
              <a:gd name="connsiteX1326" fmla="*/ 11956484 w 12248682"/>
              <a:gd name="connsiteY1326" fmla="*/ 175550 h 609800"/>
              <a:gd name="connsiteX1327" fmla="*/ 11821356 w 12248682"/>
              <a:gd name="connsiteY1327" fmla="*/ 175550 h 609800"/>
              <a:gd name="connsiteX1328" fmla="*/ 11842144 w 12248682"/>
              <a:gd name="connsiteY1328" fmla="*/ 196339 h 609800"/>
              <a:gd name="connsiteX1329" fmla="*/ 11821356 w 12248682"/>
              <a:gd name="connsiteY1329" fmla="*/ 217128 h 609800"/>
              <a:gd name="connsiteX1330" fmla="*/ 11800567 w 12248682"/>
              <a:gd name="connsiteY1330" fmla="*/ 196339 h 609800"/>
              <a:gd name="connsiteX1331" fmla="*/ 11821356 w 12248682"/>
              <a:gd name="connsiteY1331" fmla="*/ 175550 h 609800"/>
              <a:gd name="connsiteX1332" fmla="*/ 11685074 w 12248682"/>
              <a:gd name="connsiteY1332" fmla="*/ 175550 h 609800"/>
              <a:gd name="connsiteX1333" fmla="*/ 11705862 w 12248682"/>
              <a:gd name="connsiteY1333" fmla="*/ 196339 h 609800"/>
              <a:gd name="connsiteX1334" fmla="*/ 11685074 w 12248682"/>
              <a:gd name="connsiteY1334" fmla="*/ 217128 h 609800"/>
              <a:gd name="connsiteX1335" fmla="*/ 11664285 w 12248682"/>
              <a:gd name="connsiteY1335" fmla="*/ 196339 h 609800"/>
              <a:gd name="connsiteX1336" fmla="*/ 11685074 w 12248682"/>
              <a:gd name="connsiteY1336" fmla="*/ 175550 h 609800"/>
              <a:gd name="connsiteX1337" fmla="*/ 10736873 w 12248682"/>
              <a:gd name="connsiteY1337" fmla="*/ 175550 h 609800"/>
              <a:gd name="connsiteX1338" fmla="*/ 10757662 w 12248682"/>
              <a:gd name="connsiteY1338" fmla="*/ 196339 h 609800"/>
              <a:gd name="connsiteX1339" fmla="*/ 10736873 w 12248682"/>
              <a:gd name="connsiteY1339" fmla="*/ 217128 h 609800"/>
              <a:gd name="connsiteX1340" fmla="*/ 10716084 w 12248682"/>
              <a:gd name="connsiteY1340" fmla="*/ 196339 h 609800"/>
              <a:gd name="connsiteX1341" fmla="*/ 10736873 w 12248682"/>
              <a:gd name="connsiteY1341" fmla="*/ 175550 h 609800"/>
              <a:gd name="connsiteX1342" fmla="*/ 10601745 w 12248682"/>
              <a:gd name="connsiteY1342" fmla="*/ 175550 h 609800"/>
              <a:gd name="connsiteX1343" fmla="*/ 10622534 w 12248682"/>
              <a:gd name="connsiteY1343" fmla="*/ 196339 h 609800"/>
              <a:gd name="connsiteX1344" fmla="*/ 10601745 w 12248682"/>
              <a:gd name="connsiteY1344" fmla="*/ 217128 h 609800"/>
              <a:gd name="connsiteX1345" fmla="*/ 10580956 w 12248682"/>
              <a:gd name="connsiteY1345" fmla="*/ 196339 h 609800"/>
              <a:gd name="connsiteX1346" fmla="*/ 10601745 w 12248682"/>
              <a:gd name="connsiteY1346" fmla="*/ 175550 h 609800"/>
              <a:gd name="connsiteX1347" fmla="*/ 8027949 w 12248682"/>
              <a:gd name="connsiteY1347" fmla="*/ 175550 h 609800"/>
              <a:gd name="connsiteX1348" fmla="*/ 8048737 w 12248682"/>
              <a:gd name="connsiteY1348" fmla="*/ 196339 h 609800"/>
              <a:gd name="connsiteX1349" fmla="*/ 8027949 w 12248682"/>
              <a:gd name="connsiteY1349" fmla="*/ 217128 h 609800"/>
              <a:gd name="connsiteX1350" fmla="*/ 8007160 w 12248682"/>
              <a:gd name="connsiteY1350" fmla="*/ 196339 h 609800"/>
              <a:gd name="connsiteX1351" fmla="*/ 8027949 w 12248682"/>
              <a:gd name="connsiteY1351" fmla="*/ 175550 h 609800"/>
              <a:gd name="connsiteX1352" fmla="*/ 7892822 w 12248682"/>
              <a:gd name="connsiteY1352" fmla="*/ 175550 h 609800"/>
              <a:gd name="connsiteX1353" fmla="*/ 7913611 w 12248682"/>
              <a:gd name="connsiteY1353" fmla="*/ 196339 h 609800"/>
              <a:gd name="connsiteX1354" fmla="*/ 7892822 w 12248682"/>
              <a:gd name="connsiteY1354" fmla="*/ 217128 h 609800"/>
              <a:gd name="connsiteX1355" fmla="*/ 7872031 w 12248682"/>
              <a:gd name="connsiteY1355" fmla="*/ 196339 h 609800"/>
              <a:gd name="connsiteX1356" fmla="*/ 7892822 w 12248682"/>
              <a:gd name="connsiteY1356" fmla="*/ 175550 h 609800"/>
              <a:gd name="connsiteX1357" fmla="*/ 7757693 w 12248682"/>
              <a:gd name="connsiteY1357" fmla="*/ 175550 h 609800"/>
              <a:gd name="connsiteX1358" fmla="*/ 7778483 w 12248682"/>
              <a:gd name="connsiteY1358" fmla="*/ 196339 h 609800"/>
              <a:gd name="connsiteX1359" fmla="*/ 7757693 w 12248682"/>
              <a:gd name="connsiteY1359" fmla="*/ 217128 h 609800"/>
              <a:gd name="connsiteX1360" fmla="*/ 7736906 w 12248682"/>
              <a:gd name="connsiteY1360" fmla="*/ 196339 h 609800"/>
              <a:gd name="connsiteX1361" fmla="*/ 7757693 w 12248682"/>
              <a:gd name="connsiteY1361" fmla="*/ 175550 h 609800"/>
              <a:gd name="connsiteX1362" fmla="*/ 7622566 w 12248682"/>
              <a:gd name="connsiteY1362" fmla="*/ 175550 h 609800"/>
              <a:gd name="connsiteX1363" fmla="*/ 7643355 w 12248682"/>
              <a:gd name="connsiteY1363" fmla="*/ 196339 h 609800"/>
              <a:gd name="connsiteX1364" fmla="*/ 7622566 w 12248682"/>
              <a:gd name="connsiteY1364" fmla="*/ 217128 h 609800"/>
              <a:gd name="connsiteX1365" fmla="*/ 7601778 w 12248682"/>
              <a:gd name="connsiteY1365" fmla="*/ 196339 h 609800"/>
              <a:gd name="connsiteX1366" fmla="*/ 7622566 w 12248682"/>
              <a:gd name="connsiteY1366" fmla="*/ 175550 h 609800"/>
              <a:gd name="connsiteX1367" fmla="*/ 7486284 w 12248682"/>
              <a:gd name="connsiteY1367" fmla="*/ 175550 h 609800"/>
              <a:gd name="connsiteX1368" fmla="*/ 7507074 w 12248682"/>
              <a:gd name="connsiteY1368" fmla="*/ 196339 h 609800"/>
              <a:gd name="connsiteX1369" fmla="*/ 7486284 w 12248682"/>
              <a:gd name="connsiteY1369" fmla="*/ 217128 h 609800"/>
              <a:gd name="connsiteX1370" fmla="*/ 7465495 w 12248682"/>
              <a:gd name="connsiteY1370" fmla="*/ 196339 h 609800"/>
              <a:gd name="connsiteX1371" fmla="*/ 7486284 w 12248682"/>
              <a:gd name="connsiteY1371" fmla="*/ 175550 h 609800"/>
              <a:gd name="connsiteX1372" fmla="*/ 7351157 w 12248682"/>
              <a:gd name="connsiteY1372" fmla="*/ 175550 h 609800"/>
              <a:gd name="connsiteX1373" fmla="*/ 7371946 w 12248682"/>
              <a:gd name="connsiteY1373" fmla="*/ 196339 h 609800"/>
              <a:gd name="connsiteX1374" fmla="*/ 7351157 w 12248682"/>
              <a:gd name="connsiteY1374" fmla="*/ 217128 h 609800"/>
              <a:gd name="connsiteX1375" fmla="*/ 7330369 w 12248682"/>
              <a:gd name="connsiteY1375" fmla="*/ 196339 h 609800"/>
              <a:gd name="connsiteX1376" fmla="*/ 7351157 w 12248682"/>
              <a:gd name="connsiteY1376" fmla="*/ 175550 h 609800"/>
              <a:gd name="connsiteX1377" fmla="*/ 7216030 w 12248682"/>
              <a:gd name="connsiteY1377" fmla="*/ 175550 h 609800"/>
              <a:gd name="connsiteX1378" fmla="*/ 7236819 w 12248682"/>
              <a:gd name="connsiteY1378" fmla="*/ 196339 h 609800"/>
              <a:gd name="connsiteX1379" fmla="*/ 7216030 w 12248682"/>
              <a:gd name="connsiteY1379" fmla="*/ 217128 h 609800"/>
              <a:gd name="connsiteX1380" fmla="*/ 7195241 w 12248682"/>
              <a:gd name="connsiteY1380" fmla="*/ 196339 h 609800"/>
              <a:gd name="connsiteX1381" fmla="*/ 7216030 w 12248682"/>
              <a:gd name="connsiteY1381" fmla="*/ 175550 h 609800"/>
              <a:gd name="connsiteX1382" fmla="*/ 7079748 w 12248682"/>
              <a:gd name="connsiteY1382" fmla="*/ 175550 h 609800"/>
              <a:gd name="connsiteX1383" fmla="*/ 7100537 w 12248682"/>
              <a:gd name="connsiteY1383" fmla="*/ 196339 h 609800"/>
              <a:gd name="connsiteX1384" fmla="*/ 7079748 w 12248682"/>
              <a:gd name="connsiteY1384" fmla="*/ 217128 h 609800"/>
              <a:gd name="connsiteX1385" fmla="*/ 7058959 w 12248682"/>
              <a:gd name="connsiteY1385" fmla="*/ 196339 h 609800"/>
              <a:gd name="connsiteX1386" fmla="*/ 7079748 w 12248682"/>
              <a:gd name="connsiteY1386" fmla="*/ 175550 h 609800"/>
              <a:gd name="connsiteX1387" fmla="*/ 6131548 w 12248682"/>
              <a:gd name="connsiteY1387" fmla="*/ 175550 h 609800"/>
              <a:gd name="connsiteX1388" fmla="*/ 6152336 w 12248682"/>
              <a:gd name="connsiteY1388" fmla="*/ 196339 h 609800"/>
              <a:gd name="connsiteX1389" fmla="*/ 6131548 w 12248682"/>
              <a:gd name="connsiteY1389" fmla="*/ 217128 h 609800"/>
              <a:gd name="connsiteX1390" fmla="*/ 6110759 w 12248682"/>
              <a:gd name="connsiteY1390" fmla="*/ 196339 h 609800"/>
              <a:gd name="connsiteX1391" fmla="*/ 6131548 w 12248682"/>
              <a:gd name="connsiteY1391" fmla="*/ 175550 h 609800"/>
              <a:gd name="connsiteX1392" fmla="*/ 5996418 w 12248682"/>
              <a:gd name="connsiteY1392" fmla="*/ 175550 h 609800"/>
              <a:gd name="connsiteX1393" fmla="*/ 6017209 w 12248682"/>
              <a:gd name="connsiteY1393" fmla="*/ 196339 h 609800"/>
              <a:gd name="connsiteX1394" fmla="*/ 5996418 w 12248682"/>
              <a:gd name="connsiteY1394" fmla="*/ 217128 h 609800"/>
              <a:gd name="connsiteX1395" fmla="*/ 5975631 w 12248682"/>
              <a:gd name="connsiteY1395" fmla="*/ 196339 h 609800"/>
              <a:gd name="connsiteX1396" fmla="*/ 5996418 w 12248682"/>
              <a:gd name="connsiteY1396" fmla="*/ 175550 h 609800"/>
              <a:gd name="connsiteX1397" fmla="*/ 3415142 w 12248682"/>
              <a:gd name="connsiteY1397" fmla="*/ 175550 h 609800"/>
              <a:gd name="connsiteX1398" fmla="*/ 3435930 w 12248682"/>
              <a:gd name="connsiteY1398" fmla="*/ 196339 h 609800"/>
              <a:gd name="connsiteX1399" fmla="*/ 3415142 w 12248682"/>
              <a:gd name="connsiteY1399" fmla="*/ 217128 h 609800"/>
              <a:gd name="connsiteX1400" fmla="*/ 3394352 w 12248682"/>
              <a:gd name="connsiteY1400" fmla="*/ 196339 h 609800"/>
              <a:gd name="connsiteX1401" fmla="*/ 3415142 w 12248682"/>
              <a:gd name="connsiteY1401" fmla="*/ 175550 h 609800"/>
              <a:gd name="connsiteX1402" fmla="*/ 3280013 w 12248682"/>
              <a:gd name="connsiteY1402" fmla="*/ 175550 h 609800"/>
              <a:gd name="connsiteX1403" fmla="*/ 3300802 w 12248682"/>
              <a:gd name="connsiteY1403" fmla="*/ 196339 h 609800"/>
              <a:gd name="connsiteX1404" fmla="*/ 3280013 w 12248682"/>
              <a:gd name="connsiteY1404" fmla="*/ 217128 h 609800"/>
              <a:gd name="connsiteX1405" fmla="*/ 3259224 w 12248682"/>
              <a:gd name="connsiteY1405" fmla="*/ 196339 h 609800"/>
              <a:gd name="connsiteX1406" fmla="*/ 3280013 w 12248682"/>
              <a:gd name="connsiteY1406" fmla="*/ 175550 h 609800"/>
              <a:gd name="connsiteX1407" fmla="*/ 3144887 w 12248682"/>
              <a:gd name="connsiteY1407" fmla="*/ 175550 h 609800"/>
              <a:gd name="connsiteX1408" fmla="*/ 3165675 w 12248682"/>
              <a:gd name="connsiteY1408" fmla="*/ 196339 h 609800"/>
              <a:gd name="connsiteX1409" fmla="*/ 3144887 w 12248682"/>
              <a:gd name="connsiteY1409" fmla="*/ 217128 h 609800"/>
              <a:gd name="connsiteX1410" fmla="*/ 3124098 w 12248682"/>
              <a:gd name="connsiteY1410" fmla="*/ 196339 h 609800"/>
              <a:gd name="connsiteX1411" fmla="*/ 3144887 w 12248682"/>
              <a:gd name="connsiteY1411" fmla="*/ 175550 h 609800"/>
              <a:gd name="connsiteX1412" fmla="*/ 3009759 w 12248682"/>
              <a:gd name="connsiteY1412" fmla="*/ 175550 h 609800"/>
              <a:gd name="connsiteX1413" fmla="*/ 3030548 w 12248682"/>
              <a:gd name="connsiteY1413" fmla="*/ 196339 h 609800"/>
              <a:gd name="connsiteX1414" fmla="*/ 3009759 w 12248682"/>
              <a:gd name="connsiteY1414" fmla="*/ 217128 h 609800"/>
              <a:gd name="connsiteX1415" fmla="*/ 2988971 w 12248682"/>
              <a:gd name="connsiteY1415" fmla="*/ 196339 h 609800"/>
              <a:gd name="connsiteX1416" fmla="*/ 3009759 w 12248682"/>
              <a:gd name="connsiteY1416" fmla="*/ 175550 h 609800"/>
              <a:gd name="connsiteX1417" fmla="*/ 2873476 w 12248682"/>
              <a:gd name="connsiteY1417" fmla="*/ 175550 h 609800"/>
              <a:gd name="connsiteX1418" fmla="*/ 2894265 w 12248682"/>
              <a:gd name="connsiteY1418" fmla="*/ 196339 h 609800"/>
              <a:gd name="connsiteX1419" fmla="*/ 2873476 w 12248682"/>
              <a:gd name="connsiteY1419" fmla="*/ 217128 h 609800"/>
              <a:gd name="connsiteX1420" fmla="*/ 2852688 w 12248682"/>
              <a:gd name="connsiteY1420" fmla="*/ 196339 h 609800"/>
              <a:gd name="connsiteX1421" fmla="*/ 2873476 w 12248682"/>
              <a:gd name="connsiteY1421" fmla="*/ 175550 h 609800"/>
              <a:gd name="connsiteX1422" fmla="*/ 2738350 w 12248682"/>
              <a:gd name="connsiteY1422" fmla="*/ 175550 h 609800"/>
              <a:gd name="connsiteX1423" fmla="*/ 2759139 w 12248682"/>
              <a:gd name="connsiteY1423" fmla="*/ 196339 h 609800"/>
              <a:gd name="connsiteX1424" fmla="*/ 2738350 w 12248682"/>
              <a:gd name="connsiteY1424" fmla="*/ 217128 h 609800"/>
              <a:gd name="connsiteX1425" fmla="*/ 2717562 w 12248682"/>
              <a:gd name="connsiteY1425" fmla="*/ 196339 h 609800"/>
              <a:gd name="connsiteX1426" fmla="*/ 2738350 w 12248682"/>
              <a:gd name="connsiteY1426" fmla="*/ 175550 h 609800"/>
              <a:gd name="connsiteX1427" fmla="*/ 2603222 w 12248682"/>
              <a:gd name="connsiteY1427" fmla="*/ 175550 h 609800"/>
              <a:gd name="connsiteX1428" fmla="*/ 2624011 w 12248682"/>
              <a:gd name="connsiteY1428" fmla="*/ 196339 h 609800"/>
              <a:gd name="connsiteX1429" fmla="*/ 2603222 w 12248682"/>
              <a:gd name="connsiteY1429" fmla="*/ 217128 h 609800"/>
              <a:gd name="connsiteX1430" fmla="*/ 2582433 w 12248682"/>
              <a:gd name="connsiteY1430" fmla="*/ 196339 h 609800"/>
              <a:gd name="connsiteX1431" fmla="*/ 2603222 w 12248682"/>
              <a:gd name="connsiteY1431" fmla="*/ 175550 h 609800"/>
              <a:gd name="connsiteX1432" fmla="*/ 2466940 w 12248682"/>
              <a:gd name="connsiteY1432" fmla="*/ 175550 h 609800"/>
              <a:gd name="connsiteX1433" fmla="*/ 2487729 w 12248682"/>
              <a:gd name="connsiteY1433" fmla="*/ 196339 h 609800"/>
              <a:gd name="connsiteX1434" fmla="*/ 2466940 w 12248682"/>
              <a:gd name="connsiteY1434" fmla="*/ 217128 h 609800"/>
              <a:gd name="connsiteX1435" fmla="*/ 2446151 w 12248682"/>
              <a:gd name="connsiteY1435" fmla="*/ 196339 h 609800"/>
              <a:gd name="connsiteX1436" fmla="*/ 2466940 w 12248682"/>
              <a:gd name="connsiteY1436" fmla="*/ 175550 h 609800"/>
              <a:gd name="connsiteX1437" fmla="*/ 1518739 w 12248682"/>
              <a:gd name="connsiteY1437" fmla="*/ 175550 h 609800"/>
              <a:gd name="connsiteX1438" fmla="*/ 1539528 w 12248682"/>
              <a:gd name="connsiteY1438" fmla="*/ 196339 h 609800"/>
              <a:gd name="connsiteX1439" fmla="*/ 1518739 w 12248682"/>
              <a:gd name="connsiteY1439" fmla="*/ 217128 h 609800"/>
              <a:gd name="connsiteX1440" fmla="*/ 1497951 w 12248682"/>
              <a:gd name="connsiteY1440" fmla="*/ 196339 h 609800"/>
              <a:gd name="connsiteX1441" fmla="*/ 1518739 w 12248682"/>
              <a:gd name="connsiteY1441" fmla="*/ 175550 h 609800"/>
              <a:gd name="connsiteX1442" fmla="*/ 1383611 w 12248682"/>
              <a:gd name="connsiteY1442" fmla="*/ 175550 h 609800"/>
              <a:gd name="connsiteX1443" fmla="*/ 1404400 w 12248682"/>
              <a:gd name="connsiteY1443" fmla="*/ 196339 h 609800"/>
              <a:gd name="connsiteX1444" fmla="*/ 1383611 w 12248682"/>
              <a:gd name="connsiteY1444" fmla="*/ 217128 h 609800"/>
              <a:gd name="connsiteX1445" fmla="*/ 1362823 w 12248682"/>
              <a:gd name="connsiteY1445" fmla="*/ 196339 h 609800"/>
              <a:gd name="connsiteX1446" fmla="*/ 1383611 w 12248682"/>
              <a:gd name="connsiteY1446" fmla="*/ 175550 h 609800"/>
              <a:gd name="connsiteX1447" fmla="*/ 11549947 w 12248682"/>
              <a:gd name="connsiteY1447" fmla="*/ 172086 h 609800"/>
              <a:gd name="connsiteX1448" fmla="*/ 11573046 w 12248682"/>
              <a:gd name="connsiteY1448" fmla="*/ 195185 h 609800"/>
              <a:gd name="connsiteX1449" fmla="*/ 11549947 w 12248682"/>
              <a:gd name="connsiteY1449" fmla="*/ 218283 h 609800"/>
              <a:gd name="connsiteX1450" fmla="*/ 11526848 w 12248682"/>
              <a:gd name="connsiteY1450" fmla="*/ 195185 h 609800"/>
              <a:gd name="connsiteX1451" fmla="*/ 11549947 w 12248682"/>
              <a:gd name="connsiteY1451" fmla="*/ 172086 h 609800"/>
              <a:gd name="connsiteX1452" fmla="*/ 10466618 w 12248682"/>
              <a:gd name="connsiteY1452" fmla="*/ 172086 h 609800"/>
              <a:gd name="connsiteX1453" fmla="*/ 10489717 w 12248682"/>
              <a:gd name="connsiteY1453" fmla="*/ 195185 h 609800"/>
              <a:gd name="connsiteX1454" fmla="*/ 10466618 w 12248682"/>
              <a:gd name="connsiteY1454" fmla="*/ 218283 h 609800"/>
              <a:gd name="connsiteX1455" fmla="*/ 10443520 w 12248682"/>
              <a:gd name="connsiteY1455" fmla="*/ 195185 h 609800"/>
              <a:gd name="connsiteX1456" fmla="*/ 10466618 w 12248682"/>
              <a:gd name="connsiteY1456" fmla="*/ 172086 h 609800"/>
              <a:gd name="connsiteX1457" fmla="*/ 9244698 w 12248682"/>
              <a:gd name="connsiteY1457" fmla="*/ 172086 h 609800"/>
              <a:gd name="connsiteX1458" fmla="*/ 9270107 w 12248682"/>
              <a:gd name="connsiteY1458" fmla="*/ 194029 h 609800"/>
              <a:gd name="connsiteX1459" fmla="*/ 9249318 w 12248682"/>
              <a:gd name="connsiteY1459" fmla="*/ 219438 h 609800"/>
              <a:gd name="connsiteX1460" fmla="*/ 9223909 w 12248682"/>
              <a:gd name="connsiteY1460" fmla="*/ 197494 h 609800"/>
              <a:gd name="connsiteX1461" fmla="*/ 9244698 w 12248682"/>
              <a:gd name="connsiteY1461" fmla="*/ 172086 h 609800"/>
              <a:gd name="connsiteX1462" fmla="*/ 8164231 w 12248682"/>
              <a:gd name="connsiteY1462" fmla="*/ 172086 h 609800"/>
              <a:gd name="connsiteX1463" fmla="*/ 8187331 w 12248682"/>
              <a:gd name="connsiteY1463" fmla="*/ 195185 h 609800"/>
              <a:gd name="connsiteX1464" fmla="*/ 8164231 w 12248682"/>
              <a:gd name="connsiteY1464" fmla="*/ 218283 h 609800"/>
              <a:gd name="connsiteX1465" fmla="*/ 8141133 w 12248682"/>
              <a:gd name="connsiteY1465" fmla="*/ 195185 h 609800"/>
              <a:gd name="connsiteX1466" fmla="*/ 8164231 w 12248682"/>
              <a:gd name="connsiteY1466" fmla="*/ 172086 h 609800"/>
              <a:gd name="connsiteX1467" fmla="*/ 6944621 w 12248682"/>
              <a:gd name="connsiteY1467" fmla="*/ 172086 h 609800"/>
              <a:gd name="connsiteX1468" fmla="*/ 6967719 w 12248682"/>
              <a:gd name="connsiteY1468" fmla="*/ 195185 h 609800"/>
              <a:gd name="connsiteX1469" fmla="*/ 6944621 w 12248682"/>
              <a:gd name="connsiteY1469" fmla="*/ 218283 h 609800"/>
              <a:gd name="connsiteX1470" fmla="*/ 6921522 w 12248682"/>
              <a:gd name="connsiteY1470" fmla="*/ 195185 h 609800"/>
              <a:gd name="connsiteX1471" fmla="*/ 6944621 w 12248682"/>
              <a:gd name="connsiteY1471" fmla="*/ 172086 h 609800"/>
              <a:gd name="connsiteX1472" fmla="*/ 5861292 w 12248682"/>
              <a:gd name="connsiteY1472" fmla="*/ 172086 h 609800"/>
              <a:gd name="connsiteX1473" fmla="*/ 5884392 w 12248682"/>
              <a:gd name="connsiteY1473" fmla="*/ 195185 h 609800"/>
              <a:gd name="connsiteX1474" fmla="*/ 5861292 w 12248682"/>
              <a:gd name="connsiteY1474" fmla="*/ 218283 h 609800"/>
              <a:gd name="connsiteX1475" fmla="*/ 5838194 w 12248682"/>
              <a:gd name="connsiteY1475" fmla="*/ 195185 h 609800"/>
              <a:gd name="connsiteX1476" fmla="*/ 5861292 w 12248682"/>
              <a:gd name="connsiteY1476" fmla="*/ 172086 h 609800"/>
              <a:gd name="connsiteX1477" fmla="*/ 4639374 w 12248682"/>
              <a:gd name="connsiteY1477" fmla="*/ 172086 h 609800"/>
              <a:gd name="connsiteX1478" fmla="*/ 4664780 w 12248682"/>
              <a:gd name="connsiteY1478" fmla="*/ 192875 h 609800"/>
              <a:gd name="connsiteX1479" fmla="*/ 4643991 w 12248682"/>
              <a:gd name="connsiteY1479" fmla="*/ 218283 h 609800"/>
              <a:gd name="connsiteX1480" fmla="*/ 4618583 w 12248682"/>
              <a:gd name="connsiteY1480" fmla="*/ 197494 h 609800"/>
              <a:gd name="connsiteX1481" fmla="*/ 4639374 w 12248682"/>
              <a:gd name="connsiteY1481" fmla="*/ 172086 h 609800"/>
              <a:gd name="connsiteX1482" fmla="*/ 3551423 w 12248682"/>
              <a:gd name="connsiteY1482" fmla="*/ 172086 h 609800"/>
              <a:gd name="connsiteX1483" fmla="*/ 3574522 w 12248682"/>
              <a:gd name="connsiteY1483" fmla="*/ 195185 h 609800"/>
              <a:gd name="connsiteX1484" fmla="*/ 3551423 w 12248682"/>
              <a:gd name="connsiteY1484" fmla="*/ 218283 h 609800"/>
              <a:gd name="connsiteX1485" fmla="*/ 3528325 w 12248682"/>
              <a:gd name="connsiteY1485" fmla="*/ 195185 h 609800"/>
              <a:gd name="connsiteX1486" fmla="*/ 3551423 w 12248682"/>
              <a:gd name="connsiteY1486" fmla="*/ 172086 h 609800"/>
              <a:gd name="connsiteX1487" fmla="*/ 2331813 w 12248682"/>
              <a:gd name="connsiteY1487" fmla="*/ 172086 h 609800"/>
              <a:gd name="connsiteX1488" fmla="*/ 2354912 w 12248682"/>
              <a:gd name="connsiteY1488" fmla="*/ 195185 h 609800"/>
              <a:gd name="connsiteX1489" fmla="*/ 2331813 w 12248682"/>
              <a:gd name="connsiteY1489" fmla="*/ 218283 h 609800"/>
              <a:gd name="connsiteX1490" fmla="*/ 2308714 w 12248682"/>
              <a:gd name="connsiteY1490" fmla="*/ 195185 h 609800"/>
              <a:gd name="connsiteX1491" fmla="*/ 2331813 w 12248682"/>
              <a:gd name="connsiteY1491" fmla="*/ 172086 h 609800"/>
              <a:gd name="connsiteX1492" fmla="*/ 1248485 w 12248682"/>
              <a:gd name="connsiteY1492" fmla="*/ 172086 h 609800"/>
              <a:gd name="connsiteX1493" fmla="*/ 1271583 w 12248682"/>
              <a:gd name="connsiteY1493" fmla="*/ 195185 h 609800"/>
              <a:gd name="connsiteX1494" fmla="*/ 1248485 w 12248682"/>
              <a:gd name="connsiteY1494" fmla="*/ 218283 h 609800"/>
              <a:gd name="connsiteX1495" fmla="*/ 1225386 w 12248682"/>
              <a:gd name="connsiteY1495" fmla="*/ 195185 h 609800"/>
              <a:gd name="connsiteX1496" fmla="*/ 1248485 w 12248682"/>
              <a:gd name="connsiteY1496" fmla="*/ 172086 h 609800"/>
              <a:gd name="connsiteX1497" fmla="*/ 26564 w 12248682"/>
              <a:gd name="connsiteY1497" fmla="*/ 172086 h 609800"/>
              <a:gd name="connsiteX1498" fmla="*/ 51973 w 12248682"/>
              <a:gd name="connsiteY1498" fmla="*/ 194029 h 609800"/>
              <a:gd name="connsiteX1499" fmla="*/ 31184 w 12248682"/>
              <a:gd name="connsiteY1499" fmla="*/ 219438 h 609800"/>
              <a:gd name="connsiteX1500" fmla="*/ 5776 w 12248682"/>
              <a:gd name="connsiteY1500" fmla="*/ 197494 h 609800"/>
              <a:gd name="connsiteX1501" fmla="*/ 26564 w 12248682"/>
              <a:gd name="connsiteY1501" fmla="*/ 172086 h 609800"/>
              <a:gd name="connsiteX1502" fmla="*/ 11414819 w 12248682"/>
              <a:gd name="connsiteY1502" fmla="*/ 166311 h 609800"/>
              <a:gd name="connsiteX1503" fmla="*/ 11443693 w 12248682"/>
              <a:gd name="connsiteY1503" fmla="*/ 195185 h 609800"/>
              <a:gd name="connsiteX1504" fmla="*/ 11414819 w 12248682"/>
              <a:gd name="connsiteY1504" fmla="*/ 224057 h 609800"/>
              <a:gd name="connsiteX1505" fmla="*/ 11385946 w 12248682"/>
              <a:gd name="connsiteY1505" fmla="*/ 195185 h 609800"/>
              <a:gd name="connsiteX1506" fmla="*/ 11414819 w 12248682"/>
              <a:gd name="connsiteY1506" fmla="*/ 166311 h 609800"/>
              <a:gd name="connsiteX1507" fmla="*/ 10330336 w 12248682"/>
              <a:gd name="connsiteY1507" fmla="*/ 166311 h 609800"/>
              <a:gd name="connsiteX1508" fmla="*/ 10359209 w 12248682"/>
              <a:gd name="connsiteY1508" fmla="*/ 195185 h 609800"/>
              <a:gd name="connsiteX1509" fmla="*/ 10330336 w 12248682"/>
              <a:gd name="connsiteY1509" fmla="*/ 224057 h 609800"/>
              <a:gd name="connsiteX1510" fmla="*/ 10301462 w 12248682"/>
              <a:gd name="connsiteY1510" fmla="*/ 195185 h 609800"/>
              <a:gd name="connsiteX1511" fmla="*/ 10330336 w 12248682"/>
              <a:gd name="connsiteY1511" fmla="*/ 166311 h 609800"/>
              <a:gd name="connsiteX1512" fmla="*/ 9382135 w 12248682"/>
              <a:gd name="connsiteY1512" fmla="*/ 166311 h 609800"/>
              <a:gd name="connsiteX1513" fmla="*/ 9411009 w 12248682"/>
              <a:gd name="connsiteY1513" fmla="*/ 195185 h 609800"/>
              <a:gd name="connsiteX1514" fmla="*/ 9382135 w 12248682"/>
              <a:gd name="connsiteY1514" fmla="*/ 224057 h 609800"/>
              <a:gd name="connsiteX1515" fmla="*/ 9353262 w 12248682"/>
              <a:gd name="connsiteY1515" fmla="*/ 195185 h 609800"/>
              <a:gd name="connsiteX1516" fmla="*/ 9382135 w 12248682"/>
              <a:gd name="connsiteY1516" fmla="*/ 166311 h 609800"/>
              <a:gd name="connsiteX1517" fmla="*/ 9112431 w 12248682"/>
              <a:gd name="connsiteY1517" fmla="*/ 166311 h 609800"/>
              <a:gd name="connsiteX1518" fmla="*/ 9141305 w 12248682"/>
              <a:gd name="connsiteY1518" fmla="*/ 195185 h 609800"/>
              <a:gd name="connsiteX1519" fmla="*/ 9112431 w 12248682"/>
              <a:gd name="connsiteY1519" fmla="*/ 224057 h 609800"/>
              <a:gd name="connsiteX1520" fmla="*/ 9083558 w 12248682"/>
              <a:gd name="connsiteY1520" fmla="*/ 195185 h 609800"/>
              <a:gd name="connsiteX1521" fmla="*/ 9112431 w 12248682"/>
              <a:gd name="connsiteY1521" fmla="*/ 166311 h 609800"/>
              <a:gd name="connsiteX1522" fmla="*/ 8299358 w 12248682"/>
              <a:gd name="connsiteY1522" fmla="*/ 166311 h 609800"/>
              <a:gd name="connsiteX1523" fmla="*/ 8328231 w 12248682"/>
              <a:gd name="connsiteY1523" fmla="*/ 195185 h 609800"/>
              <a:gd name="connsiteX1524" fmla="*/ 8299358 w 12248682"/>
              <a:gd name="connsiteY1524" fmla="*/ 224057 h 609800"/>
              <a:gd name="connsiteX1525" fmla="*/ 8270485 w 12248682"/>
              <a:gd name="connsiteY1525" fmla="*/ 195185 h 609800"/>
              <a:gd name="connsiteX1526" fmla="*/ 8299358 w 12248682"/>
              <a:gd name="connsiteY1526" fmla="*/ 166311 h 609800"/>
              <a:gd name="connsiteX1527" fmla="*/ 6809492 w 12248682"/>
              <a:gd name="connsiteY1527" fmla="*/ 166311 h 609800"/>
              <a:gd name="connsiteX1528" fmla="*/ 6838367 w 12248682"/>
              <a:gd name="connsiteY1528" fmla="*/ 195185 h 609800"/>
              <a:gd name="connsiteX1529" fmla="*/ 6809492 w 12248682"/>
              <a:gd name="connsiteY1529" fmla="*/ 224057 h 609800"/>
              <a:gd name="connsiteX1530" fmla="*/ 6780620 w 12248682"/>
              <a:gd name="connsiteY1530" fmla="*/ 195185 h 609800"/>
              <a:gd name="connsiteX1531" fmla="*/ 6809492 w 12248682"/>
              <a:gd name="connsiteY1531" fmla="*/ 166311 h 609800"/>
              <a:gd name="connsiteX1532" fmla="*/ 5726165 w 12248682"/>
              <a:gd name="connsiteY1532" fmla="*/ 166311 h 609800"/>
              <a:gd name="connsiteX1533" fmla="*/ 5755038 w 12248682"/>
              <a:gd name="connsiteY1533" fmla="*/ 195185 h 609800"/>
              <a:gd name="connsiteX1534" fmla="*/ 5726165 w 12248682"/>
              <a:gd name="connsiteY1534" fmla="*/ 224057 h 609800"/>
              <a:gd name="connsiteX1535" fmla="*/ 5697292 w 12248682"/>
              <a:gd name="connsiteY1535" fmla="*/ 195185 h 609800"/>
              <a:gd name="connsiteX1536" fmla="*/ 5726165 w 12248682"/>
              <a:gd name="connsiteY1536" fmla="*/ 166311 h 609800"/>
              <a:gd name="connsiteX1537" fmla="*/ 4776809 w 12248682"/>
              <a:gd name="connsiteY1537" fmla="*/ 166311 h 609800"/>
              <a:gd name="connsiteX1538" fmla="*/ 4805682 w 12248682"/>
              <a:gd name="connsiteY1538" fmla="*/ 195185 h 609800"/>
              <a:gd name="connsiteX1539" fmla="*/ 4776809 w 12248682"/>
              <a:gd name="connsiteY1539" fmla="*/ 224057 h 609800"/>
              <a:gd name="connsiteX1540" fmla="*/ 4747936 w 12248682"/>
              <a:gd name="connsiteY1540" fmla="*/ 195185 h 609800"/>
              <a:gd name="connsiteX1541" fmla="*/ 4776809 w 12248682"/>
              <a:gd name="connsiteY1541" fmla="*/ 166311 h 609800"/>
              <a:gd name="connsiteX1542" fmla="*/ 4499625 w 12248682"/>
              <a:gd name="connsiteY1542" fmla="*/ 166311 h 609800"/>
              <a:gd name="connsiteX1543" fmla="*/ 4528499 w 12248682"/>
              <a:gd name="connsiteY1543" fmla="*/ 195185 h 609800"/>
              <a:gd name="connsiteX1544" fmla="*/ 4499625 w 12248682"/>
              <a:gd name="connsiteY1544" fmla="*/ 224057 h 609800"/>
              <a:gd name="connsiteX1545" fmla="*/ 4470752 w 12248682"/>
              <a:gd name="connsiteY1545" fmla="*/ 195185 h 609800"/>
              <a:gd name="connsiteX1546" fmla="*/ 4499625 w 12248682"/>
              <a:gd name="connsiteY1546" fmla="*/ 166311 h 609800"/>
              <a:gd name="connsiteX1547" fmla="*/ 3686551 w 12248682"/>
              <a:gd name="connsiteY1547" fmla="*/ 166311 h 609800"/>
              <a:gd name="connsiteX1548" fmla="*/ 3715424 w 12248682"/>
              <a:gd name="connsiteY1548" fmla="*/ 195185 h 609800"/>
              <a:gd name="connsiteX1549" fmla="*/ 3686551 w 12248682"/>
              <a:gd name="connsiteY1549" fmla="*/ 224057 h 609800"/>
              <a:gd name="connsiteX1550" fmla="*/ 3657677 w 12248682"/>
              <a:gd name="connsiteY1550" fmla="*/ 195185 h 609800"/>
              <a:gd name="connsiteX1551" fmla="*/ 3686551 w 12248682"/>
              <a:gd name="connsiteY1551" fmla="*/ 166311 h 609800"/>
              <a:gd name="connsiteX1552" fmla="*/ 2196685 w 12248682"/>
              <a:gd name="connsiteY1552" fmla="*/ 166311 h 609800"/>
              <a:gd name="connsiteX1553" fmla="*/ 2225559 w 12248682"/>
              <a:gd name="connsiteY1553" fmla="*/ 195185 h 609800"/>
              <a:gd name="connsiteX1554" fmla="*/ 2196685 w 12248682"/>
              <a:gd name="connsiteY1554" fmla="*/ 224057 h 609800"/>
              <a:gd name="connsiteX1555" fmla="*/ 2167813 w 12248682"/>
              <a:gd name="connsiteY1555" fmla="*/ 195185 h 609800"/>
              <a:gd name="connsiteX1556" fmla="*/ 2196685 w 12248682"/>
              <a:gd name="connsiteY1556" fmla="*/ 166311 h 609800"/>
              <a:gd name="connsiteX1557" fmla="*/ 1112202 w 12248682"/>
              <a:gd name="connsiteY1557" fmla="*/ 166311 h 609800"/>
              <a:gd name="connsiteX1558" fmla="*/ 1141075 w 12248682"/>
              <a:gd name="connsiteY1558" fmla="*/ 195185 h 609800"/>
              <a:gd name="connsiteX1559" fmla="*/ 1112202 w 12248682"/>
              <a:gd name="connsiteY1559" fmla="*/ 224057 h 609800"/>
              <a:gd name="connsiteX1560" fmla="*/ 1083328 w 12248682"/>
              <a:gd name="connsiteY1560" fmla="*/ 195185 h 609800"/>
              <a:gd name="connsiteX1561" fmla="*/ 1112202 w 12248682"/>
              <a:gd name="connsiteY1561" fmla="*/ 166311 h 609800"/>
              <a:gd name="connsiteX1562" fmla="*/ 164001 w 12248682"/>
              <a:gd name="connsiteY1562" fmla="*/ 166311 h 609800"/>
              <a:gd name="connsiteX1563" fmla="*/ 192875 w 12248682"/>
              <a:gd name="connsiteY1563" fmla="*/ 195185 h 609800"/>
              <a:gd name="connsiteX1564" fmla="*/ 164001 w 12248682"/>
              <a:gd name="connsiteY1564" fmla="*/ 224057 h 609800"/>
              <a:gd name="connsiteX1565" fmla="*/ 135128 w 12248682"/>
              <a:gd name="connsiteY1565" fmla="*/ 195185 h 609800"/>
              <a:gd name="connsiteX1566" fmla="*/ 164001 w 12248682"/>
              <a:gd name="connsiteY1566" fmla="*/ 166311 h 609800"/>
              <a:gd name="connsiteX1567" fmla="*/ 11279692 w 12248682"/>
              <a:gd name="connsiteY1567" fmla="*/ 160537 h 609800"/>
              <a:gd name="connsiteX1568" fmla="*/ 11314340 w 12248682"/>
              <a:gd name="connsiteY1568" fmla="*/ 195185 h 609800"/>
              <a:gd name="connsiteX1569" fmla="*/ 11279692 w 12248682"/>
              <a:gd name="connsiteY1569" fmla="*/ 229833 h 609800"/>
              <a:gd name="connsiteX1570" fmla="*/ 11245044 w 12248682"/>
              <a:gd name="connsiteY1570" fmla="*/ 195185 h 609800"/>
              <a:gd name="connsiteX1571" fmla="*/ 11279692 w 12248682"/>
              <a:gd name="connsiteY1571" fmla="*/ 160537 h 609800"/>
              <a:gd name="connsiteX1572" fmla="*/ 10195208 w 12248682"/>
              <a:gd name="connsiteY1572" fmla="*/ 160537 h 609800"/>
              <a:gd name="connsiteX1573" fmla="*/ 10229856 w 12248682"/>
              <a:gd name="connsiteY1573" fmla="*/ 195185 h 609800"/>
              <a:gd name="connsiteX1574" fmla="*/ 10195208 w 12248682"/>
              <a:gd name="connsiteY1574" fmla="*/ 229833 h 609800"/>
              <a:gd name="connsiteX1575" fmla="*/ 10160560 w 12248682"/>
              <a:gd name="connsiteY1575" fmla="*/ 195185 h 609800"/>
              <a:gd name="connsiteX1576" fmla="*/ 10195208 w 12248682"/>
              <a:gd name="connsiteY1576" fmla="*/ 160537 h 609800"/>
              <a:gd name="connsiteX1577" fmla="*/ 9518417 w 12248682"/>
              <a:gd name="connsiteY1577" fmla="*/ 160537 h 609800"/>
              <a:gd name="connsiteX1578" fmla="*/ 9553065 w 12248682"/>
              <a:gd name="connsiteY1578" fmla="*/ 195185 h 609800"/>
              <a:gd name="connsiteX1579" fmla="*/ 9518417 w 12248682"/>
              <a:gd name="connsiteY1579" fmla="*/ 229833 h 609800"/>
              <a:gd name="connsiteX1580" fmla="*/ 9483769 w 12248682"/>
              <a:gd name="connsiteY1580" fmla="*/ 195185 h 609800"/>
              <a:gd name="connsiteX1581" fmla="*/ 9518417 w 12248682"/>
              <a:gd name="connsiteY1581" fmla="*/ 160537 h 609800"/>
              <a:gd name="connsiteX1582" fmla="*/ 8977304 w 12248682"/>
              <a:gd name="connsiteY1582" fmla="*/ 160537 h 609800"/>
              <a:gd name="connsiteX1583" fmla="*/ 9011952 w 12248682"/>
              <a:gd name="connsiteY1583" fmla="*/ 195185 h 609800"/>
              <a:gd name="connsiteX1584" fmla="*/ 8977304 w 12248682"/>
              <a:gd name="connsiteY1584" fmla="*/ 229833 h 609800"/>
              <a:gd name="connsiteX1585" fmla="*/ 8942656 w 12248682"/>
              <a:gd name="connsiteY1585" fmla="*/ 195185 h 609800"/>
              <a:gd name="connsiteX1586" fmla="*/ 8977304 w 12248682"/>
              <a:gd name="connsiteY1586" fmla="*/ 160537 h 609800"/>
              <a:gd name="connsiteX1587" fmla="*/ 8434485 w 12248682"/>
              <a:gd name="connsiteY1587" fmla="*/ 160537 h 609800"/>
              <a:gd name="connsiteX1588" fmla="*/ 8469133 w 12248682"/>
              <a:gd name="connsiteY1588" fmla="*/ 195185 h 609800"/>
              <a:gd name="connsiteX1589" fmla="*/ 8434485 w 12248682"/>
              <a:gd name="connsiteY1589" fmla="*/ 229833 h 609800"/>
              <a:gd name="connsiteX1590" fmla="*/ 8399837 w 12248682"/>
              <a:gd name="connsiteY1590" fmla="*/ 195185 h 609800"/>
              <a:gd name="connsiteX1591" fmla="*/ 8434485 w 12248682"/>
              <a:gd name="connsiteY1591" fmla="*/ 160537 h 609800"/>
              <a:gd name="connsiteX1592" fmla="*/ 6674366 w 12248682"/>
              <a:gd name="connsiteY1592" fmla="*/ 160537 h 609800"/>
              <a:gd name="connsiteX1593" fmla="*/ 6709014 w 12248682"/>
              <a:gd name="connsiteY1593" fmla="*/ 195185 h 609800"/>
              <a:gd name="connsiteX1594" fmla="*/ 6674366 w 12248682"/>
              <a:gd name="connsiteY1594" fmla="*/ 229833 h 609800"/>
              <a:gd name="connsiteX1595" fmla="*/ 6639717 w 12248682"/>
              <a:gd name="connsiteY1595" fmla="*/ 195185 h 609800"/>
              <a:gd name="connsiteX1596" fmla="*/ 6674366 w 12248682"/>
              <a:gd name="connsiteY1596" fmla="*/ 160537 h 609800"/>
              <a:gd name="connsiteX1597" fmla="*/ 5589882 w 12248682"/>
              <a:gd name="connsiteY1597" fmla="*/ 160537 h 609800"/>
              <a:gd name="connsiteX1598" fmla="*/ 5624531 w 12248682"/>
              <a:gd name="connsiteY1598" fmla="*/ 195185 h 609800"/>
              <a:gd name="connsiteX1599" fmla="*/ 5589882 w 12248682"/>
              <a:gd name="connsiteY1599" fmla="*/ 229833 h 609800"/>
              <a:gd name="connsiteX1600" fmla="*/ 5555234 w 12248682"/>
              <a:gd name="connsiteY1600" fmla="*/ 195185 h 609800"/>
              <a:gd name="connsiteX1601" fmla="*/ 5589882 w 12248682"/>
              <a:gd name="connsiteY1601" fmla="*/ 160537 h 609800"/>
              <a:gd name="connsiteX1602" fmla="*/ 4913091 w 12248682"/>
              <a:gd name="connsiteY1602" fmla="*/ 160537 h 609800"/>
              <a:gd name="connsiteX1603" fmla="*/ 4947739 w 12248682"/>
              <a:gd name="connsiteY1603" fmla="*/ 195185 h 609800"/>
              <a:gd name="connsiteX1604" fmla="*/ 4913091 w 12248682"/>
              <a:gd name="connsiteY1604" fmla="*/ 229833 h 609800"/>
              <a:gd name="connsiteX1605" fmla="*/ 4878443 w 12248682"/>
              <a:gd name="connsiteY1605" fmla="*/ 195185 h 609800"/>
              <a:gd name="connsiteX1606" fmla="*/ 4913091 w 12248682"/>
              <a:gd name="connsiteY1606" fmla="*/ 160537 h 609800"/>
              <a:gd name="connsiteX1607" fmla="*/ 4364499 w 12248682"/>
              <a:gd name="connsiteY1607" fmla="*/ 160537 h 609800"/>
              <a:gd name="connsiteX1608" fmla="*/ 4399146 w 12248682"/>
              <a:gd name="connsiteY1608" fmla="*/ 195185 h 609800"/>
              <a:gd name="connsiteX1609" fmla="*/ 4364499 w 12248682"/>
              <a:gd name="connsiteY1609" fmla="*/ 229833 h 609800"/>
              <a:gd name="connsiteX1610" fmla="*/ 4329850 w 12248682"/>
              <a:gd name="connsiteY1610" fmla="*/ 195185 h 609800"/>
              <a:gd name="connsiteX1611" fmla="*/ 4364499 w 12248682"/>
              <a:gd name="connsiteY1611" fmla="*/ 160537 h 609800"/>
              <a:gd name="connsiteX1612" fmla="*/ 3821678 w 12248682"/>
              <a:gd name="connsiteY1612" fmla="*/ 160537 h 609800"/>
              <a:gd name="connsiteX1613" fmla="*/ 3856326 w 12248682"/>
              <a:gd name="connsiteY1613" fmla="*/ 195185 h 609800"/>
              <a:gd name="connsiteX1614" fmla="*/ 3821678 w 12248682"/>
              <a:gd name="connsiteY1614" fmla="*/ 229833 h 609800"/>
              <a:gd name="connsiteX1615" fmla="*/ 3787030 w 12248682"/>
              <a:gd name="connsiteY1615" fmla="*/ 195185 h 609800"/>
              <a:gd name="connsiteX1616" fmla="*/ 3821678 w 12248682"/>
              <a:gd name="connsiteY1616" fmla="*/ 160537 h 609800"/>
              <a:gd name="connsiteX1617" fmla="*/ 2061558 w 12248682"/>
              <a:gd name="connsiteY1617" fmla="*/ 160537 h 609800"/>
              <a:gd name="connsiteX1618" fmla="*/ 2096206 w 12248682"/>
              <a:gd name="connsiteY1618" fmla="*/ 195185 h 609800"/>
              <a:gd name="connsiteX1619" fmla="*/ 2061558 w 12248682"/>
              <a:gd name="connsiteY1619" fmla="*/ 229833 h 609800"/>
              <a:gd name="connsiteX1620" fmla="*/ 2026910 w 12248682"/>
              <a:gd name="connsiteY1620" fmla="*/ 195185 h 609800"/>
              <a:gd name="connsiteX1621" fmla="*/ 2061558 w 12248682"/>
              <a:gd name="connsiteY1621" fmla="*/ 160537 h 609800"/>
              <a:gd name="connsiteX1622" fmla="*/ 977075 w 12248682"/>
              <a:gd name="connsiteY1622" fmla="*/ 160537 h 609800"/>
              <a:gd name="connsiteX1623" fmla="*/ 1011723 w 12248682"/>
              <a:gd name="connsiteY1623" fmla="*/ 195185 h 609800"/>
              <a:gd name="connsiteX1624" fmla="*/ 977075 w 12248682"/>
              <a:gd name="connsiteY1624" fmla="*/ 229833 h 609800"/>
              <a:gd name="connsiteX1625" fmla="*/ 942427 w 12248682"/>
              <a:gd name="connsiteY1625" fmla="*/ 195185 h 609800"/>
              <a:gd name="connsiteX1626" fmla="*/ 977075 w 12248682"/>
              <a:gd name="connsiteY1626" fmla="*/ 160537 h 609800"/>
              <a:gd name="connsiteX1627" fmla="*/ 300283 w 12248682"/>
              <a:gd name="connsiteY1627" fmla="*/ 160537 h 609800"/>
              <a:gd name="connsiteX1628" fmla="*/ 334931 w 12248682"/>
              <a:gd name="connsiteY1628" fmla="*/ 195185 h 609800"/>
              <a:gd name="connsiteX1629" fmla="*/ 300283 w 12248682"/>
              <a:gd name="connsiteY1629" fmla="*/ 229833 h 609800"/>
              <a:gd name="connsiteX1630" fmla="*/ 265635 w 12248682"/>
              <a:gd name="connsiteY1630" fmla="*/ 195185 h 609800"/>
              <a:gd name="connsiteX1631" fmla="*/ 300283 w 12248682"/>
              <a:gd name="connsiteY1631" fmla="*/ 160537 h 609800"/>
              <a:gd name="connsiteX1632" fmla="*/ 11143410 w 12248682"/>
              <a:gd name="connsiteY1632" fmla="*/ 154761 h 609800"/>
              <a:gd name="connsiteX1633" fmla="*/ 11183832 w 12248682"/>
              <a:gd name="connsiteY1633" fmla="*/ 195185 h 609800"/>
              <a:gd name="connsiteX1634" fmla="*/ 11143410 w 12248682"/>
              <a:gd name="connsiteY1634" fmla="*/ 235607 h 609800"/>
              <a:gd name="connsiteX1635" fmla="*/ 11102987 w 12248682"/>
              <a:gd name="connsiteY1635" fmla="*/ 195185 h 609800"/>
              <a:gd name="connsiteX1636" fmla="*/ 11143410 w 12248682"/>
              <a:gd name="connsiteY1636" fmla="*/ 154761 h 609800"/>
              <a:gd name="connsiteX1637" fmla="*/ 10873155 w 12248682"/>
              <a:gd name="connsiteY1637" fmla="*/ 154761 h 609800"/>
              <a:gd name="connsiteX1638" fmla="*/ 10913577 w 12248682"/>
              <a:gd name="connsiteY1638" fmla="*/ 195185 h 609800"/>
              <a:gd name="connsiteX1639" fmla="*/ 10873155 w 12248682"/>
              <a:gd name="connsiteY1639" fmla="*/ 235607 h 609800"/>
              <a:gd name="connsiteX1640" fmla="*/ 10832732 w 12248682"/>
              <a:gd name="connsiteY1640" fmla="*/ 195185 h 609800"/>
              <a:gd name="connsiteX1641" fmla="*/ 10873155 w 12248682"/>
              <a:gd name="connsiteY1641" fmla="*/ 154761 h 609800"/>
              <a:gd name="connsiteX1642" fmla="*/ 10060082 w 12248682"/>
              <a:gd name="connsiteY1642" fmla="*/ 154761 h 609800"/>
              <a:gd name="connsiteX1643" fmla="*/ 10100504 w 12248682"/>
              <a:gd name="connsiteY1643" fmla="*/ 195185 h 609800"/>
              <a:gd name="connsiteX1644" fmla="*/ 10060082 w 12248682"/>
              <a:gd name="connsiteY1644" fmla="*/ 235607 h 609800"/>
              <a:gd name="connsiteX1645" fmla="*/ 10019658 w 12248682"/>
              <a:gd name="connsiteY1645" fmla="*/ 195185 h 609800"/>
              <a:gd name="connsiteX1646" fmla="*/ 10060082 w 12248682"/>
              <a:gd name="connsiteY1646" fmla="*/ 154761 h 609800"/>
              <a:gd name="connsiteX1647" fmla="*/ 9653545 w 12248682"/>
              <a:gd name="connsiteY1647" fmla="*/ 154761 h 609800"/>
              <a:gd name="connsiteX1648" fmla="*/ 9693967 w 12248682"/>
              <a:gd name="connsiteY1648" fmla="*/ 195185 h 609800"/>
              <a:gd name="connsiteX1649" fmla="*/ 9653545 w 12248682"/>
              <a:gd name="connsiteY1649" fmla="*/ 235607 h 609800"/>
              <a:gd name="connsiteX1650" fmla="*/ 9613122 w 12248682"/>
              <a:gd name="connsiteY1650" fmla="*/ 195185 h 609800"/>
              <a:gd name="connsiteX1651" fmla="*/ 9653545 w 12248682"/>
              <a:gd name="connsiteY1651" fmla="*/ 154761 h 609800"/>
              <a:gd name="connsiteX1652" fmla="*/ 8841022 w 12248682"/>
              <a:gd name="connsiteY1652" fmla="*/ 154761 h 609800"/>
              <a:gd name="connsiteX1653" fmla="*/ 8881444 w 12248682"/>
              <a:gd name="connsiteY1653" fmla="*/ 195185 h 609800"/>
              <a:gd name="connsiteX1654" fmla="*/ 8841022 w 12248682"/>
              <a:gd name="connsiteY1654" fmla="*/ 235607 h 609800"/>
              <a:gd name="connsiteX1655" fmla="*/ 8800599 w 12248682"/>
              <a:gd name="connsiteY1655" fmla="*/ 195185 h 609800"/>
              <a:gd name="connsiteX1656" fmla="*/ 8841022 w 12248682"/>
              <a:gd name="connsiteY1656" fmla="*/ 154761 h 609800"/>
              <a:gd name="connsiteX1657" fmla="*/ 8570767 w 12248682"/>
              <a:gd name="connsiteY1657" fmla="*/ 154761 h 609800"/>
              <a:gd name="connsiteX1658" fmla="*/ 8611190 w 12248682"/>
              <a:gd name="connsiteY1658" fmla="*/ 195185 h 609800"/>
              <a:gd name="connsiteX1659" fmla="*/ 8570767 w 12248682"/>
              <a:gd name="connsiteY1659" fmla="*/ 235607 h 609800"/>
              <a:gd name="connsiteX1660" fmla="*/ 8530344 w 12248682"/>
              <a:gd name="connsiteY1660" fmla="*/ 195185 h 609800"/>
              <a:gd name="connsiteX1661" fmla="*/ 8570767 w 12248682"/>
              <a:gd name="connsiteY1661" fmla="*/ 154761 h 609800"/>
              <a:gd name="connsiteX1662" fmla="*/ 6538083 w 12248682"/>
              <a:gd name="connsiteY1662" fmla="*/ 154761 h 609800"/>
              <a:gd name="connsiteX1663" fmla="*/ 6578507 w 12248682"/>
              <a:gd name="connsiteY1663" fmla="*/ 195185 h 609800"/>
              <a:gd name="connsiteX1664" fmla="*/ 6538083 w 12248682"/>
              <a:gd name="connsiteY1664" fmla="*/ 235607 h 609800"/>
              <a:gd name="connsiteX1665" fmla="*/ 6497661 w 12248682"/>
              <a:gd name="connsiteY1665" fmla="*/ 195185 h 609800"/>
              <a:gd name="connsiteX1666" fmla="*/ 6538083 w 12248682"/>
              <a:gd name="connsiteY1666" fmla="*/ 154761 h 609800"/>
              <a:gd name="connsiteX1667" fmla="*/ 6267830 w 12248682"/>
              <a:gd name="connsiteY1667" fmla="*/ 154761 h 609800"/>
              <a:gd name="connsiteX1668" fmla="*/ 6308251 w 12248682"/>
              <a:gd name="connsiteY1668" fmla="*/ 195185 h 609800"/>
              <a:gd name="connsiteX1669" fmla="*/ 6267830 w 12248682"/>
              <a:gd name="connsiteY1669" fmla="*/ 235607 h 609800"/>
              <a:gd name="connsiteX1670" fmla="*/ 6227406 w 12248682"/>
              <a:gd name="connsiteY1670" fmla="*/ 195185 h 609800"/>
              <a:gd name="connsiteX1671" fmla="*/ 6267830 w 12248682"/>
              <a:gd name="connsiteY1671" fmla="*/ 154761 h 609800"/>
              <a:gd name="connsiteX1672" fmla="*/ 5454756 w 12248682"/>
              <a:gd name="connsiteY1672" fmla="*/ 154761 h 609800"/>
              <a:gd name="connsiteX1673" fmla="*/ 5495178 w 12248682"/>
              <a:gd name="connsiteY1673" fmla="*/ 195185 h 609800"/>
              <a:gd name="connsiteX1674" fmla="*/ 5454756 w 12248682"/>
              <a:gd name="connsiteY1674" fmla="*/ 235607 h 609800"/>
              <a:gd name="connsiteX1675" fmla="*/ 5414332 w 12248682"/>
              <a:gd name="connsiteY1675" fmla="*/ 195185 h 609800"/>
              <a:gd name="connsiteX1676" fmla="*/ 5454756 w 12248682"/>
              <a:gd name="connsiteY1676" fmla="*/ 154761 h 609800"/>
              <a:gd name="connsiteX1677" fmla="*/ 5048218 w 12248682"/>
              <a:gd name="connsiteY1677" fmla="*/ 154761 h 609800"/>
              <a:gd name="connsiteX1678" fmla="*/ 5088641 w 12248682"/>
              <a:gd name="connsiteY1678" fmla="*/ 195185 h 609800"/>
              <a:gd name="connsiteX1679" fmla="*/ 5048218 w 12248682"/>
              <a:gd name="connsiteY1679" fmla="*/ 235607 h 609800"/>
              <a:gd name="connsiteX1680" fmla="*/ 5007796 w 12248682"/>
              <a:gd name="connsiteY1680" fmla="*/ 195185 h 609800"/>
              <a:gd name="connsiteX1681" fmla="*/ 5048218 w 12248682"/>
              <a:gd name="connsiteY1681" fmla="*/ 154761 h 609800"/>
              <a:gd name="connsiteX1682" fmla="*/ 4228217 w 12248682"/>
              <a:gd name="connsiteY1682" fmla="*/ 154761 h 609800"/>
              <a:gd name="connsiteX1683" fmla="*/ 4268637 w 12248682"/>
              <a:gd name="connsiteY1683" fmla="*/ 195185 h 609800"/>
              <a:gd name="connsiteX1684" fmla="*/ 4228217 w 12248682"/>
              <a:gd name="connsiteY1684" fmla="*/ 235607 h 609800"/>
              <a:gd name="connsiteX1685" fmla="*/ 4187792 w 12248682"/>
              <a:gd name="connsiteY1685" fmla="*/ 195185 h 609800"/>
              <a:gd name="connsiteX1686" fmla="*/ 4228217 w 12248682"/>
              <a:gd name="connsiteY1686" fmla="*/ 154761 h 609800"/>
              <a:gd name="connsiteX1687" fmla="*/ 3957960 w 12248682"/>
              <a:gd name="connsiteY1687" fmla="*/ 154761 h 609800"/>
              <a:gd name="connsiteX1688" fmla="*/ 3998382 w 12248682"/>
              <a:gd name="connsiteY1688" fmla="*/ 195185 h 609800"/>
              <a:gd name="connsiteX1689" fmla="*/ 3957960 w 12248682"/>
              <a:gd name="connsiteY1689" fmla="*/ 235607 h 609800"/>
              <a:gd name="connsiteX1690" fmla="*/ 3917537 w 12248682"/>
              <a:gd name="connsiteY1690" fmla="*/ 195185 h 609800"/>
              <a:gd name="connsiteX1691" fmla="*/ 3957960 w 12248682"/>
              <a:gd name="connsiteY1691" fmla="*/ 154761 h 609800"/>
              <a:gd name="connsiteX1692" fmla="*/ 1925276 w 12248682"/>
              <a:gd name="connsiteY1692" fmla="*/ 154761 h 609800"/>
              <a:gd name="connsiteX1693" fmla="*/ 1965698 w 12248682"/>
              <a:gd name="connsiteY1693" fmla="*/ 195185 h 609800"/>
              <a:gd name="connsiteX1694" fmla="*/ 1925276 w 12248682"/>
              <a:gd name="connsiteY1694" fmla="*/ 235607 h 609800"/>
              <a:gd name="connsiteX1695" fmla="*/ 1884853 w 12248682"/>
              <a:gd name="connsiteY1695" fmla="*/ 195185 h 609800"/>
              <a:gd name="connsiteX1696" fmla="*/ 1925276 w 12248682"/>
              <a:gd name="connsiteY1696" fmla="*/ 154761 h 609800"/>
              <a:gd name="connsiteX1697" fmla="*/ 1655022 w 12248682"/>
              <a:gd name="connsiteY1697" fmla="*/ 154761 h 609800"/>
              <a:gd name="connsiteX1698" fmla="*/ 1695444 w 12248682"/>
              <a:gd name="connsiteY1698" fmla="*/ 195185 h 609800"/>
              <a:gd name="connsiteX1699" fmla="*/ 1655022 w 12248682"/>
              <a:gd name="connsiteY1699" fmla="*/ 235607 h 609800"/>
              <a:gd name="connsiteX1700" fmla="*/ 1614598 w 12248682"/>
              <a:gd name="connsiteY1700" fmla="*/ 195185 h 609800"/>
              <a:gd name="connsiteX1701" fmla="*/ 1655022 w 12248682"/>
              <a:gd name="connsiteY1701" fmla="*/ 154761 h 609800"/>
              <a:gd name="connsiteX1702" fmla="*/ 841948 w 12248682"/>
              <a:gd name="connsiteY1702" fmla="*/ 154761 h 609800"/>
              <a:gd name="connsiteX1703" fmla="*/ 882370 w 12248682"/>
              <a:gd name="connsiteY1703" fmla="*/ 195185 h 609800"/>
              <a:gd name="connsiteX1704" fmla="*/ 841948 w 12248682"/>
              <a:gd name="connsiteY1704" fmla="*/ 235607 h 609800"/>
              <a:gd name="connsiteX1705" fmla="*/ 801525 w 12248682"/>
              <a:gd name="connsiteY1705" fmla="*/ 195185 h 609800"/>
              <a:gd name="connsiteX1706" fmla="*/ 841948 w 12248682"/>
              <a:gd name="connsiteY1706" fmla="*/ 154761 h 609800"/>
              <a:gd name="connsiteX1707" fmla="*/ 435411 w 12248682"/>
              <a:gd name="connsiteY1707" fmla="*/ 154761 h 609800"/>
              <a:gd name="connsiteX1708" fmla="*/ 475833 w 12248682"/>
              <a:gd name="connsiteY1708" fmla="*/ 195185 h 609800"/>
              <a:gd name="connsiteX1709" fmla="*/ 435411 w 12248682"/>
              <a:gd name="connsiteY1709" fmla="*/ 235607 h 609800"/>
              <a:gd name="connsiteX1710" fmla="*/ 394988 w 12248682"/>
              <a:gd name="connsiteY1710" fmla="*/ 195185 h 609800"/>
              <a:gd name="connsiteX1711" fmla="*/ 435411 w 12248682"/>
              <a:gd name="connsiteY1711" fmla="*/ 154761 h 609800"/>
              <a:gd name="connsiteX1712" fmla="*/ 11008282 w 12248682"/>
              <a:gd name="connsiteY1712" fmla="*/ 144368 h 609800"/>
              <a:gd name="connsiteX1713" fmla="*/ 11059099 w 12248682"/>
              <a:gd name="connsiteY1713" fmla="*/ 195185 h 609800"/>
              <a:gd name="connsiteX1714" fmla="*/ 11008282 w 12248682"/>
              <a:gd name="connsiteY1714" fmla="*/ 246002 h 609800"/>
              <a:gd name="connsiteX1715" fmla="*/ 10957465 w 12248682"/>
              <a:gd name="connsiteY1715" fmla="*/ 195185 h 609800"/>
              <a:gd name="connsiteX1716" fmla="*/ 11008282 w 12248682"/>
              <a:gd name="connsiteY1716" fmla="*/ 144368 h 609800"/>
              <a:gd name="connsiteX1717" fmla="*/ 9924954 w 12248682"/>
              <a:gd name="connsiteY1717" fmla="*/ 144368 h 609800"/>
              <a:gd name="connsiteX1718" fmla="*/ 9975771 w 12248682"/>
              <a:gd name="connsiteY1718" fmla="*/ 195185 h 609800"/>
              <a:gd name="connsiteX1719" fmla="*/ 9924954 w 12248682"/>
              <a:gd name="connsiteY1719" fmla="*/ 246002 h 609800"/>
              <a:gd name="connsiteX1720" fmla="*/ 9874137 w 12248682"/>
              <a:gd name="connsiteY1720" fmla="*/ 195185 h 609800"/>
              <a:gd name="connsiteX1721" fmla="*/ 9924954 w 12248682"/>
              <a:gd name="connsiteY1721" fmla="*/ 144368 h 609800"/>
              <a:gd name="connsiteX1722" fmla="*/ 9788672 w 12248682"/>
              <a:gd name="connsiteY1722" fmla="*/ 144368 h 609800"/>
              <a:gd name="connsiteX1723" fmla="*/ 9839489 w 12248682"/>
              <a:gd name="connsiteY1723" fmla="*/ 195185 h 609800"/>
              <a:gd name="connsiteX1724" fmla="*/ 9788672 w 12248682"/>
              <a:gd name="connsiteY1724" fmla="*/ 246002 h 609800"/>
              <a:gd name="connsiteX1725" fmla="*/ 9737854 w 12248682"/>
              <a:gd name="connsiteY1725" fmla="*/ 195185 h 609800"/>
              <a:gd name="connsiteX1726" fmla="*/ 9788672 w 12248682"/>
              <a:gd name="connsiteY1726" fmla="*/ 144368 h 609800"/>
              <a:gd name="connsiteX1727" fmla="*/ 8705894 w 12248682"/>
              <a:gd name="connsiteY1727" fmla="*/ 144368 h 609800"/>
              <a:gd name="connsiteX1728" fmla="*/ 8756711 w 12248682"/>
              <a:gd name="connsiteY1728" fmla="*/ 195185 h 609800"/>
              <a:gd name="connsiteX1729" fmla="*/ 8705894 w 12248682"/>
              <a:gd name="connsiteY1729" fmla="*/ 246002 h 609800"/>
              <a:gd name="connsiteX1730" fmla="*/ 8655077 w 12248682"/>
              <a:gd name="connsiteY1730" fmla="*/ 195185 h 609800"/>
              <a:gd name="connsiteX1731" fmla="*/ 8705894 w 12248682"/>
              <a:gd name="connsiteY1731" fmla="*/ 144368 h 609800"/>
              <a:gd name="connsiteX1732" fmla="*/ 6402956 w 12248682"/>
              <a:gd name="connsiteY1732" fmla="*/ 144368 h 609800"/>
              <a:gd name="connsiteX1733" fmla="*/ 6453773 w 12248682"/>
              <a:gd name="connsiteY1733" fmla="*/ 195185 h 609800"/>
              <a:gd name="connsiteX1734" fmla="*/ 6402956 w 12248682"/>
              <a:gd name="connsiteY1734" fmla="*/ 246002 h 609800"/>
              <a:gd name="connsiteX1735" fmla="*/ 6352139 w 12248682"/>
              <a:gd name="connsiteY1735" fmla="*/ 195185 h 609800"/>
              <a:gd name="connsiteX1736" fmla="*/ 6402956 w 12248682"/>
              <a:gd name="connsiteY1736" fmla="*/ 144368 h 609800"/>
              <a:gd name="connsiteX1737" fmla="*/ 5319628 w 12248682"/>
              <a:gd name="connsiteY1737" fmla="*/ 144368 h 609800"/>
              <a:gd name="connsiteX1738" fmla="*/ 5370444 w 12248682"/>
              <a:gd name="connsiteY1738" fmla="*/ 195185 h 609800"/>
              <a:gd name="connsiteX1739" fmla="*/ 5319628 w 12248682"/>
              <a:gd name="connsiteY1739" fmla="*/ 246002 h 609800"/>
              <a:gd name="connsiteX1740" fmla="*/ 5268810 w 12248682"/>
              <a:gd name="connsiteY1740" fmla="*/ 195185 h 609800"/>
              <a:gd name="connsiteX1741" fmla="*/ 5319628 w 12248682"/>
              <a:gd name="connsiteY1741" fmla="*/ 144368 h 609800"/>
              <a:gd name="connsiteX1742" fmla="*/ 5183346 w 12248682"/>
              <a:gd name="connsiteY1742" fmla="*/ 144368 h 609800"/>
              <a:gd name="connsiteX1743" fmla="*/ 5234162 w 12248682"/>
              <a:gd name="connsiteY1743" fmla="*/ 195185 h 609800"/>
              <a:gd name="connsiteX1744" fmla="*/ 5183346 w 12248682"/>
              <a:gd name="connsiteY1744" fmla="*/ 246002 h 609800"/>
              <a:gd name="connsiteX1745" fmla="*/ 5132528 w 12248682"/>
              <a:gd name="connsiteY1745" fmla="*/ 195185 h 609800"/>
              <a:gd name="connsiteX1746" fmla="*/ 5183346 w 12248682"/>
              <a:gd name="connsiteY1746" fmla="*/ 144368 h 609800"/>
              <a:gd name="connsiteX1747" fmla="*/ 4093087 w 12248682"/>
              <a:gd name="connsiteY1747" fmla="*/ 144368 h 609800"/>
              <a:gd name="connsiteX1748" fmla="*/ 4143904 w 12248682"/>
              <a:gd name="connsiteY1748" fmla="*/ 195185 h 609800"/>
              <a:gd name="connsiteX1749" fmla="*/ 4093087 w 12248682"/>
              <a:gd name="connsiteY1749" fmla="*/ 246002 h 609800"/>
              <a:gd name="connsiteX1750" fmla="*/ 4042270 w 12248682"/>
              <a:gd name="connsiteY1750" fmla="*/ 195185 h 609800"/>
              <a:gd name="connsiteX1751" fmla="*/ 4093087 w 12248682"/>
              <a:gd name="connsiteY1751" fmla="*/ 144368 h 609800"/>
              <a:gd name="connsiteX1752" fmla="*/ 1790148 w 12248682"/>
              <a:gd name="connsiteY1752" fmla="*/ 144368 h 609800"/>
              <a:gd name="connsiteX1753" fmla="*/ 1840965 w 12248682"/>
              <a:gd name="connsiteY1753" fmla="*/ 195185 h 609800"/>
              <a:gd name="connsiteX1754" fmla="*/ 1790148 w 12248682"/>
              <a:gd name="connsiteY1754" fmla="*/ 246002 h 609800"/>
              <a:gd name="connsiteX1755" fmla="*/ 1739331 w 12248682"/>
              <a:gd name="connsiteY1755" fmla="*/ 195185 h 609800"/>
              <a:gd name="connsiteX1756" fmla="*/ 1790148 w 12248682"/>
              <a:gd name="connsiteY1756" fmla="*/ 144368 h 609800"/>
              <a:gd name="connsiteX1757" fmla="*/ 706820 w 12248682"/>
              <a:gd name="connsiteY1757" fmla="*/ 144368 h 609800"/>
              <a:gd name="connsiteX1758" fmla="*/ 757637 w 12248682"/>
              <a:gd name="connsiteY1758" fmla="*/ 195185 h 609800"/>
              <a:gd name="connsiteX1759" fmla="*/ 706820 w 12248682"/>
              <a:gd name="connsiteY1759" fmla="*/ 246002 h 609800"/>
              <a:gd name="connsiteX1760" fmla="*/ 656003 w 12248682"/>
              <a:gd name="connsiteY1760" fmla="*/ 195185 h 609800"/>
              <a:gd name="connsiteX1761" fmla="*/ 706820 w 12248682"/>
              <a:gd name="connsiteY1761" fmla="*/ 144368 h 609800"/>
              <a:gd name="connsiteX1762" fmla="*/ 570538 w 12248682"/>
              <a:gd name="connsiteY1762" fmla="*/ 144368 h 609800"/>
              <a:gd name="connsiteX1763" fmla="*/ 621355 w 12248682"/>
              <a:gd name="connsiteY1763" fmla="*/ 195185 h 609800"/>
              <a:gd name="connsiteX1764" fmla="*/ 570538 w 12248682"/>
              <a:gd name="connsiteY1764" fmla="*/ 246002 h 609800"/>
              <a:gd name="connsiteX1765" fmla="*/ 519721 w 12248682"/>
              <a:gd name="connsiteY1765" fmla="*/ 195185 h 609800"/>
              <a:gd name="connsiteX1766" fmla="*/ 570538 w 12248682"/>
              <a:gd name="connsiteY1766" fmla="*/ 144368 h 609800"/>
              <a:gd name="connsiteX1767" fmla="*/ 12180541 w 12248682"/>
              <a:gd name="connsiteY1767" fmla="*/ 31184 h 609800"/>
              <a:gd name="connsiteX1768" fmla="*/ 12201330 w 12248682"/>
              <a:gd name="connsiteY1768" fmla="*/ 51973 h 609800"/>
              <a:gd name="connsiteX1769" fmla="*/ 12180541 w 12248682"/>
              <a:gd name="connsiteY1769" fmla="*/ 72762 h 609800"/>
              <a:gd name="connsiteX1770" fmla="*/ 12159752 w 12248682"/>
              <a:gd name="connsiteY1770" fmla="*/ 51973 h 609800"/>
              <a:gd name="connsiteX1771" fmla="*/ 12180541 w 12248682"/>
              <a:gd name="connsiteY1771" fmla="*/ 31184 h 609800"/>
              <a:gd name="connsiteX1772" fmla="*/ 12040793 w 12248682"/>
              <a:gd name="connsiteY1772" fmla="*/ 31184 h 609800"/>
              <a:gd name="connsiteX1773" fmla="*/ 12061582 w 12248682"/>
              <a:gd name="connsiteY1773" fmla="*/ 51973 h 609800"/>
              <a:gd name="connsiteX1774" fmla="*/ 12040793 w 12248682"/>
              <a:gd name="connsiteY1774" fmla="*/ 72762 h 609800"/>
              <a:gd name="connsiteX1775" fmla="*/ 12020004 w 12248682"/>
              <a:gd name="connsiteY1775" fmla="*/ 51973 h 609800"/>
              <a:gd name="connsiteX1776" fmla="*/ 12040793 w 12248682"/>
              <a:gd name="connsiteY1776" fmla="*/ 31184 h 609800"/>
              <a:gd name="connsiteX1777" fmla="*/ 11901047 w 12248682"/>
              <a:gd name="connsiteY1777" fmla="*/ 31184 h 609800"/>
              <a:gd name="connsiteX1778" fmla="*/ 11921836 w 12248682"/>
              <a:gd name="connsiteY1778" fmla="*/ 51973 h 609800"/>
              <a:gd name="connsiteX1779" fmla="*/ 11901047 w 12248682"/>
              <a:gd name="connsiteY1779" fmla="*/ 72762 h 609800"/>
              <a:gd name="connsiteX1780" fmla="*/ 11880258 w 12248682"/>
              <a:gd name="connsiteY1780" fmla="*/ 51973 h 609800"/>
              <a:gd name="connsiteX1781" fmla="*/ 11901047 w 12248682"/>
              <a:gd name="connsiteY1781" fmla="*/ 31184 h 609800"/>
              <a:gd name="connsiteX1782" fmla="*/ 11761299 w 12248682"/>
              <a:gd name="connsiteY1782" fmla="*/ 31184 h 609800"/>
              <a:gd name="connsiteX1783" fmla="*/ 11782088 w 12248682"/>
              <a:gd name="connsiteY1783" fmla="*/ 51973 h 609800"/>
              <a:gd name="connsiteX1784" fmla="*/ 11761299 w 12248682"/>
              <a:gd name="connsiteY1784" fmla="*/ 72762 h 609800"/>
              <a:gd name="connsiteX1785" fmla="*/ 11740510 w 12248682"/>
              <a:gd name="connsiteY1785" fmla="*/ 51973 h 609800"/>
              <a:gd name="connsiteX1786" fmla="*/ 11761299 w 12248682"/>
              <a:gd name="connsiteY1786" fmla="*/ 31184 h 609800"/>
              <a:gd name="connsiteX1787" fmla="*/ 11621553 w 12248682"/>
              <a:gd name="connsiteY1787" fmla="*/ 31184 h 609800"/>
              <a:gd name="connsiteX1788" fmla="*/ 11642342 w 12248682"/>
              <a:gd name="connsiteY1788" fmla="*/ 51973 h 609800"/>
              <a:gd name="connsiteX1789" fmla="*/ 11621553 w 12248682"/>
              <a:gd name="connsiteY1789" fmla="*/ 72762 h 609800"/>
              <a:gd name="connsiteX1790" fmla="*/ 11600764 w 12248682"/>
              <a:gd name="connsiteY1790" fmla="*/ 51973 h 609800"/>
              <a:gd name="connsiteX1791" fmla="*/ 11621553 w 12248682"/>
              <a:gd name="connsiteY1791" fmla="*/ 31184 h 609800"/>
              <a:gd name="connsiteX1792" fmla="*/ 11481805 w 12248682"/>
              <a:gd name="connsiteY1792" fmla="*/ 31184 h 609800"/>
              <a:gd name="connsiteX1793" fmla="*/ 11502594 w 12248682"/>
              <a:gd name="connsiteY1793" fmla="*/ 51973 h 609800"/>
              <a:gd name="connsiteX1794" fmla="*/ 11481805 w 12248682"/>
              <a:gd name="connsiteY1794" fmla="*/ 72762 h 609800"/>
              <a:gd name="connsiteX1795" fmla="*/ 11461016 w 12248682"/>
              <a:gd name="connsiteY1795" fmla="*/ 51973 h 609800"/>
              <a:gd name="connsiteX1796" fmla="*/ 11481805 w 12248682"/>
              <a:gd name="connsiteY1796" fmla="*/ 31184 h 609800"/>
              <a:gd name="connsiteX1797" fmla="*/ 10644478 w 12248682"/>
              <a:gd name="connsiteY1797" fmla="*/ 31184 h 609800"/>
              <a:gd name="connsiteX1798" fmla="*/ 10665267 w 12248682"/>
              <a:gd name="connsiteY1798" fmla="*/ 51973 h 609800"/>
              <a:gd name="connsiteX1799" fmla="*/ 10644478 w 12248682"/>
              <a:gd name="connsiteY1799" fmla="*/ 72762 h 609800"/>
              <a:gd name="connsiteX1800" fmla="*/ 10623690 w 12248682"/>
              <a:gd name="connsiteY1800" fmla="*/ 51973 h 609800"/>
              <a:gd name="connsiteX1801" fmla="*/ 10644478 w 12248682"/>
              <a:gd name="connsiteY1801" fmla="*/ 31184 h 609800"/>
              <a:gd name="connsiteX1802" fmla="*/ 10504731 w 12248682"/>
              <a:gd name="connsiteY1802" fmla="*/ 31184 h 609800"/>
              <a:gd name="connsiteX1803" fmla="*/ 10525520 w 12248682"/>
              <a:gd name="connsiteY1803" fmla="*/ 51973 h 609800"/>
              <a:gd name="connsiteX1804" fmla="*/ 10504731 w 12248682"/>
              <a:gd name="connsiteY1804" fmla="*/ 72762 h 609800"/>
              <a:gd name="connsiteX1805" fmla="*/ 10483942 w 12248682"/>
              <a:gd name="connsiteY1805" fmla="*/ 51973 h 609800"/>
              <a:gd name="connsiteX1806" fmla="*/ 10504731 w 12248682"/>
              <a:gd name="connsiteY1806" fmla="*/ 31184 h 609800"/>
              <a:gd name="connsiteX1807" fmla="*/ 10364984 w 12248682"/>
              <a:gd name="connsiteY1807" fmla="*/ 31184 h 609800"/>
              <a:gd name="connsiteX1808" fmla="*/ 10385773 w 12248682"/>
              <a:gd name="connsiteY1808" fmla="*/ 51973 h 609800"/>
              <a:gd name="connsiteX1809" fmla="*/ 10364984 w 12248682"/>
              <a:gd name="connsiteY1809" fmla="*/ 72762 h 609800"/>
              <a:gd name="connsiteX1810" fmla="*/ 10344196 w 12248682"/>
              <a:gd name="connsiteY1810" fmla="*/ 51973 h 609800"/>
              <a:gd name="connsiteX1811" fmla="*/ 10364984 w 12248682"/>
              <a:gd name="connsiteY1811" fmla="*/ 31184 h 609800"/>
              <a:gd name="connsiteX1812" fmla="*/ 7854709 w 12248682"/>
              <a:gd name="connsiteY1812" fmla="*/ 31184 h 609800"/>
              <a:gd name="connsiteX1813" fmla="*/ 7875498 w 12248682"/>
              <a:gd name="connsiteY1813" fmla="*/ 51973 h 609800"/>
              <a:gd name="connsiteX1814" fmla="*/ 7854709 w 12248682"/>
              <a:gd name="connsiteY1814" fmla="*/ 72762 h 609800"/>
              <a:gd name="connsiteX1815" fmla="*/ 7833921 w 12248682"/>
              <a:gd name="connsiteY1815" fmla="*/ 51973 h 609800"/>
              <a:gd name="connsiteX1816" fmla="*/ 7854709 w 12248682"/>
              <a:gd name="connsiteY1816" fmla="*/ 31184 h 609800"/>
              <a:gd name="connsiteX1817" fmla="*/ 7714960 w 12248682"/>
              <a:gd name="connsiteY1817" fmla="*/ 31184 h 609800"/>
              <a:gd name="connsiteX1818" fmla="*/ 7735749 w 12248682"/>
              <a:gd name="connsiteY1818" fmla="*/ 51973 h 609800"/>
              <a:gd name="connsiteX1819" fmla="*/ 7714960 w 12248682"/>
              <a:gd name="connsiteY1819" fmla="*/ 72762 h 609800"/>
              <a:gd name="connsiteX1820" fmla="*/ 7694172 w 12248682"/>
              <a:gd name="connsiteY1820" fmla="*/ 51973 h 609800"/>
              <a:gd name="connsiteX1821" fmla="*/ 7714960 w 12248682"/>
              <a:gd name="connsiteY1821" fmla="*/ 31184 h 609800"/>
              <a:gd name="connsiteX1822" fmla="*/ 7575214 w 12248682"/>
              <a:gd name="connsiteY1822" fmla="*/ 31184 h 609800"/>
              <a:gd name="connsiteX1823" fmla="*/ 7596004 w 12248682"/>
              <a:gd name="connsiteY1823" fmla="*/ 51973 h 609800"/>
              <a:gd name="connsiteX1824" fmla="*/ 7575214 w 12248682"/>
              <a:gd name="connsiteY1824" fmla="*/ 72762 h 609800"/>
              <a:gd name="connsiteX1825" fmla="*/ 7554427 w 12248682"/>
              <a:gd name="connsiteY1825" fmla="*/ 51973 h 609800"/>
              <a:gd name="connsiteX1826" fmla="*/ 7575214 w 12248682"/>
              <a:gd name="connsiteY1826" fmla="*/ 31184 h 609800"/>
              <a:gd name="connsiteX1827" fmla="*/ 7435467 w 12248682"/>
              <a:gd name="connsiteY1827" fmla="*/ 31184 h 609800"/>
              <a:gd name="connsiteX1828" fmla="*/ 7456257 w 12248682"/>
              <a:gd name="connsiteY1828" fmla="*/ 51973 h 609800"/>
              <a:gd name="connsiteX1829" fmla="*/ 7435467 w 12248682"/>
              <a:gd name="connsiteY1829" fmla="*/ 72762 h 609800"/>
              <a:gd name="connsiteX1830" fmla="*/ 7414678 w 12248682"/>
              <a:gd name="connsiteY1830" fmla="*/ 51973 h 609800"/>
              <a:gd name="connsiteX1831" fmla="*/ 7435467 w 12248682"/>
              <a:gd name="connsiteY1831" fmla="*/ 31184 h 609800"/>
              <a:gd name="connsiteX1832" fmla="*/ 7295720 w 12248682"/>
              <a:gd name="connsiteY1832" fmla="*/ 31184 h 609800"/>
              <a:gd name="connsiteX1833" fmla="*/ 7316509 w 12248682"/>
              <a:gd name="connsiteY1833" fmla="*/ 51973 h 609800"/>
              <a:gd name="connsiteX1834" fmla="*/ 7295720 w 12248682"/>
              <a:gd name="connsiteY1834" fmla="*/ 72762 h 609800"/>
              <a:gd name="connsiteX1835" fmla="*/ 7274932 w 12248682"/>
              <a:gd name="connsiteY1835" fmla="*/ 51973 h 609800"/>
              <a:gd name="connsiteX1836" fmla="*/ 7295720 w 12248682"/>
              <a:gd name="connsiteY1836" fmla="*/ 31184 h 609800"/>
              <a:gd name="connsiteX1837" fmla="*/ 7155974 w 12248682"/>
              <a:gd name="connsiteY1837" fmla="*/ 31184 h 609800"/>
              <a:gd name="connsiteX1838" fmla="*/ 7176762 w 12248682"/>
              <a:gd name="connsiteY1838" fmla="*/ 51973 h 609800"/>
              <a:gd name="connsiteX1839" fmla="*/ 7155974 w 12248682"/>
              <a:gd name="connsiteY1839" fmla="*/ 72762 h 609800"/>
              <a:gd name="connsiteX1840" fmla="*/ 7135183 w 12248682"/>
              <a:gd name="connsiteY1840" fmla="*/ 51973 h 609800"/>
              <a:gd name="connsiteX1841" fmla="*/ 7155974 w 12248682"/>
              <a:gd name="connsiteY1841" fmla="*/ 31184 h 609800"/>
              <a:gd name="connsiteX1842" fmla="*/ 7016227 w 12248682"/>
              <a:gd name="connsiteY1842" fmla="*/ 31184 h 609800"/>
              <a:gd name="connsiteX1843" fmla="*/ 7037016 w 12248682"/>
              <a:gd name="connsiteY1843" fmla="*/ 51973 h 609800"/>
              <a:gd name="connsiteX1844" fmla="*/ 7016227 w 12248682"/>
              <a:gd name="connsiteY1844" fmla="*/ 72762 h 609800"/>
              <a:gd name="connsiteX1845" fmla="*/ 6995438 w 12248682"/>
              <a:gd name="connsiteY1845" fmla="*/ 51973 h 609800"/>
              <a:gd name="connsiteX1846" fmla="*/ 7016227 w 12248682"/>
              <a:gd name="connsiteY1846" fmla="*/ 31184 h 609800"/>
              <a:gd name="connsiteX1847" fmla="*/ 6877634 w 12248682"/>
              <a:gd name="connsiteY1847" fmla="*/ 31184 h 609800"/>
              <a:gd name="connsiteX1848" fmla="*/ 6898424 w 12248682"/>
              <a:gd name="connsiteY1848" fmla="*/ 51973 h 609800"/>
              <a:gd name="connsiteX1849" fmla="*/ 6877634 w 12248682"/>
              <a:gd name="connsiteY1849" fmla="*/ 72762 h 609800"/>
              <a:gd name="connsiteX1850" fmla="*/ 6856845 w 12248682"/>
              <a:gd name="connsiteY1850" fmla="*/ 51973 h 609800"/>
              <a:gd name="connsiteX1851" fmla="*/ 6877634 w 12248682"/>
              <a:gd name="connsiteY1851" fmla="*/ 31184 h 609800"/>
              <a:gd name="connsiteX1852" fmla="*/ 6039151 w 12248682"/>
              <a:gd name="connsiteY1852" fmla="*/ 31184 h 609800"/>
              <a:gd name="connsiteX1853" fmla="*/ 6059942 w 12248682"/>
              <a:gd name="connsiteY1853" fmla="*/ 51973 h 609800"/>
              <a:gd name="connsiteX1854" fmla="*/ 6039151 w 12248682"/>
              <a:gd name="connsiteY1854" fmla="*/ 72762 h 609800"/>
              <a:gd name="connsiteX1855" fmla="*/ 6018363 w 12248682"/>
              <a:gd name="connsiteY1855" fmla="*/ 51973 h 609800"/>
              <a:gd name="connsiteX1856" fmla="*/ 6039151 w 12248682"/>
              <a:gd name="connsiteY1856" fmla="*/ 31184 h 609800"/>
              <a:gd name="connsiteX1857" fmla="*/ 5899406 w 12248682"/>
              <a:gd name="connsiteY1857" fmla="*/ 31184 h 609800"/>
              <a:gd name="connsiteX1858" fmla="*/ 5920193 w 12248682"/>
              <a:gd name="connsiteY1858" fmla="*/ 51973 h 609800"/>
              <a:gd name="connsiteX1859" fmla="*/ 5899406 w 12248682"/>
              <a:gd name="connsiteY1859" fmla="*/ 72762 h 609800"/>
              <a:gd name="connsiteX1860" fmla="*/ 5878616 w 12248682"/>
              <a:gd name="connsiteY1860" fmla="*/ 51973 h 609800"/>
              <a:gd name="connsiteX1861" fmla="*/ 5899406 w 12248682"/>
              <a:gd name="connsiteY1861" fmla="*/ 31184 h 609800"/>
              <a:gd name="connsiteX1862" fmla="*/ 5759658 w 12248682"/>
              <a:gd name="connsiteY1862" fmla="*/ 31184 h 609800"/>
              <a:gd name="connsiteX1863" fmla="*/ 5780448 w 12248682"/>
              <a:gd name="connsiteY1863" fmla="*/ 51973 h 609800"/>
              <a:gd name="connsiteX1864" fmla="*/ 5759658 w 12248682"/>
              <a:gd name="connsiteY1864" fmla="*/ 72762 h 609800"/>
              <a:gd name="connsiteX1865" fmla="*/ 5738869 w 12248682"/>
              <a:gd name="connsiteY1865" fmla="*/ 51973 h 609800"/>
              <a:gd name="connsiteX1866" fmla="*/ 5759658 w 12248682"/>
              <a:gd name="connsiteY1866" fmla="*/ 31184 h 609800"/>
              <a:gd name="connsiteX1867" fmla="*/ 3241901 w 12248682"/>
              <a:gd name="connsiteY1867" fmla="*/ 31184 h 609800"/>
              <a:gd name="connsiteX1868" fmla="*/ 3262690 w 12248682"/>
              <a:gd name="connsiteY1868" fmla="*/ 51973 h 609800"/>
              <a:gd name="connsiteX1869" fmla="*/ 3241901 w 12248682"/>
              <a:gd name="connsiteY1869" fmla="*/ 72762 h 609800"/>
              <a:gd name="connsiteX1870" fmla="*/ 3221112 w 12248682"/>
              <a:gd name="connsiteY1870" fmla="*/ 51973 h 609800"/>
              <a:gd name="connsiteX1871" fmla="*/ 3241901 w 12248682"/>
              <a:gd name="connsiteY1871" fmla="*/ 31184 h 609800"/>
              <a:gd name="connsiteX1872" fmla="*/ 3102153 w 12248682"/>
              <a:gd name="connsiteY1872" fmla="*/ 31184 h 609800"/>
              <a:gd name="connsiteX1873" fmla="*/ 3122942 w 12248682"/>
              <a:gd name="connsiteY1873" fmla="*/ 51973 h 609800"/>
              <a:gd name="connsiteX1874" fmla="*/ 3102153 w 12248682"/>
              <a:gd name="connsiteY1874" fmla="*/ 72762 h 609800"/>
              <a:gd name="connsiteX1875" fmla="*/ 3081365 w 12248682"/>
              <a:gd name="connsiteY1875" fmla="*/ 51973 h 609800"/>
              <a:gd name="connsiteX1876" fmla="*/ 3102153 w 12248682"/>
              <a:gd name="connsiteY1876" fmla="*/ 31184 h 609800"/>
              <a:gd name="connsiteX1877" fmla="*/ 2962407 w 12248682"/>
              <a:gd name="connsiteY1877" fmla="*/ 31184 h 609800"/>
              <a:gd name="connsiteX1878" fmla="*/ 2983196 w 12248682"/>
              <a:gd name="connsiteY1878" fmla="*/ 51973 h 609800"/>
              <a:gd name="connsiteX1879" fmla="*/ 2962407 w 12248682"/>
              <a:gd name="connsiteY1879" fmla="*/ 72762 h 609800"/>
              <a:gd name="connsiteX1880" fmla="*/ 2941618 w 12248682"/>
              <a:gd name="connsiteY1880" fmla="*/ 51973 h 609800"/>
              <a:gd name="connsiteX1881" fmla="*/ 2962407 w 12248682"/>
              <a:gd name="connsiteY1881" fmla="*/ 31184 h 609800"/>
              <a:gd name="connsiteX1882" fmla="*/ 2822659 w 12248682"/>
              <a:gd name="connsiteY1882" fmla="*/ 31184 h 609800"/>
              <a:gd name="connsiteX1883" fmla="*/ 2843448 w 12248682"/>
              <a:gd name="connsiteY1883" fmla="*/ 51973 h 609800"/>
              <a:gd name="connsiteX1884" fmla="*/ 2822659 w 12248682"/>
              <a:gd name="connsiteY1884" fmla="*/ 72762 h 609800"/>
              <a:gd name="connsiteX1885" fmla="*/ 2801871 w 12248682"/>
              <a:gd name="connsiteY1885" fmla="*/ 51973 h 609800"/>
              <a:gd name="connsiteX1886" fmla="*/ 2822659 w 12248682"/>
              <a:gd name="connsiteY1886" fmla="*/ 31184 h 609800"/>
              <a:gd name="connsiteX1887" fmla="*/ 2682913 w 12248682"/>
              <a:gd name="connsiteY1887" fmla="*/ 31184 h 609800"/>
              <a:gd name="connsiteX1888" fmla="*/ 2703702 w 12248682"/>
              <a:gd name="connsiteY1888" fmla="*/ 51973 h 609800"/>
              <a:gd name="connsiteX1889" fmla="*/ 2682913 w 12248682"/>
              <a:gd name="connsiteY1889" fmla="*/ 72762 h 609800"/>
              <a:gd name="connsiteX1890" fmla="*/ 2662124 w 12248682"/>
              <a:gd name="connsiteY1890" fmla="*/ 51973 h 609800"/>
              <a:gd name="connsiteX1891" fmla="*/ 2682913 w 12248682"/>
              <a:gd name="connsiteY1891" fmla="*/ 31184 h 609800"/>
              <a:gd name="connsiteX1892" fmla="*/ 2543167 w 12248682"/>
              <a:gd name="connsiteY1892" fmla="*/ 31184 h 609800"/>
              <a:gd name="connsiteX1893" fmla="*/ 2563954 w 12248682"/>
              <a:gd name="connsiteY1893" fmla="*/ 51973 h 609800"/>
              <a:gd name="connsiteX1894" fmla="*/ 2543167 w 12248682"/>
              <a:gd name="connsiteY1894" fmla="*/ 72762 h 609800"/>
              <a:gd name="connsiteX1895" fmla="*/ 2522376 w 12248682"/>
              <a:gd name="connsiteY1895" fmla="*/ 51973 h 609800"/>
              <a:gd name="connsiteX1896" fmla="*/ 2543167 w 12248682"/>
              <a:gd name="connsiteY1896" fmla="*/ 31184 h 609800"/>
              <a:gd name="connsiteX1897" fmla="*/ 2403419 w 12248682"/>
              <a:gd name="connsiteY1897" fmla="*/ 31184 h 609800"/>
              <a:gd name="connsiteX1898" fmla="*/ 2424209 w 12248682"/>
              <a:gd name="connsiteY1898" fmla="*/ 51973 h 609800"/>
              <a:gd name="connsiteX1899" fmla="*/ 2403419 w 12248682"/>
              <a:gd name="connsiteY1899" fmla="*/ 72762 h 609800"/>
              <a:gd name="connsiteX1900" fmla="*/ 2382630 w 12248682"/>
              <a:gd name="connsiteY1900" fmla="*/ 51973 h 609800"/>
              <a:gd name="connsiteX1901" fmla="*/ 2403419 w 12248682"/>
              <a:gd name="connsiteY1901" fmla="*/ 31184 h 609800"/>
              <a:gd name="connsiteX1902" fmla="*/ 2263671 w 12248682"/>
              <a:gd name="connsiteY1902" fmla="*/ 31184 h 609800"/>
              <a:gd name="connsiteX1903" fmla="*/ 2284460 w 12248682"/>
              <a:gd name="connsiteY1903" fmla="*/ 51973 h 609800"/>
              <a:gd name="connsiteX1904" fmla="*/ 2263671 w 12248682"/>
              <a:gd name="connsiteY1904" fmla="*/ 72762 h 609800"/>
              <a:gd name="connsiteX1905" fmla="*/ 2242883 w 12248682"/>
              <a:gd name="connsiteY1905" fmla="*/ 51973 h 609800"/>
              <a:gd name="connsiteX1906" fmla="*/ 2263671 w 12248682"/>
              <a:gd name="connsiteY1906" fmla="*/ 31184 h 609800"/>
              <a:gd name="connsiteX1907" fmla="*/ 1426344 w 12248682"/>
              <a:gd name="connsiteY1907" fmla="*/ 31184 h 609800"/>
              <a:gd name="connsiteX1908" fmla="*/ 1447133 w 12248682"/>
              <a:gd name="connsiteY1908" fmla="*/ 51973 h 609800"/>
              <a:gd name="connsiteX1909" fmla="*/ 1426344 w 12248682"/>
              <a:gd name="connsiteY1909" fmla="*/ 72762 h 609800"/>
              <a:gd name="connsiteX1910" fmla="*/ 1405556 w 12248682"/>
              <a:gd name="connsiteY1910" fmla="*/ 51973 h 609800"/>
              <a:gd name="connsiteX1911" fmla="*/ 1426344 w 12248682"/>
              <a:gd name="connsiteY1911" fmla="*/ 31184 h 609800"/>
              <a:gd name="connsiteX1912" fmla="*/ 1286597 w 12248682"/>
              <a:gd name="connsiteY1912" fmla="*/ 31184 h 609800"/>
              <a:gd name="connsiteX1913" fmla="*/ 1307386 w 12248682"/>
              <a:gd name="connsiteY1913" fmla="*/ 51973 h 609800"/>
              <a:gd name="connsiteX1914" fmla="*/ 1286597 w 12248682"/>
              <a:gd name="connsiteY1914" fmla="*/ 72762 h 609800"/>
              <a:gd name="connsiteX1915" fmla="*/ 1265808 w 12248682"/>
              <a:gd name="connsiteY1915" fmla="*/ 51973 h 609800"/>
              <a:gd name="connsiteX1916" fmla="*/ 1286597 w 12248682"/>
              <a:gd name="connsiteY1916" fmla="*/ 31184 h 609800"/>
              <a:gd name="connsiteX1917" fmla="*/ 1146851 w 12248682"/>
              <a:gd name="connsiteY1917" fmla="*/ 31184 h 609800"/>
              <a:gd name="connsiteX1918" fmla="*/ 1167639 w 12248682"/>
              <a:gd name="connsiteY1918" fmla="*/ 51973 h 609800"/>
              <a:gd name="connsiteX1919" fmla="*/ 1146851 w 12248682"/>
              <a:gd name="connsiteY1919" fmla="*/ 72762 h 609800"/>
              <a:gd name="connsiteX1920" fmla="*/ 1126062 w 12248682"/>
              <a:gd name="connsiteY1920" fmla="*/ 51973 h 609800"/>
              <a:gd name="connsiteX1921" fmla="*/ 1146851 w 12248682"/>
              <a:gd name="connsiteY1921" fmla="*/ 31184 h 609800"/>
              <a:gd name="connsiteX1922" fmla="*/ 11343213 w 12248682"/>
              <a:gd name="connsiteY1922" fmla="*/ 27719 h 609800"/>
              <a:gd name="connsiteX1923" fmla="*/ 11366312 w 12248682"/>
              <a:gd name="connsiteY1923" fmla="*/ 50817 h 609800"/>
              <a:gd name="connsiteX1924" fmla="*/ 11343213 w 12248682"/>
              <a:gd name="connsiteY1924" fmla="*/ 73916 h 609800"/>
              <a:gd name="connsiteX1925" fmla="*/ 11320114 w 12248682"/>
              <a:gd name="connsiteY1925" fmla="*/ 50817 h 609800"/>
              <a:gd name="connsiteX1926" fmla="*/ 11343213 w 12248682"/>
              <a:gd name="connsiteY1926" fmla="*/ 27719 h 609800"/>
              <a:gd name="connsiteX1927" fmla="*/ 10225237 w 12248682"/>
              <a:gd name="connsiteY1927" fmla="*/ 27719 h 609800"/>
              <a:gd name="connsiteX1928" fmla="*/ 10248335 w 12248682"/>
              <a:gd name="connsiteY1928" fmla="*/ 50817 h 609800"/>
              <a:gd name="connsiteX1929" fmla="*/ 10225237 w 12248682"/>
              <a:gd name="connsiteY1929" fmla="*/ 73916 h 609800"/>
              <a:gd name="connsiteX1930" fmla="*/ 10202138 w 12248682"/>
              <a:gd name="connsiteY1930" fmla="*/ 50817 h 609800"/>
              <a:gd name="connsiteX1931" fmla="*/ 10225237 w 12248682"/>
              <a:gd name="connsiteY1931" fmla="*/ 27719 h 609800"/>
              <a:gd name="connsiteX1932" fmla="*/ 9112431 w 12248682"/>
              <a:gd name="connsiteY1932" fmla="*/ 27719 h 609800"/>
              <a:gd name="connsiteX1933" fmla="*/ 9135530 w 12248682"/>
              <a:gd name="connsiteY1933" fmla="*/ 50817 h 609800"/>
              <a:gd name="connsiteX1934" fmla="*/ 9112431 w 12248682"/>
              <a:gd name="connsiteY1934" fmla="*/ 73916 h 609800"/>
              <a:gd name="connsiteX1935" fmla="*/ 9089332 w 12248682"/>
              <a:gd name="connsiteY1935" fmla="*/ 50817 h 609800"/>
              <a:gd name="connsiteX1936" fmla="*/ 9112431 w 12248682"/>
              <a:gd name="connsiteY1936" fmla="*/ 27719 h 609800"/>
              <a:gd name="connsiteX1937" fmla="*/ 7994456 w 12248682"/>
              <a:gd name="connsiteY1937" fmla="*/ 27719 h 609800"/>
              <a:gd name="connsiteX1938" fmla="*/ 8017555 w 12248682"/>
              <a:gd name="connsiteY1938" fmla="*/ 50817 h 609800"/>
              <a:gd name="connsiteX1939" fmla="*/ 7994456 w 12248682"/>
              <a:gd name="connsiteY1939" fmla="*/ 73916 h 609800"/>
              <a:gd name="connsiteX1940" fmla="*/ 7971356 w 12248682"/>
              <a:gd name="connsiteY1940" fmla="*/ 50817 h 609800"/>
              <a:gd name="connsiteX1941" fmla="*/ 7994456 w 12248682"/>
              <a:gd name="connsiteY1941" fmla="*/ 27719 h 609800"/>
              <a:gd name="connsiteX1942" fmla="*/ 6737887 w 12248682"/>
              <a:gd name="connsiteY1942" fmla="*/ 27719 h 609800"/>
              <a:gd name="connsiteX1943" fmla="*/ 6760986 w 12248682"/>
              <a:gd name="connsiteY1943" fmla="*/ 50817 h 609800"/>
              <a:gd name="connsiteX1944" fmla="*/ 6737887 w 12248682"/>
              <a:gd name="connsiteY1944" fmla="*/ 73916 h 609800"/>
              <a:gd name="connsiteX1945" fmla="*/ 6714789 w 12248682"/>
              <a:gd name="connsiteY1945" fmla="*/ 50817 h 609800"/>
              <a:gd name="connsiteX1946" fmla="*/ 6737887 w 12248682"/>
              <a:gd name="connsiteY1946" fmla="*/ 27719 h 609800"/>
              <a:gd name="connsiteX1947" fmla="*/ 5619912 w 12248682"/>
              <a:gd name="connsiteY1947" fmla="*/ 27719 h 609800"/>
              <a:gd name="connsiteX1948" fmla="*/ 5643008 w 12248682"/>
              <a:gd name="connsiteY1948" fmla="*/ 50817 h 609800"/>
              <a:gd name="connsiteX1949" fmla="*/ 5619912 w 12248682"/>
              <a:gd name="connsiteY1949" fmla="*/ 73916 h 609800"/>
              <a:gd name="connsiteX1950" fmla="*/ 5596812 w 12248682"/>
              <a:gd name="connsiteY1950" fmla="*/ 50817 h 609800"/>
              <a:gd name="connsiteX1951" fmla="*/ 5619912 w 12248682"/>
              <a:gd name="connsiteY1951" fmla="*/ 27719 h 609800"/>
              <a:gd name="connsiteX1952" fmla="*/ 4499625 w 12248682"/>
              <a:gd name="connsiteY1952" fmla="*/ 27719 h 609800"/>
              <a:gd name="connsiteX1953" fmla="*/ 4522722 w 12248682"/>
              <a:gd name="connsiteY1953" fmla="*/ 50817 h 609800"/>
              <a:gd name="connsiteX1954" fmla="*/ 4499625 w 12248682"/>
              <a:gd name="connsiteY1954" fmla="*/ 73916 h 609800"/>
              <a:gd name="connsiteX1955" fmla="*/ 4476525 w 12248682"/>
              <a:gd name="connsiteY1955" fmla="*/ 50817 h 609800"/>
              <a:gd name="connsiteX1956" fmla="*/ 4499625 w 12248682"/>
              <a:gd name="connsiteY1956" fmla="*/ 27719 h 609800"/>
              <a:gd name="connsiteX1957" fmla="*/ 3381648 w 12248682"/>
              <a:gd name="connsiteY1957" fmla="*/ 27719 h 609800"/>
              <a:gd name="connsiteX1958" fmla="*/ 3404746 w 12248682"/>
              <a:gd name="connsiteY1958" fmla="*/ 50817 h 609800"/>
              <a:gd name="connsiteX1959" fmla="*/ 3381648 w 12248682"/>
              <a:gd name="connsiteY1959" fmla="*/ 73916 h 609800"/>
              <a:gd name="connsiteX1960" fmla="*/ 3358549 w 12248682"/>
              <a:gd name="connsiteY1960" fmla="*/ 50817 h 609800"/>
              <a:gd name="connsiteX1961" fmla="*/ 3381648 w 12248682"/>
              <a:gd name="connsiteY1961" fmla="*/ 27719 h 609800"/>
              <a:gd name="connsiteX1962" fmla="*/ 2125079 w 12248682"/>
              <a:gd name="connsiteY1962" fmla="*/ 27719 h 609800"/>
              <a:gd name="connsiteX1963" fmla="*/ 2148178 w 12248682"/>
              <a:gd name="connsiteY1963" fmla="*/ 50817 h 609800"/>
              <a:gd name="connsiteX1964" fmla="*/ 2125079 w 12248682"/>
              <a:gd name="connsiteY1964" fmla="*/ 73916 h 609800"/>
              <a:gd name="connsiteX1965" fmla="*/ 2101980 w 12248682"/>
              <a:gd name="connsiteY1965" fmla="*/ 50817 h 609800"/>
              <a:gd name="connsiteX1966" fmla="*/ 2125079 w 12248682"/>
              <a:gd name="connsiteY1966" fmla="*/ 27719 h 609800"/>
              <a:gd name="connsiteX1967" fmla="*/ 1007103 w 12248682"/>
              <a:gd name="connsiteY1967" fmla="*/ 27719 h 609800"/>
              <a:gd name="connsiteX1968" fmla="*/ 1030201 w 12248682"/>
              <a:gd name="connsiteY1968" fmla="*/ 50817 h 609800"/>
              <a:gd name="connsiteX1969" fmla="*/ 1007103 w 12248682"/>
              <a:gd name="connsiteY1969" fmla="*/ 73916 h 609800"/>
              <a:gd name="connsiteX1970" fmla="*/ 984004 w 12248682"/>
              <a:gd name="connsiteY1970" fmla="*/ 50817 h 609800"/>
              <a:gd name="connsiteX1971" fmla="*/ 1007103 w 12248682"/>
              <a:gd name="connsiteY1971" fmla="*/ 27719 h 609800"/>
              <a:gd name="connsiteX1972" fmla="*/ 11203466 w 12248682"/>
              <a:gd name="connsiteY1972" fmla="*/ 21945 h 609800"/>
              <a:gd name="connsiteX1973" fmla="*/ 11232339 w 12248682"/>
              <a:gd name="connsiteY1973" fmla="*/ 50817 h 609800"/>
              <a:gd name="connsiteX1974" fmla="*/ 11203466 w 12248682"/>
              <a:gd name="connsiteY1974" fmla="*/ 79691 h 609800"/>
              <a:gd name="connsiteX1975" fmla="*/ 11174593 w 12248682"/>
              <a:gd name="connsiteY1975" fmla="*/ 50817 h 609800"/>
              <a:gd name="connsiteX1976" fmla="*/ 11203466 w 12248682"/>
              <a:gd name="connsiteY1976" fmla="*/ 21945 h 609800"/>
              <a:gd name="connsiteX1977" fmla="*/ 10085490 w 12248682"/>
              <a:gd name="connsiteY1977" fmla="*/ 21945 h 609800"/>
              <a:gd name="connsiteX1978" fmla="*/ 10114363 w 12248682"/>
              <a:gd name="connsiteY1978" fmla="*/ 51973 h 609800"/>
              <a:gd name="connsiteX1979" fmla="*/ 10085490 w 12248682"/>
              <a:gd name="connsiteY1979" fmla="*/ 80846 h 609800"/>
              <a:gd name="connsiteX1980" fmla="*/ 10056616 w 12248682"/>
              <a:gd name="connsiteY1980" fmla="*/ 50817 h 609800"/>
              <a:gd name="connsiteX1981" fmla="*/ 10085490 w 12248682"/>
              <a:gd name="connsiteY1981" fmla="*/ 21945 h 609800"/>
              <a:gd name="connsiteX1982" fmla="*/ 9247008 w 12248682"/>
              <a:gd name="connsiteY1982" fmla="*/ 21945 h 609800"/>
              <a:gd name="connsiteX1983" fmla="*/ 9275881 w 12248682"/>
              <a:gd name="connsiteY1983" fmla="*/ 50817 h 609800"/>
              <a:gd name="connsiteX1984" fmla="*/ 9247008 w 12248682"/>
              <a:gd name="connsiteY1984" fmla="*/ 80846 h 609800"/>
              <a:gd name="connsiteX1985" fmla="*/ 9218134 w 12248682"/>
              <a:gd name="connsiteY1985" fmla="*/ 50817 h 609800"/>
              <a:gd name="connsiteX1986" fmla="*/ 9247008 w 12248682"/>
              <a:gd name="connsiteY1986" fmla="*/ 21945 h 609800"/>
              <a:gd name="connsiteX1987" fmla="*/ 8972685 w 12248682"/>
              <a:gd name="connsiteY1987" fmla="*/ 21945 h 609800"/>
              <a:gd name="connsiteX1988" fmla="*/ 9001557 w 12248682"/>
              <a:gd name="connsiteY1988" fmla="*/ 50817 h 609800"/>
              <a:gd name="connsiteX1989" fmla="*/ 8972685 w 12248682"/>
              <a:gd name="connsiteY1989" fmla="*/ 79691 h 609800"/>
              <a:gd name="connsiteX1990" fmla="*/ 8943811 w 12248682"/>
              <a:gd name="connsiteY1990" fmla="*/ 50817 h 609800"/>
              <a:gd name="connsiteX1991" fmla="*/ 8972685 w 12248682"/>
              <a:gd name="connsiteY1991" fmla="*/ 21945 h 609800"/>
              <a:gd name="connsiteX1992" fmla="*/ 8134203 w 12248682"/>
              <a:gd name="connsiteY1992" fmla="*/ 21945 h 609800"/>
              <a:gd name="connsiteX1993" fmla="*/ 8163075 w 12248682"/>
              <a:gd name="connsiteY1993" fmla="*/ 50817 h 609800"/>
              <a:gd name="connsiteX1994" fmla="*/ 8134203 w 12248682"/>
              <a:gd name="connsiteY1994" fmla="*/ 79691 h 609800"/>
              <a:gd name="connsiteX1995" fmla="*/ 8105330 w 12248682"/>
              <a:gd name="connsiteY1995" fmla="*/ 50817 h 609800"/>
              <a:gd name="connsiteX1996" fmla="*/ 8134203 w 12248682"/>
              <a:gd name="connsiteY1996" fmla="*/ 21945 h 609800"/>
              <a:gd name="connsiteX1997" fmla="*/ 6598140 w 12248682"/>
              <a:gd name="connsiteY1997" fmla="*/ 21945 h 609800"/>
              <a:gd name="connsiteX1998" fmla="*/ 6627013 w 12248682"/>
              <a:gd name="connsiteY1998" fmla="*/ 50817 h 609800"/>
              <a:gd name="connsiteX1999" fmla="*/ 6598140 w 12248682"/>
              <a:gd name="connsiteY1999" fmla="*/ 79691 h 609800"/>
              <a:gd name="connsiteX2000" fmla="*/ 6569267 w 12248682"/>
              <a:gd name="connsiteY2000" fmla="*/ 50817 h 609800"/>
              <a:gd name="connsiteX2001" fmla="*/ 6598140 w 12248682"/>
              <a:gd name="connsiteY2001" fmla="*/ 21945 h 609800"/>
              <a:gd name="connsiteX2002" fmla="*/ 5480165 w 12248682"/>
              <a:gd name="connsiteY2002" fmla="*/ 21945 h 609800"/>
              <a:gd name="connsiteX2003" fmla="*/ 5509037 w 12248682"/>
              <a:gd name="connsiteY2003" fmla="*/ 50817 h 609800"/>
              <a:gd name="connsiteX2004" fmla="*/ 5480165 w 12248682"/>
              <a:gd name="connsiteY2004" fmla="*/ 79691 h 609800"/>
              <a:gd name="connsiteX2005" fmla="*/ 5451289 w 12248682"/>
              <a:gd name="connsiteY2005" fmla="*/ 50817 h 609800"/>
              <a:gd name="connsiteX2006" fmla="*/ 5480165 w 12248682"/>
              <a:gd name="connsiteY2006" fmla="*/ 21945 h 609800"/>
              <a:gd name="connsiteX2007" fmla="*/ 4641682 w 12248682"/>
              <a:gd name="connsiteY2007" fmla="*/ 21945 h 609800"/>
              <a:gd name="connsiteX2008" fmla="*/ 4670555 w 12248682"/>
              <a:gd name="connsiteY2008" fmla="*/ 50817 h 609800"/>
              <a:gd name="connsiteX2009" fmla="*/ 4641682 w 12248682"/>
              <a:gd name="connsiteY2009" fmla="*/ 79691 h 609800"/>
              <a:gd name="connsiteX2010" fmla="*/ 4612809 w 12248682"/>
              <a:gd name="connsiteY2010" fmla="*/ 50817 h 609800"/>
              <a:gd name="connsiteX2011" fmla="*/ 4641682 w 12248682"/>
              <a:gd name="connsiteY2011" fmla="*/ 21945 h 609800"/>
              <a:gd name="connsiteX2012" fmla="*/ 4359878 w 12248682"/>
              <a:gd name="connsiteY2012" fmla="*/ 21945 h 609800"/>
              <a:gd name="connsiteX2013" fmla="*/ 4388751 w 12248682"/>
              <a:gd name="connsiteY2013" fmla="*/ 50817 h 609800"/>
              <a:gd name="connsiteX2014" fmla="*/ 4359878 w 12248682"/>
              <a:gd name="connsiteY2014" fmla="*/ 79691 h 609800"/>
              <a:gd name="connsiteX2015" fmla="*/ 4331004 w 12248682"/>
              <a:gd name="connsiteY2015" fmla="*/ 50817 h 609800"/>
              <a:gd name="connsiteX2016" fmla="*/ 4359878 w 12248682"/>
              <a:gd name="connsiteY2016" fmla="*/ 21945 h 609800"/>
              <a:gd name="connsiteX2017" fmla="*/ 3521396 w 12248682"/>
              <a:gd name="connsiteY2017" fmla="*/ 21945 h 609800"/>
              <a:gd name="connsiteX2018" fmla="*/ 3550268 w 12248682"/>
              <a:gd name="connsiteY2018" fmla="*/ 50817 h 609800"/>
              <a:gd name="connsiteX2019" fmla="*/ 3521396 w 12248682"/>
              <a:gd name="connsiteY2019" fmla="*/ 79691 h 609800"/>
              <a:gd name="connsiteX2020" fmla="*/ 3492521 w 12248682"/>
              <a:gd name="connsiteY2020" fmla="*/ 50817 h 609800"/>
              <a:gd name="connsiteX2021" fmla="*/ 3521396 w 12248682"/>
              <a:gd name="connsiteY2021" fmla="*/ 21945 h 609800"/>
              <a:gd name="connsiteX2022" fmla="*/ 1985333 w 12248682"/>
              <a:gd name="connsiteY2022" fmla="*/ 21945 h 609800"/>
              <a:gd name="connsiteX2023" fmla="*/ 2014205 w 12248682"/>
              <a:gd name="connsiteY2023" fmla="*/ 50817 h 609800"/>
              <a:gd name="connsiteX2024" fmla="*/ 1985333 w 12248682"/>
              <a:gd name="connsiteY2024" fmla="*/ 79691 h 609800"/>
              <a:gd name="connsiteX2025" fmla="*/ 1956459 w 12248682"/>
              <a:gd name="connsiteY2025" fmla="*/ 50817 h 609800"/>
              <a:gd name="connsiteX2026" fmla="*/ 1985333 w 12248682"/>
              <a:gd name="connsiteY2026" fmla="*/ 21945 h 609800"/>
              <a:gd name="connsiteX2027" fmla="*/ 867356 w 12248682"/>
              <a:gd name="connsiteY2027" fmla="*/ 21945 h 609800"/>
              <a:gd name="connsiteX2028" fmla="*/ 896229 w 12248682"/>
              <a:gd name="connsiteY2028" fmla="*/ 51973 h 609800"/>
              <a:gd name="connsiteX2029" fmla="*/ 867356 w 12248682"/>
              <a:gd name="connsiteY2029" fmla="*/ 80846 h 609800"/>
              <a:gd name="connsiteX2030" fmla="*/ 838482 w 12248682"/>
              <a:gd name="connsiteY2030" fmla="*/ 50817 h 609800"/>
              <a:gd name="connsiteX2031" fmla="*/ 867356 w 12248682"/>
              <a:gd name="connsiteY2031" fmla="*/ 21945 h 609800"/>
              <a:gd name="connsiteX2032" fmla="*/ 28874 w 12248682"/>
              <a:gd name="connsiteY2032" fmla="*/ 21945 h 609800"/>
              <a:gd name="connsiteX2033" fmla="*/ 57747 w 12248682"/>
              <a:gd name="connsiteY2033" fmla="*/ 50817 h 609800"/>
              <a:gd name="connsiteX2034" fmla="*/ 28874 w 12248682"/>
              <a:gd name="connsiteY2034" fmla="*/ 80846 h 609800"/>
              <a:gd name="connsiteX2035" fmla="*/ 0 w 12248682"/>
              <a:gd name="connsiteY2035" fmla="*/ 50817 h 609800"/>
              <a:gd name="connsiteX2036" fmla="*/ 28874 w 12248682"/>
              <a:gd name="connsiteY2036" fmla="*/ 21945 h 609800"/>
              <a:gd name="connsiteX2037" fmla="*/ 11063719 w 12248682"/>
              <a:gd name="connsiteY2037" fmla="*/ 16169 h 609800"/>
              <a:gd name="connsiteX2038" fmla="*/ 11098367 w 12248682"/>
              <a:gd name="connsiteY2038" fmla="*/ 50817 h 609800"/>
              <a:gd name="connsiteX2039" fmla="*/ 11063719 w 12248682"/>
              <a:gd name="connsiteY2039" fmla="*/ 85465 h 609800"/>
              <a:gd name="connsiteX2040" fmla="*/ 11029071 w 12248682"/>
              <a:gd name="connsiteY2040" fmla="*/ 50817 h 609800"/>
              <a:gd name="connsiteX2041" fmla="*/ 11063719 w 12248682"/>
              <a:gd name="connsiteY2041" fmla="*/ 16169 h 609800"/>
              <a:gd name="connsiteX2042" fmla="*/ 9945743 w 12248682"/>
              <a:gd name="connsiteY2042" fmla="*/ 16169 h 609800"/>
              <a:gd name="connsiteX2043" fmla="*/ 9980391 w 12248682"/>
              <a:gd name="connsiteY2043" fmla="*/ 50817 h 609800"/>
              <a:gd name="connsiteX2044" fmla="*/ 9945743 w 12248682"/>
              <a:gd name="connsiteY2044" fmla="*/ 85465 h 609800"/>
              <a:gd name="connsiteX2045" fmla="*/ 9911094 w 12248682"/>
              <a:gd name="connsiteY2045" fmla="*/ 50817 h 609800"/>
              <a:gd name="connsiteX2046" fmla="*/ 9945743 w 12248682"/>
              <a:gd name="connsiteY2046" fmla="*/ 16169 h 609800"/>
              <a:gd name="connsiteX2047" fmla="*/ 9386754 w 12248682"/>
              <a:gd name="connsiteY2047" fmla="*/ 16169 h 609800"/>
              <a:gd name="connsiteX2048" fmla="*/ 9421402 w 12248682"/>
              <a:gd name="connsiteY2048" fmla="*/ 50817 h 609800"/>
              <a:gd name="connsiteX2049" fmla="*/ 9386754 w 12248682"/>
              <a:gd name="connsiteY2049" fmla="*/ 85465 h 609800"/>
              <a:gd name="connsiteX2050" fmla="*/ 9352106 w 12248682"/>
              <a:gd name="connsiteY2050" fmla="*/ 50817 h 609800"/>
              <a:gd name="connsiteX2051" fmla="*/ 9386754 w 12248682"/>
              <a:gd name="connsiteY2051" fmla="*/ 16169 h 609800"/>
              <a:gd name="connsiteX2052" fmla="*/ 8832937 w 12248682"/>
              <a:gd name="connsiteY2052" fmla="*/ 16169 h 609800"/>
              <a:gd name="connsiteX2053" fmla="*/ 8867585 w 12248682"/>
              <a:gd name="connsiteY2053" fmla="*/ 50817 h 609800"/>
              <a:gd name="connsiteX2054" fmla="*/ 8832937 w 12248682"/>
              <a:gd name="connsiteY2054" fmla="*/ 85465 h 609800"/>
              <a:gd name="connsiteX2055" fmla="*/ 8798289 w 12248682"/>
              <a:gd name="connsiteY2055" fmla="*/ 50817 h 609800"/>
              <a:gd name="connsiteX2056" fmla="*/ 8832937 w 12248682"/>
              <a:gd name="connsiteY2056" fmla="*/ 16169 h 609800"/>
              <a:gd name="connsiteX2057" fmla="*/ 8273949 w 12248682"/>
              <a:gd name="connsiteY2057" fmla="*/ 16169 h 609800"/>
              <a:gd name="connsiteX2058" fmla="*/ 8308598 w 12248682"/>
              <a:gd name="connsiteY2058" fmla="*/ 50817 h 609800"/>
              <a:gd name="connsiteX2059" fmla="*/ 8273949 w 12248682"/>
              <a:gd name="connsiteY2059" fmla="*/ 85465 h 609800"/>
              <a:gd name="connsiteX2060" fmla="*/ 8239301 w 12248682"/>
              <a:gd name="connsiteY2060" fmla="*/ 50817 h 609800"/>
              <a:gd name="connsiteX2061" fmla="*/ 8273949 w 12248682"/>
              <a:gd name="connsiteY2061" fmla="*/ 16169 h 609800"/>
              <a:gd name="connsiteX2062" fmla="*/ 6458393 w 12248682"/>
              <a:gd name="connsiteY2062" fmla="*/ 16169 h 609800"/>
              <a:gd name="connsiteX2063" fmla="*/ 6493041 w 12248682"/>
              <a:gd name="connsiteY2063" fmla="*/ 50817 h 609800"/>
              <a:gd name="connsiteX2064" fmla="*/ 6458393 w 12248682"/>
              <a:gd name="connsiteY2064" fmla="*/ 85465 h 609800"/>
              <a:gd name="connsiteX2065" fmla="*/ 6423745 w 12248682"/>
              <a:gd name="connsiteY2065" fmla="*/ 50817 h 609800"/>
              <a:gd name="connsiteX2066" fmla="*/ 6458393 w 12248682"/>
              <a:gd name="connsiteY2066" fmla="*/ 16169 h 609800"/>
              <a:gd name="connsiteX2067" fmla="*/ 5340416 w 12248682"/>
              <a:gd name="connsiteY2067" fmla="*/ 16169 h 609800"/>
              <a:gd name="connsiteX2068" fmla="*/ 5375064 w 12248682"/>
              <a:gd name="connsiteY2068" fmla="*/ 50817 h 609800"/>
              <a:gd name="connsiteX2069" fmla="*/ 5340416 w 12248682"/>
              <a:gd name="connsiteY2069" fmla="*/ 85465 h 609800"/>
              <a:gd name="connsiteX2070" fmla="*/ 5305769 w 12248682"/>
              <a:gd name="connsiteY2070" fmla="*/ 50817 h 609800"/>
              <a:gd name="connsiteX2071" fmla="*/ 5340416 w 12248682"/>
              <a:gd name="connsiteY2071" fmla="*/ 16169 h 609800"/>
              <a:gd name="connsiteX2072" fmla="*/ 4781429 w 12248682"/>
              <a:gd name="connsiteY2072" fmla="*/ 16169 h 609800"/>
              <a:gd name="connsiteX2073" fmla="*/ 4816075 w 12248682"/>
              <a:gd name="connsiteY2073" fmla="*/ 50817 h 609800"/>
              <a:gd name="connsiteX2074" fmla="*/ 4781429 w 12248682"/>
              <a:gd name="connsiteY2074" fmla="*/ 85465 h 609800"/>
              <a:gd name="connsiteX2075" fmla="*/ 4746781 w 12248682"/>
              <a:gd name="connsiteY2075" fmla="*/ 50817 h 609800"/>
              <a:gd name="connsiteX2076" fmla="*/ 4781429 w 12248682"/>
              <a:gd name="connsiteY2076" fmla="*/ 16169 h 609800"/>
              <a:gd name="connsiteX2077" fmla="*/ 4220129 w 12248682"/>
              <a:gd name="connsiteY2077" fmla="*/ 16169 h 609800"/>
              <a:gd name="connsiteX2078" fmla="*/ 4254779 w 12248682"/>
              <a:gd name="connsiteY2078" fmla="*/ 50817 h 609800"/>
              <a:gd name="connsiteX2079" fmla="*/ 4220129 w 12248682"/>
              <a:gd name="connsiteY2079" fmla="*/ 85465 h 609800"/>
              <a:gd name="connsiteX2080" fmla="*/ 4185482 w 12248682"/>
              <a:gd name="connsiteY2080" fmla="*/ 50817 h 609800"/>
              <a:gd name="connsiteX2081" fmla="*/ 4220129 w 12248682"/>
              <a:gd name="connsiteY2081" fmla="*/ 16169 h 609800"/>
              <a:gd name="connsiteX2082" fmla="*/ 3661142 w 12248682"/>
              <a:gd name="connsiteY2082" fmla="*/ 16169 h 609800"/>
              <a:gd name="connsiteX2083" fmla="*/ 3695791 w 12248682"/>
              <a:gd name="connsiteY2083" fmla="*/ 50817 h 609800"/>
              <a:gd name="connsiteX2084" fmla="*/ 3661142 w 12248682"/>
              <a:gd name="connsiteY2084" fmla="*/ 85465 h 609800"/>
              <a:gd name="connsiteX2085" fmla="*/ 3626494 w 12248682"/>
              <a:gd name="connsiteY2085" fmla="*/ 50817 h 609800"/>
              <a:gd name="connsiteX2086" fmla="*/ 3661142 w 12248682"/>
              <a:gd name="connsiteY2086" fmla="*/ 16169 h 609800"/>
              <a:gd name="connsiteX2087" fmla="*/ 1845585 w 12248682"/>
              <a:gd name="connsiteY2087" fmla="*/ 16169 h 609800"/>
              <a:gd name="connsiteX2088" fmla="*/ 1880233 w 12248682"/>
              <a:gd name="connsiteY2088" fmla="*/ 50817 h 609800"/>
              <a:gd name="connsiteX2089" fmla="*/ 1845585 w 12248682"/>
              <a:gd name="connsiteY2089" fmla="*/ 85465 h 609800"/>
              <a:gd name="connsiteX2090" fmla="*/ 1810937 w 12248682"/>
              <a:gd name="connsiteY2090" fmla="*/ 50817 h 609800"/>
              <a:gd name="connsiteX2091" fmla="*/ 1845585 w 12248682"/>
              <a:gd name="connsiteY2091" fmla="*/ 16169 h 609800"/>
              <a:gd name="connsiteX2092" fmla="*/ 727609 w 12248682"/>
              <a:gd name="connsiteY2092" fmla="*/ 16169 h 609800"/>
              <a:gd name="connsiteX2093" fmla="*/ 762257 w 12248682"/>
              <a:gd name="connsiteY2093" fmla="*/ 50817 h 609800"/>
              <a:gd name="connsiteX2094" fmla="*/ 727609 w 12248682"/>
              <a:gd name="connsiteY2094" fmla="*/ 85465 h 609800"/>
              <a:gd name="connsiteX2095" fmla="*/ 692961 w 12248682"/>
              <a:gd name="connsiteY2095" fmla="*/ 50817 h 609800"/>
              <a:gd name="connsiteX2096" fmla="*/ 727609 w 12248682"/>
              <a:gd name="connsiteY2096" fmla="*/ 16169 h 609800"/>
              <a:gd name="connsiteX2097" fmla="*/ 168621 w 12248682"/>
              <a:gd name="connsiteY2097" fmla="*/ 16169 h 609800"/>
              <a:gd name="connsiteX2098" fmla="*/ 203269 w 12248682"/>
              <a:gd name="connsiteY2098" fmla="*/ 50817 h 609800"/>
              <a:gd name="connsiteX2099" fmla="*/ 168621 w 12248682"/>
              <a:gd name="connsiteY2099" fmla="*/ 85465 h 609800"/>
              <a:gd name="connsiteX2100" fmla="*/ 133973 w 12248682"/>
              <a:gd name="connsiteY2100" fmla="*/ 50817 h 609800"/>
              <a:gd name="connsiteX2101" fmla="*/ 168621 w 12248682"/>
              <a:gd name="connsiteY2101" fmla="*/ 16169 h 609800"/>
              <a:gd name="connsiteX2102" fmla="*/ 10923972 w 12248682"/>
              <a:gd name="connsiteY2102" fmla="*/ 10395 h 609800"/>
              <a:gd name="connsiteX2103" fmla="*/ 10964394 w 12248682"/>
              <a:gd name="connsiteY2103" fmla="*/ 50817 h 609800"/>
              <a:gd name="connsiteX2104" fmla="*/ 10923972 w 12248682"/>
              <a:gd name="connsiteY2104" fmla="*/ 91241 h 609800"/>
              <a:gd name="connsiteX2105" fmla="*/ 10883549 w 12248682"/>
              <a:gd name="connsiteY2105" fmla="*/ 50817 h 609800"/>
              <a:gd name="connsiteX2106" fmla="*/ 10923972 w 12248682"/>
              <a:gd name="connsiteY2106" fmla="*/ 10395 h 609800"/>
              <a:gd name="connsiteX2107" fmla="*/ 9805996 w 12248682"/>
              <a:gd name="connsiteY2107" fmla="*/ 10395 h 609800"/>
              <a:gd name="connsiteX2108" fmla="*/ 9846418 w 12248682"/>
              <a:gd name="connsiteY2108" fmla="*/ 51973 h 609800"/>
              <a:gd name="connsiteX2109" fmla="*/ 9805996 w 12248682"/>
              <a:gd name="connsiteY2109" fmla="*/ 92395 h 609800"/>
              <a:gd name="connsiteX2110" fmla="*/ 9765573 w 12248682"/>
              <a:gd name="connsiteY2110" fmla="*/ 50817 h 609800"/>
              <a:gd name="connsiteX2111" fmla="*/ 9805996 w 12248682"/>
              <a:gd name="connsiteY2111" fmla="*/ 10395 h 609800"/>
              <a:gd name="connsiteX2112" fmla="*/ 9526502 w 12248682"/>
              <a:gd name="connsiteY2112" fmla="*/ 10395 h 609800"/>
              <a:gd name="connsiteX2113" fmla="*/ 9566924 w 12248682"/>
              <a:gd name="connsiteY2113" fmla="*/ 51973 h 609800"/>
              <a:gd name="connsiteX2114" fmla="*/ 9526502 w 12248682"/>
              <a:gd name="connsiteY2114" fmla="*/ 92395 h 609800"/>
              <a:gd name="connsiteX2115" fmla="*/ 9486079 w 12248682"/>
              <a:gd name="connsiteY2115" fmla="*/ 50817 h 609800"/>
              <a:gd name="connsiteX2116" fmla="*/ 9526502 w 12248682"/>
              <a:gd name="connsiteY2116" fmla="*/ 10395 h 609800"/>
              <a:gd name="connsiteX2117" fmla="*/ 8693190 w 12248682"/>
              <a:gd name="connsiteY2117" fmla="*/ 10395 h 609800"/>
              <a:gd name="connsiteX2118" fmla="*/ 8733613 w 12248682"/>
              <a:gd name="connsiteY2118" fmla="*/ 50817 h 609800"/>
              <a:gd name="connsiteX2119" fmla="*/ 8693190 w 12248682"/>
              <a:gd name="connsiteY2119" fmla="*/ 91241 h 609800"/>
              <a:gd name="connsiteX2120" fmla="*/ 8652767 w 12248682"/>
              <a:gd name="connsiteY2120" fmla="*/ 50817 h 609800"/>
              <a:gd name="connsiteX2121" fmla="*/ 8693190 w 12248682"/>
              <a:gd name="connsiteY2121" fmla="*/ 10395 h 609800"/>
              <a:gd name="connsiteX2122" fmla="*/ 8413696 w 12248682"/>
              <a:gd name="connsiteY2122" fmla="*/ 10395 h 609800"/>
              <a:gd name="connsiteX2123" fmla="*/ 8454118 w 12248682"/>
              <a:gd name="connsiteY2123" fmla="*/ 50817 h 609800"/>
              <a:gd name="connsiteX2124" fmla="*/ 8413696 w 12248682"/>
              <a:gd name="connsiteY2124" fmla="*/ 91241 h 609800"/>
              <a:gd name="connsiteX2125" fmla="*/ 8373274 w 12248682"/>
              <a:gd name="connsiteY2125" fmla="*/ 50817 h 609800"/>
              <a:gd name="connsiteX2126" fmla="*/ 8413696 w 12248682"/>
              <a:gd name="connsiteY2126" fmla="*/ 10395 h 609800"/>
              <a:gd name="connsiteX2127" fmla="*/ 6318647 w 12248682"/>
              <a:gd name="connsiteY2127" fmla="*/ 10395 h 609800"/>
              <a:gd name="connsiteX2128" fmla="*/ 6359068 w 12248682"/>
              <a:gd name="connsiteY2128" fmla="*/ 50817 h 609800"/>
              <a:gd name="connsiteX2129" fmla="*/ 6318647 w 12248682"/>
              <a:gd name="connsiteY2129" fmla="*/ 91241 h 609800"/>
              <a:gd name="connsiteX2130" fmla="*/ 6278223 w 12248682"/>
              <a:gd name="connsiteY2130" fmla="*/ 50817 h 609800"/>
              <a:gd name="connsiteX2131" fmla="*/ 6318647 w 12248682"/>
              <a:gd name="connsiteY2131" fmla="*/ 10395 h 609800"/>
              <a:gd name="connsiteX2132" fmla="*/ 5200670 w 12248682"/>
              <a:gd name="connsiteY2132" fmla="*/ 10395 h 609800"/>
              <a:gd name="connsiteX2133" fmla="*/ 5241093 w 12248682"/>
              <a:gd name="connsiteY2133" fmla="*/ 50817 h 609800"/>
              <a:gd name="connsiteX2134" fmla="*/ 5200670 w 12248682"/>
              <a:gd name="connsiteY2134" fmla="*/ 91241 h 609800"/>
              <a:gd name="connsiteX2135" fmla="*/ 5160247 w 12248682"/>
              <a:gd name="connsiteY2135" fmla="*/ 50817 h 609800"/>
              <a:gd name="connsiteX2136" fmla="*/ 5200670 w 12248682"/>
              <a:gd name="connsiteY2136" fmla="*/ 10395 h 609800"/>
              <a:gd name="connsiteX2137" fmla="*/ 4921176 w 12248682"/>
              <a:gd name="connsiteY2137" fmla="*/ 10395 h 609800"/>
              <a:gd name="connsiteX2138" fmla="*/ 4961598 w 12248682"/>
              <a:gd name="connsiteY2138" fmla="*/ 50817 h 609800"/>
              <a:gd name="connsiteX2139" fmla="*/ 4921176 w 12248682"/>
              <a:gd name="connsiteY2139" fmla="*/ 91241 h 609800"/>
              <a:gd name="connsiteX2140" fmla="*/ 4880752 w 12248682"/>
              <a:gd name="connsiteY2140" fmla="*/ 50817 h 609800"/>
              <a:gd name="connsiteX2141" fmla="*/ 4921176 w 12248682"/>
              <a:gd name="connsiteY2141" fmla="*/ 10395 h 609800"/>
              <a:gd name="connsiteX2142" fmla="*/ 4080383 w 12248682"/>
              <a:gd name="connsiteY2142" fmla="*/ 10395 h 609800"/>
              <a:gd name="connsiteX2143" fmla="*/ 4120806 w 12248682"/>
              <a:gd name="connsiteY2143" fmla="*/ 50817 h 609800"/>
              <a:gd name="connsiteX2144" fmla="*/ 4080383 w 12248682"/>
              <a:gd name="connsiteY2144" fmla="*/ 91241 h 609800"/>
              <a:gd name="connsiteX2145" fmla="*/ 4039961 w 12248682"/>
              <a:gd name="connsiteY2145" fmla="*/ 50817 h 609800"/>
              <a:gd name="connsiteX2146" fmla="*/ 4080383 w 12248682"/>
              <a:gd name="connsiteY2146" fmla="*/ 10395 h 609800"/>
              <a:gd name="connsiteX2147" fmla="*/ 3800889 w 12248682"/>
              <a:gd name="connsiteY2147" fmla="*/ 10395 h 609800"/>
              <a:gd name="connsiteX2148" fmla="*/ 3841311 w 12248682"/>
              <a:gd name="connsiteY2148" fmla="*/ 50817 h 609800"/>
              <a:gd name="connsiteX2149" fmla="*/ 3800889 w 12248682"/>
              <a:gd name="connsiteY2149" fmla="*/ 91241 h 609800"/>
              <a:gd name="connsiteX2150" fmla="*/ 3760466 w 12248682"/>
              <a:gd name="connsiteY2150" fmla="*/ 50817 h 609800"/>
              <a:gd name="connsiteX2151" fmla="*/ 3800889 w 12248682"/>
              <a:gd name="connsiteY2151" fmla="*/ 10395 h 609800"/>
              <a:gd name="connsiteX2152" fmla="*/ 1705839 w 12248682"/>
              <a:gd name="connsiteY2152" fmla="*/ 10395 h 609800"/>
              <a:gd name="connsiteX2153" fmla="*/ 1746261 w 12248682"/>
              <a:gd name="connsiteY2153" fmla="*/ 50817 h 609800"/>
              <a:gd name="connsiteX2154" fmla="*/ 1705839 w 12248682"/>
              <a:gd name="connsiteY2154" fmla="*/ 91241 h 609800"/>
              <a:gd name="connsiteX2155" fmla="*/ 1665415 w 12248682"/>
              <a:gd name="connsiteY2155" fmla="*/ 50817 h 609800"/>
              <a:gd name="connsiteX2156" fmla="*/ 1705839 w 12248682"/>
              <a:gd name="connsiteY2156" fmla="*/ 10395 h 609800"/>
              <a:gd name="connsiteX2157" fmla="*/ 587862 w 12248682"/>
              <a:gd name="connsiteY2157" fmla="*/ 10395 h 609800"/>
              <a:gd name="connsiteX2158" fmla="*/ 628284 w 12248682"/>
              <a:gd name="connsiteY2158" fmla="*/ 51973 h 609800"/>
              <a:gd name="connsiteX2159" fmla="*/ 587862 w 12248682"/>
              <a:gd name="connsiteY2159" fmla="*/ 92395 h 609800"/>
              <a:gd name="connsiteX2160" fmla="*/ 547439 w 12248682"/>
              <a:gd name="connsiteY2160" fmla="*/ 50817 h 609800"/>
              <a:gd name="connsiteX2161" fmla="*/ 587862 w 12248682"/>
              <a:gd name="connsiteY2161" fmla="*/ 10395 h 609800"/>
              <a:gd name="connsiteX2162" fmla="*/ 308368 w 12248682"/>
              <a:gd name="connsiteY2162" fmla="*/ 10395 h 609800"/>
              <a:gd name="connsiteX2163" fmla="*/ 348790 w 12248682"/>
              <a:gd name="connsiteY2163" fmla="*/ 51973 h 609800"/>
              <a:gd name="connsiteX2164" fmla="*/ 308368 w 12248682"/>
              <a:gd name="connsiteY2164" fmla="*/ 92395 h 609800"/>
              <a:gd name="connsiteX2165" fmla="*/ 267945 w 12248682"/>
              <a:gd name="connsiteY2165" fmla="*/ 50817 h 609800"/>
              <a:gd name="connsiteX2166" fmla="*/ 308368 w 12248682"/>
              <a:gd name="connsiteY2166" fmla="*/ 10395 h 609800"/>
              <a:gd name="connsiteX2167" fmla="*/ 10784225 w 12248682"/>
              <a:gd name="connsiteY2167" fmla="*/ 0 h 609800"/>
              <a:gd name="connsiteX2168" fmla="*/ 10835042 w 12248682"/>
              <a:gd name="connsiteY2168" fmla="*/ 50817 h 609800"/>
              <a:gd name="connsiteX2169" fmla="*/ 10784225 w 12248682"/>
              <a:gd name="connsiteY2169" fmla="*/ 101634 h 609800"/>
              <a:gd name="connsiteX2170" fmla="*/ 10733408 w 12248682"/>
              <a:gd name="connsiteY2170" fmla="*/ 50817 h 609800"/>
              <a:gd name="connsiteX2171" fmla="*/ 10784225 w 12248682"/>
              <a:gd name="connsiteY2171" fmla="*/ 0 h 609800"/>
              <a:gd name="connsiteX2172" fmla="*/ 9666248 w 12248682"/>
              <a:gd name="connsiteY2172" fmla="*/ 0 h 609800"/>
              <a:gd name="connsiteX2173" fmla="*/ 9717066 w 12248682"/>
              <a:gd name="connsiteY2173" fmla="*/ 50817 h 609800"/>
              <a:gd name="connsiteX2174" fmla="*/ 9666248 w 12248682"/>
              <a:gd name="connsiteY2174" fmla="*/ 101634 h 609800"/>
              <a:gd name="connsiteX2175" fmla="*/ 9615431 w 12248682"/>
              <a:gd name="connsiteY2175" fmla="*/ 50817 h 609800"/>
              <a:gd name="connsiteX2176" fmla="*/ 9666248 w 12248682"/>
              <a:gd name="connsiteY2176" fmla="*/ 0 h 609800"/>
              <a:gd name="connsiteX2177" fmla="*/ 8553443 w 12248682"/>
              <a:gd name="connsiteY2177" fmla="*/ 0 h 609800"/>
              <a:gd name="connsiteX2178" fmla="*/ 8604260 w 12248682"/>
              <a:gd name="connsiteY2178" fmla="*/ 50817 h 609800"/>
              <a:gd name="connsiteX2179" fmla="*/ 8553443 w 12248682"/>
              <a:gd name="connsiteY2179" fmla="*/ 101634 h 609800"/>
              <a:gd name="connsiteX2180" fmla="*/ 8502626 w 12248682"/>
              <a:gd name="connsiteY2180" fmla="*/ 50817 h 609800"/>
              <a:gd name="connsiteX2181" fmla="*/ 8553443 w 12248682"/>
              <a:gd name="connsiteY2181" fmla="*/ 0 h 609800"/>
              <a:gd name="connsiteX2182" fmla="*/ 6178898 w 12248682"/>
              <a:gd name="connsiteY2182" fmla="*/ 0 h 609800"/>
              <a:gd name="connsiteX2183" fmla="*/ 6229715 w 12248682"/>
              <a:gd name="connsiteY2183" fmla="*/ 50817 h 609800"/>
              <a:gd name="connsiteX2184" fmla="*/ 6178898 w 12248682"/>
              <a:gd name="connsiteY2184" fmla="*/ 101634 h 609800"/>
              <a:gd name="connsiteX2185" fmla="*/ 6128081 w 12248682"/>
              <a:gd name="connsiteY2185" fmla="*/ 50817 h 609800"/>
              <a:gd name="connsiteX2186" fmla="*/ 6178898 w 12248682"/>
              <a:gd name="connsiteY2186" fmla="*/ 0 h 609800"/>
              <a:gd name="connsiteX2187" fmla="*/ 5060922 w 12248682"/>
              <a:gd name="connsiteY2187" fmla="*/ 0 h 609800"/>
              <a:gd name="connsiteX2188" fmla="*/ 5111740 w 12248682"/>
              <a:gd name="connsiteY2188" fmla="*/ 50817 h 609800"/>
              <a:gd name="connsiteX2189" fmla="*/ 5060922 w 12248682"/>
              <a:gd name="connsiteY2189" fmla="*/ 101634 h 609800"/>
              <a:gd name="connsiteX2190" fmla="*/ 5010105 w 12248682"/>
              <a:gd name="connsiteY2190" fmla="*/ 50817 h 609800"/>
              <a:gd name="connsiteX2191" fmla="*/ 5060922 w 12248682"/>
              <a:gd name="connsiteY2191" fmla="*/ 0 h 609800"/>
              <a:gd name="connsiteX2192" fmla="*/ 3940636 w 12248682"/>
              <a:gd name="connsiteY2192" fmla="*/ 0 h 609800"/>
              <a:gd name="connsiteX2193" fmla="*/ 3991453 w 12248682"/>
              <a:gd name="connsiteY2193" fmla="*/ 50817 h 609800"/>
              <a:gd name="connsiteX2194" fmla="*/ 3940636 w 12248682"/>
              <a:gd name="connsiteY2194" fmla="*/ 101634 h 609800"/>
              <a:gd name="connsiteX2195" fmla="*/ 3889819 w 12248682"/>
              <a:gd name="connsiteY2195" fmla="*/ 50817 h 609800"/>
              <a:gd name="connsiteX2196" fmla="*/ 3940636 w 12248682"/>
              <a:gd name="connsiteY2196" fmla="*/ 0 h 609800"/>
              <a:gd name="connsiteX2197" fmla="*/ 1566091 w 12248682"/>
              <a:gd name="connsiteY2197" fmla="*/ 0 h 609800"/>
              <a:gd name="connsiteX2198" fmla="*/ 1616908 w 12248682"/>
              <a:gd name="connsiteY2198" fmla="*/ 50817 h 609800"/>
              <a:gd name="connsiteX2199" fmla="*/ 1566091 w 12248682"/>
              <a:gd name="connsiteY2199" fmla="*/ 101634 h 609800"/>
              <a:gd name="connsiteX2200" fmla="*/ 1515274 w 12248682"/>
              <a:gd name="connsiteY2200" fmla="*/ 50817 h 609800"/>
              <a:gd name="connsiteX2201" fmla="*/ 1566091 w 12248682"/>
              <a:gd name="connsiteY2201" fmla="*/ 0 h 609800"/>
              <a:gd name="connsiteX2202" fmla="*/ 448115 w 12248682"/>
              <a:gd name="connsiteY2202" fmla="*/ 0 h 609800"/>
              <a:gd name="connsiteX2203" fmla="*/ 498932 w 12248682"/>
              <a:gd name="connsiteY2203" fmla="*/ 50817 h 609800"/>
              <a:gd name="connsiteX2204" fmla="*/ 448115 w 12248682"/>
              <a:gd name="connsiteY2204" fmla="*/ 101634 h 609800"/>
              <a:gd name="connsiteX2205" fmla="*/ 397298 w 12248682"/>
              <a:gd name="connsiteY2205" fmla="*/ 50817 h 609800"/>
              <a:gd name="connsiteX2206" fmla="*/ 448115 w 12248682"/>
              <a:gd name="connsiteY2206" fmla="*/ 0 h 6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</a:cxnLst>
            <a:rect l="l" t="t" r="r" b="b"/>
            <a:pathLst>
              <a:path w="12248682" h="609800">
                <a:moveTo>
                  <a:pt x="12227892" y="608651"/>
                </a:moveTo>
                <a:lnTo>
                  <a:pt x="12230601" y="609800"/>
                </a:lnTo>
                <a:lnTo>
                  <a:pt x="12225102" y="609800"/>
                </a:lnTo>
                <a:close/>
                <a:moveTo>
                  <a:pt x="12091610" y="608651"/>
                </a:moveTo>
                <a:lnTo>
                  <a:pt x="12094400" y="609800"/>
                </a:lnTo>
                <a:lnTo>
                  <a:pt x="12088820" y="609800"/>
                </a:lnTo>
                <a:close/>
                <a:moveTo>
                  <a:pt x="11956484" y="608651"/>
                </a:moveTo>
                <a:lnTo>
                  <a:pt x="11959274" y="609800"/>
                </a:lnTo>
                <a:lnTo>
                  <a:pt x="11953693" y="609800"/>
                </a:lnTo>
                <a:close/>
                <a:moveTo>
                  <a:pt x="11821356" y="608651"/>
                </a:moveTo>
                <a:lnTo>
                  <a:pt x="11824146" y="609800"/>
                </a:lnTo>
                <a:lnTo>
                  <a:pt x="11818565" y="609800"/>
                </a:lnTo>
                <a:close/>
                <a:moveTo>
                  <a:pt x="11685074" y="608651"/>
                </a:moveTo>
                <a:lnTo>
                  <a:pt x="11687864" y="609800"/>
                </a:lnTo>
                <a:lnTo>
                  <a:pt x="11682283" y="609800"/>
                </a:lnTo>
                <a:close/>
                <a:moveTo>
                  <a:pt x="10736873" y="608651"/>
                </a:moveTo>
                <a:lnTo>
                  <a:pt x="10739663" y="609800"/>
                </a:lnTo>
                <a:lnTo>
                  <a:pt x="10734082" y="609800"/>
                </a:lnTo>
                <a:close/>
                <a:moveTo>
                  <a:pt x="10601745" y="608651"/>
                </a:moveTo>
                <a:lnTo>
                  <a:pt x="10604536" y="609800"/>
                </a:lnTo>
                <a:lnTo>
                  <a:pt x="10598955" y="609800"/>
                </a:lnTo>
                <a:close/>
                <a:moveTo>
                  <a:pt x="8027949" y="608651"/>
                </a:moveTo>
                <a:lnTo>
                  <a:pt x="8030740" y="609800"/>
                </a:lnTo>
                <a:lnTo>
                  <a:pt x="8025159" y="609800"/>
                </a:lnTo>
                <a:close/>
                <a:moveTo>
                  <a:pt x="7892822" y="608651"/>
                </a:moveTo>
                <a:lnTo>
                  <a:pt x="7895613" y="609800"/>
                </a:lnTo>
                <a:lnTo>
                  <a:pt x="7890031" y="609800"/>
                </a:lnTo>
                <a:close/>
                <a:moveTo>
                  <a:pt x="7757693" y="608651"/>
                </a:moveTo>
                <a:lnTo>
                  <a:pt x="7760484" y="609800"/>
                </a:lnTo>
                <a:lnTo>
                  <a:pt x="7754903" y="609800"/>
                </a:lnTo>
                <a:close/>
                <a:moveTo>
                  <a:pt x="7622566" y="608651"/>
                </a:moveTo>
                <a:lnTo>
                  <a:pt x="7625275" y="609800"/>
                </a:lnTo>
                <a:lnTo>
                  <a:pt x="7619776" y="609800"/>
                </a:lnTo>
                <a:close/>
                <a:moveTo>
                  <a:pt x="7486284" y="608651"/>
                </a:moveTo>
                <a:lnTo>
                  <a:pt x="7489075" y="609800"/>
                </a:lnTo>
                <a:lnTo>
                  <a:pt x="7483494" y="609800"/>
                </a:lnTo>
                <a:close/>
                <a:moveTo>
                  <a:pt x="7351157" y="608651"/>
                </a:moveTo>
                <a:lnTo>
                  <a:pt x="7353948" y="609800"/>
                </a:lnTo>
                <a:lnTo>
                  <a:pt x="7348367" y="609800"/>
                </a:lnTo>
                <a:close/>
                <a:moveTo>
                  <a:pt x="7216030" y="608651"/>
                </a:moveTo>
                <a:lnTo>
                  <a:pt x="7218821" y="609800"/>
                </a:lnTo>
                <a:lnTo>
                  <a:pt x="7213240" y="609800"/>
                </a:lnTo>
                <a:close/>
                <a:moveTo>
                  <a:pt x="7079748" y="608651"/>
                </a:moveTo>
                <a:lnTo>
                  <a:pt x="7082539" y="609800"/>
                </a:lnTo>
                <a:lnTo>
                  <a:pt x="7076958" y="609800"/>
                </a:lnTo>
                <a:close/>
                <a:moveTo>
                  <a:pt x="6131548" y="608651"/>
                </a:moveTo>
                <a:lnTo>
                  <a:pt x="6134339" y="609800"/>
                </a:lnTo>
                <a:lnTo>
                  <a:pt x="6128758" y="609800"/>
                </a:lnTo>
                <a:close/>
                <a:moveTo>
                  <a:pt x="5996418" y="608651"/>
                </a:moveTo>
                <a:lnTo>
                  <a:pt x="5999209" y="609800"/>
                </a:lnTo>
                <a:lnTo>
                  <a:pt x="5993628" y="609800"/>
                </a:lnTo>
                <a:close/>
                <a:moveTo>
                  <a:pt x="3415142" y="608651"/>
                </a:moveTo>
                <a:lnTo>
                  <a:pt x="3417933" y="609800"/>
                </a:lnTo>
                <a:lnTo>
                  <a:pt x="3412352" y="609800"/>
                </a:lnTo>
                <a:close/>
                <a:moveTo>
                  <a:pt x="3280013" y="608651"/>
                </a:moveTo>
                <a:lnTo>
                  <a:pt x="3282804" y="609800"/>
                </a:lnTo>
                <a:lnTo>
                  <a:pt x="3277223" y="609800"/>
                </a:lnTo>
                <a:close/>
                <a:moveTo>
                  <a:pt x="3144887" y="608651"/>
                </a:moveTo>
                <a:lnTo>
                  <a:pt x="3147678" y="609800"/>
                </a:lnTo>
                <a:lnTo>
                  <a:pt x="3142097" y="609800"/>
                </a:lnTo>
                <a:close/>
                <a:moveTo>
                  <a:pt x="3009759" y="608651"/>
                </a:moveTo>
                <a:lnTo>
                  <a:pt x="3012468" y="609800"/>
                </a:lnTo>
                <a:lnTo>
                  <a:pt x="3006969" y="609800"/>
                </a:lnTo>
                <a:close/>
                <a:moveTo>
                  <a:pt x="2873476" y="608651"/>
                </a:moveTo>
                <a:lnTo>
                  <a:pt x="2876267" y="609800"/>
                </a:lnTo>
                <a:lnTo>
                  <a:pt x="2870686" y="609800"/>
                </a:lnTo>
                <a:close/>
                <a:moveTo>
                  <a:pt x="2738350" y="608651"/>
                </a:moveTo>
                <a:lnTo>
                  <a:pt x="2741141" y="609800"/>
                </a:lnTo>
                <a:lnTo>
                  <a:pt x="2735560" y="609800"/>
                </a:lnTo>
                <a:close/>
                <a:moveTo>
                  <a:pt x="2603222" y="608651"/>
                </a:moveTo>
                <a:lnTo>
                  <a:pt x="2606013" y="609800"/>
                </a:lnTo>
                <a:lnTo>
                  <a:pt x="2600432" y="609800"/>
                </a:lnTo>
                <a:close/>
                <a:moveTo>
                  <a:pt x="2466940" y="608651"/>
                </a:moveTo>
                <a:lnTo>
                  <a:pt x="2469731" y="609800"/>
                </a:lnTo>
                <a:lnTo>
                  <a:pt x="2464150" y="609800"/>
                </a:lnTo>
                <a:close/>
                <a:moveTo>
                  <a:pt x="1518739" y="608651"/>
                </a:moveTo>
                <a:lnTo>
                  <a:pt x="1521530" y="609800"/>
                </a:lnTo>
                <a:lnTo>
                  <a:pt x="1515949" y="609800"/>
                </a:lnTo>
                <a:close/>
                <a:moveTo>
                  <a:pt x="1383611" y="608651"/>
                </a:moveTo>
                <a:lnTo>
                  <a:pt x="1386402" y="609800"/>
                </a:lnTo>
                <a:lnTo>
                  <a:pt x="1380821" y="609800"/>
                </a:lnTo>
                <a:close/>
                <a:moveTo>
                  <a:pt x="11549947" y="606341"/>
                </a:moveTo>
                <a:lnTo>
                  <a:pt x="11558263" y="609800"/>
                </a:lnTo>
                <a:lnTo>
                  <a:pt x="11541630" y="609800"/>
                </a:lnTo>
                <a:close/>
                <a:moveTo>
                  <a:pt x="10466618" y="606341"/>
                </a:moveTo>
                <a:lnTo>
                  <a:pt x="10474935" y="609800"/>
                </a:lnTo>
                <a:lnTo>
                  <a:pt x="10458302" y="609800"/>
                </a:lnTo>
                <a:close/>
                <a:moveTo>
                  <a:pt x="9244698" y="606341"/>
                </a:moveTo>
                <a:lnTo>
                  <a:pt x="9256325" y="609800"/>
                </a:lnTo>
                <a:lnTo>
                  <a:pt x="9238257" y="609800"/>
                </a:lnTo>
                <a:close/>
                <a:moveTo>
                  <a:pt x="8164231" y="606341"/>
                </a:moveTo>
                <a:lnTo>
                  <a:pt x="8172548" y="609800"/>
                </a:lnTo>
                <a:lnTo>
                  <a:pt x="8155915" y="609800"/>
                </a:lnTo>
                <a:close/>
                <a:moveTo>
                  <a:pt x="6944621" y="606341"/>
                </a:moveTo>
                <a:lnTo>
                  <a:pt x="6952937" y="609800"/>
                </a:lnTo>
                <a:lnTo>
                  <a:pt x="6936304" y="609800"/>
                </a:lnTo>
                <a:close/>
                <a:moveTo>
                  <a:pt x="5861292" y="606341"/>
                </a:moveTo>
                <a:lnTo>
                  <a:pt x="5869609" y="609800"/>
                </a:lnTo>
                <a:lnTo>
                  <a:pt x="5852976" y="609800"/>
                </a:lnTo>
                <a:close/>
                <a:moveTo>
                  <a:pt x="4639374" y="606341"/>
                </a:moveTo>
                <a:lnTo>
                  <a:pt x="4651000" y="609800"/>
                </a:lnTo>
                <a:lnTo>
                  <a:pt x="4632932" y="609800"/>
                </a:lnTo>
                <a:close/>
                <a:moveTo>
                  <a:pt x="3551423" y="606341"/>
                </a:moveTo>
                <a:lnTo>
                  <a:pt x="3559740" y="609800"/>
                </a:lnTo>
                <a:lnTo>
                  <a:pt x="3543107" y="609800"/>
                </a:lnTo>
                <a:close/>
                <a:moveTo>
                  <a:pt x="2331813" y="606341"/>
                </a:moveTo>
                <a:lnTo>
                  <a:pt x="2340130" y="609800"/>
                </a:lnTo>
                <a:lnTo>
                  <a:pt x="2323497" y="609800"/>
                </a:lnTo>
                <a:close/>
                <a:moveTo>
                  <a:pt x="1248485" y="606341"/>
                </a:moveTo>
                <a:lnTo>
                  <a:pt x="1256801" y="609800"/>
                </a:lnTo>
                <a:lnTo>
                  <a:pt x="1240169" y="609800"/>
                </a:lnTo>
                <a:close/>
                <a:moveTo>
                  <a:pt x="26564" y="606341"/>
                </a:moveTo>
                <a:lnTo>
                  <a:pt x="38192" y="609800"/>
                </a:lnTo>
                <a:lnTo>
                  <a:pt x="20123" y="609800"/>
                </a:lnTo>
                <a:close/>
                <a:moveTo>
                  <a:pt x="11414819" y="600566"/>
                </a:moveTo>
                <a:cubicBezTo>
                  <a:pt x="11422904" y="600566"/>
                  <a:pt x="11430122" y="603742"/>
                  <a:pt x="11435319" y="608940"/>
                </a:cubicBezTo>
                <a:lnTo>
                  <a:pt x="11435671" y="609800"/>
                </a:lnTo>
                <a:lnTo>
                  <a:pt x="11393968" y="609800"/>
                </a:lnTo>
                <a:lnTo>
                  <a:pt x="11394319" y="608940"/>
                </a:lnTo>
                <a:cubicBezTo>
                  <a:pt x="11399516" y="603742"/>
                  <a:pt x="11406734" y="600566"/>
                  <a:pt x="11414819" y="600566"/>
                </a:cubicBezTo>
                <a:close/>
                <a:moveTo>
                  <a:pt x="10330336" y="600566"/>
                </a:moveTo>
                <a:cubicBezTo>
                  <a:pt x="10338420" y="600566"/>
                  <a:pt x="10345639" y="603742"/>
                  <a:pt x="10350836" y="608940"/>
                </a:cubicBezTo>
                <a:lnTo>
                  <a:pt x="10351187" y="609800"/>
                </a:lnTo>
                <a:lnTo>
                  <a:pt x="10309484" y="609800"/>
                </a:lnTo>
                <a:lnTo>
                  <a:pt x="10309836" y="608940"/>
                </a:lnTo>
                <a:cubicBezTo>
                  <a:pt x="10315033" y="603742"/>
                  <a:pt x="10322251" y="600566"/>
                  <a:pt x="10330336" y="600566"/>
                </a:cubicBezTo>
                <a:close/>
                <a:moveTo>
                  <a:pt x="9382135" y="600566"/>
                </a:moveTo>
                <a:cubicBezTo>
                  <a:pt x="9390220" y="600566"/>
                  <a:pt x="9397438" y="603742"/>
                  <a:pt x="9402635" y="608940"/>
                </a:cubicBezTo>
                <a:lnTo>
                  <a:pt x="9402987" y="609800"/>
                </a:lnTo>
                <a:lnTo>
                  <a:pt x="9361284" y="609800"/>
                </a:lnTo>
                <a:lnTo>
                  <a:pt x="9361635" y="608940"/>
                </a:lnTo>
                <a:cubicBezTo>
                  <a:pt x="9366832" y="603742"/>
                  <a:pt x="9374051" y="600566"/>
                  <a:pt x="9382135" y="600566"/>
                </a:cubicBezTo>
                <a:close/>
                <a:moveTo>
                  <a:pt x="9112431" y="600566"/>
                </a:moveTo>
                <a:cubicBezTo>
                  <a:pt x="9120516" y="600566"/>
                  <a:pt x="9127734" y="603742"/>
                  <a:pt x="9132931" y="608940"/>
                </a:cubicBezTo>
                <a:lnTo>
                  <a:pt x="9133283" y="609800"/>
                </a:lnTo>
                <a:lnTo>
                  <a:pt x="9091580" y="609800"/>
                </a:lnTo>
                <a:lnTo>
                  <a:pt x="9091931" y="608940"/>
                </a:lnTo>
                <a:cubicBezTo>
                  <a:pt x="9097128" y="603742"/>
                  <a:pt x="9104347" y="600566"/>
                  <a:pt x="9112431" y="600566"/>
                </a:cubicBezTo>
                <a:close/>
                <a:moveTo>
                  <a:pt x="8299358" y="600566"/>
                </a:moveTo>
                <a:cubicBezTo>
                  <a:pt x="8307442" y="600566"/>
                  <a:pt x="8314660" y="603742"/>
                  <a:pt x="8319858" y="608940"/>
                </a:cubicBezTo>
                <a:lnTo>
                  <a:pt x="8320209" y="609800"/>
                </a:lnTo>
                <a:lnTo>
                  <a:pt x="8278507" y="609800"/>
                </a:lnTo>
                <a:lnTo>
                  <a:pt x="8278858" y="608940"/>
                </a:lnTo>
                <a:cubicBezTo>
                  <a:pt x="8284055" y="603742"/>
                  <a:pt x="8291274" y="600566"/>
                  <a:pt x="8299358" y="600566"/>
                </a:cubicBezTo>
                <a:close/>
                <a:moveTo>
                  <a:pt x="6809492" y="600566"/>
                </a:moveTo>
                <a:cubicBezTo>
                  <a:pt x="6817577" y="600566"/>
                  <a:pt x="6824796" y="603742"/>
                  <a:pt x="6829993" y="608940"/>
                </a:cubicBezTo>
                <a:lnTo>
                  <a:pt x="6830345" y="609800"/>
                </a:lnTo>
                <a:lnTo>
                  <a:pt x="6788642" y="609800"/>
                </a:lnTo>
                <a:lnTo>
                  <a:pt x="6788993" y="608940"/>
                </a:lnTo>
                <a:cubicBezTo>
                  <a:pt x="6794190" y="603742"/>
                  <a:pt x="6801408" y="600566"/>
                  <a:pt x="6809492" y="600566"/>
                </a:cubicBezTo>
                <a:close/>
                <a:moveTo>
                  <a:pt x="5726165" y="600566"/>
                </a:moveTo>
                <a:cubicBezTo>
                  <a:pt x="5733672" y="600566"/>
                  <a:pt x="5740890" y="603742"/>
                  <a:pt x="5746232" y="608940"/>
                </a:cubicBezTo>
                <a:lnTo>
                  <a:pt x="5746601" y="609800"/>
                </a:lnTo>
                <a:lnTo>
                  <a:pt x="5705314" y="609800"/>
                </a:lnTo>
                <a:lnTo>
                  <a:pt x="5705666" y="608940"/>
                </a:lnTo>
                <a:cubicBezTo>
                  <a:pt x="5710863" y="603742"/>
                  <a:pt x="5718081" y="600566"/>
                  <a:pt x="5726165" y="600566"/>
                </a:cubicBezTo>
                <a:close/>
                <a:moveTo>
                  <a:pt x="4776809" y="600566"/>
                </a:moveTo>
                <a:cubicBezTo>
                  <a:pt x="4784894" y="600566"/>
                  <a:pt x="4792112" y="603742"/>
                  <a:pt x="4797309" y="608940"/>
                </a:cubicBezTo>
                <a:lnTo>
                  <a:pt x="4797661" y="609800"/>
                </a:lnTo>
                <a:lnTo>
                  <a:pt x="4755958" y="609800"/>
                </a:lnTo>
                <a:lnTo>
                  <a:pt x="4756310" y="608940"/>
                </a:lnTo>
                <a:cubicBezTo>
                  <a:pt x="4761507" y="603742"/>
                  <a:pt x="4768725" y="600566"/>
                  <a:pt x="4776809" y="600566"/>
                </a:cubicBezTo>
                <a:close/>
                <a:moveTo>
                  <a:pt x="4499625" y="600566"/>
                </a:moveTo>
                <a:cubicBezTo>
                  <a:pt x="4507709" y="600566"/>
                  <a:pt x="4514928" y="603742"/>
                  <a:pt x="4520126" y="608940"/>
                </a:cubicBezTo>
                <a:lnTo>
                  <a:pt x="4520477" y="609800"/>
                </a:lnTo>
                <a:lnTo>
                  <a:pt x="4478774" y="609800"/>
                </a:lnTo>
                <a:lnTo>
                  <a:pt x="4479126" y="608940"/>
                </a:lnTo>
                <a:cubicBezTo>
                  <a:pt x="4484323" y="603742"/>
                  <a:pt x="4491541" y="600566"/>
                  <a:pt x="4499625" y="600566"/>
                </a:cubicBezTo>
                <a:close/>
                <a:moveTo>
                  <a:pt x="3686551" y="600566"/>
                </a:moveTo>
                <a:cubicBezTo>
                  <a:pt x="3694635" y="600566"/>
                  <a:pt x="3701854" y="603742"/>
                  <a:pt x="3707051" y="608940"/>
                </a:cubicBezTo>
                <a:lnTo>
                  <a:pt x="3707402" y="609800"/>
                </a:lnTo>
                <a:lnTo>
                  <a:pt x="3665699" y="609800"/>
                </a:lnTo>
                <a:lnTo>
                  <a:pt x="3666051" y="608940"/>
                </a:lnTo>
                <a:cubicBezTo>
                  <a:pt x="3671248" y="603742"/>
                  <a:pt x="3678466" y="600566"/>
                  <a:pt x="3686551" y="600566"/>
                </a:cubicBezTo>
                <a:close/>
                <a:moveTo>
                  <a:pt x="2196685" y="600566"/>
                </a:moveTo>
                <a:cubicBezTo>
                  <a:pt x="2204770" y="600566"/>
                  <a:pt x="2211988" y="603742"/>
                  <a:pt x="2217186" y="608940"/>
                </a:cubicBezTo>
                <a:lnTo>
                  <a:pt x="2217537" y="609800"/>
                </a:lnTo>
                <a:lnTo>
                  <a:pt x="2175835" y="609800"/>
                </a:lnTo>
                <a:lnTo>
                  <a:pt x="2176186" y="608940"/>
                </a:lnTo>
                <a:cubicBezTo>
                  <a:pt x="2181383" y="603742"/>
                  <a:pt x="2188601" y="600566"/>
                  <a:pt x="2196685" y="600566"/>
                </a:cubicBezTo>
                <a:close/>
                <a:moveTo>
                  <a:pt x="1112202" y="600566"/>
                </a:moveTo>
                <a:cubicBezTo>
                  <a:pt x="1120287" y="600566"/>
                  <a:pt x="1127505" y="603742"/>
                  <a:pt x="1132702" y="608940"/>
                </a:cubicBezTo>
                <a:lnTo>
                  <a:pt x="1133053" y="609800"/>
                </a:lnTo>
                <a:lnTo>
                  <a:pt x="1091351" y="609800"/>
                </a:lnTo>
                <a:lnTo>
                  <a:pt x="1091702" y="608940"/>
                </a:lnTo>
                <a:cubicBezTo>
                  <a:pt x="1096899" y="603742"/>
                  <a:pt x="1104118" y="600566"/>
                  <a:pt x="1112202" y="600566"/>
                </a:cubicBezTo>
                <a:close/>
                <a:moveTo>
                  <a:pt x="164001" y="600566"/>
                </a:moveTo>
                <a:cubicBezTo>
                  <a:pt x="172086" y="600566"/>
                  <a:pt x="179304" y="603742"/>
                  <a:pt x="184502" y="608940"/>
                </a:cubicBezTo>
                <a:lnTo>
                  <a:pt x="184853" y="609800"/>
                </a:lnTo>
                <a:lnTo>
                  <a:pt x="143150" y="609800"/>
                </a:lnTo>
                <a:lnTo>
                  <a:pt x="143501" y="608940"/>
                </a:lnTo>
                <a:cubicBezTo>
                  <a:pt x="148698" y="603742"/>
                  <a:pt x="155917" y="600566"/>
                  <a:pt x="164001" y="600566"/>
                </a:cubicBezTo>
                <a:close/>
                <a:moveTo>
                  <a:pt x="11279692" y="594792"/>
                </a:moveTo>
                <a:cubicBezTo>
                  <a:pt x="11288931" y="594792"/>
                  <a:pt x="11297593" y="598835"/>
                  <a:pt x="11303946" y="605187"/>
                </a:cubicBezTo>
                <a:lnTo>
                  <a:pt x="11305923" y="609800"/>
                </a:lnTo>
                <a:lnTo>
                  <a:pt x="11253110" y="609800"/>
                </a:lnTo>
                <a:lnTo>
                  <a:pt x="11255005" y="605187"/>
                </a:lnTo>
                <a:cubicBezTo>
                  <a:pt x="11261213" y="598835"/>
                  <a:pt x="11269875" y="594792"/>
                  <a:pt x="11279692" y="594792"/>
                </a:cubicBezTo>
                <a:close/>
                <a:moveTo>
                  <a:pt x="10195208" y="594792"/>
                </a:moveTo>
                <a:cubicBezTo>
                  <a:pt x="10205025" y="594792"/>
                  <a:pt x="10213687" y="598835"/>
                  <a:pt x="10219895" y="605187"/>
                </a:cubicBezTo>
                <a:lnTo>
                  <a:pt x="10221790" y="609800"/>
                </a:lnTo>
                <a:lnTo>
                  <a:pt x="10168627" y="609800"/>
                </a:lnTo>
                <a:lnTo>
                  <a:pt x="10170522" y="605187"/>
                </a:lnTo>
                <a:cubicBezTo>
                  <a:pt x="10176730" y="598835"/>
                  <a:pt x="10185392" y="594792"/>
                  <a:pt x="10195208" y="594792"/>
                </a:cubicBezTo>
                <a:close/>
                <a:moveTo>
                  <a:pt x="9518417" y="594792"/>
                </a:moveTo>
                <a:cubicBezTo>
                  <a:pt x="9527657" y="594792"/>
                  <a:pt x="9536319" y="598835"/>
                  <a:pt x="9542671" y="605187"/>
                </a:cubicBezTo>
                <a:lnTo>
                  <a:pt x="9544648" y="609800"/>
                </a:lnTo>
                <a:lnTo>
                  <a:pt x="9491836" y="609800"/>
                </a:lnTo>
                <a:lnTo>
                  <a:pt x="9493731" y="605187"/>
                </a:lnTo>
                <a:cubicBezTo>
                  <a:pt x="9499938" y="598835"/>
                  <a:pt x="9508600" y="594792"/>
                  <a:pt x="9518417" y="594792"/>
                </a:cubicBezTo>
                <a:close/>
                <a:moveTo>
                  <a:pt x="8977304" y="594792"/>
                </a:moveTo>
                <a:cubicBezTo>
                  <a:pt x="8986543" y="594792"/>
                  <a:pt x="8995205" y="598835"/>
                  <a:pt x="9001558" y="605187"/>
                </a:cubicBezTo>
                <a:lnTo>
                  <a:pt x="9003535" y="609800"/>
                </a:lnTo>
                <a:lnTo>
                  <a:pt x="8950722" y="609800"/>
                </a:lnTo>
                <a:lnTo>
                  <a:pt x="8952617" y="605187"/>
                </a:lnTo>
                <a:cubicBezTo>
                  <a:pt x="8958825" y="598835"/>
                  <a:pt x="8967487" y="594792"/>
                  <a:pt x="8977304" y="594792"/>
                </a:cubicBezTo>
                <a:close/>
                <a:moveTo>
                  <a:pt x="8434485" y="594792"/>
                </a:moveTo>
                <a:cubicBezTo>
                  <a:pt x="8444302" y="594792"/>
                  <a:pt x="8452964" y="598835"/>
                  <a:pt x="8459172" y="605187"/>
                </a:cubicBezTo>
                <a:lnTo>
                  <a:pt x="8461066" y="609800"/>
                </a:lnTo>
                <a:lnTo>
                  <a:pt x="8407903" y="609800"/>
                </a:lnTo>
                <a:lnTo>
                  <a:pt x="8409798" y="605187"/>
                </a:lnTo>
                <a:cubicBezTo>
                  <a:pt x="8416006" y="598835"/>
                  <a:pt x="8424668" y="594792"/>
                  <a:pt x="8434485" y="594792"/>
                </a:cubicBezTo>
                <a:close/>
                <a:moveTo>
                  <a:pt x="6674366" y="594792"/>
                </a:moveTo>
                <a:cubicBezTo>
                  <a:pt x="6683606" y="594792"/>
                  <a:pt x="6692268" y="598835"/>
                  <a:pt x="6698620" y="605187"/>
                </a:cubicBezTo>
                <a:lnTo>
                  <a:pt x="6700597" y="609800"/>
                </a:lnTo>
                <a:lnTo>
                  <a:pt x="6647784" y="609800"/>
                </a:lnTo>
                <a:lnTo>
                  <a:pt x="6649679" y="605187"/>
                </a:lnTo>
                <a:cubicBezTo>
                  <a:pt x="6655887" y="598835"/>
                  <a:pt x="6664549" y="594792"/>
                  <a:pt x="6674366" y="594792"/>
                </a:cubicBezTo>
                <a:close/>
                <a:moveTo>
                  <a:pt x="5589882" y="594792"/>
                </a:moveTo>
                <a:cubicBezTo>
                  <a:pt x="5599699" y="594792"/>
                  <a:pt x="5608362" y="598835"/>
                  <a:pt x="5614570" y="605187"/>
                </a:cubicBezTo>
                <a:lnTo>
                  <a:pt x="5616465" y="609800"/>
                </a:lnTo>
                <a:lnTo>
                  <a:pt x="5563301" y="609800"/>
                </a:lnTo>
                <a:lnTo>
                  <a:pt x="5565196" y="605187"/>
                </a:lnTo>
                <a:cubicBezTo>
                  <a:pt x="5571404" y="598835"/>
                  <a:pt x="5580066" y="594792"/>
                  <a:pt x="5589882" y="594792"/>
                </a:cubicBezTo>
                <a:close/>
                <a:moveTo>
                  <a:pt x="4913091" y="594792"/>
                </a:moveTo>
                <a:cubicBezTo>
                  <a:pt x="4922330" y="594792"/>
                  <a:pt x="4930992" y="598835"/>
                  <a:pt x="4937345" y="605187"/>
                </a:cubicBezTo>
                <a:lnTo>
                  <a:pt x="4939322" y="609800"/>
                </a:lnTo>
                <a:lnTo>
                  <a:pt x="4886510" y="609800"/>
                </a:lnTo>
                <a:lnTo>
                  <a:pt x="4888405" y="605187"/>
                </a:lnTo>
                <a:cubicBezTo>
                  <a:pt x="4894613" y="598835"/>
                  <a:pt x="4903275" y="594792"/>
                  <a:pt x="4913091" y="594792"/>
                </a:cubicBezTo>
                <a:close/>
                <a:moveTo>
                  <a:pt x="4364499" y="594792"/>
                </a:moveTo>
                <a:cubicBezTo>
                  <a:pt x="4373738" y="594792"/>
                  <a:pt x="4382400" y="598835"/>
                  <a:pt x="4388752" y="605187"/>
                </a:cubicBezTo>
                <a:lnTo>
                  <a:pt x="4390729" y="609800"/>
                </a:lnTo>
                <a:lnTo>
                  <a:pt x="4337917" y="609800"/>
                </a:lnTo>
                <a:lnTo>
                  <a:pt x="4339811" y="605187"/>
                </a:lnTo>
                <a:cubicBezTo>
                  <a:pt x="4346019" y="598835"/>
                  <a:pt x="4354681" y="594792"/>
                  <a:pt x="4364499" y="594792"/>
                </a:cubicBezTo>
                <a:close/>
                <a:moveTo>
                  <a:pt x="3821678" y="594792"/>
                </a:moveTo>
                <a:cubicBezTo>
                  <a:pt x="3831495" y="594792"/>
                  <a:pt x="3840157" y="598835"/>
                  <a:pt x="3846365" y="605187"/>
                </a:cubicBezTo>
                <a:lnTo>
                  <a:pt x="3848260" y="609800"/>
                </a:lnTo>
                <a:lnTo>
                  <a:pt x="3795097" y="609800"/>
                </a:lnTo>
                <a:lnTo>
                  <a:pt x="3796992" y="605187"/>
                </a:lnTo>
                <a:cubicBezTo>
                  <a:pt x="3803200" y="598835"/>
                  <a:pt x="3811862" y="594792"/>
                  <a:pt x="3821678" y="594792"/>
                </a:cubicBezTo>
                <a:close/>
                <a:moveTo>
                  <a:pt x="2061558" y="594792"/>
                </a:moveTo>
                <a:cubicBezTo>
                  <a:pt x="2070798" y="594792"/>
                  <a:pt x="2079460" y="598835"/>
                  <a:pt x="2085812" y="605187"/>
                </a:cubicBezTo>
                <a:lnTo>
                  <a:pt x="2087789" y="609800"/>
                </a:lnTo>
                <a:lnTo>
                  <a:pt x="2034977" y="609800"/>
                </a:lnTo>
                <a:lnTo>
                  <a:pt x="2036871" y="605187"/>
                </a:lnTo>
                <a:cubicBezTo>
                  <a:pt x="2043079" y="598835"/>
                  <a:pt x="2051741" y="594792"/>
                  <a:pt x="2061558" y="594792"/>
                </a:cubicBezTo>
                <a:close/>
                <a:moveTo>
                  <a:pt x="977075" y="594792"/>
                </a:moveTo>
                <a:cubicBezTo>
                  <a:pt x="986892" y="594792"/>
                  <a:pt x="995554" y="598835"/>
                  <a:pt x="1001762" y="605187"/>
                </a:cubicBezTo>
                <a:lnTo>
                  <a:pt x="1003657" y="609800"/>
                </a:lnTo>
                <a:lnTo>
                  <a:pt x="950494" y="609800"/>
                </a:lnTo>
                <a:lnTo>
                  <a:pt x="952388" y="605187"/>
                </a:lnTo>
                <a:cubicBezTo>
                  <a:pt x="958596" y="598835"/>
                  <a:pt x="967258" y="594792"/>
                  <a:pt x="977075" y="594792"/>
                </a:cubicBezTo>
                <a:close/>
                <a:moveTo>
                  <a:pt x="300283" y="594792"/>
                </a:moveTo>
                <a:cubicBezTo>
                  <a:pt x="309523" y="594792"/>
                  <a:pt x="318185" y="598835"/>
                  <a:pt x="324537" y="605187"/>
                </a:cubicBezTo>
                <a:lnTo>
                  <a:pt x="326514" y="609800"/>
                </a:lnTo>
                <a:lnTo>
                  <a:pt x="273702" y="609800"/>
                </a:lnTo>
                <a:lnTo>
                  <a:pt x="275597" y="605187"/>
                </a:lnTo>
                <a:cubicBezTo>
                  <a:pt x="281805" y="598835"/>
                  <a:pt x="290467" y="594792"/>
                  <a:pt x="300283" y="594792"/>
                </a:cubicBezTo>
                <a:close/>
                <a:moveTo>
                  <a:pt x="11143410" y="589016"/>
                </a:moveTo>
                <a:cubicBezTo>
                  <a:pt x="11154959" y="589016"/>
                  <a:pt x="11165065" y="593636"/>
                  <a:pt x="11172283" y="600999"/>
                </a:cubicBezTo>
                <a:lnTo>
                  <a:pt x="11175857" y="609800"/>
                </a:lnTo>
                <a:lnTo>
                  <a:pt x="11111262" y="609800"/>
                </a:lnTo>
                <a:lnTo>
                  <a:pt x="11114970" y="600999"/>
                </a:lnTo>
                <a:cubicBezTo>
                  <a:pt x="11122332" y="593636"/>
                  <a:pt x="11132438" y="589016"/>
                  <a:pt x="11143410" y="589016"/>
                </a:cubicBezTo>
                <a:close/>
                <a:moveTo>
                  <a:pt x="10873155" y="589016"/>
                </a:moveTo>
                <a:cubicBezTo>
                  <a:pt x="10884126" y="589016"/>
                  <a:pt x="10894232" y="593636"/>
                  <a:pt x="10901595" y="600999"/>
                </a:cubicBezTo>
                <a:lnTo>
                  <a:pt x="10905303" y="609800"/>
                </a:lnTo>
                <a:lnTo>
                  <a:pt x="10841006" y="609800"/>
                </a:lnTo>
                <a:lnTo>
                  <a:pt x="10844715" y="600999"/>
                </a:lnTo>
                <a:cubicBezTo>
                  <a:pt x="10852077" y="593636"/>
                  <a:pt x="10862183" y="589016"/>
                  <a:pt x="10873155" y="589016"/>
                </a:cubicBezTo>
                <a:close/>
                <a:moveTo>
                  <a:pt x="10060082" y="589016"/>
                </a:moveTo>
                <a:cubicBezTo>
                  <a:pt x="10071053" y="589016"/>
                  <a:pt x="10081159" y="593636"/>
                  <a:pt x="10088522" y="600999"/>
                </a:cubicBezTo>
                <a:lnTo>
                  <a:pt x="10092230" y="609800"/>
                </a:lnTo>
                <a:lnTo>
                  <a:pt x="10027932" y="609800"/>
                </a:lnTo>
                <a:lnTo>
                  <a:pt x="10031640" y="600999"/>
                </a:lnTo>
                <a:cubicBezTo>
                  <a:pt x="10039003" y="593636"/>
                  <a:pt x="10049109" y="589016"/>
                  <a:pt x="10060082" y="589016"/>
                </a:cubicBezTo>
                <a:close/>
                <a:moveTo>
                  <a:pt x="9653545" y="589016"/>
                </a:moveTo>
                <a:cubicBezTo>
                  <a:pt x="9664516" y="589016"/>
                  <a:pt x="9674622" y="593636"/>
                  <a:pt x="9681985" y="600999"/>
                </a:cubicBezTo>
                <a:lnTo>
                  <a:pt x="9685693" y="609800"/>
                </a:lnTo>
                <a:lnTo>
                  <a:pt x="9621396" y="609800"/>
                </a:lnTo>
                <a:lnTo>
                  <a:pt x="9625104" y="600999"/>
                </a:lnTo>
                <a:cubicBezTo>
                  <a:pt x="9632467" y="593636"/>
                  <a:pt x="9642573" y="589016"/>
                  <a:pt x="9653545" y="589016"/>
                </a:cubicBezTo>
                <a:close/>
                <a:moveTo>
                  <a:pt x="8841022" y="589016"/>
                </a:moveTo>
                <a:cubicBezTo>
                  <a:pt x="8852572" y="589016"/>
                  <a:pt x="8862677" y="593636"/>
                  <a:pt x="8869895" y="600999"/>
                </a:cubicBezTo>
                <a:lnTo>
                  <a:pt x="8873469" y="609800"/>
                </a:lnTo>
                <a:lnTo>
                  <a:pt x="8808873" y="609800"/>
                </a:lnTo>
                <a:lnTo>
                  <a:pt x="8812582" y="600999"/>
                </a:lnTo>
                <a:cubicBezTo>
                  <a:pt x="8819944" y="593636"/>
                  <a:pt x="8830050" y="589016"/>
                  <a:pt x="8841022" y="589016"/>
                </a:cubicBezTo>
                <a:close/>
                <a:moveTo>
                  <a:pt x="8570767" y="589016"/>
                </a:moveTo>
                <a:cubicBezTo>
                  <a:pt x="8581739" y="589016"/>
                  <a:pt x="8591845" y="593636"/>
                  <a:pt x="8599207" y="600999"/>
                </a:cubicBezTo>
                <a:lnTo>
                  <a:pt x="8602916" y="609800"/>
                </a:lnTo>
                <a:lnTo>
                  <a:pt x="8538618" y="609800"/>
                </a:lnTo>
                <a:lnTo>
                  <a:pt x="8542327" y="600999"/>
                </a:lnTo>
                <a:cubicBezTo>
                  <a:pt x="8549689" y="593636"/>
                  <a:pt x="8559795" y="589016"/>
                  <a:pt x="8570767" y="589016"/>
                </a:cubicBezTo>
                <a:close/>
                <a:moveTo>
                  <a:pt x="6538083" y="589016"/>
                </a:moveTo>
                <a:cubicBezTo>
                  <a:pt x="6549633" y="589016"/>
                  <a:pt x="6559739" y="593636"/>
                  <a:pt x="6566958" y="600999"/>
                </a:cubicBezTo>
                <a:lnTo>
                  <a:pt x="6570532" y="609800"/>
                </a:lnTo>
                <a:lnTo>
                  <a:pt x="6505935" y="609800"/>
                </a:lnTo>
                <a:lnTo>
                  <a:pt x="6509643" y="600999"/>
                </a:lnTo>
                <a:cubicBezTo>
                  <a:pt x="6517006" y="593636"/>
                  <a:pt x="6527111" y="589016"/>
                  <a:pt x="6538083" y="589016"/>
                </a:cubicBezTo>
                <a:close/>
                <a:moveTo>
                  <a:pt x="6267830" y="589016"/>
                </a:moveTo>
                <a:cubicBezTo>
                  <a:pt x="6278801" y="589016"/>
                  <a:pt x="6288907" y="593636"/>
                  <a:pt x="6296269" y="600999"/>
                </a:cubicBezTo>
                <a:lnTo>
                  <a:pt x="6299977" y="609800"/>
                </a:lnTo>
                <a:lnTo>
                  <a:pt x="6235681" y="609800"/>
                </a:lnTo>
                <a:lnTo>
                  <a:pt x="6239389" y="600999"/>
                </a:lnTo>
                <a:cubicBezTo>
                  <a:pt x="6246752" y="593636"/>
                  <a:pt x="6256858" y="589016"/>
                  <a:pt x="6267830" y="589016"/>
                </a:cubicBezTo>
                <a:close/>
                <a:moveTo>
                  <a:pt x="5454756" y="589016"/>
                </a:moveTo>
                <a:cubicBezTo>
                  <a:pt x="5465727" y="589016"/>
                  <a:pt x="5475833" y="593636"/>
                  <a:pt x="5483196" y="600999"/>
                </a:cubicBezTo>
                <a:lnTo>
                  <a:pt x="5486904" y="609800"/>
                </a:lnTo>
                <a:lnTo>
                  <a:pt x="5422607" y="609800"/>
                </a:lnTo>
                <a:lnTo>
                  <a:pt x="5426315" y="600999"/>
                </a:lnTo>
                <a:cubicBezTo>
                  <a:pt x="5433678" y="593636"/>
                  <a:pt x="5443784" y="589016"/>
                  <a:pt x="5454756" y="589016"/>
                </a:cubicBezTo>
                <a:close/>
                <a:moveTo>
                  <a:pt x="5048218" y="589016"/>
                </a:moveTo>
                <a:cubicBezTo>
                  <a:pt x="5059190" y="589016"/>
                  <a:pt x="5069296" y="593636"/>
                  <a:pt x="5076659" y="600999"/>
                </a:cubicBezTo>
                <a:lnTo>
                  <a:pt x="5080367" y="609800"/>
                </a:lnTo>
                <a:lnTo>
                  <a:pt x="5016070" y="609800"/>
                </a:lnTo>
                <a:lnTo>
                  <a:pt x="5019778" y="600999"/>
                </a:lnTo>
                <a:cubicBezTo>
                  <a:pt x="5027141" y="593636"/>
                  <a:pt x="5037246" y="589016"/>
                  <a:pt x="5048218" y="589016"/>
                </a:cubicBezTo>
                <a:close/>
                <a:moveTo>
                  <a:pt x="4228217" y="589016"/>
                </a:moveTo>
                <a:cubicBezTo>
                  <a:pt x="4239766" y="589016"/>
                  <a:pt x="4249871" y="593636"/>
                  <a:pt x="4257089" y="600999"/>
                </a:cubicBezTo>
                <a:lnTo>
                  <a:pt x="4260663" y="609800"/>
                </a:lnTo>
                <a:lnTo>
                  <a:pt x="4196067" y="609800"/>
                </a:lnTo>
                <a:lnTo>
                  <a:pt x="4199775" y="600999"/>
                </a:lnTo>
                <a:cubicBezTo>
                  <a:pt x="4207138" y="593636"/>
                  <a:pt x="4217244" y="589016"/>
                  <a:pt x="4228217" y="589016"/>
                </a:cubicBezTo>
                <a:close/>
                <a:moveTo>
                  <a:pt x="3957960" y="589016"/>
                </a:moveTo>
                <a:cubicBezTo>
                  <a:pt x="3968932" y="589016"/>
                  <a:pt x="3979038" y="593636"/>
                  <a:pt x="3986400" y="600999"/>
                </a:cubicBezTo>
                <a:lnTo>
                  <a:pt x="3990108" y="609800"/>
                </a:lnTo>
                <a:lnTo>
                  <a:pt x="3925812" y="609800"/>
                </a:lnTo>
                <a:lnTo>
                  <a:pt x="3929520" y="600999"/>
                </a:lnTo>
                <a:cubicBezTo>
                  <a:pt x="3936883" y="593636"/>
                  <a:pt x="3946988" y="589016"/>
                  <a:pt x="3957960" y="589016"/>
                </a:cubicBezTo>
                <a:close/>
                <a:moveTo>
                  <a:pt x="1925276" y="589016"/>
                </a:moveTo>
                <a:cubicBezTo>
                  <a:pt x="1936826" y="589016"/>
                  <a:pt x="1946931" y="593636"/>
                  <a:pt x="1954149" y="600999"/>
                </a:cubicBezTo>
                <a:lnTo>
                  <a:pt x="1957723" y="609800"/>
                </a:lnTo>
                <a:lnTo>
                  <a:pt x="1893128" y="609800"/>
                </a:lnTo>
                <a:lnTo>
                  <a:pt x="1896836" y="600999"/>
                </a:lnTo>
                <a:cubicBezTo>
                  <a:pt x="1904199" y="593636"/>
                  <a:pt x="1914304" y="589016"/>
                  <a:pt x="1925276" y="589016"/>
                </a:cubicBezTo>
                <a:close/>
                <a:moveTo>
                  <a:pt x="1655022" y="589016"/>
                </a:moveTo>
                <a:cubicBezTo>
                  <a:pt x="1665994" y="589016"/>
                  <a:pt x="1676099" y="593636"/>
                  <a:pt x="1683462" y="600999"/>
                </a:cubicBezTo>
                <a:lnTo>
                  <a:pt x="1687170" y="609800"/>
                </a:lnTo>
                <a:lnTo>
                  <a:pt x="1622873" y="609800"/>
                </a:lnTo>
                <a:lnTo>
                  <a:pt x="1626581" y="600999"/>
                </a:lnTo>
                <a:cubicBezTo>
                  <a:pt x="1633944" y="593636"/>
                  <a:pt x="1644050" y="589016"/>
                  <a:pt x="1655022" y="589016"/>
                </a:cubicBezTo>
                <a:close/>
                <a:moveTo>
                  <a:pt x="841948" y="589016"/>
                </a:moveTo>
                <a:cubicBezTo>
                  <a:pt x="852920" y="589016"/>
                  <a:pt x="863025" y="593636"/>
                  <a:pt x="870388" y="600999"/>
                </a:cubicBezTo>
                <a:lnTo>
                  <a:pt x="874096" y="609800"/>
                </a:lnTo>
                <a:lnTo>
                  <a:pt x="809800" y="609800"/>
                </a:lnTo>
                <a:lnTo>
                  <a:pt x="813508" y="600999"/>
                </a:lnTo>
                <a:cubicBezTo>
                  <a:pt x="820871" y="593636"/>
                  <a:pt x="830976" y="589016"/>
                  <a:pt x="841948" y="589016"/>
                </a:cubicBezTo>
                <a:close/>
                <a:moveTo>
                  <a:pt x="435411" y="589016"/>
                </a:moveTo>
                <a:cubicBezTo>
                  <a:pt x="446383" y="589016"/>
                  <a:pt x="456488" y="593636"/>
                  <a:pt x="463851" y="600999"/>
                </a:cubicBezTo>
                <a:lnTo>
                  <a:pt x="467559" y="609800"/>
                </a:lnTo>
                <a:lnTo>
                  <a:pt x="403263" y="609800"/>
                </a:lnTo>
                <a:lnTo>
                  <a:pt x="406971" y="600999"/>
                </a:lnTo>
                <a:cubicBezTo>
                  <a:pt x="414333" y="593636"/>
                  <a:pt x="424439" y="589016"/>
                  <a:pt x="435411" y="589016"/>
                </a:cubicBezTo>
                <a:close/>
                <a:moveTo>
                  <a:pt x="11008282" y="577467"/>
                </a:moveTo>
                <a:cubicBezTo>
                  <a:pt x="11022141" y="577467"/>
                  <a:pt x="11034845" y="583242"/>
                  <a:pt x="11044085" y="592481"/>
                </a:cubicBezTo>
                <a:lnTo>
                  <a:pt x="11051348" y="609800"/>
                </a:lnTo>
                <a:lnTo>
                  <a:pt x="10964993" y="609800"/>
                </a:lnTo>
                <a:lnTo>
                  <a:pt x="10972046" y="592481"/>
                </a:lnTo>
                <a:cubicBezTo>
                  <a:pt x="10981141" y="583242"/>
                  <a:pt x="10993845" y="577467"/>
                  <a:pt x="11008282" y="577467"/>
                </a:cubicBezTo>
                <a:close/>
                <a:moveTo>
                  <a:pt x="9924954" y="577467"/>
                </a:moveTo>
                <a:cubicBezTo>
                  <a:pt x="9938813" y="577467"/>
                  <a:pt x="9951517" y="583242"/>
                  <a:pt x="9960757" y="592481"/>
                </a:cubicBezTo>
                <a:lnTo>
                  <a:pt x="9968020" y="609800"/>
                </a:lnTo>
                <a:lnTo>
                  <a:pt x="9881665" y="609800"/>
                </a:lnTo>
                <a:lnTo>
                  <a:pt x="9888718" y="592481"/>
                </a:lnTo>
                <a:cubicBezTo>
                  <a:pt x="9897813" y="583242"/>
                  <a:pt x="9910518" y="577467"/>
                  <a:pt x="9924954" y="577467"/>
                </a:cubicBezTo>
                <a:close/>
                <a:moveTo>
                  <a:pt x="9788672" y="577467"/>
                </a:moveTo>
                <a:cubicBezTo>
                  <a:pt x="9803109" y="577467"/>
                  <a:pt x="9815813" y="583531"/>
                  <a:pt x="9824908" y="593059"/>
                </a:cubicBezTo>
                <a:lnTo>
                  <a:pt x="9831618" y="609800"/>
                </a:lnTo>
                <a:lnTo>
                  <a:pt x="9745864" y="609800"/>
                </a:lnTo>
                <a:lnTo>
                  <a:pt x="9752868" y="592626"/>
                </a:lnTo>
                <a:cubicBezTo>
                  <a:pt x="9762108" y="583242"/>
                  <a:pt x="9774813" y="577467"/>
                  <a:pt x="9788672" y="577467"/>
                </a:cubicBezTo>
                <a:close/>
                <a:moveTo>
                  <a:pt x="8705894" y="577467"/>
                </a:moveTo>
                <a:cubicBezTo>
                  <a:pt x="8719753" y="577467"/>
                  <a:pt x="8732458" y="583242"/>
                  <a:pt x="8741697" y="592481"/>
                </a:cubicBezTo>
                <a:lnTo>
                  <a:pt x="8748960" y="609800"/>
                </a:lnTo>
                <a:lnTo>
                  <a:pt x="8662605" y="609800"/>
                </a:lnTo>
                <a:lnTo>
                  <a:pt x="8669658" y="592481"/>
                </a:lnTo>
                <a:cubicBezTo>
                  <a:pt x="8678753" y="583242"/>
                  <a:pt x="8691458" y="577467"/>
                  <a:pt x="8705894" y="577467"/>
                </a:cubicBezTo>
                <a:close/>
                <a:moveTo>
                  <a:pt x="6402956" y="577467"/>
                </a:moveTo>
                <a:cubicBezTo>
                  <a:pt x="6417393" y="577467"/>
                  <a:pt x="6430097" y="583242"/>
                  <a:pt x="6439192" y="592481"/>
                </a:cubicBezTo>
                <a:lnTo>
                  <a:pt x="6446246" y="609800"/>
                </a:lnTo>
                <a:lnTo>
                  <a:pt x="6359667" y="609800"/>
                </a:lnTo>
                <a:lnTo>
                  <a:pt x="6366721" y="592481"/>
                </a:lnTo>
                <a:cubicBezTo>
                  <a:pt x="6375816" y="583242"/>
                  <a:pt x="6388520" y="577467"/>
                  <a:pt x="6402956" y="577467"/>
                </a:cubicBezTo>
                <a:close/>
                <a:moveTo>
                  <a:pt x="5319628" y="577467"/>
                </a:moveTo>
                <a:cubicBezTo>
                  <a:pt x="5333487" y="577467"/>
                  <a:pt x="5346192" y="583242"/>
                  <a:pt x="5355431" y="592481"/>
                </a:cubicBezTo>
                <a:lnTo>
                  <a:pt x="5362693" y="609800"/>
                </a:lnTo>
                <a:lnTo>
                  <a:pt x="5276339" y="609800"/>
                </a:lnTo>
                <a:lnTo>
                  <a:pt x="5283392" y="592481"/>
                </a:lnTo>
                <a:cubicBezTo>
                  <a:pt x="5292488" y="583242"/>
                  <a:pt x="5305192" y="577467"/>
                  <a:pt x="5319628" y="577467"/>
                </a:cubicBezTo>
                <a:close/>
                <a:moveTo>
                  <a:pt x="5183346" y="577467"/>
                </a:moveTo>
                <a:cubicBezTo>
                  <a:pt x="5197783" y="577467"/>
                  <a:pt x="5210487" y="583242"/>
                  <a:pt x="5219582" y="592481"/>
                </a:cubicBezTo>
                <a:lnTo>
                  <a:pt x="5226635" y="609800"/>
                </a:lnTo>
                <a:lnTo>
                  <a:pt x="5140056" y="609800"/>
                </a:lnTo>
                <a:lnTo>
                  <a:pt x="5147110" y="592481"/>
                </a:lnTo>
                <a:cubicBezTo>
                  <a:pt x="5156205" y="583242"/>
                  <a:pt x="5168909" y="577467"/>
                  <a:pt x="5183346" y="577467"/>
                </a:cubicBezTo>
                <a:close/>
                <a:moveTo>
                  <a:pt x="4093087" y="577467"/>
                </a:moveTo>
                <a:cubicBezTo>
                  <a:pt x="4106947" y="577467"/>
                  <a:pt x="4119651" y="583242"/>
                  <a:pt x="4128890" y="592481"/>
                </a:cubicBezTo>
                <a:lnTo>
                  <a:pt x="4136153" y="609800"/>
                </a:lnTo>
                <a:lnTo>
                  <a:pt x="4049798" y="609800"/>
                </a:lnTo>
                <a:lnTo>
                  <a:pt x="4056851" y="592481"/>
                </a:lnTo>
                <a:cubicBezTo>
                  <a:pt x="4065947" y="583242"/>
                  <a:pt x="4078651" y="577467"/>
                  <a:pt x="4093087" y="577467"/>
                </a:cubicBezTo>
                <a:close/>
                <a:moveTo>
                  <a:pt x="1790148" y="577467"/>
                </a:moveTo>
                <a:cubicBezTo>
                  <a:pt x="1804008" y="577467"/>
                  <a:pt x="1816712" y="583242"/>
                  <a:pt x="1825951" y="592481"/>
                </a:cubicBezTo>
                <a:lnTo>
                  <a:pt x="1833214" y="609800"/>
                </a:lnTo>
                <a:lnTo>
                  <a:pt x="1746859" y="609800"/>
                </a:lnTo>
                <a:lnTo>
                  <a:pt x="1753912" y="592481"/>
                </a:lnTo>
                <a:cubicBezTo>
                  <a:pt x="1763007" y="583242"/>
                  <a:pt x="1775712" y="577467"/>
                  <a:pt x="1790148" y="577467"/>
                </a:cubicBezTo>
                <a:close/>
                <a:moveTo>
                  <a:pt x="706820" y="577467"/>
                </a:moveTo>
                <a:cubicBezTo>
                  <a:pt x="720679" y="577467"/>
                  <a:pt x="733383" y="583242"/>
                  <a:pt x="742623" y="592481"/>
                </a:cubicBezTo>
                <a:lnTo>
                  <a:pt x="749886" y="609800"/>
                </a:lnTo>
                <a:lnTo>
                  <a:pt x="663531" y="609800"/>
                </a:lnTo>
                <a:lnTo>
                  <a:pt x="670584" y="592481"/>
                </a:lnTo>
                <a:cubicBezTo>
                  <a:pt x="679679" y="583242"/>
                  <a:pt x="692384" y="577467"/>
                  <a:pt x="706820" y="577467"/>
                </a:cubicBezTo>
                <a:close/>
                <a:moveTo>
                  <a:pt x="570538" y="577467"/>
                </a:moveTo>
                <a:cubicBezTo>
                  <a:pt x="584975" y="577467"/>
                  <a:pt x="597679" y="583531"/>
                  <a:pt x="606775" y="593059"/>
                </a:cubicBezTo>
                <a:lnTo>
                  <a:pt x="613484" y="609800"/>
                </a:lnTo>
                <a:lnTo>
                  <a:pt x="527731" y="609800"/>
                </a:lnTo>
                <a:lnTo>
                  <a:pt x="534735" y="592626"/>
                </a:lnTo>
                <a:cubicBezTo>
                  <a:pt x="543974" y="583242"/>
                  <a:pt x="556679" y="577467"/>
                  <a:pt x="570538" y="577467"/>
                </a:cubicBezTo>
                <a:close/>
                <a:moveTo>
                  <a:pt x="12180541" y="464284"/>
                </a:moveTo>
                <a:cubicBezTo>
                  <a:pt x="12192090" y="464284"/>
                  <a:pt x="12201330" y="473523"/>
                  <a:pt x="12201330" y="485072"/>
                </a:cubicBezTo>
                <a:cubicBezTo>
                  <a:pt x="12201330" y="496622"/>
                  <a:pt x="12192090" y="505861"/>
                  <a:pt x="12180541" y="505861"/>
                </a:cubicBezTo>
                <a:cubicBezTo>
                  <a:pt x="12168992" y="505861"/>
                  <a:pt x="12159752" y="496622"/>
                  <a:pt x="12159752" y="485072"/>
                </a:cubicBezTo>
                <a:cubicBezTo>
                  <a:pt x="12159752" y="473523"/>
                  <a:pt x="12168992" y="464284"/>
                  <a:pt x="12180541" y="464284"/>
                </a:cubicBezTo>
                <a:close/>
                <a:moveTo>
                  <a:pt x="12040793" y="464284"/>
                </a:moveTo>
                <a:cubicBezTo>
                  <a:pt x="12052342" y="464284"/>
                  <a:pt x="12061582" y="473523"/>
                  <a:pt x="12061582" y="485072"/>
                </a:cubicBezTo>
                <a:cubicBezTo>
                  <a:pt x="12061582" y="496622"/>
                  <a:pt x="12052342" y="505861"/>
                  <a:pt x="12040793" y="505861"/>
                </a:cubicBezTo>
                <a:cubicBezTo>
                  <a:pt x="12029244" y="505861"/>
                  <a:pt x="12020004" y="496622"/>
                  <a:pt x="12020004" y="485072"/>
                </a:cubicBezTo>
                <a:cubicBezTo>
                  <a:pt x="12020004" y="473523"/>
                  <a:pt x="12029244" y="464284"/>
                  <a:pt x="12040793" y="464284"/>
                </a:cubicBezTo>
                <a:close/>
                <a:moveTo>
                  <a:pt x="11901047" y="464284"/>
                </a:moveTo>
                <a:cubicBezTo>
                  <a:pt x="11912596" y="464284"/>
                  <a:pt x="11921836" y="473523"/>
                  <a:pt x="11921836" y="485072"/>
                </a:cubicBezTo>
                <a:cubicBezTo>
                  <a:pt x="11921836" y="496622"/>
                  <a:pt x="11912596" y="505861"/>
                  <a:pt x="11901047" y="505861"/>
                </a:cubicBezTo>
                <a:cubicBezTo>
                  <a:pt x="11889498" y="505861"/>
                  <a:pt x="11880258" y="496622"/>
                  <a:pt x="11880258" y="485072"/>
                </a:cubicBezTo>
                <a:cubicBezTo>
                  <a:pt x="11880258" y="473523"/>
                  <a:pt x="11889498" y="464284"/>
                  <a:pt x="11901047" y="464284"/>
                </a:cubicBezTo>
                <a:close/>
                <a:moveTo>
                  <a:pt x="11761299" y="464284"/>
                </a:moveTo>
                <a:cubicBezTo>
                  <a:pt x="11772848" y="464284"/>
                  <a:pt x="11782088" y="473523"/>
                  <a:pt x="11782088" y="485072"/>
                </a:cubicBezTo>
                <a:cubicBezTo>
                  <a:pt x="11782088" y="496622"/>
                  <a:pt x="11772848" y="505861"/>
                  <a:pt x="11761299" y="505861"/>
                </a:cubicBezTo>
                <a:cubicBezTo>
                  <a:pt x="11749750" y="505861"/>
                  <a:pt x="11740510" y="496622"/>
                  <a:pt x="11740510" y="485072"/>
                </a:cubicBezTo>
                <a:cubicBezTo>
                  <a:pt x="11740510" y="473523"/>
                  <a:pt x="11749750" y="464284"/>
                  <a:pt x="11761299" y="464284"/>
                </a:cubicBezTo>
                <a:close/>
                <a:moveTo>
                  <a:pt x="11621553" y="464284"/>
                </a:moveTo>
                <a:cubicBezTo>
                  <a:pt x="11633102" y="464284"/>
                  <a:pt x="11642342" y="473523"/>
                  <a:pt x="11642342" y="485072"/>
                </a:cubicBezTo>
                <a:cubicBezTo>
                  <a:pt x="11642342" y="496622"/>
                  <a:pt x="11633102" y="505861"/>
                  <a:pt x="11621553" y="505861"/>
                </a:cubicBezTo>
                <a:cubicBezTo>
                  <a:pt x="11610003" y="505861"/>
                  <a:pt x="11600764" y="496622"/>
                  <a:pt x="11600764" y="485072"/>
                </a:cubicBezTo>
                <a:cubicBezTo>
                  <a:pt x="11600764" y="473523"/>
                  <a:pt x="11610003" y="464284"/>
                  <a:pt x="11621553" y="464284"/>
                </a:cubicBezTo>
                <a:close/>
                <a:moveTo>
                  <a:pt x="11481805" y="464284"/>
                </a:moveTo>
                <a:cubicBezTo>
                  <a:pt x="11493354" y="464284"/>
                  <a:pt x="11502594" y="473523"/>
                  <a:pt x="11502594" y="485072"/>
                </a:cubicBezTo>
                <a:cubicBezTo>
                  <a:pt x="11502594" y="496622"/>
                  <a:pt x="11493354" y="505861"/>
                  <a:pt x="11481805" y="505861"/>
                </a:cubicBezTo>
                <a:cubicBezTo>
                  <a:pt x="11470256" y="505861"/>
                  <a:pt x="11461016" y="496622"/>
                  <a:pt x="11461016" y="485072"/>
                </a:cubicBezTo>
                <a:cubicBezTo>
                  <a:pt x="11461016" y="473523"/>
                  <a:pt x="11470256" y="464284"/>
                  <a:pt x="11481805" y="464284"/>
                </a:cubicBezTo>
                <a:close/>
                <a:moveTo>
                  <a:pt x="10644478" y="464284"/>
                </a:moveTo>
                <a:cubicBezTo>
                  <a:pt x="10656028" y="464284"/>
                  <a:pt x="10665267" y="473523"/>
                  <a:pt x="10665267" y="485072"/>
                </a:cubicBezTo>
                <a:cubicBezTo>
                  <a:pt x="10665267" y="496622"/>
                  <a:pt x="10656028" y="505861"/>
                  <a:pt x="10644478" y="505861"/>
                </a:cubicBezTo>
                <a:cubicBezTo>
                  <a:pt x="10632929" y="505861"/>
                  <a:pt x="10623690" y="496622"/>
                  <a:pt x="10623690" y="485072"/>
                </a:cubicBezTo>
                <a:cubicBezTo>
                  <a:pt x="10623690" y="473523"/>
                  <a:pt x="10632929" y="464284"/>
                  <a:pt x="10644478" y="464284"/>
                </a:cubicBezTo>
                <a:close/>
                <a:moveTo>
                  <a:pt x="10504731" y="464284"/>
                </a:moveTo>
                <a:cubicBezTo>
                  <a:pt x="10516280" y="464284"/>
                  <a:pt x="10525520" y="473523"/>
                  <a:pt x="10525520" y="485072"/>
                </a:cubicBezTo>
                <a:cubicBezTo>
                  <a:pt x="10525520" y="496622"/>
                  <a:pt x="10516280" y="505861"/>
                  <a:pt x="10504731" y="505861"/>
                </a:cubicBezTo>
                <a:cubicBezTo>
                  <a:pt x="10493181" y="505861"/>
                  <a:pt x="10483942" y="496622"/>
                  <a:pt x="10483942" y="485072"/>
                </a:cubicBezTo>
                <a:cubicBezTo>
                  <a:pt x="10483942" y="473523"/>
                  <a:pt x="10493181" y="464284"/>
                  <a:pt x="10504731" y="464284"/>
                </a:cubicBezTo>
                <a:close/>
                <a:moveTo>
                  <a:pt x="10364984" y="464284"/>
                </a:moveTo>
                <a:cubicBezTo>
                  <a:pt x="10376534" y="464284"/>
                  <a:pt x="10385773" y="473523"/>
                  <a:pt x="10385773" y="485072"/>
                </a:cubicBezTo>
                <a:cubicBezTo>
                  <a:pt x="10385773" y="496622"/>
                  <a:pt x="10376534" y="505861"/>
                  <a:pt x="10364984" y="505861"/>
                </a:cubicBezTo>
                <a:cubicBezTo>
                  <a:pt x="10353435" y="505861"/>
                  <a:pt x="10344196" y="496622"/>
                  <a:pt x="10344196" y="485072"/>
                </a:cubicBezTo>
                <a:cubicBezTo>
                  <a:pt x="10344196" y="473523"/>
                  <a:pt x="10353435" y="464284"/>
                  <a:pt x="10364984" y="464284"/>
                </a:cubicBezTo>
                <a:close/>
                <a:moveTo>
                  <a:pt x="7854709" y="464284"/>
                </a:moveTo>
                <a:cubicBezTo>
                  <a:pt x="7866258" y="464284"/>
                  <a:pt x="7875498" y="473523"/>
                  <a:pt x="7875498" y="485072"/>
                </a:cubicBezTo>
                <a:cubicBezTo>
                  <a:pt x="7875498" y="496622"/>
                  <a:pt x="7866258" y="505861"/>
                  <a:pt x="7854709" y="505861"/>
                </a:cubicBezTo>
                <a:cubicBezTo>
                  <a:pt x="7843160" y="505861"/>
                  <a:pt x="7833921" y="496622"/>
                  <a:pt x="7833921" y="485072"/>
                </a:cubicBezTo>
                <a:cubicBezTo>
                  <a:pt x="7833921" y="473523"/>
                  <a:pt x="7843160" y="464284"/>
                  <a:pt x="7854709" y="464284"/>
                </a:cubicBezTo>
                <a:close/>
                <a:moveTo>
                  <a:pt x="7714960" y="464284"/>
                </a:moveTo>
                <a:cubicBezTo>
                  <a:pt x="7726511" y="464284"/>
                  <a:pt x="7735749" y="473523"/>
                  <a:pt x="7735749" y="485072"/>
                </a:cubicBezTo>
                <a:cubicBezTo>
                  <a:pt x="7735749" y="496622"/>
                  <a:pt x="7726511" y="505861"/>
                  <a:pt x="7714960" y="505861"/>
                </a:cubicBezTo>
                <a:cubicBezTo>
                  <a:pt x="7703411" y="505861"/>
                  <a:pt x="7694172" y="496622"/>
                  <a:pt x="7694172" y="485072"/>
                </a:cubicBezTo>
                <a:cubicBezTo>
                  <a:pt x="7694172" y="473523"/>
                  <a:pt x="7703411" y="464284"/>
                  <a:pt x="7714960" y="464284"/>
                </a:cubicBezTo>
                <a:close/>
                <a:moveTo>
                  <a:pt x="7575214" y="464284"/>
                </a:moveTo>
                <a:cubicBezTo>
                  <a:pt x="7586765" y="464284"/>
                  <a:pt x="7596004" y="473523"/>
                  <a:pt x="7596004" y="485072"/>
                </a:cubicBezTo>
                <a:cubicBezTo>
                  <a:pt x="7596004" y="496622"/>
                  <a:pt x="7586765" y="505861"/>
                  <a:pt x="7575214" y="505861"/>
                </a:cubicBezTo>
                <a:cubicBezTo>
                  <a:pt x="7563665" y="505861"/>
                  <a:pt x="7554427" y="496622"/>
                  <a:pt x="7554427" y="485072"/>
                </a:cubicBezTo>
                <a:cubicBezTo>
                  <a:pt x="7554427" y="473523"/>
                  <a:pt x="7563665" y="464284"/>
                  <a:pt x="7575214" y="464284"/>
                </a:cubicBezTo>
                <a:close/>
                <a:moveTo>
                  <a:pt x="7435467" y="464284"/>
                </a:moveTo>
                <a:cubicBezTo>
                  <a:pt x="7447016" y="464284"/>
                  <a:pt x="7456257" y="473523"/>
                  <a:pt x="7456257" y="485072"/>
                </a:cubicBezTo>
                <a:cubicBezTo>
                  <a:pt x="7456257" y="496622"/>
                  <a:pt x="7447016" y="505861"/>
                  <a:pt x="7435467" y="505861"/>
                </a:cubicBezTo>
                <a:cubicBezTo>
                  <a:pt x="7423918" y="505861"/>
                  <a:pt x="7414678" y="496622"/>
                  <a:pt x="7414678" y="485072"/>
                </a:cubicBezTo>
                <a:cubicBezTo>
                  <a:pt x="7414678" y="473523"/>
                  <a:pt x="7423918" y="464284"/>
                  <a:pt x="7435467" y="464284"/>
                </a:cubicBezTo>
                <a:close/>
                <a:moveTo>
                  <a:pt x="7295720" y="464284"/>
                </a:moveTo>
                <a:cubicBezTo>
                  <a:pt x="7307271" y="464284"/>
                  <a:pt x="7316509" y="473523"/>
                  <a:pt x="7316509" y="485072"/>
                </a:cubicBezTo>
                <a:cubicBezTo>
                  <a:pt x="7316509" y="496622"/>
                  <a:pt x="7307271" y="505861"/>
                  <a:pt x="7295720" y="505861"/>
                </a:cubicBezTo>
                <a:cubicBezTo>
                  <a:pt x="7284172" y="505861"/>
                  <a:pt x="7274932" y="496622"/>
                  <a:pt x="7274932" y="485072"/>
                </a:cubicBezTo>
                <a:cubicBezTo>
                  <a:pt x="7274932" y="473523"/>
                  <a:pt x="7284172" y="464284"/>
                  <a:pt x="7295720" y="464284"/>
                </a:cubicBezTo>
                <a:close/>
                <a:moveTo>
                  <a:pt x="7155974" y="464284"/>
                </a:moveTo>
                <a:cubicBezTo>
                  <a:pt x="7167522" y="464284"/>
                  <a:pt x="7176762" y="473523"/>
                  <a:pt x="7176762" y="485072"/>
                </a:cubicBezTo>
                <a:cubicBezTo>
                  <a:pt x="7176762" y="496622"/>
                  <a:pt x="7167522" y="505861"/>
                  <a:pt x="7155974" y="505861"/>
                </a:cubicBezTo>
                <a:cubicBezTo>
                  <a:pt x="7144423" y="505861"/>
                  <a:pt x="7135183" y="496622"/>
                  <a:pt x="7135183" y="485072"/>
                </a:cubicBezTo>
                <a:cubicBezTo>
                  <a:pt x="7135183" y="473523"/>
                  <a:pt x="7144423" y="464284"/>
                  <a:pt x="7155974" y="464284"/>
                </a:cubicBezTo>
                <a:close/>
                <a:moveTo>
                  <a:pt x="7016227" y="464284"/>
                </a:moveTo>
                <a:cubicBezTo>
                  <a:pt x="7027776" y="464284"/>
                  <a:pt x="7037016" y="473523"/>
                  <a:pt x="7037016" y="485072"/>
                </a:cubicBezTo>
                <a:cubicBezTo>
                  <a:pt x="7037016" y="496622"/>
                  <a:pt x="7027776" y="505861"/>
                  <a:pt x="7016227" y="505861"/>
                </a:cubicBezTo>
                <a:cubicBezTo>
                  <a:pt x="7004678" y="505861"/>
                  <a:pt x="6995438" y="496622"/>
                  <a:pt x="6995438" y="485072"/>
                </a:cubicBezTo>
                <a:cubicBezTo>
                  <a:pt x="6995438" y="473523"/>
                  <a:pt x="7004678" y="464284"/>
                  <a:pt x="7016227" y="464284"/>
                </a:cubicBezTo>
                <a:close/>
                <a:moveTo>
                  <a:pt x="6877634" y="464284"/>
                </a:moveTo>
                <a:cubicBezTo>
                  <a:pt x="6888028" y="464284"/>
                  <a:pt x="6898424" y="473523"/>
                  <a:pt x="6898424" y="485072"/>
                </a:cubicBezTo>
                <a:cubicBezTo>
                  <a:pt x="6898424" y="496622"/>
                  <a:pt x="6889184" y="505861"/>
                  <a:pt x="6877634" y="505861"/>
                </a:cubicBezTo>
                <a:cubicBezTo>
                  <a:pt x="6866085" y="505861"/>
                  <a:pt x="6856845" y="496622"/>
                  <a:pt x="6856845" y="485072"/>
                </a:cubicBezTo>
                <a:cubicBezTo>
                  <a:pt x="6856845" y="473523"/>
                  <a:pt x="6866085" y="464284"/>
                  <a:pt x="6877634" y="464284"/>
                </a:cubicBezTo>
                <a:close/>
                <a:moveTo>
                  <a:pt x="6039151" y="464284"/>
                </a:moveTo>
                <a:cubicBezTo>
                  <a:pt x="6050702" y="464284"/>
                  <a:pt x="6059942" y="473523"/>
                  <a:pt x="6059942" y="485072"/>
                </a:cubicBezTo>
                <a:cubicBezTo>
                  <a:pt x="6059942" y="496622"/>
                  <a:pt x="6050702" y="505861"/>
                  <a:pt x="6039151" y="505861"/>
                </a:cubicBezTo>
                <a:cubicBezTo>
                  <a:pt x="6027603" y="505861"/>
                  <a:pt x="6018363" y="496622"/>
                  <a:pt x="6018363" y="485072"/>
                </a:cubicBezTo>
                <a:cubicBezTo>
                  <a:pt x="6018363" y="473523"/>
                  <a:pt x="6027603" y="464284"/>
                  <a:pt x="6039151" y="464284"/>
                </a:cubicBezTo>
                <a:close/>
                <a:moveTo>
                  <a:pt x="5899406" y="464284"/>
                </a:moveTo>
                <a:cubicBezTo>
                  <a:pt x="5910953" y="464284"/>
                  <a:pt x="5920193" y="473523"/>
                  <a:pt x="5920193" y="485072"/>
                </a:cubicBezTo>
                <a:cubicBezTo>
                  <a:pt x="5920193" y="496622"/>
                  <a:pt x="5910953" y="505861"/>
                  <a:pt x="5899406" y="505861"/>
                </a:cubicBezTo>
                <a:cubicBezTo>
                  <a:pt x="5887855" y="505861"/>
                  <a:pt x="5878616" y="496622"/>
                  <a:pt x="5878616" y="485072"/>
                </a:cubicBezTo>
                <a:cubicBezTo>
                  <a:pt x="5878616" y="473523"/>
                  <a:pt x="5887855" y="464284"/>
                  <a:pt x="5899406" y="464284"/>
                </a:cubicBezTo>
                <a:close/>
                <a:moveTo>
                  <a:pt x="5759658" y="464284"/>
                </a:moveTo>
                <a:cubicBezTo>
                  <a:pt x="5771207" y="464284"/>
                  <a:pt x="5780448" y="473523"/>
                  <a:pt x="5780448" y="485072"/>
                </a:cubicBezTo>
                <a:cubicBezTo>
                  <a:pt x="5780448" y="496622"/>
                  <a:pt x="5771207" y="505861"/>
                  <a:pt x="5759658" y="505861"/>
                </a:cubicBezTo>
                <a:cubicBezTo>
                  <a:pt x="5748109" y="505861"/>
                  <a:pt x="5738869" y="496622"/>
                  <a:pt x="5738869" y="485072"/>
                </a:cubicBezTo>
                <a:cubicBezTo>
                  <a:pt x="5738869" y="473523"/>
                  <a:pt x="5748109" y="464284"/>
                  <a:pt x="5759658" y="464284"/>
                </a:cubicBezTo>
                <a:close/>
                <a:moveTo>
                  <a:pt x="3241901" y="464284"/>
                </a:moveTo>
                <a:cubicBezTo>
                  <a:pt x="3253450" y="464284"/>
                  <a:pt x="3262690" y="473523"/>
                  <a:pt x="3262690" y="485072"/>
                </a:cubicBezTo>
                <a:cubicBezTo>
                  <a:pt x="3262690" y="496622"/>
                  <a:pt x="3253450" y="505861"/>
                  <a:pt x="3241901" y="505861"/>
                </a:cubicBezTo>
                <a:cubicBezTo>
                  <a:pt x="3230352" y="505861"/>
                  <a:pt x="3221112" y="496622"/>
                  <a:pt x="3221112" y="485072"/>
                </a:cubicBezTo>
                <a:cubicBezTo>
                  <a:pt x="3221112" y="473523"/>
                  <a:pt x="3230352" y="464284"/>
                  <a:pt x="3241901" y="464284"/>
                </a:cubicBezTo>
                <a:close/>
                <a:moveTo>
                  <a:pt x="3102153" y="464284"/>
                </a:moveTo>
                <a:cubicBezTo>
                  <a:pt x="3113703" y="464284"/>
                  <a:pt x="3122942" y="473523"/>
                  <a:pt x="3122942" y="485072"/>
                </a:cubicBezTo>
                <a:cubicBezTo>
                  <a:pt x="3122942" y="496622"/>
                  <a:pt x="3113703" y="505861"/>
                  <a:pt x="3102153" y="505861"/>
                </a:cubicBezTo>
                <a:cubicBezTo>
                  <a:pt x="3090605" y="505861"/>
                  <a:pt x="3081365" y="496622"/>
                  <a:pt x="3081365" y="485072"/>
                </a:cubicBezTo>
                <a:cubicBezTo>
                  <a:pt x="3081365" y="473523"/>
                  <a:pt x="3090605" y="464284"/>
                  <a:pt x="3102153" y="464284"/>
                </a:cubicBezTo>
                <a:close/>
                <a:moveTo>
                  <a:pt x="2962407" y="464284"/>
                </a:moveTo>
                <a:cubicBezTo>
                  <a:pt x="2973956" y="464284"/>
                  <a:pt x="2983196" y="473523"/>
                  <a:pt x="2983196" y="485072"/>
                </a:cubicBezTo>
                <a:cubicBezTo>
                  <a:pt x="2983196" y="496622"/>
                  <a:pt x="2973956" y="505861"/>
                  <a:pt x="2962407" y="505861"/>
                </a:cubicBezTo>
                <a:cubicBezTo>
                  <a:pt x="2950858" y="505861"/>
                  <a:pt x="2941618" y="496622"/>
                  <a:pt x="2941618" y="485072"/>
                </a:cubicBezTo>
                <a:cubicBezTo>
                  <a:pt x="2941618" y="473523"/>
                  <a:pt x="2950858" y="464284"/>
                  <a:pt x="2962407" y="464284"/>
                </a:cubicBezTo>
                <a:close/>
                <a:moveTo>
                  <a:pt x="2822659" y="464284"/>
                </a:moveTo>
                <a:cubicBezTo>
                  <a:pt x="2834209" y="464284"/>
                  <a:pt x="2843448" y="473523"/>
                  <a:pt x="2843448" y="485072"/>
                </a:cubicBezTo>
                <a:cubicBezTo>
                  <a:pt x="2843448" y="496622"/>
                  <a:pt x="2834209" y="505861"/>
                  <a:pt x="2822659" y="505861"/>
                </a:cubicBezTo>
                <a:cubicBezTo>
                  <a:pt x="2811110" y="505861"/>
                  <a:pt x="2801871" y="496622"/>
                  <a:pt x="2801871" y="485072"/>
                </a:cubicBezTo>
                <a:cubicBezTo>
                  <a:pt x="2801871" y="473523"/>
                  <a:pt x="2811110" y="464284"/>
                  <a:pt x="2822659" y="464284"/>
                </a:cubicBezTo>
                <a:close/>
                <a:moveTo>
                  <a:pt x="2682913" y="464284"/>
                </a:moveTo>
                <a:cubicBezTo>
                  <a:pt x="2694462" y="464284"/>
                  <a:pt x="2703702" y="473523"/>
                  <a:pt x="2703702" y="485072"/>
                </a:cubicBezTo>
                <a:cubicBezTo>
                  <a:pt x="2703702" y="496622"/>
                  <a:pt x="2694462" y="505861"/>
                  <a:pt x="2682913" y="505861"/>
                </a:cubicBezTo>
                <a:cubicBezTo>
                  <a:pt x="2671365" y="505861"/>
                  <a:pt x="2662124" y="496622"/>
                  <a:pt x="2662124" y="485072"/>
                </a:cubicBezTo>
                <a:cubicBezTo>
                  <a:pt x="2662124" y="473523"/>
                  <a:pt x="2671365" y="464284"/>
                  <a:pt x="2682913" y="464284"/>
                </a:cubicBezTo>
                <a:close/>
                <a:moveTo>
                  <a:pt x="2543167" y="464284"/>
                </a:moveTo>
                <a:cubicBezTo>
                  <a:pt x="2554715" y="464284"/>
                  <a:pt x="2563954" y="473523"/>
                  <a:pt x="2563954" y="485072"/>
                </a:cubicBezTo>
                <a:cubicBezTo>
                  <a:pt x="2563954" y="496622"/>
                  <a:pt x="2554715" y="505861"/>
                  <a:pt x="2543167" y="505861"/>
                </a:cubicBezTo>
                <a:cubicBezTo>
                  <a:pt x="2531616" y="505861"/>
                  <a:pt x="2522376" y="496622"/>
                  <a:pt x="2522376" y="485072"/>
                </a:cubicBezTo>
                <a:cubicBezTo>
                  <a:pt x="2522376" y="473523"/>
                  <a:pt x="2531616" y="464284"/>
                  <a:pt x="2543167" y="464284"/>
                </a:cubicBezTo>
                <a:close/>
                <a:moveTo>
                  <a:pt x="2403419" y="464284"/>
                </a:moveTo>
                <a:cubicBezTo>
                  <a:pt x="2414969" y="464284"/>
                  <a:pt x="2424209" y="473523"/>
                  <a:pt x="2424209" y="485072"/>
                </a:cubicBezTo>
                <a:cubicBezTo>
                  <a:pt x="2424209" y="496622"/>
                  <a:pt x="2414969" y="505861"/>
                  <a:pt x="2403419" y="505861"/>
                </a:cubicBezTo>
                <a:cubicBezTo>
                  <a:pt x="2391869" y="505861"/>
                  <a:pt x="2382630" y="496622"/>
                  <a:pt x="2382630" y="485072"/>
                </a:cubicBezTo>
                <a:cubicBezTo>
                  <a:pt x="2382630" y="473523"/>
                  <a:pt x="2391869" y="464284"/>
                  <a:pt x="2403419" y="464284"/>
                </a:cubicBezTo>
                <a:close/>
                <a:moveTo>
                  <a:pt x="2263671" y="464284"/>
                </a:moveTo>
                <a:cubicBezTo>
                  <a:pt x="2275221" y="464284"/>
                  <a:pt x="2284460" y="473523"/>
                  <a:pt x="2284460" y="485072"/>
                </a:cubicBezTo>
                <a:cubicBezTo>
                  <a:pt x="2284460" y="496622"/>
                  <a:pt x="2275221" y="505861"/>
                  <a:pt x="2263671" y="505861"/>
                </a:cubicBezTo>
                <a:cubicBezTo>
                  <a:pt x="2252122" y="505861"/>
                  <a:pt x="2242883" y="496622"/>
                  <a:pt x="2242883" y="485072"/>
                </a:cubicBezTo>
                <a:cubicBezTo>
                  <a:pt x="2242883" y="473523"/>
                  <a:pt x="2252122" y="464284"/>
                  <a:pt x="2263671" y="464284"/>
                </a:cubicBezTo>
                <a:close/>
                <a:moveTo>
                  <a:pt x="1426344" y="464284"/>
                </a:moveTo>
                <a:cubicBezTo>
                  <a:pt x="1437894" y="464284"/>
                  <a:pt x="1447133" y="473523"/>
                  <a:pt x="1447133" y="485072"/>
                </a:cubicBezTo>
                <a:cubicBezTo>
                  <a:pt x="1447133" y="496622"/>
                  <a:pt x="1437894" y="505861"/>
                  <a:pt x="1426344" y="505861"/>
                </a:cubicBezTo>
                <a:cubicBezTo>
                  <a:pt x="1414795" y="505861"/>
                  <a:pt x="1405556" y="496622"/>
                  <a:pt x="1405556" y="485072"/>
                </a:cubicBezTo>
                <a:cubicBezTo>
                  <a:pt x="1405556" y="473523"/>
                  <a:pt x="1414795" y="464284"/>
                  <a:pt x="1426344" y="464284"/>
                </a:cubicBezTo>
                <a:close/>
                <a:moveTo>
                  <a:pt x="1286597" y="464284"/>
                </a:moveTo>
                <a:cubicBezTo>
                  <a:pt x="1298146" y="464284"/>
                  <a:pt x="1307386" y="473523"/>
                  <a:pt x="1307386" y="485072"/>
                </a:cubicBezTo>
                <a:cubicBezTo>
                  <a:pt x="1307386" y="496622"/>
                  <a:pt x="1298146" y="505861"/>
                  <a:pt x="1286597" y="505861"/>
                </a:cubicBezTo>
                <a:cubicBezTo>
                  <a:pt x="1275048" y="505861"/>
                  <a:pt x="1265808" y="496622"/>
                  <a:pt x="1265808" y="485072"/>
                </a:cubicBezTo>
                <a:cubicBezTo>
                  <a:pt x="1265808" y="473523"/>
                  <a:pt x="1275048" y="464284"/>
                  <a:pt x="1286597" y="464284"/>
                </a:cubicBezTo>
                <a:close/>
                <a:moveTo>
                  <a:pt x="1146851" y="464284"/>
                </a:moveTo>
                <a:cubicBezTo>
                  <a:pt x="1158400" y="464284"/>
                  <a:pt x="1167639" y="473523"/>
                  <a:pt x="1167639" y="485072"/>
                </a:cubicBezTo>
                <a:cubicBezTo>
                  <a:pt x="1167639" y="496622"/>
                  <a:pt x="1158400" y="505861"/>
                  <a:pt x="1146851" y="505861"/>
                </a:cubicBezTo>
                <a:cubicBezTo>
                  <a:pt x="1135301" y="505861"/>
                  <a:pt x="1126062" y="496622"/>
                  <a:pt x="1126062" y="485072"/>
                </a:cubicBezTo>
                <a:cubicBezTo>
                  <a:pt x="1126062" y="473523"/>
                  <a:pt x="1135301" y="464284"/>
                  <a:pt x="1146851" y="464284"/>
                </a:cubicBezTo>
                <a:close/>
                <a:moveTo>
                  <a:pt x="11343213" y="461974"/>
                </a:moveTo>
                <a:cubicBezTo>
                  <a:pt x="11355918" y="461974"/>
                  <a:pt x="11366312" y="472369"/>
                  <a:pt x="11366312" y="485072"/>
                </a:cubicBezTo>
                <a:cubicBezTo>
                  <a:pt x="11366312" y="497777"/>
                  <a:pt x="11355918" y="508171"/>
                  <a:pt x="11343213" y="508171"/>
                </a:cubicBezTo>
                <a:cubicBezTo>
                  <a:pt x="11330509" y="508171"/>
                  <a:pt x="11320114" y="497777"/>
                  <a:pt x="11320114" y="485072"/>
                </a:cubicBezTo>
                <a:cubicBezTo>
                  <a:pt x="11320114" y="472369"/>
                  <a:pt x="11330509" y="461974"/>
                  <a:pt x="11343213" y="461974"/>
                </a:cubicBezTo>
                <a:close/>
                <a:moveTo>
                  <a:pt x="10225237" y="461974"/>
                </a:moveTo>
                <a:cubicBezTo>
                  <a:pt x="10237942" y="461974"/>
                  <a:pt x="10248335" y="472369"/>
                  <a:pt x="10248335" y="485072"/>
                </a:cubicBezTo>
                <a:cubicBezTo>
                  <a:pt x="10248335" y="497777"/>
                  <a:pt x="10237942" y="508171"/>
                  <a:pt x="10225237" y="508171"/>
                </a:cubicBezTo>
                <a:cubicBezTo>
                  <a:pt x="10212533" y="508171"/>
                  <a:pt x="10202138" y="497777"/>
                  <a:pt x="10202138" y="485072"/>
                </a:cubicBezTo>
                <a:cubicBezTo>
                  <a:pt x="10202138" y="472369"/>
                  <a:pt x="10212533" y="461974"/>
                  <a:pt x="10225237" y="461974"/>
                </a:cubicBezTo>
                <a:close/>
                <a:moveTo>
                  <a:pt x="9112431" y="461974"/>
                </a:moveTo>
                <a:cubicBezTo>
                  <a:pt x="9125136" y="461974"/>
                  <a:pt x="9135530" y="472369"/>
                  <a:pt x="9135530" y="485072"/>
                </a:cubicBezTo>
                <a:cubicBezTo>
                  <a:pt x="9135530" y="497777"/>
                  <a:pt x="9125136" y="508171"/>
                  <a:pt x="9112431" y="508171"/>
                </a:cubicBezTo>
                <a:cubicBezTo>
                  <a:pt x="9099727" y="508171"/>
                  <a:pt x="9089332" y="497777"/>
                  <a:pt x="9089332" y="485072"/>
                </a:cubicBezTo>
                <a:cubicBezTo>
                  <a:pt x="9089332" y="472369"/>
                  <a:pt x="9099727" y="461974"/>
                  <a:pt x="9112431" y="461974"/>
                </a:cubicBezTo>
                <a:close/>
                <a:moveTo>
                  <a:pt x="7994456" y="461974"/>
                </a:moveTo>
                <a:cubicBezTo>
                  <a:pt x="8007160" y="461974"/>
                  <a:pt x="8017555" y="472369"/>
                  <a:pt x="8017555" y="485072"/>
                </a:cubicBezTo>
                <a:cubicBezTo>
                  <a:pt x="8017555" y="497777"/>
                  <a:pt x="8007160" y="508171"/>
                  <a:pt x="7994456" y="508171"/>
                </a:cubicBezTo>
                <a:cubicBezTo>
                  <a:pt x="7981752" y="508171"/>
                  <a:pt x="7971356" y="497777"/>
                  <a:pt x="7971356" y="485072"/>
                </a:cubicBezTo>
                <a:cubicBezTo>
                  <a:pt x="7971356" y="472369"/>
                  <a:pt x="7981752" y="461974"/>
                  <a:pt x="7994456" y="461974"/>
                </a:cubicBezTo>
                <a:close/>
                <a:moveTo>
                  <a:pt x="6737887" y="461974"/>
                </a:moveTo>
                <a:cubicBezTo>
                  <a:pt x="6750591" y="461974"/>
                  <a:pt x="6760986" y="472369"/>
                  <a:pt x="6760986" y="485072"/>
                </a:cubicBezTo>
                <a:cubicBezTo>
                  <a:pt x="6760986" y="497777"/>
                  <a:pt x="6750591" y="508171"/>
                  <a:pt x="6737887" y="508171"/>
                </a:cubicBezTo>
                <a:cubicBezTo>
                  <a:pt x="6725183" y="508171"/>
                  <a:pt x="6714789" y="497777"/>
                  <a:pt x="6714789" y="485072"/>
                </a:cubicBezTo>
                <a:cubicBezTo>
                  <a:pt x="6714789" y="472369"/>
                  <a:pt x="6725183" y="461974"/>
                  <a:pt x="6737887" y="461974"/>
                </a:cubicBezTo>
                <a:close/>
                <a:moveTo>
                  <a:pt x="5619912" y="461974"/>
                </a:moveTo>
                <a:cubicBezTo>
                  <a:pt x="5632617" y="461974"/>
                  <a:pt x="5643008" y="472369"/>
                  <a:pt x="5643008" y="485072"/>
                </a:cubicBezTo>
                <a:cubicBezTo>
                  <a:pt x="5643008" y="497777"/>
                  <a:pt x="5632617" y="508171"/>
                  <a:pt x="5619912" y="508171"/>
                </a:cubicBezTo>
                <a:cubicBezTo>
                  <a:pt x="5607207" y="508171"/>
                  <a:pt x="5596812" y="497777"/>
                  <a:pt x="5596812" y="485072"/>
                </a:cubicBezTo>
                <a:cubicBezTo>
                  <a:pt x="5596812" y="472369"/>
                  <a:pt x="5607207" y="461974"/>
                  <a:pt x="5619912" y="461974"/>
                </a:cubicBezTo>
                <a:close/>
                <a:moveTo>
                  <a:pt x="4499625" y="461974"/>
                </a:moveTo>
                <a:cubicBezTo>
                  <a:pt x="4512330" y="461974"/>
                  <a:pt x="4522722" y="472369"/>
                  <a:pt x="4522722" y="485072"/>
                </a:cubicBezTo>
                <a:cubicBezTo>
                  <a:pt x="4522722" y="497777"/>
                  <a:pt x="4512330" y="508171"/>
                  <a:pt x="4499625" y="508171"/>
                </a:cubicBezTo>
                <a:cubicBezTo>
                  <a:pt x="4486920" y="508171"/>
                  <a:pt x="4476525" y="497777"/>
                  <a:pt x="4476525" y="485072"/>
                </a:cubicBezTo>
                <a:cubicBezTo>
                  <a:pt x="4476525" y="472369"/>
                  <a:pt x="4486920" y="461974"/>
                  <a:pt x="4499625" y="461974"/>
                </a:cubicBezTo>
                <a:close/>
                <a:moveTo>
                  <a:pt x="3381648" y="461974"/>
                </a:moveTo>
                <a:cubicBezTo>
                  <a:pt x="3394352" y="461974"/>
                  <a:pt x="3404746" y="472369"/>
                  <a:pt x="3404746" y="485072"/>
                </a:cubicBezTo>
                <a:cubicBezTo>
                  <a:pt x="3404746" y="497777"/>
                  <a:pt x="3394352" y="508171"/>
                  <a:pt x="3381648" y="508171"/>
                </a:cubicBezTo>
                <a:cubicBezTo>
                  <a:pt x="3368944" y="508171"/>
                  <a:pt x="3358549" y="497777"/>
                  <a:pt x="3358549" y="485072"/>
                </a:cubicBezTo>
                <a:cubicBezTo>
                  <a:pt x="3358549" y="472369"/>
                  <a:pt x="3368944" y="461974"/>
                  <a:pt x="3381648" y="461974"/>
                </a:cubicBezTo>
                <a:close/>
                <a:moveTo>
                  <a:pt x="2125079" y="461974"/>
                </a:moveTo>
                <a:cubicBezTo>
                  <a:pt x="2137784" y="461974"/>
                  <a:pt x="2148178" y="472369"/>
                  <a:pt x="2148178" y="485072"/>
                </a:cubicBezTo>
                <a:cubicBezTo>
                  <a:pt x="2148178" y="497777"/>
                  <a:pt x="2137784" y="508171"/>
                  <a:pt x="2125079" y="508171"/>
                </a:cubicBezTo>
                <a:cubicBezTo>
                  <a:pt x="2112376" y="508171"/>
                  <a:pt x="2101980" y="497777"/>
                  <a:pt x="2101980" y="485072"/>
                </a:cubicBezTo>
                <a:cubicBezTo>
                  <a:pt x="2101980" y="472369"/>
                  <a:pt x="2112376" y="461974"/>
                  <a:pt x="2125079" y="461974"/>
                </a:cubicBezTo>
                <a:close/>
                <a:moveTo>
                  <a:pt x="1007103" y="461974"/>
                </a:moveTo>
                <a:cubicBezTo>
                  <a:pt x="1019808" y="461974"/>
                  <a:pt x="1030201" y="472369"/>
                  <a:pt x="1030201" y="485072"/>
                </a:cubicBezTo>
                <a:cubicBezTo>
                  <a:pt x="1030201" y="497777"/>
                  <a:pt x="1019808" y="508171"/>
                  <a:pt x="1007103" y="508171"/>
                </a:cubicBezTo>
                <a:cubicBezTo>
                  <a:pt x="994399" y="508171"/>
                  <a:pt x="984004" y="497777"/>
                  <a:pt x="984004" y="485072"/>
                </a:cubicBezTo>
                <a:cubicBezTo>
                  <a:pt x="984004" y="472369"/>
                  <a:pt x="994399" y="461974"/>
                  <a:pt x="1007103" y="461974"/>
                </a:cubicBezTo>
                <a:close/>
                <a:moveTo>
                  <a:pt x="11203466" y="456200"/>
                </a:moveTo>
                <a:cubicBezTo>
                  <a:pt x="11218480" y="456200"/>
                  <a:pt x="11232339" y="468903"/>
                  <a:pt x="11232339" y="485072"/>
                </a:cubicBezTo>
                <a:cubicBezTo>
                  <a:pt x="11232339" y="501241"/>
                  <a:pt x="11219636" y="513946"/>
                  <a:pt x="11203466" y="513946"/>
                </a:cubicBezTo>
                <a:cubicBezTo>
                  <a:pt x="11187298" y="513946"/>
                  <a:pt x="11174593" y="501241"/>
                  <a:pt x="11174593" y="485072"/>
                </a:cubicBezTo>
                <a:cubicBezTo>
                  <a:pt x="11174593" y="468903"/>
                  <a:pt x="11187298" y="456200"/>
                  <a:pt x="11203466" y="456200"/>
                </a:cubicBezTo>
                <a:close/>
                <a:moveTo>
                  <a:pt x="10085490" y="456200"/>
                </a:moveTo>
                <a:cubicBezTo>
                  <a:pt x="10101659" y="456200"/>
                  <a:pt x="10114363" y="468903"/>
                  <a:pt x="10114363" y="485072"/>
                </a:cubicBezTo>
                <a:cubicBezTo>
                  <a:pt x="10114363" y="501241"/>
                  <a:pt x="10101659" y="513946"/>
                  <a:pt x="10085490" y="513946"/>
                </a:cubicBezTo>
                <a:cubicBezTo>
                  <a:pt x="10069321" y="513946"/>
                  <a:pt x="10056616" y="501241"/>
                  <a:pt x="10056616" y="485072"/>
                </a:cubicBezTo>
                <a:cubicBezTo>
                  <a:pt x="10056616" y="468903"/>
                  <a:pt x="10069321" y="456200"/>
                  <a:pt x="10085490" y="456200"/>
                </a:cubicBezTo>
                <a:close/>
                <a:moveTo>
                  <a:pt x="9247008" y="456200"/>
                </a:moveTo>
                <a:cubicBezTo>
                  <a:pt x="9263177" y="456200"/>
                  <a:pt x="9275881" y="468903"/>
                  <a:pt x="9275881" y="485072"/>
                </a:cubicBezTo>
                <a:cubicBezTo>
                  <a:pt x="9275881" y="501241"/>
                  <a:pt x="9263177" y="513946"/>
                  <a:pt x="9247008" y="513946"/>
                </a:cubicBezTo>
                <a:cubicBezTo>
                  <a:pt x="9230839" y="513946"/>
                  <a:pt x="9218134" y="501241"/>
                  <a:pt x="9218134" y="485072"/>
                </a:cubicBezTo>
                <a:cubicBezTo>
                  <a:pt x="9218134" y="468903"/>
                  <a:pt x="9230839" y="456200"/>
                  <a:pt x="9247008" y="456200"/>
                </a:cubicBezTo>
                <a:close/>
                <a:moveTo>
                  <a:pt x="8972685" y="456200"/>
                </a:moveTo>
                <a:cubicBezTo>
                  <a:pt x="8988854" y="456200"/>
                  <a:pt x="9001557" y="468903"/>
                  <a:pt x="9001557" y="485072"/>
                </a:cubicBezTo>
                <a:cubicBezTo>
                  <a:pt x="9001557" y="501241"/>
                  <a:pt x="8988854" y="513946"/>
                  <a:pt x="8972685" y="513946"/>
                </a:cubicBezTo>
                <a:cubicBezTo>
                  <a:pt x="8956515" y="513946"/>
                  <a:pt x="8943811" y="501241"/>
                  <a:pt x="8943811" y="485072"/>
                </a:cubicBezTo>
                <a:cubicBezTo>
                  <a:pt x="8943811" y="468903"/>
                  <a:pt x="8956515" y="456200"/>
                  <a:pt x="8972685" y="456200"/>
                </a:cubicBezTo>
                <a:close/>
                <a:moveTo>
                  <a:pt x="8134203" y="456200"/>
                </a:moveTo>
                <a:cubicBezTo>
                  <a:pt x="8150373" y="456200"/>
                  <a:pt x="8163075" y="468903"/>
                  <a:pt x="8163075" y="485072"/>
                </a:cubicBezTo>
                <a:cubicBezTo>
                  <a:pt x="8163075" y="501241"/>
                  <a:pt x="8150373" y="513946"/>
                  <a:pt x="8134203" y="513946"/>
                </a:cubicBezTo>
                <a:cubicBezTo>
                  <a:pt x="8118034" y="513946"/>
                  <a:pt x="8105330" y="501241"/>
                  <a:pt x="8105330" y="485072"/>
                </a:cubicBezTo>
                <a:cubicBezTo>
                  <a:pt x="8105330" y="468903"/>
                  <a:pt x="8118034" y="456200"/>
                  <a:pt x="8134203" y="456200"/>
                </a:cubicBezTo>
                <a:close/>
                <a:moveTo>
                  <a:pt x="6598140" y="456200"/>
                </a:moveTo>
                <a:cubicBezTo>
                  <a:pt x="6613155" y="456200"/>
                  <a:pt x="6627013" y="468903"/>
                  <a:pt x="6627013" y="485072"/>
                </a:cubicBezTo>
                <a:cubicBezTo>
                  <a:pt x="6627013" y="501241"/>
                  <a:pt x="6614309" y="513946"/>
                  <a:pt x="6598140" y="513946"/>
                </a:cubicBezTo>
                <a:cubicBezTo>
                  <a:pt x="6581971" y="513946"/>
                  <a:pt x="6569267" y="501241"/>
                  <a:pt x="6569267" y="485072"/>
                </a:cubicBezTo>
                <a:cubicBezTo>
                  <a:pt x="6569267" y="468903"/>
                  <a:pt x="6581971" y="456200"/>
                  <a:pt x="6598140" y="456200"/>
                </a:cubicBezTo>
                <a:close/>
                <a:moveTo>
                  <a:pt x="5480165" y="456200"/>
                </a:moveTo>
                <a:cubicBezTo>
                  <a:pt x="5496333" y="456200"/>
                  <a:pt x="5509037" y="468903"/>
                  <a:pt x="5509037" y="485072"/>
                </a:cubicBezTo>
                <a:cubicBezTo>
                  <a:pt x="5509037" y="501241"/>
                  <a:pt x="5496333" y="513946"/>
                  <a:pt x="5480165" y="513946"/>
                </a:cubicBezTo>
                <a:cubicBezTo>
                  <a:pt x="5463996" y="513946"/>
                  <a:pt x="5451289" y="501241"/>
                  <a:pt x="5451289" y="485072"/>
                </a:cubicBezTo>
                <a:cubicBezTo>
                  <a:pt x="5451289" y="468903"/>
                  <a:pt x="5463996" y="456200"/>
                  <a:pt x="5480165" y="456200"/>
                </a:cubicBezTo>
                <a:close/>
                <a:moveTo>
                  <a:pt x="4641682" y="456200"/>
                </a:moveTo>
                <a:cubicBezTo>
                  <a:pt x="4657851" y="456200"/>
                  <a:pt x="4670555" y="468903"/>
                  <a:pt x="4670555" y="485072"/>
                </a:cubicBezTo>
                <a:cubicBezTo>
                  <a:pt x="4670555" y="501241"/>
                  <a:pt x="4657851" y="513946"/>
                  <a:pt x="4641682" y="513946"/>
                </a:cubicBezTo>
                <a:cubicBezTo>
                  <a:pt x="4625513" y="513946"/>
                  <a:pt x="4612809" y="501241"/>
                  <a:pt x="4612809" y="485072"/>
                </a:cubicBezTo>
                <a:cubicBezTo>
                  <a:pt x="4612809" y="468903"/>
                  <a:pt x="4625513" y="456200"/>
                  <a:pt x="4641682" y="456200"/>
                </a:cubicBezTo>
                <a:close/>
                <a:moveTo>
                  <a:pt x="4359878" y="456200"/>
                </a:moveTo>
                <a:cubicBezTo>
                  <a:pt x="4376046" y="456200"/>
                  <a:pt x="4388751" y="468903"/>
                  <a:pt x="4388751" y="485072"/>
                </a:cubicBezTo>
                <a:cubicBezTo>
                  <a:pt x="4388751" y="501241"/>
                  <a:pt x="4376046" y="513946"/>
                  <a:pt x="4359878" y="513946"/>
                </a:cubicBezTo>
                <a:cubicBezTo>
                  <a:pt x="4343709" y="513946"/>
                  <a:pt x="4331004" y="501241"/>
                  <a:pt x="4331004" y="485072"/>
                </a:cubicBezTo>
                <a:cubicBezTo>
                  <a:pt x="4331004" y="468903"/>
                  <a:pt x="4343709" y="456200"/>
                  <a:pt x="4359878" y="456200"/>
                </a:cubicBezTo>
                <a:close/>
                <a:moveTo>
                  <a:pt x="3521396" y="456200"/>
                </a:moveTo>
                <a:cubicBezTo>
                  <a:pt x="3537564" y="456200"/>
                  <a:pt x="3550268" y="468903"/>
                  <a:pt x="3550268" y="485072"/>
                </a:cubicBezTo>
                <a:cubicBezTo>
                  <a:pt x="3550268" y="501241"/>
                  <a:pt x="3537564" y="513946"/>
                  <a:pt x="3521396" y="513946"/>
                </a:cubicBezTo>
                <a:cubicBezTo>
                  <a:pt x="3505226" y="513946"/>
                  <a:pt x="3492521" y="501241"/>
                  <a:pt x="3492521" y="485072"/>
                </a:cubicBezTo>
                <a:cubicBezTo>
                  <a:pt x="3492521" y="468903"/>
                  <a:pt x="3505226" y="456200"/>
                  <a:pt x="3521396" y="456200"/>
                </a:cubicBezTo>
                <a:close/>
                <a:moveTo>
                  <a:pt x="1985333" y="456200"/>
                </a:moveTo>
                <a:cubicBezTo>
                  <a:pt x="2000346" y="456200"/>
                  <a:pt x="2014205" y="468903"/>
                  <a:pt x="2014205" y="485072"/>
                </a:cubicBezTo>
                <a:cubicBezTo>
                  <a:pt x="2014205" y="501241"/>
                  <a:pt x="2001502" y="513946"/>
                  <a:pt x="1985333" y="513946"/>
                </a:cubicBezTo>
                <a:cubicBezTo>
                  <a:pt x="1969164" y="513946"/>
                  <a:pt x="1956459" y="501241"/>
                  <a:pt x="1956459" y="485072"/>
                </a:cubicBezTo>
                <a:cubicBezTo>
                  <a:pt x="1956459" y="468903"/>
                  <a:pt x="1969164" y="456200"/>
                  <a:pt x="1985333" y="456200"/>
                </a:cubicBezTo>
                <a:close/>
                <a:moveTo>
                  <a:pt x="867356" y="456200"/>
                </a:moveTo>
                <a:cubicBezTo>
                  <a:pt x="883525" y="456200"/>
                  <a:pt x="896229" y="468903"/>
                  <a:pt x="896229" y="485072"/>
                </a:cubicBezTo>
                <a:cubicBezTo>
                  <a:pt x="896229" y="501241"/>
                  <a:pt x="883525" y="513946"/>
                  <a:pt x="867356" y="513946"/>
                </a:cubicBezTo>
                <a:cubicBezTo>
                  <a:pt x="851187" y="513946"/>
                  <a:pt x="838482" y="501241"/>
                  <a:pt x="838482" y="485072"/>
                </a:cubicBezTo>
                <a:cubicBezTo>
                  <a:pt x="838482" y="468903"/>
                  <a:pt x="851187" y="456200"/>
                  <a:pt x="867356" y="456200"/>
                </a:cubicBezTo>
                <a:close/>
                <a:moveTo>
                  <a:pt x="28874" y="456200"/>
                </a:moveTo>
                <a:cubicBezTo>
                  <a:pt x="45043" y="456200"/>
                  <a:pt x="57747" y="468903"/>
                  <a:pt x="57747" y="485072"/>
                </a:cubicBezTo>
                <a:cubicBezTo>
                  <a:pt x="57747" y="501241"/>
                  <a:pt x="45043" y="513946"/>
                  <a:pt x="28874" y="513946"/>
                </a:cubicBezTo>
                <a:cubicBezTo>
                  <a:pt x="12705" y="513946"/>
                  <a:pt x="0" y="501241"/>
                  <a:pt x="0" y="485072"/>
                </a:cubicBezTo>
                <a:cubicBezTo>
                  <a:pt x="0" y="468903"/>
                  <a:pt x="12705" y="456200"/>
                  <a:pt x="28874" y="456200"/>
                </a:cubicBezTo>
                <a:close/>
                <a:moveTo>
                  <a:pt x="11063719" y="449270"/>
                </a:moveTo>
                <a:cubicBezTo>
                  <a:pt x="11082198" y="449270"/>
                  <a:pt x="11098367" y="465439"/>
                  <a:pt x="11098367" y="483918"/>
                </a:cubicBezTo>
                <a:cubicBezTo>
                  <a:pt x="11098367" y="502397"/>
                  <a:pt x="11083353" y="518566"/>
                  <a:pt x="11063719" y="518566"/>
                </a:cubicBezTo>
                <a:cubicBezTo>
                  <a:pt x="11045240" y="518566"/>
                  <a:pt x="11029071" y="502397"/>
                  <a:pt x="11029071" y="483918"/>
                </a:cubicBezTo>
                <a:cubicBezTo>
                  <a:pt x="11029071" y="465439"/>
                  <a:pt x="11044086" y="449270"/>
                  <a:pt x="11063719" y="449270"/>
                </a:cubicBezTo>
                <a:close/>
                <a:moveTo>
                  <a:pt x="9945743" y="449270"/>
                </a:moveTo>
                <a:cubicBezTo>
                  <a:pt x="9965377" y="449270"/>
                  <a:pt x="9980391" y="465439"/>
                  <a:pt x="9980391" y="483918"/>
                </a:cubicBezTo>
                <a:cubicBezTo>
                  <a:pt x="9980391" y="502397"/>
                  <a:pt x="9964222" y="518566"/>
                  <a:pt x="9945743" y="518566"/>
                </a:cubicBezTo>
                <a:cubicBezTo>
                  <a:pt x="9927264" y="518566"/>
                  <a:pt x="9911094" y="502397"/>
                  <a:pt x="9911094" y="483918"/>
                </a:cubicBezTo>
                <a:cubicBezTo>
                  <a:pt x="9911094" y="465439"/>
                  <a:pt x="9926109" y="449270"/>
                  <a:pt x="9945743" y="449270"/>
                </a:cubicBezTo>
                <a:close/>
                <a:moveTo>
                  <a:pt x="9386754" y="449270"/>
                </a:moveTo>
                <a:cubicBezTo>
                  <a:pt x="9406389" y="449270"/>
                  <a:pt x="9421402" y="465439"/>
                  <a:pt x="9421402" y="483918"/>
                </a:cubicBezTo>
                <a:cubicBezTo>
                  <a:pt x="9421402" y="502397"/>
                  <a:pt x="9405233" y="518566"/>
                  <a:pt x="9386754" y="518566"/>
                </a:cubicBezTo>
                <a:cubicBezTo>
                  <a:pt x="9368275" y="518566"/>
                  <a:pt x="9352106" y="502397"/>
                  <a:pt x="9352106" y="483918"/>
                </a:cubicBezTo>
                <a:cubicBezTo>
                  <a:pt x="9352106" y="465439"/>
                  <a:pt x="9367121" y="449270"/>
                  <a:pt x="9386754" y="449270"/>
                </a:cubicBezTo>
                <a:close/>
                <a:moveTo>
                  <a:pt x="8832937" y="449270"/>
                </a:moveTo>
                <a:cubicBezTo>
                  <a:pt x="8852571" y="449270"/>
                  <a:pt x="8867585" y="465439"/>
                  <a:pt x="8867585" y="483918"/>
                </a:cubicBezTo>
                <a:cubicBezTo>
                  <a:pt x="8867585" y="502397"/>
                  <a:pt x="8852571" y="518566"/>
                  <a:pt x="8832937" y="518566"/>
                </a:cubicBezTo>
                <a:cubicBezTo>
                  <a:pt x="8814458" y="518566"/>
                  <a:pt x="8798289" y="502397"/>
                  <a:pt x="8798289" y="483918"/>
                </a:cubicBezTo>
                <a:cubicBezTo>
                  <a:pt x="8798289" y="465439"/>
                  <a:pt x="8813304" y="449270"/>
                  <a:pt x="8832937" y="449270"/>
                </a:cubicBezTo>
                <a:close/>
                <a:moveTo>
                  <a:pt x="8273949" y="449270"/>
                </a:moveTo>
                <a:cubicBezTo>
                  <a:pt x="8293584" y="449270"/>
                  <a:pt x="8308598" y="465439"/>
                  <a:pt x="8308598" y="483918"/>
                </a:cubicBezTo>
                <a:cubicBezTo>
                  <a:pt x="8308598" y="502397"/>
                  <a:pt x="8293584" y="518566"/>
                  <a:pt x="8273949" y="518566"/>
                </a:cubicBezTo>
                <a:cubicBezTo>
                  <a:pt x="8255471" y="518566"/>
                  <a:pt x="8239301" y="502397"/>
                  <a:pt x="8239301" y="483918"/>
                </a:cubicBezTo>
                <a:cubicBezTo>
                  <a:pt x="8239301" y="465439"/>
                  <a:pt x="8254316" y="449270"/>
                  <a:pt x="8273949" y="449270"/>
                </a:cubicBezTo>
                <a:close/>
                <a:moveTo>
                  <a:pt x="6458393" y="449270"/>
                </a:moveTo>
                <a:cubicBezTo>
                  <a:pt x="6476871" y="449270"/>
                  <a:pt x="6493041" y="465439"/>
                  <a:pt x="6493041" y="483918"/>
                </a:cubicBezTo>
                <a:cubicBezTo>
                  <a:pt x="6493041" y="502397"/>
                  <a:pt x="6476871" y="518566"/>
                  <a:pt x="6458393" y="518566"/>
                </a:cubicBezTo>
                <a:cubicBezTo>
                  <a:pt x="6439914" y="518566"/>
                  <a:pt x="6423745" y="502397"/>
                  <a:pt x="6423745" y="483918"/>
                </a:cubicBezTo>
                <a:cubicBezTo>
                  <a:pt x="6423745" y="465439"/>
                  <a:pt x="6438760" y="449270"/>
                  <a:pt x="6458393" y="449270"/>
                </a:cubicBezTo>
                <a:close/>
                <a:moveTo>
                  <a:pt x="5340416" y="449270"/>
                </a:moveTo>
                <a:cubicBezTo>
                  <a:pt x="5360051" y="449270"/>
                  <a:pt x="5375064" y="465439"/>
                  <a:pt x="5375064" y="483918"/>
                </a:cubicBezTo>
                <a:cubicBezTo>
                  <a:pt x="5375064" y="502397"/>
                  <a:pt x="5358895" y="518566"/>
                  <a:pt x="5340416" y="518566"/>
                </a:cubicBezTo>
                <a:cubicBezTo>
                  <a:pt x="5321939" y="518566"/>
                  <a:pt x="5305769" y="502397"/>
                  <a:pt x="5305769" y="483918"/>
                </a:cubicBezTo>
                <a:cubicBezTo>
                  <a:pt x="5305769" y="465439"/>
                  <a:pt x="5320783" y="449270"/>
                  <a:pt x="5340416" y="449270"/>
                </a:cubicBezTo>
                <a:close/>
                <a:moveTo>
                  <a:pt x="4781429" y="449270"/>
                </a:moveTo>
                <a:cubicBezTo>
                  <a:pt x="4801062" y="449270"/>
                  <a:pt x="4816075" y="465439"/>
                  <a:pt x="4816075" y="483918"/>
                </a:cubicBezTo>
                <a:cubicBezTo>
                  <a:pt x="4816075" y="502397"/>
                  <a:pt x="4799906" y="518566"/>
                  <a:pt x="4781429" y="518566"/>
                </a:cubicBezTo>
                <a:cubicBezTo>
                  <a:pt x="4762949" y="518566"/>
                  <a:pt x="4746781" y="502397"/>
                  <a:pt x="4746781" y="483918"/>
                </a:cubicBezTo>
                <a:cubicBezTo>
                  <a:pt x="4746781" y="465439"/>
                  <a:pt x="4761794" y="449270"/>
                  <a:pt x="4781429" y="449270"/>
                </a:cubicBezTo>
                <a:close/>
                <a:moveTo>
                  <a:pt x="4220129" y="449270"/>
                </a:moveTo>
                <a:cubicBezTo>
                  <a:pt x="4239764" y="449270"/>
                  <a:pt x="4254779" y="465439"/>
                  <a:pt x="4254779" y="483918"/>
                </a:cubicBezTo>
                <a:cubicBezTo>
                  <a:pt x="4254779" y="502397"/>
                  <a:pt x="4239764" y="518566"/>
                  <a:pt x="4220129" y="518566"/>
                </a:cubicBezTo>
                <a:cubicBezTo>
                  <a:pt x="4201651" y="518566"/>
                  <a:pt x="4185482" y="502397"/>
                  <a:pt x="4185482" y="483918"/>
                </a:cubicBezTo>
                <a:cubicBezTo>
                  <a:pt x="4185482" y="465439"/>
                  <a:pt x="4200498" y="449270"/>
                  <a:pt x="4220129" y="449270"/>
                </a:cubicBezTo>
                <a:close/>
                <a:moveTo>
                  <a:pt x="3661142" y="449270"/>
                </a:moveTo>
                <a:cubicBezTo>
                  <a:pt x="3680776" y="449270"/>
                  <a:pt x="3695791" y="465439"/>
                  <a:pt x="3695791" y="483918"/>
                </a:cubicBezTo>
                <a:cubicBezTo>
                  <a:pt x="3695791" y="502397"/>
                  <a:pt x="3680776" y="518566"/>
                  <a:pt x="3661142" y="518566"/>
                </a:cubicBezTo>
                <a:cubicBezTo>
                  <a:pt x="3642663" y="518566"/>
                  <a:pt x="3626494" y="502397"/>
                  <a:pt x="3626494" y="483918"/>
                </a:cubicBezTo>
                <a:cubicBezTo>
                  <a:pt x="3626494" y="465439"/>
                  <a:pt x="3641508" y="449270"/>
                  <a:pt x="3661142" y="449270"/>
                </a:cubicBezTo>
                <a:close/>
                <a:moveTo>
                  <a:pt x="1845585" y="449270"/>
                </a:moveTo>
                <a:cubicBezTo>
                  <a:pt x="1864064" y="449270"/>
                  <a:pt x="1880233" y="465439"/>
                  <a:pt x="1880233" y="483918"/>
                </a:cubicBezTo>
                <a:cubicBezTo>
                  <a:pt x="1880233" y="502397"/>
                  <a:pt x="1865220" y="518566"/>
                  <a:pt x="1845585" y="518566"/>
                </a:cubicBezTo>
                <a:cubicBezTo>
                  <a:pt x="1827106" y="518566"/>
                  <a:pt x="1810937" y="502397"/>
                  <a:pt x="1810937" y="483918"/>
                </a:cubicBezTo>
                <a:cubicBezTo>
                  <a:pt x="1810937" y="465439"/>
                  <a:pt x="1825952" y="449270"/>
                  <a:pt x="1845585" y="449270"/>
                </a:cubicBezTo>
                <a:close/>
                <a:moveTo>
                  <a:pt x="727609" y="449270"/>
                </a:moveTo>
                <a:cubicBezTo>
                  <a:pt x="747243" y="449270"/>
                  <a:pt x="762257" y="465439"/>
                  <a:pt x="762257" y="483918"/>
                </a:cubicBezTo>
                <a:cubicBezTo>
                  <a:pt x="762257" y="502397"/>
                  <a:pt x="746088" y="518566"/>
                  <a:pt x="727609" y="518566"/>
                </a:cubicBezTo>
                <a:cubicBezTo>
                  <a:pt x="709130" y="518566"/>
                  <a:pt x="692961" y="502397"/>
                  <a:pt x="692961" y="483918"/>
                </a:cubicBezTo>
                <a:cubicBezTo>
                  <a:pt x="692961" y="465439"/>
                  <a:pt x="707976" y="449270"/>
                  <a:pt x="727609" y="449270"/>
                </a:cubicBezTo>
                <a:close/>
                <a:moveTo>
                  <a:pt x="168621" y="449270"/>
                </a:moveTo>
                <a:cubicBezTo>
                  <a:pt x="188255" y="449270"/>
                  <a:pt x="203269" y="465439"/>
                  <a:pt x="203269" y="483918"/>
                </a:cubicBezTo>
                <a:cubicBezTo>
                  <a:pt x="203269" y="502397"/>
                  <a:pt x="187100" y="518566"/>
                  <a:pt x="168621" y="518566"/>
                </a:cubicBezTo>
                <a:cubicBezTo>
                  <a:pt x="150142" y="518566"/>
                  <a:pt x="133973" y="502397"/>
                  <a:pt x="133973" y="483918"/>
                </a:cubicBezTo>
                <a:cubicBezTo>
                  <a:pt x="133973" y="465439"/>
                  <a:pt x="148988" y="449270"/>
                  <a:pt x="168621" y="449270"/>
                </a:cubicBezTo>
                <a:close/>
                <a:moveTo>
                  <a:pt x="10923972" y="443495"/>
                </a:moveTo>
                <a:cubicBezTo>
                  <a:pt x="10945916" y="443495"/>
                  <a:pt x="10964394" y="461974"/>
                  <a:pt x="10964394" y="483918"/>
                </a:cubicBezTo>
                <a:cubicBezTo>
                  <a:pt x="10964394" y="505861"/>
                  <a:pt x="10945916" y="524340"/>
                  <a:pt x="10923972" y="524340"/>
                </a:cubicBezTo>
                <a:cubicBezTo>
                  <a:pt x="10902028" y="524340"/>
                  <a:pt x="10883549" y="505861"/>
                  <a:pt x="10883549" y="483918"/>
                </a:cubicBezTo>
                <a:cubicBezTo>
                  <a:pt x="10883549" y="461974"/>
                  <a:pt x="10902028" y="443495"/>
                  <a:pt x="10923972" y="443495"/>
                </a:cubicBezTo>
                <a:close/>
                <a:moveTo>
                  <a:pt x="9805996" y="443495"/>
                </a:moveTo>
                <a:cubicBezTo>
                  <a:pt x="9827939" y="443495"/>
                  <a:pt x="9846418" y="461974"/>
                  <a:pt x="9846418" y="483918"/>
                </a:cubicBezTo>
                <a:cubicBezTo>
                  <a:pt x="9846418" y="505861"/>
                  <a:pt x="9827939" y="524340"/>
                  <a:pt x="9805996" y="524340"/>
                </a:cubicBezTo>
                <a:cubicBezTo>
                  <a:pt x="9784052" y="524340"/>
                  <a:pt x="9765573" y="505861"/>
                  <a:pt x="9765573" y="483918"/>
                </a:cubicBezTo>
                <a:cubicBezTo>
                  <a:pt x="9765573" y="461974"/>
                  <a:pt x="9784052" y="443495"/>
                  <a:pt x="9805996" y="443495"/>
                </a:cubicBezTo>
                <a:close/>
                <a:moveTo>
                  <a:pt x="9526502" y="443495"/>
                </a:moveTo>
                <a:cubicBezTo>
                  <a:pt x="9548445" y="443495"/>
                  <a:pt x="9566924" y="461974"/>
                  <a:pt x="9566924" y="483918"/>
                </a:cubicBezTo>
                <a:cubicBezTo>
                  <a:pt x="9566924" y="505861"/>
                  <a:pt x="9548445" y="524340"/>
                  <a:pt x="9526502" y="524340"/>
                </a:cubicBezTo>
                <a:cubicBezTo>
                  <a:pt x="9504558" y="524340"/>
                  <a:pt x="9486079" y="505861"/>
                  <a:pt x="9486079" y="483918"/>
                </a:cubicBezTo>
                <a:cubicBezTo>
                  <a:pt x="9486079" y="461974"/>
                  <a:pt x="9504558" y="443495"/>
                  <a:pt x="9526502" y="443495"/>
                </a:cubicBezTo>
                <a:close/>
                <a:moveTo>
                  <a:pt x="8693190" y="443495"/>
                </a:moveTo>
                <a:cubicBezTo>
                  <a:pt x="8715134" y="443495"/>
                  <a:pt x="8733613" y="461974"/>
                  <a:pt x="8733613" y="483918"/>
                </a:cubicBezTo>
                <a:cubicBezTo>
                  <a:pt x="8733613" y="505861"/>
                  <a:pt x="8715134" y="524340"/>
                  <a:pt x="8693190" y="524340"/>
                </a:cubicBezTo>
                <a:cubicBezTo>
                  <a:pt x="8671246" y="524340"/>
                  <a:pt x="8652767" y="505861"/>
                  <a:pt x="8652767" y="483918"/>
                </a:cubicBezTo>
                <a:cubicBezTo>
                  <a:pt x="8652767" y="461974"/>
                  <a:pt x="8671246" y="443495"/>
                  <a:pt x="8693190" y="443495"/>
                </a:cubicBezTo>
                <a:close/>
                <a:moveTo>
                  <a:pt x="8413696" y="443495"/>
                </a:moveTo>
                <a:cubicBezTo>
                  <a:pt x="8435640" y="443495"/>
                  <a:pt x="8454118" y="461974"/>
                  <a:pt x="8454118" y="483918"/>
                </a:cubicBezTo>
                <a:cubicBezTo>
                  <a:pt x="8454118" y="505861"/>
                  <a:pt x="8435640" y="524340"/>
                  <a:pt x="8413696" y="524340"/>
                </a:cubicBezTo>
                <a:cubicBezTo>
                  <a:pt x="8391752" y="524340"/>
                  <a:pt x="8373274" y="505861"/>
                  <a:pt x="8373274" y="483918"/>
                </a:cubicBezTo>
                <a:cubicBezTo>
                  <a:pt x="8373274" y="461974"/>
                  <a:pt x="8391752" y="443495"/>
                  <a:pt x="8413696" y="443495"/>
                </a:cubicBezTo>
                <a:close/>
                <a:moveTo>
                  <a:pt x="6318647" y="443495"/>
                </a:moveTo>
                <a:cubicBezTo>
                  <a:pt x="6340589" y="443495"/>
                  <a:pt x="6359068" y="461974"/>
                  <a:pt x="6359068" y="483918"/>
                </a:cubicBezTo>
                <a:cubicBezTo>
                  <a:pt x="6359068" y="505861"/>
                  <a:pt x="6340589" y="524340"/>
                  <a:pt x="6318647" y="524340"/>
                </a:cubicBezTo>
                <a:cubicBezTo>
                  <a:pt x="6296702" y="524340"/>
                  <a:pt x="6278223" y="505861"/>
                  <a:pt x="6278223" y="483918"/>
                </a:cubicBezTo>
                <a:cubicBezTo>
                  <a:pt x="6278223" y="461974"/>
                  <a:pt x="6296702" y="443495"/>
                  <a:pt x="6318647" y="443495"/>
                </a:cubicBezTo>
                <a:close/>
                <a:moveTo>
                  <a:pt x="5200670" y="443495"/>
                </a:moveTo>
                <a:cubicBezTo>
                  <a:pt x="5222613" y="443495"/>
                  <a:pt x="5241093" y="461974"/>
                  <a:pt x="5241093" y="483918"/>
                </a:cubicBezTo>
                <a:cubicBezTo>
                  <a:pt x="5241093" y="505861"/>
                  <a:pt x="5222613" y="524340"/>
                  <a:pt x="5200670" y="524340"/>
                </a:cubicBezTo>
                <a:cubicBezTo>
                  <a:pt x="5178725" y="524340"/>
                  <a:pt x="5160247" y="505861"/>
                  <a:pt x="5160247" y="483918"/>
                </a:cubicBezTo>
                <a:cubicBezTo>
                  <a:pt x="5160247" y="461974"/>
                  <a:pt x="5178725" y="443495"/>
                  <a:pt x="5200670" y="443495"/>
                </a:cubicBezTo>
                <a:close/>
                <a:moveTo>
                  <a:pt x="4921176" y="443495"/>
                </a:moveTo>
                <a:cubicBezTo>
                  <a:pt x="4944275" y="443495"/>
                  <a:pt x="4961598" y="461974"/>
                  <a:pt x="4961598" y="483918"/>
                </a:cubicBezTo>
                <a:cubicBezTo>
                  <a:pt x="4961598" y="505861"/>
                  <a:pt x="4943120" y="524340"/>
                  <a:pt x="4921176" y="524340"/>
                </a:cubicBezTo>
                <a:cubicBezTo>
                  <a:pt x="4899233" y="524340"/>
                  <a:pt x="4880752" y="505861"/>
                  <a:pt x="4880752" y="483918"/>
                </a:cubicBezTo>
                <a:cubicBezTo>
                  <a:pt x="4880752" y="461974"/>
                  <a:pt x="4899233" y="443495"/>
                  <a:pt x="4921176" y="443495"/>
                </a:cubicBezTo>
                <a:close/>
                <a:moveTo>
                  <a:pt x="4080383" y="443495"/>
                </a:moveTo>
                <a:cubicBezTo>
                  <a:pt x="4102326" y="443495"/>
                  <a:pt x="4120806" y="461974"/>
                  <a:pt x="4120806" y="483918"/>
                </a:cubicBezTo>
                <a:cubicBezTo>
                  <a:pt x="4120806" y="505861"/>
                  <a:pt x="4102326" y="524340"/>
                  <a:pt x="4080383" y="524340"/>
                </a:cubicBezTo>
                <a:cubicBezTo>
                  <a:pt x="4058439" y="524340"/>
                  <a:pt x="4039961" y="505861"/>
                  <a:pt x="4039961" y="483918"/>
                </a:cubicBezTo>
                <a:cubicBezTo>
                  <a:pt x="4039961" y="461974"/>
                  <a:pt x="4058439" y="443495"/>
                  <a:pt x="4080383" y="443495"/>
                </a:cubicBezTo>
                <a:close/>
                <a:moveTo>
                  <a:pt x="3800889" y="443495"/>
                </a:moveTo>
                <a:cubicBezTo>
                  <a:pt x="3822833" y="443495"/>
                  <a:pt x="3841311" y="461974"/>
                  <a:pt x="3841311" y="483918"/>
                </a:cubicBezTo>
                <a:cubicBezTo>
                  <a:pt x="3841311" y="505861"/>
                  <a:pt x="3822833" y="524340"/>
                  <a:pt x="3800889" y="524340"/>
                </a:cubicBezTo>
                <a:cubicBezTo>
                  <a:pt x="3778945" y="524340"/>
                  <a:pt x="3760466" y="505861"/>
                  <a:pt x="3760466" y="483918"/>
                </a:cubicBezTo>
                <a:cubicBezTo>
                  <a:pt x="3760466" y="461974"/>
                  <a:pt x="3778945" y="443495"/>
                  <a:pt x="3800889" y="443495"/>
                </a:cubicBezTo>
                <a:close/>
                <a:moveTo>
                  <a:pt x="1705839" y="443495"/>
                </a:moveTo>
                <a:cubicBezTo>
                  <a:pt x="1727782" y="443495"/>
                  <a:pt x="1746261" y="461974"/>
                  <a:pt x="1746261" y="483918"/>
                </a:cubicBezTo>
                <a:cubicBezTo>
                  <a:pt x="1746261" y="505861"/>
                  <a:pt x="1727782" y="524340"/>
                  <a:pt x="1705839" y="524340"/>
                </a:cubicBezTo>
                <a:cubicBezTo>
                  <a:pt x="1683894" y="524340"/>
                  <a:pt x="1665415" y="505861"/>
                  <a:pt x="1665415" y="483918"/>
                </a:cubicBezTo>
                <a:cubicBezTo>
                  <a:pt x="1665415" y="461974"/>
                  <a:pt x="1683894" y="443495"/>
                  <a:pt x="1705839" y="443495"/>
                </a:cubicBezTo>
                <a:close/>
                <a:moveTo>
                  <a:pt x="587862" y="443495"/>
                </a:moveTo>
                <a:cubicBezTo>
                  <a:pt x="609806" y="443495"/>
                  <a:pt x="628284" y="461974"/>
                  <a:pt x="628284" y="483918"/>
                </a:cubicBezTo>
                <a:cubicBezTo>
                  <a:pt x="628284" y="505861"/>
                  <a:pt x="609806" y="524340"/>
                  <a:pt x="587862" y="524340"/>
                </a:cubicBezTo>
                <a:cubicBezTo>
                  <a:pt x="565918" y="524340"/>
                  <a:pt x="547439" y="505861"/>
                  <a:pt x="547439" y="483918"/>
                </a:cubicBezTo>
                <a:cubicBezTo>
                  <a:pt x="547439" y="461974"/>
                  <a:pt x="565918" y="443495"/>
                  <a:pt x="587862" y="443495"/>
                </a:cubicBezTo>
                <a:close/>
                <a:moveTo>
                  <a:pt x="308368" y="443495"/>
                </a:moveTo>
                <a:cubicBezTo>
                  <a:pt x="330311" y="443495"/>
                  <a:pt x="348790" y="461974"/>
                  <a:pt x="348790" y="483918"/>
                </a:cubicBezTo>
                <a:cubicBezTo>
                  <a:pt x="348790" y="505861"/>
                  <a:pt x="330311" y="524340"/>
                  <a:pt x="308368" y="524340"/>
                </a:cubicBezTo>
                <a:cubicBezTo>
                  <a:pt x="286424" y="524340"/>
                  <a:pt x="267945" y="505861"/>
                  <a:pt x="267945" y="483918"/>
                </a:cubicBezTo>
                <a:cubicBezTo>
                  <a:pt x="267945" y="461974"/>
                  <a:pt x="286424" y="443495"/>
                  <a:pt x="308368" y="443495"/>
                </a:cubicBezTo>
                <a:close/>
                <a:moveTo>
                  <a:pt x="10784225" y="433101"/>
                </a:moveTo>
                <a:cubicBezTo>
                  <a:pt x="10811943" y="433101"/>
                  <a:pt x="10835042" y="456200"/>
                  <a:pt x="10835042" y="483918"/>
                </a:cubicBezTo>
                <a:cubicBezTo>
                  <a:pt x="10835042" y="511636"/>
                  <a:pt x="10811943" y="534735"/>
                  <a:pt x="10784225" y="534735"/>
                </a:cubicBezTo>
                <a:cubicBezTo>
                  <a:pt x="10756506" y="534735"/>
                  <a:pt x="10733408" y="511636"/>
                  <a:pt x="10733408" y="483918"/>
                </a:cubicBezTo>
                <a:cubicBezTo>
                  <a:pt x="10733408" y="456200"/>
                  <a:pt x="10755352" y="433101"/>
                  <a:pt x="10784225" y="433101"/>
                </a:cubicBezTo>
                <a:close/>
                <a:moveTo>
                  <a:pt x="9666248" y="433101"/>
                </a:moveTo>
                <a:cubicBezTo>
                  <a:pt x="9695122" y="433101"/>
                  <a:pt x="9717066" y="456200"/>
                  <a:pt x="9717066" y="483918"/>
                </a:cubicBezTo>
                <a:cubicBezTo>
                  <a:pt x="9717066" y="511636"/>
                  <a:pt x="9695122" y="534735"/>
                  <a:pt x="9666248" y="534735"/>
                </a:cubicBezTo>
                <a:cubicBezTo>
                  <a:pt x="9638530" y="534735"/>
                  <a:pt x="9615431" y="511636"/>
                  <a:pt x="9615431" y="483918"/>
                </a:cubicBezTo>
                <a:cubicBezTo>
                  <a:pt x="9615431" y="456200"/>
                  <a:pt x="9637376" y="433101"/>
                  <a:pt x="9666248" y="433101"/>
                </a:cubicBezTo>
                <a:close/>
                <a:moveTo>
                  <a:pt x="8553443" y="433101"/>
                </a:moveTo>
                <a:cubicBezTo>
                  <a:pt x="8582317" y="433101"/>
                  <a:pt x="8604260" y="456200"/>
                  <a:pt x="8604260" y="483918"/>
                </a:cubicBezTo>
                <a:cubicBezTo>
                  <a:pt x="8604260" y="511636"/>
                  <a:pt x="8582317" y="534735"/>
                  <a:pt x="8553443" y="534735"/>
                </a:cubicBezTo>
                <a:cubicBezTo>
                  <a:pt x="8525724" y="534735"/>
                  <a:pt x="8502626" y="511636"/>
                  <a:pt x="8502626" y="483918"/>
                </a:cubicBezTo>
                <a:cubicBezTo>
                  <a:pt x="8502626" y="456200"/>
                  <a:pt x="8524570" y="433101"/>
                  <a:pt x="8553443" y="433101"/>
                </a:cubicBezTo>
                <a:close/>
                <a:moveTo>
                  <a:pt x="6178898" y="433101"/>
                </a:moveTo>
                <a:cubicBezTo>
                  <a:pt x="6206618" y="433101"/>
                  <a:pt x="6229715" y="456200"/>
                  <a:pt x="6229715" y="483918"/>
                </a:cubicBezTo>
                <a:cubicBezTo>
                  <a:pt x="6229715" y="511636"/>
                  <a:pt x="6206618" y="534735"/>
                  <a:pt x="6178898" y="534735"/>
                </a:cubicBezTo>
                <a:cubicBezTo>
                  <a:pt x="6151180" y="534735"/>
                  <a:pt x="6128081" y="511636"/>
                  <a:pt x="6128081" y="483918"/>
                </a:cubicBezTo>
                <a:cubicBezTo>
                  <a:pt x="6128081" y="456200"/>
                  <a:pt x="6150025" y="433101"/>
                  <a:pt x="6178898" y="433101"/>
                </a:cubicBezTo>
                <a:close/>
                <a:moveTo>
                  <a:pt x="5060922" y="433101"/>
                </a:moveTo>
                <a:cubicBezTo>
                  <a:pt x="5089795" y="433101"/>
                  <a:pt x="5111740" y="456200"/>
                  <a:pt x="5111740" y="483918"/>
                </a:cubicBezTo>
                <a:cubicBezTo>
                  <a:pt x="5111740" y="511636"/>
                  <a:pt x="5088641" y="534735"/>
                  <a:pt x="5060922" y="534735"/>
                </a:cubicBezTo>
                <a:cubicBezTo>
                  <a:pt x="5033205" y="534735"/>
                  <a:pt x="5010105" y="511636"/>
                  <a:pt x="5010105" y="483918"/>
                </a:cubicBezTo>
                <a:cubicBezTo>
                  <a:pt x="5010105" y="456200"/>
                  <a:pt x="5032050" y="433101"/>
                  <a:pt x="5060922" y="433101"/>
                </a:cubicBezTo>
                <a:close/>
                <a:moveTo>
                  <a:pt x="3940636" y="433101"/>
                </a:moveTo>
                <a:cubicBezTo>
                  <a:pt x="3969510" y="433101"/>
                  <a:pt x="3991453" y="456200"/>
                  <a:pt x="3991453" y="483918"/>
                </a:cubicBezTo>
                <a:cubicBezTo>
                  <a:pt x="3991453" y="511636"/>
                  <a:pt x="3969510" y="534735"/>
                  <a:pt x="3940636" y="534735"/>
                </a:cubicBezTo>
                <a:cubicBezTo>
                  <a:pt x="3912917" y="534735"/>
                  <a:pt x="3889819" y="511636"/>
                  <a:pt x="3889819" y="483918"/>
                </a:cubicBezTo>
                <a:cubicBezTo>
                  <a:pt x="3889819" y="456200"/>
                  <a:pt x="3911763" y="433101"/>
                  <a:pt x="3940636" y="433101"/>
                </a:cubicBezTo>
                <a:close/>
                <a:moveTo>
                  <a:pt x="1566091" y="433101"/>
                </a:moveTo>
                <a:cubicBezTo>
                  <a:pt x="1593810" y="433101"/>
                  <a:pt x="1616908" y="456200"/>
                  <a:pt x="1616908" y="483918"/>
                </a:cubicBezTo>
                <a:cubicBezTo>
                  <a:pt x="1616908" y="511636"/>
                  <a:pt x="1593810" y="534735"/>
                  <a:pt x="1566091" y="534735"/>
                </a:cubicBezTo>
                <a:cubicBezTo>
                  <a:pt x="1538373" y="534735"/>
                  <a:pt x="1515274" y="511636"/>
                  <a:pt x="1515274" y="483918"/>
                </a:cubicBezTo>
                <a:cubicBezTo>
                  <a:pt x="1515274" y="456200"/>
                  <a:pt x="1537218" y="433101"/>
                  <a:pt x="1566091" y="433101"/>
                </a:cubicBezTo>
                <a:close/>
                <a:moveTo>
                  <a:pt x="448115" y="433101"/>
                </a:moveTo>
                <a:cubicBezTo>
                  <a:pt x="476989" y="433101"/>
                  <a:pt x="498932" y="456200"/>
                  <a:pt x="498932" y="483918"/>
                </a:cubicBezTo>
                <a:cubicBezTo>
                  <a:pt x="498932" y="511636"/>
                  <a:pt x="476989" y="534735"/>
                  <a:pt x="448115" y="534735"/>
                </a:cubicBezTo>
                <a:cubicBezTo>
                  <a:pt x="420396" y="534735"/>
                  <a:pt x="397298" y="511636"/>
                  <a:pt x="397298" y="483918"/>
                </a:cubicBezTo>
                <a:cubicBezTo>
                  <a:pt x="397298" y="456200"/>
                  <a:pt x="419242" y="433101"/>
                  <a:pt x="448115" y="433101"/>
                </a:cubicBezTo>
                <a:close/>
                <a:moveTo>
                  <a:pt x="12210569" y="319917"/>
                </a:moveTo>
                <a:cubicBezTo>
                  <a:pt x="12220963" y="319917"/>
                  <a:pt x="12231358" y="329157"/>
                  <a:pt x="12231358" y="340706"/>
                </a:cubicBezTo>
                <a:cubicBezTo>
                  <a:pt x="12231358" y="352256"/>
                  <a:pt x="12222118" y="361495"/>
                  <a:pt x="12210569" y="361495"/>
                </a:cubicBezTo>
                <a:cubicBezTo>
                  <a:pt x="12199020" y="361495"/>
                  <a:pt x="12189780" y="352256"/>
                  <a:pt x="12189780" y="340706"/>
                </a:cubicBezTo>
                <a:cubicBezTo>
                  <a:pt x="12189780" y="329157"/>
                  <a:pt x="12199020" y="319917"/>
                  <a:pt x="12210569" y="319917"/>
                </a:cubicBezTo>
                <a:close/>
                <a:moveTo>
                  <a:pt x="12071977" y="319917"/>
                </a:moveTo>
                <a:cubicBezTo>
                  <a:pt x="12083526" y="319917"/>
                  <a:pt x="12092766" y="329157"/>
                  <a:pt x="12092766" y="340706"/>
                </a:cubicBezTo>
                <a:cubicBezTo>
                  <a:pt x="12092766" y="352256"/>
                  <a:pt x="12083526" y="361495"/>
                  <a:pt x="12071977" y="361495"/>
                </a:cubicBezTo>
                <a:cubicBezTo>
                  <a:pt x="12060428" y="361495"/>
                  <a:pt x="12051188" y="352256"/>
                  <a:pt x="12051188" y="340706"/>
                </a:cubicBezTo>
                <a:cubicBezTo>
                  <a:pt x="12051188" y="329157"/>
                  <a:pt x="12060428" y="319917"/>
                  <a:pt x="12071977" y="319917"/>
                </a:cubicBezTo>
                <a:close/>
                <a:moveTo>
                  <a:pt x="11934539" y="319917"/>
                </a:moveTo>
                <a:cubicBezTo>
                  <a:pt x="11946088" y="319917"/>
                  <a:pt x="11955328" y="329157"/>
                  <a:pt x="11955328" y="340706"/>
                </a:cubicBezTo>
                <a:cubicBezTo>
                  <a:pt x="11955328" y="352256"/>
                  <a:pt x="11946088" y="361495"/>
                  <a:pt x="11934539" y="361495"/>
                </a:cubicBezTo>
                <a:cubicBezTo>
                  <a:pt x="11922990" y="361495"/>
                  <a:pt x="11913750" y="352256"/>
                  <a:pt x="11913750" y="340706"/>
                </a:cubicBezTo>
                <a:cubicBezTo>
                  <a:pt x="11913750" y="329157"/>
                  <a:pt x="11922990" y="319917"/>
                  <a:pt x="11934539" y="319917"/>
                </a:cubicBezTo>
                <a:close/>
                <a:moveTo>
                  <a:pt x="11797103" y="319917"/>
                </a:moveTo>
                <a:cubicBezTo>
                  <a:pt x="11808652" y="319917"/>
                  <a:pt x="11817892" y="329157"/>
                  <a:pt x="11817892" y="340706"/>
                </a:cubicBezTo>
                <a:cubicBezTo>
                  <a:pt x="11817892" y="352256"/>
                  <a:pt x="11808652" y="361495"/>
                  <a:pt x="11797103" y="361495"/>
                </a:cubicBezTo>
                <a:cubicBezTo>
                  <a:pt x="11785553" y="361495"/>
                  <a:pt x="11776314" y="352256"/>
                  <a:pt x="11776314" y="340706"/>
                </a:cubicBezTo>
                <a:cubicBezTo>
                  <a:pt x="11776314" y="329157"/>
                  <a:pt x="11785553" y="319917"/>
                  <a:pt x="11797103" y="319917"/>
                </a:cubicBezTo>
                <a:close/>
                <a:moveTo>
                  <a:pt x="10645633" y="319917"/>
                </a:moveTo>
                <a:cubicBezTo>
                  <a:pt x="10657182" y="319917"/>
                  <a:pt x="10666422" y="329157"/>
                  <a:pt x="10666422" y="340706"/>
                </a:cubicBezTo>
                <a:cubicBezTo>
                  <a:pt x="10666422" y="352256"/>
                  <a:pt x="10657182" y="361495"/>
                  <a:pt x="10645633" y="361495"/>
                </a:cubicBezTo>
                <a:cubicBezTo>
                  <a:pt x="10634083" y="361495"/>
                  <a:pt x="10624844" y="352256"/>
                  <a:pt x="10624844" y="340706"/>
                </a:cubicBezTo>
                <a:cubicBezTo>
                  <a:pt x="10624844" y="329157"/>
                  <a:pt x="10634083" y="319917"/>
                  <a:pt x="10645633" y="319917"/>
                </a:cubicBezTo>
                <a:close/>
                <a:moveTo>
                  <a:pt x="9247008" y="319917"/>
                </a:moveTo>
                <a:cubicBezTo>
                  <a:pt x="9258557" y="319917"/>
                  <a:pt x="9267797" y="329157"/>
                  <a:pt x="9267797" y="340706"/>
                </a:cubicBezTo>
                <a:cubicBezTo>
                  <a:pt x="9267797" y="352256"/>
                  <a:pt x="9258557" y="361495"/>
                  <a:pt x="9247008" y="361495"/>
                </a:cubicBezTo>
                <a:cubicBezTo>
                  <a:pt x="9235459" y="361495"/>
                  <a:pt x="9226219" y="352256"/>
                  <a:pt x="9226219" y="340706"/>
                </a:cubicBezTo>
                <a:cubicBezTo>
                  <a:pt x="9226219" y="329157"/>
                  <a:pt x="9235459" y="319917"/>
                  <a:pt x="9247008" y="319917"/>
                </a:cubicBezTo>
                <a:close/>
                <a:moveTo>
                  <a:pt x="8148062" y="319917"/>
                </a:moveTo>
                <a:cubicBezTo>
                  <a:pt x="8158457" y="319917"/>
                  <a:pt x="8168851" y="329157"/>
                  <a:pt x="8168851" y="340706"/>
                </a:cubicBezTo>
                <a:cubicBezTo>
                  <a:pt x="8168851" y="352256"/>
                  <a:pt x="8159611" y="361495"/>
                  <a:pt x="8148062" y="361495"/>
                </a:cubicBezTo>
                <a:cubicBezTo>
                  <a:pt x="8136513" y="361495"/>
                  <a:pt x="8127274" y="352256"/>
                  <a:pt x="8127274" y="340706"/>
                </a:cubicBezTo>
                <a:cubicBezTo>
                  <a:pt x="8127274" y="329157"/>
                  <a:pt x="8136513" y="319917"/>
                  <a:pt x="8148062" y="319917"/>
                </a:cubicBezTo>
                <a:close/>
                <a:moveTo>
                  <a:pt x="8009471" y="319917"/>
                </a:moveTo>
                <a:cubicBezTo>
                  <a:pt x="8021020" y="319917"/>
                  <a:pt x="8030259" y="329157"/>
                  <a:pt x="8030259" y="340706"/>
                </a:cubicBezTo>
                <a:cubicBezTo>
                  <a:pt x="8030259" y="352256"/>
                  <a:pt x="8021020" y="361495"/>
                  <a:pt x="8009471" y="361495"/>
                </a:cubicBezTo>
                <a:cubicBezTo>
                  <a:pt x="7997920" y="361495"/>
                  <a:pt x="7988682" y="352256"/>
                  <a:pt x="7988682" y="340706"/>
                </a:cubicBezTo>
                <a:cubicBezTo>
                  <a:pt x="7988682" y="329157"/>
                  <a:pt x="7997920" y="319917"/>
                  <a:pt x="8009471" y="319917"/>
                </a:cubicBezTo>
                <a:close/>
                <a:moveTo>
                  <a:pt x="7872031" y="319917"/>
                </a:moveTo>
                <a:cubicBezTo>
                  <a:pt x="7883582" y="319917"/>
                  <a:pt x="7892822" y="329157"/>
                  <a:pt x="7892822" y="340706"/>
                </a:cubicBezTo>
                <a:cubicBezTo>
                  <a:pt x="7892822" y="352256"/>
                  <a:pt x="7883582" y="361495"/>
                  <a:pt x="7872031" y="361495"/>
                </a:cubicBezTo>
                <a:cubicBezTo>
                  <a:pt x="7860484" y="361495"/>
                  <a:pt x="7851244" y="352256"/>
                  <a:pt x="7851244" y="340706"/>
                </a:cubicBezTo>
                <a:cubicBezTo>
                  <a:pt x="7851244" y="329157"/>
                  <a:pt x="7860484" y="319917"/>
                  <a:pt x="7872031" y="319917"/>
                </a:cubicBezTo>
                <a:close/>
                <a:moveTo>
                  <a:pt x="7713807" y="319917"/>
                </a:moveTo>
                <a:cubicBezTo>
                  <a:pt x="7725356" y="319917"/>
                  <a:pt x="7734596" y="329157"/>
                  <a:pt x="7734596" y="340706"/>
                </a:cubicBezTo>
                <a:cubicBezTo>
                  <a:pt x="7734596" y="352256"/>
                  <a:pt x="7725356" y="361495"/>
                  <a:pt x="7713807" y="361495"/>
                </a:cubicBezTo>
                <a:cubicBezTo>
                  <a:pt x="7702258" y="361495"/>
                  <a:pt x="7693019" y="352256"/>
                  <a:pt x="7693019" y="340706"/>
                </a:cubicBezTo>
                <a:cubicBezTo>
                  <a:pt x="7693019" y="329157"/>
                  <a:pt x="7702258" y="319917"/>
                  <a:pt x="7713807" y="319917"/>
                </a:cubicBezTo>
                <a:close/>
                <a:moveTo>
                  <a:pt x="7605244" y="319917"/>
                </a:moveTo>
                <a:cubicBezTo>
                  <a:pt x="7616793" y="319917"/>
                  <a:pt x="7626031" y="329157"/>
                  <a:pt x="7626031" y="340706"/>
                </a:cubicBezTo>
                <a:cubicBezTo>
                  <a:pt x="7626031" y="352256"/>
                  <a:pt x="7616793" y="361495"/>
                  <a:pt x="7605244" y="361495"/>
                </a:cubicBezTo>
                <a:cubicBezTo>
                  <a:pt x="7593693" y="361495"/>
                  <a:pt x="7584454" y="352256"/>
                  <a:pt x="7584454" y="340706"/>
                </a:cubicBezTo>
                <a:cubicBezTo>
                  <a:pt x="7584454" y="329157"/>
                  <a:pt x="7593693" y="319917"/>
                  <a:pt x="7605244" y="319917"/>
                </a:cubicBezTo>
                <a:close/>
                <a:moveTo>
                  <a:pt x="7466651" y="319917"/>
                </a:moveTo>
                <a:cubicBezTo>
                  <a:pt x="7478200" y="319917"/>
                  <a:pt x="7487439" y="329157"/>
                  <a:pt x="7487439" y="340706"/>
                </a:cubicBezTo>
                <a:cubicBezTo>
                  <a:pt x="7487439" y="352256"/>
                  <a:pt x="7478200" y="361495"/>
                  <a:pt x="7466651" y="361495"/>
                </a:cubicBezTo>
                <a:cubicBezTo>
                  <a:pt x="7455102" y="361495"/>
                  <a:pt x="7445863" y="352256"/>
                  <a:pt x="7445863" y="340706"/>
                </a:cubicBezTo>
                <a:cubicBezTo>
                  <a:pt x="7445863" y="329157"/>
                  <a:pt x="7455102" y="319917"/>
                  <a:pt x="7466651" y="319917"/>
                </a:cubicBezTo>
                <a:close/>
                <a:moveTo>
                  <a:pt x="7329213" y="319917"/>
                </a:moveTo>
                <a:cubicBezTo>
                  <a:pt x="7340762" y="319917"/>
                  <a:pt x="7350002" y="329157"/>
                  <a:pt x="7350002" y="340706"/>
                </a:cubicBezTo>
                <a:cubicBezTo>
                  <a:pt x="7350002" y="352256"/>
                  <a:pt x="7340762" y="361495"/>
                  <a:pt x="7329213" y="361495"/>
                </a:cubicBezTo>
                <a:cubicBezTo>
                  <a:pt x="7317664" y="361495"/>
                  <a:pt x="7308425" y="352256"/>
                  <a:pt x="7308425" y="340706"/>
                </a:cubicBezTo>
                <a:cubicBezTo>
                  <a:pt x="7308425" y="329157"/>
                  <a:pt x="7317664" y="319917"/>
                  <a:pt x="7329213" y="319917"/>
                </a:cubicBezTo>
                <a:close/>
                <a:moveTo>
                  <a:pt x="7191777" y="319917"/>
                </a:moveTo>
                <a:cubicBezTo>
                  <a:pt x="7203326" y="319917"/>
                  <a:pt x="7212566" y="329157"/>
                  <a:pt x="7212566" y="340706"/>
                </a:cubicBezTo>
                <a:cubicBezTo>
                  <a:pt x="7212566" y="352256"/>
                  <a:pt x="7203326" y="361495"/>
                  <a:pt x="7191777" y="361495"/>
                </a:cubicBezTo>
                <a:cubicBezTo>
                  <a:pt x="7180226" y="361495"/>
                  <a:pt x="7170987" y="352256"/>
                  <a:pt x="7170987" y="340706"/>
                </a:cubicBezTo>
                <a:cubicBezTo>
                  <a:pt x="7170987" y="329157"/>
                  <a:pt x="7180226" y="319917"/>
                  <a:pt x="7191777" y="319917"/>
                </a:cubicBezTo>
                <a:close/>
                <a:moveTo>
                  <a:pt x="6040307" y="319917"/>
                </a:moveTo>
                <a:cubicBezTo>
                  <a:pt x="6051855" y="319917"/>
                  <a:pt x="6061095" y="329157"/>
                  <a:pt x="6061095" y="340706"/>
                </a:cubicBezTo>
                <a:cubicBezTo>
                  <a:pt x="6061095" y="352256"/>
                  <a:pt x="6051855" y="361495"/>
                  <a:pt x="6040307" y="361495"/>
                </a:cubicBezTo>
                <a:cubicBezTo>
                  <a:pt x="6028758" y="361495"/>
                  <a:pt x="6019518" y="352256"/>
                  <a:pt x="6019518" y="340706"/>
                </a:cubicBezTo>
                <a:cubicBezTo>
                  <a:pt x="6019518" y="329157"/>
                  <a:pt x="6028758" y="319917"/>
                  <a:pt x="6040307" y="319917"/>
                </a:cubicBezTo>
                <a:close/>
                <a:moveTo>
                  <a:pt x="4641682" y="319917"/>
                </a:moveTo>
                <a:cubicBezTo>
                  <a:pt x="4653231" y="319917"/>
                  <a:pt x="4662472" y="329157"/>
                  <a:pt x="4662472" y="340706"/>
                </a:cubicBezTo>
                <a:cubicBezTo>
                  <a:pt x="4662472" y="352256"/>
                  <a:pt x="4653231" y="361495"/>
                  <a:pt x="4641682" y="361495"/>
                </a:cubicBezTo>
                <a:cubicBezTo>
                  <a:pt x="4630133" y="361495"/>
                  <a:pt x="4620893" y="352256"/>
                  <a:pt x="4620893" y="340706"/>
                </a:cubicBezTo>
                <a:cubicBezTo>
                  <a:pt x="4620893" y="329157"/>
                  <a:pt x="4630133" y="319917"/>
                  <a:pt x="4641682" y="319917"/>
                </a:cubicBezTo>
                <a:close/>
                <a:moveTo>
                  <a:pt x="3535254" y="319917"/>
                </a:moveTo>
                <a:cubicBezTo>
                  <a:pt x="3545648" y="319917"/>
                  <a:pt x="3556043" y="329157"/>
                  <a:pt x="3556043" y="340706"/>
                </a:cubicBezTo>
                <a:cubicBezTo>
                  <a:pt x="3556043" y="352256"/>
                  <a:pt x="3546804" y="361495"/>
                  <a:pt x="3535254" y="361495"/>
                </a:cubicBezTo>
                <a:cubicBezTo>
                  <a:pt x="3523705" y="361495"/>
                  <a:pt x="3514466" y="352256"/>
                  <a:pt x="3514466" y="340706"/>
                </a:cubicBezTo>
                <a:cubicBezTo>
                  <a:pt x="3514466" y="329157"/>
                  <a:pt x="3523705" y="319917"/>
                  <a:pt x="3535254" y="319917"/>
                </a:cubicBezTo>
                <a:close/>
                <a:moveTo>
                  <a:pt x="3396662" y="319917"/>
                </a:moveTo>
                <a:cubicBezTo>
                  <a:pt x="3408212" y="319917"/>
                  <a:pt x="3417451" y="329157"/>
                  <a:pt x="3417451" y="340706"/>
                </a:cubicBezTo>
                <a:cubicBezTo>
                  <a:pt x="3417451" y="352256"/>
                  <a:pt x="3408212" y="361495"/>
                  <a:pt x="3396662" y="361495"/>
                </a:cubicBezTo>
                <a:cubicBezTo>
                  <a:pt x="3385113" y="361495"/>
                  <a:pt x="3375874" y="352256"/>
                  <a:pt x="3375874" y="340706"/>
                </a:cubicBezTo>
                <a:cubicBezTo>
                  <a:pt x="3375874" y="329157"/>
                  <a:pt x="3385113" y="319917"/>
                  <a:pt x="3396662" y="319917"/>
                </a:cubicBezTo>
                <a:close/>
                <a:moveTo>
                  <a:pt x="3259224" y="319917"/>
                </a:moveTo>
                <a:cubicBezTo>
                  <a:pt x="3270774" y="319917"/>
                  <a:pt x="3280013" y="329157"/>
                  <a:pt x="3280013" y="340706"/>
                </a:cubicBezTo>
                <a:cubicBezTo>
                  <a:pt x="3280013" y="352256"/>
                  <a:pt x="3270774" y="361495"/>
                  <a:pt x="3259224" y="361495"/>
                </a:cubicBezTo>
                <a:cubicBezTo>
                  <a:pt x="3247675" y="361495"/>
                  <a:pt x="3238436" y="352256"/>
                  <a:pt x="3238436" y="340706"/>
                </a:cubicBezTo>
                <a:cubicBezTo>
                  <a:pt x="3238436" y="329157"/>
                  <a:pt x="3247675" y="319917"/>
                  <a:pt x="3259224" y="319917"/>
                </a:cubicBezTo>
                <a:close/>
                <a:moveTo>
                  <a:pt x="3100999" y="319917"/>
                </a:moveTo>
                <a:cubicBezTo>
                  <a:pt x="3112549" y="319917"/>
                  <a:pt x="3121789" y="329157"/>
                  <a:pt x="3121789" y="340706"/>
                </a:cubicBezTo>
                <a:cubicBezTo>
                  <a:pt x="3121789" y="352256"/>
                  <a:pt x="3112549" y="361495"/>
                  <a:pt x="3100999" y="361495"/>
                </a:cubicBezTo>
                <a:cubicBezTo>
                  <a:pt x="3089450" y="361495"/>
                  <a:pt x="3080212" y="352256"/>
                  <a:pt x="3080212" y="340706"/>
                </a:cubicBezTo>
                <a:cubicBezTo>
                  <a:pt x="3080212" y="329157"/>
                  <a:pt x="3089450" y="319917"/>
                  <a:pt x="3100999" y="319917"/>
                </a:cubicBezTo>
                <a:close/>
                <a:moveTo>
                  <a:pt x="2992435" y="319917"/>
                </a:moveTo>
                <a:cubicBezTo>
                  <a:pt x="3002829" y="319917"/>
                  <a:pt x="3013224" y="329157"/>
                  <a:pt x="3013224" y="340706"/>
                </a:cubicBezTo>
                <a:cubicBezTo>
                  <a:pt x="3013224" y="352256"/>
                  <a:pt x="3003985" y="361495"/>
                  <a:pt x="2992435" y="361495"/>
                </a:cubicBezTo>
                <a:cubicBezTo>
                  <a:pt x="2980886" y="361495"/>
                  <a:pt x="2971647" y="352256"/>
                  <a:pt x="2971647" y="340706"/>
                </a:cubicBezTo>
                <a:cubicBezTo>
                  <a:pt x="2971647" y="329157"/>
                  <a:pt x="2980886" y="319917"/>
                  <a:pt x="2992435" y="319917"/>
                </a:cubicBezTo>
                <a:close/>
                <a:moveTo>
                  <a:pt x="2853843" y="319917"/>
                </a:moveTo>
                <a:cubicBezTo>
                  <a:pt x="2865393" y="319917"/>
                  <a:pt x="2874633" y="329157"/>
                  <a:pt x="2874633" y="340706"/>
                </a:cubicBezTo>
                <a:cubicBezTo>
                  <a:pt x="2874633" y="352256"/>
                  <a:pt x="2865393" y="361495"/>
                  <a:pt x="2853843" y="361495"/>
                </a:cubicBezTo>
                <a:cubicBezTo>
                  <a:pt x="2842294" y="361495"/>
                  <a:pt x="2833056" y="352256"/>
                  <a:pt x="2833056" y="340706"/>
                </a:cubicBezTo>
                <a:cubicBezTo>
                  <a:pt x="2833056" y="329157"/>
                  <a:pt x="2842294" y="319917"/>
                  <a:pt x="2853843" y="319917"/>
                </a:cubicBezTo>
                <a:close/>
                <a:moveTo>
                  <a:pt x="2716405" y="319917"/>
                </a:moveTo>
                <a:cubicBezTo>
                  <a:pt x="2727955" y="319917"/>
                  <a:pt x="2737195" y="329157"/>
                  <a:pt x="2737195" y="340706"/>
                </a:cubicBezTo>
                <a:cubicBezTo>
                  <a:pt x="2737195" y="352256"/>
                  <a:pt x="2727955" y="361495"/>
                  <a:pt x="2716405" y="361495"/>
                </a:cubicBezTo>
                <a:cubicBezTo>
                  <a:pt x="2704856" y="361495"/>
                  <a:pt x="2695618" y="352256"/>
                  <a:pt x="2695618" y="340706"/>
                </a:cubicBezTo>
                <a:cubicBezTo>
                  <a:pt x="2695618" y="329157"/>
                  <a:pt x="2704856" y="319917"/>
                  <a:pt x="2716405" y="319917"/>
                </a:cubicBezTo>
                <a:close/>
                <a:moveTo>
                  <a:pt x="2578969" y="319917"/>
                </a:moveTo>
                <a:cubicBezTo>
                  <a:pt x="2590518" y="319917"/>
                  <a:pt x="2599758" y="329157"/>
                  <a:pt x="2599758" y="340706"/>
                </a:cubicBezTo>
                <a:cubicBezTo>
                  <a:pt x="2599758" y="352256"/>
                  <a:pt x="2590518" y="361495"/>
                  <a:pt x="2578969" y="361495"/>
                </a:cubicBezTo>
                <a:cubicBezTo>
                  <a:pt x="2567420" y="361495"/>
                  <a:pt x="2558180" y="352256"/>
                  <a:pt x="2558180" y="340706"/>
                </a:cubicBezTo>
                <a:cubicBezTo>
                  <a:pt x="2558180" y="329157"/>
                  <a:pt x="2567420" y="319917"/>
                  <a:pt x="2578969" y="319917"/>
                </a:cubicBezTo>
                <a:close/>
                <a:moveTo>
                  <a:pt x="1427499" y="319917"/>
                </a:moveTo>
                <a:cubicBezTo>
                  <a:pt x="1439048" y="319917"/>
                  <a:pt x="1448288" y="329157"/>
                  <a:pt x="1448288" y="340706"/>
                </a:cubicBezTo>
                <a:cubicBezTo>
                  <a:pt x="1448288" y="352256"/>
                  <a:pt x="1439048" y="361495"/>
                  <a:pt x="1427499" y="361495"/>
                </a:cubicBezTo>
                <a:cubicBezTo>
                  <a:pt x="1415950" y="361495"/>
                  <a:pt x="1406710" y="352256"/>
                  <a:pt x="1406710" y="340706"/>
                </a:cubicBezTo>
                <a:cubicBezTo>
                  <a:pt x="1406710" y="329157"/>
                  <a:pt x="1415950" y="319917"/>
                  <a:pt x="1427499" y="319917"/>
                </a:cubicBezTo>
                <a:close/>
                <a:moveTo>
                  <a:pt x="28874" y="319917"/>
                </a:moveTo>
                <a:cubicBezTo>
                  <a:pt x="40424" y="319917"/>
                  <a:pt x="49663" y="329157"/>
                  <a:pt x="49663" y="340706"/>
                </a:cubicBezTo>
                <a:cubicBezTo>
                  <a:pt x="49663" y="352256"/>
                  <a:pt x="40424" y="361495"/>
                  <a:pt x="28874" y="361495"/>
                </a:cubicBezTo>
                <a:cubicBezTo>
                  <a:pt x="17325" y="361495"/>
                  <a:pt x="8085" y="352256"/>
                  <a:pt x="8085" y="340706"/>
                </a:cubicBezTo>
                <a:cubicBezTo>
                  <a:pt x="8085" y="329157"/>
                  <a:pt x="17325" y="319917"/>
                  <a:pt x="28874" y="319917"/>
                </a:cubicBezTo>
                <a:close/>
                <a:moveTo>
                  <a:pt x="11658510" y="316452"/>
                </a:moveTo>
                <a:cubicBezTo>
                  <a:pt x="11671214" y="316452"/>
                  <a:pt x="11681609" y="326847"/>
                  <a:pt x="11681609" y="339551"/>
                </a:cubicBezTo>
                <a:cubicBezTo>
                  <a:pt x="11681609" y="352256"/>
                  <a:pt x="11671214" y="362649"/>
                  <a:pt x="11658510" y="362649"/>
                </a:cubicBezTo>
                <a:cubicBezTo>
                  <a:pt x="11645806" y="362649"/>
                  <a:pt x="11635412" y="352256"/>
                  <a:pt x="11635412" y="339551"/>
                </a:cubicBezTo>
                <a:cubicBezTo>
                  <a:pt x="11635412" y="326847"/>
                  <a:pt x="11645806" y="316452"/>
                  <a:pt x="11658510" y="316452"/>
                </a:cubicBezTo>
                <a:close/>
                <a:moveTo>
                  <a:pt x="10508196" y="316452"/>
                </a:moveTo>
                <a:cubicBezTo>
                  <a:pt x="10520900" y="316452"/>
                  <a:pt x="10531295" y="326847"/>
                  <a:pt x="10531295" y="339551"/>
                </a:cubicBezTo>
                <a:cubicBezTo>
                  <a:pt x="10531295" y="352256"/>
                  <a:pt x="10520900" y="362649"/>
                  <a:pt x="10508196" y="362649"/>
                </a:cubicBezTo>
                <a:cubicBezTo>
                  <a:pt x="10495491" y="362649"/>
                  <a:pt x="10485098" y="352256"/>
                  <a:pt x="10485098" y="339551"/>
                </a:cubicBezTo>
                <a:cubicBezTo>
                  <a:pt x="10485098" y="326847"/>
                  <a:pt x="10495491" y="316452"/>
                  <a:pt x="10508196" y="316452"/>
                </a:cubicBezTo>
                <a:close/>
                <a:moveTo>
                  <a:pt x="9405233" y="316452"/>
                </a:moveTo>
                <a:cubicBezTo>
                  <a:pt x="9417938" y="316452"/>
                  <a:pt x="9428332" y="326847"/>
                  <a:pt x="9428332" y="339551"/>
                </a:cubicBezTo>
                <a:cubicBezTo>
                  <a:pt x="9428332" y="352256"/>
                  <a:pt x="9417938" y="362649"/>
                  <a:pt x="9405233" y="362649"/>
                </a:cubicBezTo>
                <a:cubicBezTo>
                  <a:pt x="9392530" y="362649"/>
                  <a:pt x="9382135" y="352256"/>
                  <a:pt x="9382135" y="339551"/>
                </a:cubicBezTo>
                <a:cubicBezTo>
                  <a:pt x="9382135" y="326847"/>
                  <a:pt x="9392530" y="316452"/>
                  <a:pt x="9405233" y="316452"/>
                </a:cubicBezTo>
                <a:close/>
                <a:moveTo>
                  <a:pt x="8285498" y="316452"/>
                </a:moveTo>
                <a:cubicBezTo>
                  <a:pt x="8298204" y="316452"/>
                  <a:pt x="8308598" y="326847"/>
                  <a:pt x="8308598" y="339551"/>
                </a:cubicBezTo>
                <a:cubicBezTo>
                  <a:pt x="8308598" y="352256"/>
                  <a:pt x="8298204" y="362649"/>
                  <a:pt x="8285498" y="362649"/>
                </a:cubicBezTo>
                <a:cubicBezTo>
                  <a:pt x="8272794" y="362649"/>
                  <a:pt x="8262401" y="352256"/>
                  <a:pt x="8262401" y="339551"/>
                </a:cubicBezTo>
                <a:cubicBezTo>
                  <a:pt x="8262401" y="326847"/>
                  <a:pt x="8272794" y="316452"/>
                  <a:pt x="8285498" y="316452"/>
                </a:cubicBezTo>
                <a:close/>
                <a:moveTo>
                  <a:pt x="7053184" y="316452"/>
                </a:moveTo>
                <a:cubicBezTo>
                  <a:pt x="7067044" y="316452"/>
                  <a:pt x="7076283" y="326847"/>
                  <a:pt x="7076283" y="339551"/>
                </a:cubicBezTo>
                <a:cubicBezTo>
                  <a:pt x="7076283" y="352256"/>
                  <a:pt x="7065888" y="362649"/>
                  <a:pt x="7053184" y="362649"/>
                </a:cubicBezTo>
                <a:cubicBezTo>
                  <a:pt x="7040480" y="362649"/>
                  <a:pt x="7030086" y="352256"/>
                  <a:pt x="7030086" y="339551"/>
                </a:cubicBezTo>
                <a:cubicBezTo>
                  <a:pt x="7030086" y="326847"/>
                  <a:pt x="7040480" y="316452"/>
                  <a:pt x="7053184" y="316452"/>
                </a:cubicBezTo>
                <a:close/>
                <a:moveTo>
                  <a:pt x="5902869" y="316452"/>
                </a:moveTo>
                <a:cubicBezTo>
                  <a:pt x="5915573" y="316452"/>
                  <a:pt x="5925969" y="326847"/>
                  <a:pt x="5925969" y="339551"/>
                </a:cubicBezTo>
                <a:cubicBezTo>
                  <a:pt x="5925969" y="352256"/>
                  <a:pt x="5915573" y="362649"/>
                  <a:pt x="5902869" y="362649"/>
                </a:cubicBezTo>
                <a:cubicBezTo>
                  <a:pt x="5890165" y="362649"/>
                  <a:pt x="5879771" y="352256"/>
                  <a:pt x="5879771" y="339551"/>
                </a:cubicBezTo>
                <a:cubicBezTo>
                  <a:pt x="5879771" y="326847"/>
                  <a:pt x="5890165" y="316452"/>
                  <a:pt x="5902869" y="316452"/>
                </a:cubicBezTo>
                <a:close/>
                <a:moveTo>
                  <a:pt x="4799906" y="316452"/>
                </a:moveTo>
                <a:cubicBezTo>
                  <a:pt x="4812611" y="316452"/>
                  <a:pt x="4823006" y="326847"/>
                  <a:pt x="4823006" y="339551"/>
                </a:cubicBezTo>
                <a:cubicBezTo>
                  <a:pt x="4823006" y="352256"/>
                  <a:pt x="4812611" y="362649"/>
                  <a:pt x="4799906" y="362649"/>
                </a:cubicBezTo>
                <a:cubicBezTo>
                  <a:pt x="4787205" y="362649"/>
                  <a:pt x="4776809" y="352256"/>
                  <a:pt x="4776809" y="339551"/>
                </a:cubicBezTo>
                <a:cubicBezTo>
                  <a:pt x="4776809" y="326847"/>
                  <a:pt x="4787205" y="316452"/>
                  <a:pt x="4799906" y="316452"/>
                </a:cubicBezTo>
                <a:close/>
                <a:moveTo>
                  <a:pt x="3672691" y="316452"/>
                </a:moveTo>
                <a:cubicBezTo>
                  <a:pt x="3685396" y="316452"/>
                  <a:pt x="3695791" y="326847"/>
                  <a:pt x="3695791" y="339551"/>
                </a:cubicBezTo>
                <a:cubicBezTo>
                  <a:pt x="3695791" y="352256"/>
                  <a:pt x="3685396" y="362649"/>
                  <a:pt x="3672691" y="362649"/>
                </a:cubicBezTo>
                <a:cubicBezTo>
                  <a:pt x="3659987" y="362649"/>
                  <a:pt x="3649592" y="352256"/>
                  <a:pt x="3649592" y="339551"/>
                </a:cubicBezTo>
                <a:cubicBezTo>
                  <a:pt x="3649592" y="326847"/>
                  <a:pt x="3659987" y="316452"/>
                  <a:pt x="3672691" y="316452"/>
                </a:cubicBezTo>
                <a:close/>
                <a:moveTo>
                  <a:pt x="2440377" y="316452"/>
                </a:moveTo>
                <a:cubicBezTo>
                  <a:pt x="2453080" y="316452"/>
                  <a:pt x="2463475" y="326847"/>
                  <a:pt x="2463475" y="339551"/>
                </a:cubicBezTo>
                <a:cubicBezTo>
                  <a:pt x="2463475" y="352256"/>
                  <a:pt x="2453080" y="362649"/>
                  <a:pt x="2440377" y="362649"/>
                </a:cubicBezTo>
                <a:cubicBezTo>
                  <a:pt x="2427672" y="362649"/>
                  <a:pt x="2417278" y="352256"/>
                  <a:pt x="2417278" y="339551"/>
                </a:cubicBezTo>
                <a:cubicBezTo>
                  <a:pt x="2417278" y="326847"/>
                  <a:pt x="2427672" y="316452"/>
                  <a:pt x="2440377" y="316452"/>
                </a:cubicBezTo>
                <a:close/>
                <a:moveTo>
                  <a:pt x="1290062" y="316452"/>
                </a:moveTo>
                <a:cubicBezTo>
                  <a:pt x="1302766" y="316452"/>
                  <a:pt x="1313161" y="326847"/>
                  <a:pt x="1313161" y="339551"/>
                </a:cubicBezTo>
                <a:cubicBezTo>
                  <a:pt x="1313161" y="352256"/>
                  <a:pt x="1302766" y="362649"/>
                  <a:pt x="1290062" y="362649"/>
                </a:cubicBezTo>
                <a:cubicBezTo>
                  <a:pt x="1277357" y="362649"/>
                  <a:pt x="1266964" y="352256"/>
                  <a:pt x="1266964" y="339551"/>
                </a:cubicBezTo>
                <a:cubicBezTo>
                  <a:pt x="1266964" y="326847"/>
                  <a:pt x="1277357" y="316452"/>
                  <a:pt x="1290062" y="316452"/>
                </a:cubicBezTo>
                <a:close/>
                <a:moveTo>
                  <a:pt x="187100" y="316452"/>
                </a:moveTo>
                <a:cubicBezTo>
                  <a:pt x="199805" y="316452"/>
                  <a:pt x="210198" y="326847"/>
                  <a:pt x="210198" y="339551"/>
                </a:cubicBezTo>
                <a:cubicBezTo>
                  <a:pt x="210198" y="352256"/>
                  <a:pt x="199805" y="362649"/>
                  <a:pt x="187100" y="362649"/>
                </a:cubicBezTo>
                <a:cubicBezTo>
                  <a:pt x="174396" y="362649"/>
                  <a:pt x="164001" y="352256"/>
                  <a:pt x="164001" y="339551"/>
                </a:cubicBezTo>
                <a:cubicBezTo>
                  <a:pt x="164001" y="326847"/>
                  <a:pt x="174396" y="316452"/>
                  <a:pt x="187100" y="316452"/>
                </a:cubicBezTo>
                <a:close/>
                <a:moveTo>
                  <a:pt x="11521073" y="310678"/>
                </a:moveTo>
                <a:cubicBezTo>
                  <a:pt x="11537242" y="310678"/>
                  <a:pt x="11549947" y="323382"/>
                  <a:pt x="11549947" y="339551"/>
                </a:cubicBezTo>
                <a:cubicBezTo>
                  <a:pt x="11549947" y="355720"/>
                  <a:pt x="11537242" y="368425"/>
                  <a:pt x="11521073" y="368425"/>
                </a:cubicBezTo>
                <a:cubicBezTo>
                  <a:pt x="11504904" y="368425"/>
                  <a:pt x="11492200" y="355720"/>
                  <a:pt x="11492200" y="339551"/>
                </a:cubicBezTo>
                <a:cubicBezTo>
                  <a:pt x="11492200" y="323382"/>
                  <a:pt x="11504904" y="310678"/>
                  <a:pt x="11521073" y="310678"/>
                </a:cubicBezTo>
                <a:close/>
                <a:moveTo>
                  <a:pt x="10369604" y="310678"/>
                </a:moveTo>
                <a:cubicBezTo>
                  <a:pt x="10385773" y="310678"/>
                  <a:pt x="10398477" y="323382"/>
                  <a:pt x="10398477" y="339551"/>
                </a:cubicBezTo>
                <a:cubicBezTo>
                  <a:pt x="10398477" y="355720"/>
                  <a:pt x="10385773" y="368425"/>
                  <a:pt x="10369604" y="368425"/>
                </a:cubicBezTo>
                <a:cubicBezTo>
                  <a:pt x="10353435" y="368425"/>
                  <a:pt x="10340730" y="355720"/>
                  <a:pt x="10340730" y="339551"/>
                </a:cubicBezTo>
                <a:cubicBezTo>
                  <a:pt x="10340730" y="323382"/>
                  <a:pt x="10353435" y="310678"/>
                  <a:pt x="10369604" y="310678"/>
                </a:cubicBezTo>
                <a:close/>
                <a:moveTo>
                  <a:pt x="9543825" y="310678"/>
                </a:moveTo>
                <a:cubicBezTo>
                  <a:pt x="9558840" y="310678"/>
                  <a:pt x="9572699" y="323382"/>
                  <a:pt x="9572699" y="339551"/>
                </a:cubicBezTo>
                <a:cubicBezTo>
                  <a:pt x="9572699" y="355720"/>
                  <a:pt x="9559995" y="368425"/>
                  <a:pt x="9543825" y="368425"/>
                </a:cubicBezTo>
                <a:cubicBezTo>
                  <a:pt x="9527656" y="368425"/>
                  <a:pt x="9514953" y="355720"/>
                  <a:pt x="9514953" y="339551"/>
                </a:cubicBezTo>
                <a:cubicBezTo>
                  <a:pt x="9514953" y="323382"/>
                  <a:pt x="9527656" y="310678"/>
                  <a:pt x="9543825" y="310678"/>
                </a:cubicBezTo>
                <a:close/>
                <a:moveTo>
                  <a:pt x="8422936" y="310678"/>
                </a:moveTo>
                <a:cubicBezTo>
                  <a:pt x="8439105" y="310678"/>
                  <a:pt x="8451809" y="323382"/>
                  <a:pt x="8451809" y="339551"/>
                </a:cubicBezTo>
                <a:cubicBezTo>
                  <a:pt x="8451809" y="355720"/>
                  <a:pt x="8439105" y="368425"/>
                  <a:pt x="8422936" y="368425"/>
                </a:cubicBezTo>
                <a:cubicBezTo>
                  <a:pt x="8406767" y="368425"/>
                  <a:pt x="8394062" y="355720"/>
                  <a:pt x="8394062" y="339551"/>
                </a:cubicBezTo>
                <a:cubicBezTo>
                  <a:pt x="8394062" y="323382"/>
                  <a:pt x="8406767" y="310678"/>
                  <a:pt x="8422936" y="310678"/>
                </a:cubicBezTo>
                <a:close/>
                <a:moveTo>
                  <a:pt x="6915746" y="310678"/>
                </a:moveTo>
                <a:cubicBezTo>
                  <a:pt x="6931915" y="310678"/>
                  <a:pt x="6944621" y="323382"/>
                  <a:pt x="6944621" y="339551"/>
                </a:cubicBezTo>
                <a:cubicBezTo>
                  <a:pt x="6944621" y="355720"/>
                  <a:pt x="6931915" y="368425"/>
                  <a:pt x="6915746" y="368425"/>
                </a:cubicBezTo>
                <a:cubicBezTo>
                  <a:pt x="6899578" y="368425"/>
                  <a:pt x="6886873" y="355720"/>
                  <a:pt x="6886873" y="339551"/>
                </a:cubicBezTo>
                <a:cubicBezTo>
                  <a:pt x="6886873" y="323382"/>
                  <a:pt x="6899578" y="310678"/>
                  <a:pt x="6915746" y="310678"/>
                </a:cubicBezTo>
                <a:close/>
                <a:moveTo>
                  <a:pt x="5764278" y="310678"/>
                </a:moveTo>
                <a:cubicBezTo>
                  <a:pt x="5780448" y="310678"/>
                  <a:pt x="5793151" y="323382"/>
                  <a:pt x="5793151" y="339551"/>
                </a:cubicBezTo>
                <a:cubicBezTo>
                  <a:pt x="5793151" y="355720"/>
                  <a:pt x="5780448" y="368425"/>
                  <a:pt x="5764278" y="368425"/>
                </a:cubicBezTo>
                <a:cubicBezTo>
                  <a:pt x="5748109" y="368425"/>
                  <a:pt x="5735405" y="355720"/>
                  <a:pt x="5735405" y="339551"/>
                </a:cubicBezTo>
                <a:cubicBezTo>
                  <a:pt x="5735405" y="323382"/>
                  <a:pt x="5748109" y="310678"/>
                  <a:pt x="5764278" y="310678"/>
                </a:cubicBezTo>
                <a:close/>
                <a:moveTo>
                  <a:pt x="4938500" y="310678"/>
                </a:moveTo>
                <a:cubicBezTo>
                  <a:pt x="4953513" y="310678"/>
                  <a:pt x="4967373" y="323382"/>
                  <a:pt x="4967373" y="339551"/>
                </a:cubicBezTo>
                <a:cubicBezTo>
                  <a:pt x="4967373" y="355720"/>
                  <a:pt x="4954668" y="368425"/>
                  <a:pt x="4938500" y="368425"/>
                </a:cubicBezTo>
                <a:cubicBezTo>
                  <a:pt x="4922331" y="368425"/>
                  <a:pt x="4909627" y="355720"/>
                  <a:pt x="4909627" y="339551"/>
                </a:cubicBezTo>
                <a:cubicBezTo>
                  <a:pt x="4909627" y="323382"/>
                  <a:pt x="4922331" y="310678"/>
                  <a:pt x="4938500" y="310678"/>
                </a:cubicBezTo>
                <a:close/>
                <a:moveTo>
                  <a:pt x="3810129" y="310678"/>
                </a:moveTo>
                <a:cubicBezTo>
                  <a:pt x="3826298" y="310678"/>
                  <a:pt x="3839002" y="323382"/>
                  <a:pt x="3839002" y="339551"/>
                </a:cubicBezTo>
                <a:cubicBezTo>
                  <a:pt x="3839002" y="355720"/>
                  <a:pt x="3826298" y="368425"/>
                  <a:pt x="3810129" y="368425"/>
                </a:cubicBezTo>
                <a:cubicBezTo>
                  <a:pt x="3793960" y="368425"/>
                  <a:pt x="3781255" y="355720"/>
                  <a:pt x="3781255" y="339551"/>
                </a:cubicBezTo>
                <a:cubicBezTo>
                  <a:pt x="3781255" y="323382"/>
                  <a:pt x="3793960" y="310678"/>
                  <a:pt x="3810129" y="310678"/>
                </a:cubicBezTo>
                <a:close/>
                <a:moveTo>
                  <a:pt x="2302939" y="310678"/>
                </a:moveTo>
                <a:cubicBezTo>
                  <a:pt x="2319108" y="310678"/>
                  <a:pt x="2331813" y="323382"/>
                  <a:pt x="2331813" y="339551"/>
                </a:cubicBezTo>
                <a:cubicBezTo>
                  <a:pt x="2331813" y="355720"/>
                  <a:pt x="2319108" y="368425"/>
                  <a:pt x="2302939" y="368425"/>
                </a:cubicBezTo>
                <a:cubicBezTo>
                  <a:pt x="2286771" y="368425"/>
                  <a:pt x="2274067" y="355720"/>
                  <a:pt x="2274067" y="339551"/>
                </a:cubicBezTo>
                <a:cubicBezTo>
                  <a:pt x="2274067" y="323382"/>
                  <a:pt x="2286771" y="310678"/>
                  <a:pt x="2302939" y="310678"/>
                </a:cubicBezTo>
                <a:close/>
                <a:moveTo>
                  <a:pt x="1151470" y="310678"/>
                </a:moveTo>
                <a:cubicBezTo>
                  <a:pt x="1167639" y="310678"/>
                  <a:pt x="1180343" y="323382"/>
                  <a:pt x="1180343" y="339551"/>
                </a:cubicBezTo>
                <a:cubicBezTo>
                  <a:pt x="1180343" y="355720"/>
                  <a:pt x="1167639" y="368425"/>
                  <a:pt x="1151470" y="368425"/>
                </a:cubicBezTo>
                <a:cubicBezTo>
                  <a:pt x="1135301" y="368425"/>
                  <a:pt x="1122596" y="355720"/>
                  <a:pt x="1122596" y="339551"/>
                </a:cubicBezTo>
                <a:cubicBezTo>
                  <a:pt x="1122596" y="323382"/>
                  <a:pt x="1135301" y="310678"/>
                  <a:pt x="1151470" y="310678"/>
                </a:cubicBezTo>
                <a:close/>
                <a:moveTo>
                  <a:pt x="325692" y="310678"/>
                </a:moveTo>
                <a:cubicBezTo>
                  <a:pt x="340706" y="310678"/>
                  <a:pt x="354566" y="323382"/>
                  <a:pt x="354566" y="339551"/>
                </a:cubicBezTo>
                <a:cubicBezTo>
                  <a:pt x="354566" y="355720"/>
                  <a:pt x="341861" y="368425"/>
                  <a:pt x="325692" y="368425"/>
                </a:cubicBezTo>
                <a:cubicBezTo>
                  <a:pt x="309523" y="368425"/>
                  <a:pt x="296819" y="355720"/>
                  <a:pt x="296819" y="339551"/>
                </a:cubicBezTo>
                <a:cubicBezTo>
                  <a:pt x="296819" y="323382"/>
                  <a:pt x="309523" y="310678"/>
                  <a:pt x="325692" y="310678"/>
                </a:cubicBezTo>
                <a:close/>
                <a:moveTo>
                  <a:pt x="11383636" y="304903"/>
                </a:moveTo>
                <a:cubicBezTo>
                  <a:pt x="11402115" y="304903"/>
                  <a:pt x="11418284" y="321072"/>
                  <a:pt x="11418284" y="339551"/>
                </a:cubicBezTo>
                <a:cubicBezTo>
                  <a:pt x="11418284" y="358030"/>
                  <a:pt x="11403270" y="374199"/>
                  <a:pt x="11383636" y="374199"/>
                </a:cubicBezTo>
                <a:cubicBezTo>
                  <a:pt x="11365157" y="374199"/>
                  <a:pt x="11348988" y="358030"/>
                  <a:pt x="11348988" y="339551"/>
                </a:cubicBezTo>
                <a:cubicBezTo>
                  <a:pt x="11348988" y="321072"/>
                  <a:pt x="11364002" y="304903"/>
                  <a:pt x="11383636" y="304903"/>
                </a:cubicBezTo>
                <a:close/>
                <a:moveTo>
                  <a:pt x="10811943" y="304903"/>
                </a:moveTo>
                <a:cubicBezTo>
                  <a:pt x="10830422" y="304903"/>
                  <a:pt x="10846591" y="321072"/>
                  <a:pt x="10846591" y="339551"/>
                </a:cubicBezTo>
                <a:cubicBezTo>
                  <a:pt x="10846591" y="358030"/>
                  <a:pt x="10831578" y="374199"/>
                  <a:pt x="10811943" y="374199"/>
                </a:cubicBezTo>
                <a:cubicBezTo>
                  <a:pt x="10793464" y="374199"/>
                  <a:pt x="10777295" y="358030"/>
                  <a:pt x="10777295" y="339551"/>
                </a:cubicBezTo>
                <a:cubicBezTo>
                  <a:pt x="10777295" y="321072"/>
                  <a:pt x="10792310" y="304903"/>
                  <a:pt x="10811943" y="304903"/>
                </a:cubicBezTo>
                <a:close/>
                <a:moveTo>
                  <a:pt x="10232166" y="304903"/>
                </a:moveTo>
                <a:cubicBezTo>
                  <a:pt x="10251801" y="304903"/>
                  <a:pt x="10266814" y="321072"/>
                  <a:pt x="10266814" y="339551"/>
                </a:cubicBezTo>
                <a:cubicBezTo>
                  <a:pt x="10266814" y="358030"/>
                  <a:pt x="10250645" y="374199"/>
                  <a:pt x="10232166" y="374199"/>
                </a:cubicBezTo>
                <a:cubicBezTo>
                  <a:pt x="10213687" y="374199"/>
                  <a:pt x="10197518" y="358030"/>
                  <a:pt x="10197518" y="339551"/>
                </a:cubicBezTo>
                <a:cubicBezTo>
                  <a:pt x="10197518" y="321072"/>
                  <a:pt x="10212533" y="304903"/>
                  <a:pt x="10232166" y="304903"/>
                </a:cubicBezTo>
                <a:close/>
                <a:moveTo>
                  <a:pt x="9681263" y="304903"/>
                </a:moveTo>
                <a:cubicBezTo>
                  <a:pt x="9700896" y="304903"/>
                  <a:pt x="9715911" y="321072"/>
                  <a:pt x="9715911" y="339551"/>
                </a:cubicBezTo>
                <a:cubicBezTo>
                  <a:pt x="9715911" y="358030"/>
                  <a:pt x="9699742" y="374199"/>
                  <a:pt x="9681263" y="374199"/>
                </a:cubicBezTo>
                <a:cubicBezTo>
                  <a:pt x="9662784" y="374199"/>
                  <a:pt x="9646615" y="358030"/>
                  <a:pt x="9646615" y="339551"/>
                </a:cubicBezTo>
                <a:cubicBezTo>
                  <a:pt x="9646615" y="321072"/>
                  <a:pt x="9661629" y="304903"/>
                  <a:pt x="9681263" y="304903"/>
                </a:cubicBezTo>
                <a:close/>
                <a:moveTo>
                  <a:pt x="9112431" y="304903"/>
                </a:moveTo>
                <a:cubicBezTo>
                  <a:pt x="9130910" y="304903"/>
                  <a:pt x="9147079" y="321072"/>
                  <a:pt x="9147079" y="339551"/>
                </a:cubicBezTo>
                <a:cubicBezTo>
                  <a:pt x="9147079" y="358030"/>
                  <a:pt x="9132065" y="374199"/>
                  <a:pt x="9112431" y="374199"/>
                </a:cubicBezTo>
                <a:cubicBezTo>
                  <a:pt x="9093952" y="374199"/>
                  <a:pt x="9077783" y="358030"/>
                  <a:pt x="9077783" y="339551"/>
                </a:cubicBezTo>
                <a:cubicBezTo>
                  <a:pt x="9077783" y="321072"/>
                  <a:pt x="9092798" y="304903"/>
                  <a:pt x="9112431" y="304903"/>
                </a:cubicBezTo>
                <a:close/>
                <a:moveTo>
                  <a:pt x="8561528" y="304903"/>
                </a:moveTo>
                <a:cubicBezTo>
                  <a:pt x="8580007" y="304903"/>
                  <a:pt x="8596176" y="321072"/>
                  <a:pt x="8596176" y="339551"/>
                </a:cubicBezTo>
                <a:cubicBezTo>
                  <a:pt x="8596176" y="358030"/>
                  <a:pt x="8581161" y="374199"/>
                  <a:pt x="8561528" y="374199"/>
                </a:cubicBezTo>
                <a:cubicBezTo>
                  <a:pt x="8543049" y="374199"/>
                  <a:pt x="8526880" y="358030"/>
                  <a:pt x="8526880" y="339551"/>
                </a:cubicBezTo>
                <a:cubicBezTo>
                  <a:pt x="8526880" y="321072"/>
                  <a:pt x="8541893" y="304903"/>
                  <a:pt x="8561528" y="304903"/>
                </a:cubicBezTo>
                <a:close/>
                <a:moveTo>
                  <a:pt x="6778310" y="304903"/>
                </a:moveTo>
                <a:cubicBezTo>
                  <a:pt x="6796790" y="304903"/>
                  <a:pt x="6812959" y="321072"/>
                  <a:pt x="6812959" y="339551"/>
                </a:cubicBezTo>
                <a:cubicBezTo>
                  <a:pt x="6812959" y="358030"/>
                  <a:pt x="6796790" y="374199"/>
                  <a:pt x="6778310" y="374199"/>
                </a:cubicBezTo>
                <a:cubicBezTo>
                  <a:pt x="6759831" y="374199"/>
                  <a:pt x="6743662" y="358030"/>
                  <a:pt x="6743662" y="339551"/>
                </a:cubicBezTo>
                <a:cubicBezTo>
                  <a:pt x="6743662" y="321072"/>
                  <a:pt x="6758675" y="304903"/>
                  <a:pt x="6778310" y="304903"/>
                </a:cubicBezTo>
                <a:close/>
                <a:moveTo>
                  <a:pt x="6206618" y="304903"/>
                </a:moveTo>
                <a:cubicBezTo>
                  <a:pt x="6225097" y="304903"/>
                  <a:pt x="6241265" y="321072"/>
                  <a:pt x="6241265" y="339551"/>
                </a:cubicBezTo>
                <a:cubicBezTo>
                  <a:pt x="6241265" y="358030"/>
                  <a:pt x="6226251" y="374199"/>
                  <a:pt x="6206618" y="374199"/>
                </a:cubicBezTo>
                <a:cubicBezTo>
                  <a:pt x="6188138" y="374199"/>
                  <a:pt x="6171969" y="358030"/>
                  <a:pt x="6171969" y="339551"/>
                </a:cubicBezTo>
                <a:cubicBezTo>
                  <a:pt x="6171969" y="321072"/>
                  <a:pt x="6186984" y="304903"/>
                  <a:pt x="6206618" y="304903"/>
                </a:cubicBezTo>
                <a:close/>
                <a:moveTo>
                  <a:pt x="5626840" y="304903"/>
                </a:moveTo>
                <a:cubicBezTo>
                  <a:pt x="5646475" y="304903"/>
                  <a:pt x="5661488" y="321072"/>
                  <a:pt x="5661488" y="339551"/>
                </a:cubicBezTo>
                <a:cubicBezTo>
                  <a:pt x="5661488" y="358030"/>
                  <a:pt x="5646475" y="374199"/>
                  <a:pt x="5626840" y="374199"/>
                </a:cubicBezTo>
                <a:cubicBezTo>
                  <a:pt x="5608360" y="374199"/>
                  <a:pt x="5592192" y="358030"/>
                  <a:pt x="5592192" y="339551"/>
                </a:cubicBezTo>
                <a:cubicBezTo>
                  <a:pt x="5592192" y="321072"/>
                  <a:pt x="5607207" y="304903"/>
                  <a:pt x="5626840" y="304903"/>
                </a:cubicBezTo>
                <a:close/>
                <a:moveTo>
                  <a:pt x="5075938" y="304903"/>
                </a:moveTo>
                <a:cubicBezTo>
                  <a:pt x="5095572" y="304903"/>
                  <a:pt x="5110584" y="321072"/>
                  <a:pt x="5110584" y="339551"/>
                </a:cubicBezTo>
                <a:cubicBezTo>
                  <a:pt x="5110584" y="358030"/>
                  <a:pt x="5095572" y="374199"/>
                  <a:pt x="5075938" y="374199"/>
                </a:cubicBezTo>
                <a:cubicBezTo>
                  <a:pt x="5057458" y="374199"/>
                  <a:pt x="5041289" y="358030"/>
                  <a:pt x="5041289" y="339551"/>
                </a:cubicBezTo>
                <a:cubicBezTo>
                  <a:pt x="5041289" y="321072"/>
                  <a:pt x="5056302" y="304903"/>
                  <a:pt x="5075938" y="304903"/>
                </a:cubicBezTo>
                <a:close/>
                <a:moveTo>
                  <a:pt x="4499625" y="304903"/>
                </a:moveTo>
                <a:cubicBezTo>
                  <a:pt x="4518102" y="304903"/>
                  <a:pt x="4534273" y="321072"/>
                  <a:pt x="4534273" y="339551"/>
                </a:cubicBezTo>
                <a:cubicBezTo>
                  <a:pt x="4534273" y="358030"/>
                  <a:pt x="4519258" y="374199"/>
                  <a:pt x="4499625" y="374199"/>
                </a:cubicBezTo>
                <a:cubicBezTo>
                  <a:pt x="4481146" y="374199"/>
                  <a:pt x="4464976" y="358030"/>
                  <a:pt x="4464976" y="339551"/>
                </a:cubicBezTo>
                <a:cubicBezTo>
                  <a:pt x="4464976" y="321072"/>
                  <a:pt x="4479992" y="304903"/>
                  <a:pt x="4499625" y="304903"/>
                </a:cubicBezTo>
                <a:close/>
                <a:moveTo>
                  <a:pt x="3948721" y="304903"/>
                </a:moveTo>
                <a:cubicBezTo>
                  <a:pt x="3967200" y="304903"/>
                  <a:pt x="3983369" y="321072"/>
                  <a:pt x="3983369" y="339551"/>
                </a:cubicBezTo>
                <a:cubicBezTo>
                  <a:pt x="3983369" y="358030"/>
                  <a:pt x="3968354" y="374199"/>
                  <a:pt x="3948721" y="374199"/>
                </a:cubicBezTo>
                <a:cubicBezTo>
                  <a:pt x="3930243" y="374199"/>
                  <a:pt x="3914073" y="358030"/>
                  <a:pt x="3914073" y="339551"/>
                </a:cubicBezTo>
                <a:cubicBezTo>
                  <a:pt x="3914073" y="321072"/>
                  <a:pt x="3929086" y="304903"/>
                  <a:pt x="3948721" y="304903"/>
                </a:cubicBezTo>
                <a:close/>
                <a:moveTo>
                  <a:pt x="2165502" y="304903"/>
                </a:moveTo>
                <a:cubicBezTo>
                  <a:pt x="2183981" y="304903"/>
                  <a:pt x="2200150" y="321072"/>
                  <a:pt x="2200150" y="339551"/>
                </a:cubicBezTo>
                <a:cubicBezTo>
                  <a:pt x="2200150" y="358030"/>
                  <a:pt x="2185137" y="374199"/>
                  <a:pt x="2165502" y="374199"/>
                </a:cubicBezTo>
                <a:cubicBezTo>
                  <a:pt x="2147023" y="374199"/>
                  <a:pt x="2130854" y="358030"/>
                  <a:pt x="2130854" y="339551"/>
                </a:cubicBezTo>
                <a:cubicBezTo>
                  <a:pt x="2130854" y="321072"/>
                  <a:pt x="2145868" y="304903"/>
                  <a:pt x="2165502" y="304903"/>
                </a:cubicBezTo>
                <a:close/>
                <a:moveTo>
                  <a:pt x="1593810" y="304903"/>
                </a:moveTo>
                <a:cubicBezTo>
                  <a:pt x="1612288" y="304903"/>
                  <a:pt x="1628457" y="321072"/>
                  <a:pt x="1628457" y="339551"/>
                </a:cubicBezTo>
                <a:cubicBezTo>
                  <a:pt x="1628457" y="358030"/>
                  <a:pt x="1613444" y="374199"/>
                  <a:pt x="1593810" y="374199"/>
                </a:cubicBezTo>
                <a:cubicBezTo>
                  <a:pt x="1575330" y="374199"/>
                  <a:pt x="1559161" y="358030"/>
                  <a:pt x="1559161" y="339551"/>
                </a:cubicBezTo>
                <a:cubicBezTo>
                  <a:pt x="1559161" y="321072"/>
                  <a:pt x="1574176" y="304903"/>
                  <a:pt x="1593810" y="304903"/>
                </a:cubicBezTo>
                <a:close/>
                <a:moveTo>
                  <a:pt x="1014032" y="304903"/>
                </a:moveTo>
                <a:cubicBezTo>
                  <a:pt x="1033667" y="304903"/>
                  <a:pt x="1048681" y="321072"/>
                  <a:pt x="1048681" y="339551"/>
                </a:cubicBezTo>
                <a:cubicBezTo>
                  <a:pt x="1048681" y="358030"/>
                  <a:pt x="1032511" y="374199"/>
                  <a:pt x="1014032" y="374199"/>
                </a:cubicBezTo>
                <a:cubicBezTo>
                  <a:pt x="995554" y="374199"/>
                  <a:pt x="979384" y="358030"/>
                  <a:pt x="979384" y="339551"/>
                </a:cubicBezTo>
                <a:cubicBezTo>
                  <a:pt x="979384" y="321072"/>
                  <a:pt x="994399" y="304903"/>
                  <a:pt x="1014032" y="304903"/>
                </a:cubicBezTo>
                <a:close/>
                <a:moveTo>
                  <a:pt x="463129" y="304903"/>
                </a:moveTo>
                <a:cubicBezTo>
                  <a:pt x="482763" y="304903"/>
                  <a:pt x="497778" y="321072"/>
                  <a:pt x="497778" y="339551"/>
                </a:cubicBezTo>
                <a:cubicBezTo>
                  <a:pt x="497778" y="358030"/>
                  <a:pt x="481608" y="374199"/>
                  <a:pt x="463129" y="374199"/>
                </a:cubicBezTo>
                <a:cubicBezTo>
                  <a:pt x="444651" y="374199"/>
                  <a:pt x="428481" y="358030"/>
                  <a:pt x="428481" y="339551"/>
                </a:cubicBezTo>
                <a:cubicBezTo>
                  <a:pt x="428481" y="321072"/>
                  <a:pt x="443495" y="304903"/>
                  <a:pt x="463129" y="304903"/>
                </a:cubicBezTo>
                <a:close/>
                <a:moveTo>
                  <a:pt x="11245044" y="299129"/>
                </a:moveTo>
                <a:cubicBezTo>
                  <a:pt x="11268143" y="299129"/>
                  <a:pt x="11285466" y="317608"/>
                  <a:pt x="11285466" y="339551"/>
                </a:cubicBezTo>
                <a:cubicBezTo>
                  <a:pt x="11285466" y="361495"/>
                  <a:pt x="11266987" y="379974"/>
                  <a:pt x="11245044" y="379974"/>
                </a:cubicBezTo>
                <a:cubicBezTo>
                  <a:pt x="11223100" y="379974"/>
                  <a:pt x="11204621" y="361495"/>
                  <a:pt x="11204621" y="339551"/>
                </a:cubicBezTo>
                <a:cubicBezTo>
                  <a:pt x="11204621" y="317608"/>
                  <a:pt x="11223100" y="299129"/>
                  <a:pt x="11245044" y="299129"/>
                </a:cubicBezTo>
                <a:close/>
                <a:moveTo>
                  <a:pt x="10970170" y="299129"/>
                </a:moveTo>
                <a:cubicBezTo>
                  <a:pt x="10992113" y="299129"/>
                  <a:pt x="11010592" y="317608"/>
                  <a:pt x="11010592" y="339551"/>
                </a:cubicBezTo>
                <a:cubicBezTo>
                  <a:pt x="11010592" y="361495"/>
                  <a:pt x="10992113" y="379974"/>
                  <a:pt x="10970170" y="379974"/>
                </a:cubicBezTo>
                <a:cubicBezTo>
                  <a:pt x="10948226" y="379974"/>
                  <a:pt x="10929746" y="361495"/>
                  <a:pt x="10929746" y="339551"/>
                </a:cubicBezTo>
                <a:cubicBezTo>
                  <a:pt x="10929746" y="317608"/>
                  <a:pt x="10948226" y="299129"/>
                  <a:pt x="10970170" y="299129"/>
                </a:cubicBezTo>
                <a:close/>
                <a:moveTo>
                  <a:pt x="10094730" y="299129"/>
                </a:moveTo>
                <a:cubicBezTo>
                  <a:pt x="10116673" y="299129"/>
                  <a:pt x="10135152" y="317608"/>
                  <a:pt x="10135152" y="339551"/>
                </a:cubicBezTo>
                <a:cubicBezTo>
                  <a:pt x="10135152" y="361495"/>
                  <a:pt x="10116673" y="379974"/>
                  <a:pt x="10094730" y="379974"/>
                </a:cubicBezTo>
                <a:cubicBezTo>
                  <a:pt x="10072785" y="379974"/>
                  <a:pt x="10054306" y="361495"/>
                  <a:pt x="10054306" y="339551"/>
                </a:cubicBezTo>
                <a:cubicBezTo>
                  <a:pt x="10054306" y="317608"/>
                  <a:pt x="10072785" y="299129"/>
                  <a:pt x="10094730" y="299129"/>
                </a:cubicBezTo>
                <a:close/>
                <a:moveTo>
                  <a:pt x="9818700" y="299129"/>
                </a:moveTo>
                <a:cubicBezTo>
                  <a:pt x="9841798" y="299129"/>
                  <a:pt x="9859123" y="318762"/>
                  <a:pt x="9859123" y="340706"/>
                </a:cubicBezTo>
                <a:cubicBezTo>
                  <a:pt x="9859123" y="362649"/>
                  <a:pt x="9840644" y="381128"/>
                  <a:pt x="9818700" y="381128"/>
                </a:cubicBezTo>
                <a:cubicBezTo>
                  <a:pt x="9796757" y="381128"/>
                  <a:pt x="9778278" y="361495"/>
                  <a:pt x="9778278" y="339551"/>
                </a:cubicBezTo>
                <a:cubicBezTo>
                  <a:pt x="9778278" y="317608"/>
                  <a:pt x="9796757" y="299129"/>
                  <a:pt x="9818700" y="299129"/>
                </a:cubicBezTo>
                <a:close/>
                <a:moveTo>
                  <a:pt x="8974994" y="299129"/>
                </a:moveTo>
                <a:cubicBezTo>
                  <a:pt x="8996938" y="299129"/>
                  <a:pt x="9015416" y="317608"/>
                  <a:pt x="9015416" y="339551"/>
                </a:cubicBezTo>
                <a:cubicBezTo>
                  <a:pt x="9015416" y="361495"/>
                  <a:pt x="8996938" y="379974"/>
                  <a:pt x="8974994" y="379974"/>
                </a:cubicBezTo>
                <a:cubicBezTo>
                  <a:pt x="8953050" y="379974"/>
                  <a:pt x="8934571" y="361495"/>
                  <a:pt x="8934571" y="339551"/>
                </a:cubicBezTo>
                <a:cubicBezTo>
                  <a:pt x="8934571" y="317608"/>
                  <a:pt x="8953050" y="299129"/>
                  <a:pt x="8974994" y="299129"/>
                </a:cubicBezTo>
                <a:close/>
                <a:moveTo>
                  <a:pt x="8698965" y="299129"/>
                </a:moveTo>
                <a:cubicBezTo>
                  <a:pt x="8720909" y="299129"/>
                  <a:pt x="8739388" y="317608"/>
                  <a:pt x="8739388" y="339551"/>
                </a:cubicBezTo>
                <a:cubicBezTo>
                  <a:pt x="8739388" y="361495"/>
                  <a:pt x="8720909" y="379974"/>
                  <a:pt x="8698965" y="379974"/>
                </a:cubicBezTo>
                <a:cubicBezTo>
                  <a:pt x="8677021" y="379974"/>
                  <a:pt x="8658542" y="361495"/>
                  <a:pt x="8658542" y="339551"/>
                </a:cubicBezTo>
                <a:cubicBezTo>
                  <a:pt x="8658542" y="317608"/>
                  <a:pt x="8677021" y="299129"/>
                  <a:pt x="8698965" y="299129"/>
                </a:cubicBezTo>
                <a:close/>
                <a:moveTo>
                  <a:pt x="6639717" y="299129"/>
                </a:moveTo>
                <a:cubicBezTo>
                  <a:pt x="6662817" y="299129"/>
                  <a:pt x="6680139" y="317608"/>
                  <a:pt x="6680139" y="339551"/>
                </a:cubicBezTo>
                <a:cubicBezTo>
                  <a:pt x="6680139" y="361495"/>
                  <a:pt x="6661661" y="379974"/>
                  <a:pt x="6639717" y="379974"/>
                </a:cubicBezTo>
                <a:cubicBezTo>
                  <a:pt x="6617773" y="379974"/>
                  <a:pt x="6599295" y="361495"/>
                  <a:pt x="6599295" y="339551"/>
                </a:cubicBezTo>
                <a:cubicBezTo>
                  <a:pt x="6599295" y="317608"/>
                  <a:pt x="6617773" y="299129"/>
                  <a:pt x="6639717" y="299129"/>
                </a:cubicBezTo>
                <a:close/>
                <a:moveTo>
                  <a:pt x="6364844" y="299129"/>
                </a:moveTo>
                <a:cubicBezTo>
                  <a:pt x="6386786" y="299129"/>
                  <a:pt x="6405265" y="317608"/>
                  <a:pt x="6405265" y="339551"/>
                </a:cubicBezTo>
                <a:cubicBezTo>
                  <a:pt x="6405265" y="361495"/>
                  <a:pt x="6386786" y="379974"/>
                  <a:pt x="6364844" y="379974"/>
                </a:cubicBezTo>
                <a:cubicBezTo>
                  <a:pt x="6342899" y="379974"/>
                  <a:pt x="6324420" y="361495"/>
                  <a:pt x="6324420" y="339551"/>
                </a:cubicBezTo>
                <a:cubicBezTo>
                  <a:pt x="6324420" y="317608"/>
                  <a:pt x="6342899" y="299129"/>
                  <a:pt x="6364844" y="299129"/>
                </a:cubicBezTo>
                <a:close/>
                <a:moveTo>
                  <a:pt x="5489405" y="299129"/>
                </a:moveTo>
                <a:cubicBezTo>
                  <a:pt x="5511346" y="299129"/>
                  <a:pt x="5529827" y="317608"/>
                  <a:pt x="5529827" y="339551"/>
                </a:cubicBezTo>
                <a:cubicBezTo>
                  <a:pt x="5529827" y="361495"/>
                  <a:pt x="5511346" y="379974"/>
                  <a:pt x="5489405" y="379974"/>
                </a:cubicBezTo>
                <a:cubicBezTo>
                  <a:pt x="5467460" y="379974"/>
                  <a:pt x="5448980" y="361495"/>
                  <a:pt x="5448980" y="339551"/>
                </a:cubicBezTo>
                <a:cubicBezTo>
                  <a:pt x="5448980" y="317608"/>
                  <a:pt x="5467460" y="299129"/>
                  <a:pt x="5489405" y="299129"/>
                </a:cubicBezTo>
                <a:close/>
                <a:moveTo>
                  <a:pt x="5213373" y="299129"/>
                </a:moveTo>
                <a:cubicBezTo>
                  <a:pt x="5236473" y="299129"/>
                  <a:pt x="5253797" y="317608"/>
                  <a:pt x="5253797" y="339551"/>
                </a:cubicBezTo>
                <a:cubicBezTo>
                  <a:pt x="5253797" y="361495"/>
                  <a:pt x="5235320" y="379974"/>
                  <a:pt x="5213373" y="379974"/>
                </a:cubicBezTo>
                <a:cubicBezTo>
                  <a:pt x="5191431" y="379974"/>
                  <a:pt x="5172952" y="361495"/>
                  <a:pt x="5172952" y="339551"/>
                </a:cubicBezTo>
                <a:cubicBezTo>
                  <a:pt x="5172952" y="317608"/>
                  <a:pt x="5191431" y="299129"/>
                  <a:pt x="5213373" y="299129"/>
                </a:cubicBezTo>
                <a:close/>
                <a:moveTo>
                  <a:pt x="4361031" y="299129"/>
                </a:moveTo>
                <a:cubicBezTo>
                  <a:pt x="4384131" y="299129"/>
                  <a:pt x="4401455" y="317608"/>
                  <a:pt x="4401455" y="339551"/>
                </a:cubicBezTo>
                <a:cubicBezTo>
                  <a:pt x="4401455" y="361495"/>
                  <a:pt x="4382977" y="379974"/>
                  <a:pt x="4361031" y="379974"/>
                </a:cubicBezTo>
                <a:cubicBezTo>
                  <a:pt x="4339089" y="379974"/>
                  <a:pt x="4320610" y="361495"/>
                  <a:pt x="4320610" y="339551"/>
                </a:cubicBezTo>
                <a:cubicBezTo>
                  <a:pt x="4320610" y="317608"/>
                  <a:pt x="4339089" y="299129"/>
                  <a:pt x="4361031" y="299129"/>
                </a:cubicBezTo>
                <a:close/>
                <a:moveTo>
                  <a:pt x="4086158" y="299129"/>
                </a:moveTo>
                <a:cubicBezTo>
                  <a:pt x="4108102" y="299129"/>
                  <a:pt x="4126582" y="317608"/>
                  <a:pt x="4126582" y="339551"/>
                </a:cubicBezTo>
                <a:cubicBezTo>
                  <a:pt x="4126582" y="361495"/>
                  <a:pt x="4108102" y="379974"/>
                  <a:pt x="4086158" y="379974"/>
                </a:cubicBezTo>
                <a:cubicBezTo>
                  <a:pt x="4064214" y="379974"/>
                  <a:pt x="4045735" y="361495"/>
                  <a:pt x="4045735" y="339551"/>
                </a:cubicBezTo>
                <a:cubicBezTo>
                  <a:pt x="4045735" y="317608"/>
                  <a:pt x="4064214" y="299129"/>
                  <a:pt x="4086158" y="299129"/>
                </a:cubicBezTo>
                <a:close/>
                <a:moveTo>
                  <a:pt x="2026910" y="299129"/>
                </a:moveTo>
                <a:cubicBezTo>
                  <a:pt x="2050009" y="299129"/>
                  <a:pt x="2067332" y="317608"/>
                  <a:pt x="2067332" y="339551"/>
                </a:cubicBezTo>
                <a:cubicBezTo>
                  <a:pt x="2067332" y="361495"/>
                  <a:pt x="2048854" y="379974"/>
                  <a:pt x="2026910" y="379974"/>
                </a:cubicBezTo>
                <a:cubicBezTo>
                  <a:pt x="2004966" y="379974"/>
                  <a:pt x="1986487" y="361495"/>
                  <a:pt x="1986487" y="339551"/>
                </a:cubicBezTo>
                <a:cubicBezTo>
                  <a:pt x="1986487" y="317608"/>
                  <a:pt x="2004966" y="299129"/>
                  <a:pt x="2026910" y="299129"/>
                </a:cubicBezTo>
                <a:close/>
                <a:moveTo>
                  <a:pt x="1752036" y="299129"/>
                </a:moveTo>
                <a:cubicBezTo>
                  <a:pt x="1773979" y="299129"/>
                  <a:pt x="1792458" y="317608"/>
                  <a:pt x="1792458" y="339551"/>
                </a:cubicBezTo>
                <a:cubicBezTo>
                  <a:pt x="1792458" y="361495"/>
                  <a:pt x="1773979" y="379974"/>
                  <a:pt x="1752036" y="379974"/>
                </a:cubicBezTo>
                <a:cubicBezTo>
                  <a:pt x="1730092" y="379974"/>
                  <a:pt x="1711613" y="361495"/>
                  <a:pt x="1711613" y="339551"/>
                </a:cubicBezTo>
                <a:cubicBezTo>
                  <a:pt x="1711613" y="317608"/>
                  <a:pt x="1730092" y="299129"/>
                  <a:pt x="1752036" y="299129"/>
                </a:cubicBezTo>
                <a:close/>
                <a:moveTo>
                  <a:pt x="876596" y="299129"/>
                </a:moveTo>
                <a:cubicBezTo>
                  <a:pt x="898539" y="299129"/>
                  <a:pt x="917018" y="317608"/>
                  <a:pt x="917018" y="339551"/>
                </a:cubicBezTo>
                <a:cubicBezTo>
                  <a:pt x="917018" y="361495"/>
                  <a:pt x="898539" y="379974"/>
                  <a:pt x="876596" y="379974"/>
                </a:cubicBezTo>
                <a:cubicBezTo>
                  <a:pt x="854652" y="379974"/>
                  <a:pt x="836172" y="361495"/>
                  <a:pt x="836172" y="339551"/>
                </a:cubicBezTo>
                <a:cubicBezTo>
                  <a:pt x="836172" y="317608"/>
                  <a:pt x="854652" y="299129"/>
                  <a:pt x="876596" y="299129"/>
                </a:cubicBezTo>
                <a:close/>
                <a:moveTo>
                  <a:pt x="600566" y="299129"/>
                </a:moveTo>
                <a:cubicBezTo>
                  <a:pt x="623665" y="299129"/>
                  <a:pt x="640989" y="318762"/>
                  <a:pt x="640989" y="340706"/>
                </a:cubicBezTo>
                <a:cubicBezTo>
                  <a:pt x="640989" y="362649"/>
                  <a:pt x="622510" y="381128"/>
                  <a:pt x="600566" y="381128"/>
                </a:cubicBezTo>
                <a:cubicBezTo>
                  <a:pt x="578623" y="381128"/>
                  <a:pt x="560144" y="361495"/>
                  <a:pt x="560144" y="339551"/>
                </a:cubicBezTo>
                <a:cubicBezTo>
                  <a:pt x="560144" y="317608"/>
                  <a:pt x="578623" y="299129"/>
                  <a:pt x="600566" y="299129"/>
                </a:cubicBezTo>
                <a:close/>
                <a:moveTo>
                  <a:pt x="11107606" y="288734"/>
                </a:moveTo>
                <a:cubicBezTo>
                  <a:pt x="11136480" y="288734"/>
                  <a:pt x="11158424" y="311832"/>
                  <a:pt x="11158424" y="339551"/>
                </a:cubicBezTo>
                <a:cubicBezTo>
                  <a:pt x="11158424" y="367269"/>
                  <a:pt x="11136480" y="390368"/>
                  <a:pt x="11107606" y="390368"/>
                </a:cubicBezTo>
                <a:cubicBezTo>
                  <a:pt x="11079888" y="390368"/>
                  <a:pt x="11056789" y="367269"/>
                  <a:pt x="11056789" y="339551"/>
                </a:cubicBezTo>
                <a:cubicBezTo>
                  <a:pt x="11056789" y="311832"/>
                  <a:pt x="11078734" y="288734"/>
                  <a:pt x="11107606" y="288734"/>
                </a:cubicBezTo>
                <a:close/>
                <a:moveTo>
                  <a:pt x="9957292" y="288734"/>
                </a:moveTo>
                <a:cubicBezTo>
                  <a:pt x="9985010" y="288734"/>
                  <a:pt x="10008109" y="311832"/>
                  <a:pt x="10008109" y="339551"/>
                </a:cubicBezTo>
                <a:cubicBezTo>
                  <a:pt x="10008109" y="367269"/>
                  <a:pt x="9985010" y="390368"/>
                  <a:pt x="9957292" y="390368"/>
                </a:cubicBezTo>
                <a:cubicBezTo>
                  <a:pt x="9929574" y="390368"/>
                  <a:pt x="9906475" y="367269"/>
                  <a:pt x="9906475" y="339551"/>
                </a:cubicBezTo>
                <a:cubicBezTo>
                  <a:pt x="9906475" y="311832"/>
                  <a:pt x="9928419" y="288734"/>
                  <a:pt x="9957292" y="288734"/>
                </a:cubicBezTo>
                <a:close/>
                <a:moveTo>
                  <a:pt x="8836402" y="288734"/>
                </a:moveTo>
                <a:cubicBezTo>
                  <a:pt x="8865275" y="288734"/>
                  <a:pt x="8887219" y="311832"/>
                  <a:pt x="8887219" y="339551"/>
                </a:cubicBezTo>
                <a:cubicBezTo>
                  <a:pt x="8887219" y="367269"/>
                  <a:pt x="8864121" y="390368"/>
                  <a:pt x="8836402" y="390368"/>
                </a:cubicBezTo>
                <a:cubicBezTo>
                  <a:pt x="8808684" y="390368"/>
                  <a:pt x="8785585" y="367269"/>
                  <a:pt x="8785585" y="339551"/>
                </a:cubicBezTo>
                <a:cubicBezTo>
                  <a:pt x="8785585" y="311832"/>
                  <a:pt x="8807528" y="288734"/>
                  <a:pt x="8836402" y="288734"/>
                </a:cubicBezTo>
                <a:close/>
                <a:moveTo>
                  <a:pt x="6502281" y="288734"/>
                </a:moveTo>
                <a:cubicBezTo>
                  <a:pt x="6531154" y="288734"/>
                  <a:pt x="6553098" y="311832"/>
                  <a:pt x="6553098" y="339551"/>
                </a:cubicBezTo>
                <a:cubicBezTo>
                  <a:pt x="6553098" y="367269"/>
                  <a:pt x="6531154" y="390368"/>
                  <a:pt x="6502281" y="390368"/>
                </a:cubicBezTo>
                <a:cubicBezTo>
                  <a:pt x="6474562" y="390368"/>
                  <a:pt x="6451462" y="367269"/>
                  <a:pt x="6451462" y="339551"/>
                </a:cubicBezTo>
                <a:cubicBezTo>
                  <a:pt x="6451462" y="311832"/>
                  <a:pt x="6473407" y="288734"/>
                  <a:pt x="6502281" y="288734"/>
                </a:cubicBezTo>
                <a:close/>
                <a:moveTo>
                  <a:pt x="5351966" y="288734"/>
                </a:moveTo>
                <a:cubicBezTo>
                  <a:pt x="5379685" y="288734"/>
                  <a:pt x="5402784" y="311832"/>
                  <a:pt x="5402784" y="339551"/>
                </a:cubicBezTo>
                <a:cubicBezTo>
                  <a:pt x="5402784" y="367269"/>
                  <a:pt x="5380840" y="390368"/>
                  <a:pt x="5351966" y="390368"/>
                </a:cubicBezTo>
                <a:cubicBezTo>
                  <a:pt x="5324247" y="390368"/>
                  <a:pt x="5301149" y="367269"/>
                  <a:pt x="5301149" y="339551"/>
                </a:cubicBezTo>
                <a:cubicBezTo>
                  <a:pt x="5301149" y="311832"/>
                  <a:pt x="5323094" y="288734"/>
                  <a:pt x="5351966" y="288734"/>
                </a:cubicBezTo>
                <a:close/>
                <a:moveTo>
                  <a:pt x="4223596" y="288734"/>
                </a:moveTo>
                <a:cubicBezTo>
                  <a:pt x="4252468" y="288734"/>
                  <a:pt x="4274414" y="311832"/>
                  <a:pt x="4274414" y="339551"/>
                </a:cubicBezTo>
                <a:cubicBezTo>
                  <a:pt x="4274414" y="367269"/>
                  <a:pt x="4251315" y="390368"/>
                  <a:pt x="4223596" y="390368"/>
                </a:cubicBezTo>
                <a:cubicBezTo>
                  <a:pt x="4195877" y="390368"/>
                  <a:pt x="4172779" y="367269"/>
                  <a:pt x="4172779" y="339551"/>
                </a:cubicBezTo>
                <a:cubicBezTo>
                  <a:pt x="4172779" y="311832"/>
                  <a:pt x="4194721" y="288734"/>
                  <a:pt x="4223596" y="288734"/>
                </a:cubicBezTo>
                <a:close/>
                <a:moveTo>
                  <a:pt x="1889473" y="288734"/>
                </a:moveTo>
                <a:cubicBezTo>
                  <a:pt x="1918346" y="288734"/>
                  <a:pt x="1940290" y="311832"/>
                  <a:pt x="1940290" y="339551"/>
                </a:cubicBezTo>
                <a:cubicBezTo>
                  <a:pt x="1940290" y="367269"/>
                  <a:pt x="1918346" y="390368"/>
                  <a:pt x="1889473" y="390368"/>
                </a:cubicBezTo>
                <a:cubicBezTo>
                  <a:pt x="1861754" y="390368"/>
                  <a:pt x="1838656" y="367269"/>
                  <a:pt x="1838656" y="339551"/>
                </a:cubicBezTo>
                <a:cubicBezTo>
                  <a:pt x="1838656" y="311832"/>
                  <a:pt x="1860600" y="288734"/>
                  <a:pt x="1889473" y="288734"/>
                </a:cubicBezTo>
                <a:close/>
                <a:moveTo>
                  <a:pt x="739158" y="288734"/>
                </a:moveTo>
                <a:cubicBezTo>
                  <a:pt x="766877" y="288734"/>
                  <a:pt x="789975" y="311832"/>
                  <a:pt x="789975" y="339551"/>
                </a:cubicBezTo>
                <a:cubicBezTo>
                  <a:pt x="789975" y="367269"/>
                  <a:pt x="766877" y="390368"/>
                  <a:pt x="739158" y="390368"/>
                </a:cubicBezTo>
                <a:cubicBezTo>
                  <a:pt x="711440" y="390368"/>
                  <a:pt x="688341" y="367269"/>
                  <a:pt x="688341" y="339551"/>
                </a:cubicBezTo>
                <a:cubicBezTo>
                  <a:pt x="688341" y="311832"/>
                  <a:pt x="710285" y="288734"/>
                  <a:pt x="739158" y="288734"/>
                </a:cubicBezTo>
                <a:close/>
                <a:moveTo>
                  <a:pt x="12227892" y="175550"/>
                </a:moveTo>
                <a:cubicBezTo>
                  <a:pt x="12238288" y="175550"/>
                  <a:pt x="12248682" y="184790"/>
                  <a:pt x="12248682" y="196339"/>
                </a:cubicBezTo>
                <a:cubicBezTo>
                  <a:pt x="12248682" y="207888"/>
                  <a:pt x="12239442" y="217128"/>
                  <a:pt x="12227892" y="217128"/>
                </a:cubicBezTo>
                <a:cubicBezTo>
                  <a:pt x="12216343" y="217128"/>
                  <a:pt x="12207104" y="207888"/>
                  <a:pt x="12207104" y="196339"/>
                </a:cubicBezTo>
                <a:cubicBezTo>
                  <a:pt x="12207104" y="184790"/>
                  <a:pt x="12216343" y="175550"/>
                  <a:pt x="12227892" y="175550"/>
                </a:cubicBezTo>
                <a:close/>
                <a:moveTo>
                  <a:pt x="12091610" y="175550"/>
                </a:moveTo>
                <a:cubicBezTo>
                  <a:pt x="12103160" y="175550"/>
                  <a:pt x="12112399" y="184790"/>
                  <a:pt x="12112399" y="196339"/>
                </a:cubicBezTo>
                <a:cubicBezTo>
                  <a:pt x="12112399" y="207888"/>
                  <a:pt x="12103160" y="217128"/>
                  <a:pt x="12091610" y="217128"/>
                </a:cubicBezTo>
                <a:cubicBezTo>
                  <a:pt x="12080061" y="217128"/>
                  <a:pt x="12070822" y="207888"/>
                  <a:pt x="12070822" y="196339"/>
                </a:cubicBezTo>
                <a:cubicBezTo>
                  <a:pt x="12070822" y="184790"/>
                  <a:pt x="12080061" y="175550"/>
                  <a:pt x="12091610" y="175550"/>
                </a:cubicBezTo>
                <a:close/>
                <a:moveTo>
                  <a:pt x="11956484" y="175550"/>
                </a:moveTo>
                <a:cubicBezTo>
                  <a:pt x="11968033" y="175550"/>
                  <a:pt x="11977272" y="184790"/>
                  <a:pt x="11977272" y="196339"/>
                </a:cubicBezTo>
                <a:cubicBezTo>
                  <a:pt x="11977272" y="207888"/>
                  <a:pt x="11968033" y="217128"/>
                  <a:pt x="11956484" y="217128"/>
                </a:cubicBezTo>
                <a:cubicBezTo>
                  <a:pt x="11944934" y="217128"/>
                  <a:pt x="11935695" y="207888"/>
                  <a:pt x="11935695" y="196339"/>
                </a:cubicBezTo>
                <a:cubicBezTo>
                  <a:pt x="11935695" y="184790"/>
                  <a:pt x="11944934" y="175550"/>
                  <a:pt x="11956484" y="175550"/>
                </a:cubicBezTo>
                <a:close/>
                <a:moveTo>
                  <a:pt x="11821356" y="175550"/>
                </a:moveTo>
                <a:cubicBezTo>
                  <a:pt x="11832905" y="175550"/>
                  <a:pt x="11842144" y="184790"/>
                  <a:pt x="11842144" y="196339"/>
                </a:cubicBezTo>
                <a:cubicBezTo>
                  <a:pt x="11842144" y="207888"/>
                  <a:pt x="11832905" y="217128"/>
                  <a:pt x="11821356" y="217128"/>
                </a:cubicBezTo>
                <a:cubicBezTo>
                  <a:pt x="11809806" y="217128"/>
                  <a:pt x="11800567" y="207888"/>
                  <a:pt x="11800567" y="196339"/>
                </a:cubicBezTo>
                <a:cubicBezTo>
                  <a:pt x="11800567" y="184790"/>
                  <a:pt x="11809806" y="175550"/>
                  <a:pt x="11821356" y="175550"/>
                </a:cubicBezTo>
                <a:close/>
                <a:moveTo>
                  <a:pt x="11685074" y="175550"/>
                </a:moveTo>
                <a:cubicBezTo>
                  <a:pt x="11696623" y="175550"/>
                  <a:pt x="11705862" y="184790"/>
                  <a:pt x="11705862" y="196339"/>
                </a:cubicBezTo>
                <a:cubicBezTo>
                  <a:pt x="11705862" y="207888"/>
                  <a:pt x="11696623" y="217128"/>
                  <a:pt x="11685074" y="217128"/>
                </a:cubicBezTo>
                <a:cubicBezTo>
                  <a:pt x="11673524" y="217128"/>
                  <a:pt x="11664285" y="207888"/>
                  <a:pt x="11664285" y="196339"/>
                </a:cubicBezTo>
                <a:cubicBezTo>
                  <a:pt x="11664285" y="184790"/>
                  <a:pt x="11673524" y="175550"/>
                  <a:pt x="11685074" y="175550"/>
                </a:cubicBezTo>
                <a:close/>
                <a:moveTo>
                  <a:pt x="10736873" y="175550"/>
                </a:moveTo>
                <a:cubicBezTo>
                  <a:pt x="10748422" y="175550"/>
                  <a:pt x="10757662" y="184790"/>
                  <a:pt x="10757662" y="196339"/>
                </a:cubicBezTo>
                <a:cubicBezTo>
                  <a:pt x="10757662" y="207888"/>
                  <a:pt x="10748422" y="217128"/>
                  <a:pt x="10736873" y="217128"/>
                </a:cubicBezTo>
                <a:cubicBezTo>
                  <a:pt x="10725324" y="217128"/>
                  <a:pt x="10716084" y="207888"/>
                  <a:pt x="10716084" y="196339"/>
                </a:cubicBezTo>
                <a:cubicBezTo>
                  <a:pt x="10716084" y="184790"/>
                  <a:pt x="10725324" y="175550"/>
                  <a:pt x="10736873" y="175550"/>
                </a:cubicBezTo>
                <a:close/>
                <a:moveTo>
                  <a:pt x="10601745" y="175550"/>
                </a:moveTo>
                <a:cubicBezTo>
                  <a:pt x="10613294" y="175550"/>
                  <a:pt x="10622534" y="184790"/>
                  <a:pt x="10622534" y="196339"/>
                </a:cubicBezTo>
                <a:cubicBezTo>
                  <a:pt x="10622534" y="207888"/>
                  <a:pt x="10613294" y="217128"/>
                  <a:pt x="10601745" y="217128"/>
                </a:cubicBezTo>
                <a:cubicBezTo>
                  <a:pt x="10590196" y="217128"/>
                  <a:pt x="10580956" y="207888"/>
                  <a:pt x="10580956" y="196339"/>
                </a:cubicBezTo>
                <a:cubicBezTo>
                  <a:pt x="10580956" y="184790"/>
                  <a:pt x="10590196" y="175550"/>
                  <a:pt x="10601745" y="175550"/>
                </a:cubicBezTo>
                <a:close/>
                <a:moveTo>
                  <a:pt x="8027949" y="175550"/>
                </a:moveTo>
                <a:cubicBezTo>
                  <a:pt x="8039499" y="175550"/>
                  <a:pt x="8048737" y="184790"/>
                  <a:pt x="8048737" y="196339"/>
                </a:cubicBezTo>
                <a:cubicBezTo>
                  <a:pt x="8048737" y="207888"/>
                  <a:pt x="8039499" y="217128"/>
                  <a:pt x="8027949" y="217128"/>
                </a:cubicBezTo>
                <a:cubicBezTo>
                  <a:pt x="8016400" y="217128"/>
                  <a:pt x="8007160" y="207888"/>
                  <a:pt x="8007160" y="196339"/>
                </a:cubicBezTo>
                <a:cubicBezTo>
                  <a:pt x="8007160" y="184790"/>
                  <a:pt x="8016400" y="175550"/>
                  <a:pt x="8027949" y="175550"/>
                </a:cubicBezTo>
                <a:close/>
                <a:moveTo>
                  <a:pt x="7892822" y="175550"/>
                </a:moveTo>
                <a:cubicBezTo>
                  <a:pt x="7904371" y="175550"/>
                  <a:pt x="7913611" y="184790"/>
                  <a:pt x="7913611" y="196339"/>
                </a:cubicBezTo>
                <a:cubicBezTo>
                  <a:pt x="7913611" y="207888"/>
                  <a:pt x="7904371" y="217128"/>
                  <a:pt x="7892822" y="217128"/>
                </a:cubicBezTo>
                <a:cubicBezTo>
                  <a:pt x="7881271" y="217128"/>
                  <a:pt x="7872031" y="207888"/>
                  <a:pt x="7872031" y="196339"/>
                </a:cubicBezTo>
                <a:cubicBezTo>
                  <a:pt x="7872031" y="184790"/>
                  <a:pt x="7881271" y="175550"/>
                  <a:pt x="7892822" y="175550"/>
                </a:cubicBezTo>
                <a:close/>
                <a:moveTo>
                  <a:pt x="7757693" y="175550"/>
                </a:moveTo>
                <a:cubicBezTo>
                  <a:pt x="7769244" y="175550"/>
                  <a:pt x="7778483" y="184790"/>
                  <a:pt x="7778483" y="196339"/>
                </a:cubicBezTo>
                <a:cubicBezTo>
                  <a:pt x="7778483" y="207888"/>
                  <a:pt x="7769244" y="217128"/>
                  <a:pt x="7757693" y="217128"/>
                </a:cubicBezTo>
                <a:cubicBezTo>
                  <a:pt x="7746146" y="217128"/>
                  <a:pt x="7736906" y="207888"/>
                  <a:pt x="7736906" y="196339"/>
                </a:cubicBezTo>
                <a:cubicBezTo>
                  <a:pt x="7736906" y="184790"/>
                  <a:pt x="7746146" y="175550"/>
                  <a:pt x="7757693" y="175550"/>
                </a:cubicBezTo>
                <a:close/>
                <a:moveTo>
                  <a:pt x="7622566" y="175550"/>
                </a:moveTo>
                <a:cubicBezTo>
                  <a:pt x="7632962" y="175550"/>
                  <a:pt x="7643355" y="184790"/>
                  <a:pt x="7643355" y="196339"/>
                </a:cubicBezTo>
                <a:cubicBezTo>
                  <a:pt x="7643355" y="207888"/>
                  <a:pt x="7634115" y="217128"/>
                  <a:pt x="7622566" y="217128"/>
                </a:cubicBezTo>
                <a:cubicBezTo>
                  <a:pt x="7611018" y="217128"/>
                  <a:pt x="7601778" y="207888"/>
                  <a:pt x="7601778" y="196339"/>
                </a:cubicBezTo>
                <a:cubicBezTo>
                  <a:pt x="7601778" y="184790"/>
                  <a:pt x="7611018" y="175550"/>
                  <a:pt x="7622566" y="175550"/>
                </a:cubicBezTo>
                <a:close/>
                <a:moveTo>
                  <a:pt x="7486284" y="175550"/>
                </a:moveTo>
                <a:cubicBezTo>
                  <a:pt x="7497834" y="175550"/>
                  <a:pt x="7507074" y="184790"/>
                  <a:pt x="7507074" y="196339"/>
                </a:cubicBezTo>
                <a:cubicBezTo>
                  <a:pt x="7507074" y="207888"/>
                  <a:pt x="7497834" y="217128"/>
                  <a:pt x="7486284" y="217128"/>
                </a:cubicBezTo>
                <a:cubicBezTo>
                  <a:pt x="7474735" y="217128"/>
                  <a:pt x="7465495" y="207888"/>
                  <a:pt x="7465495" y="196339"/>
                </a:cubicBezTo>
                <a:cubicBezTo>
                  <a:pt x="7465495" y="184790"/>
                  <a:pt x="7474735" y="175550"/>
                  <a:pt x="7486284" y="175550"/>
                </a:cubicBezTo>
                <a:close/>
                <a:moveTo>
                  <a:pt x="7351157" y="175550"/>
                </a:moveTo>
                <a:cubicBezTo>
                  <a:pt x="7362706" y="175550"/>
                  <a:pt x="7371946" y="184790"/>
                  <a:pt x="7371946" y="196339"/>
                </a:cubicBezTo>
                <a:cubicBezTo>
                  <a:pt x="7371946" y="207888"/>
                  <a:pt x="7362706" y="217128"/>
                  <a:pt x="7351157" y="217128"/>
                </a:cubicBezTo>
                <a:cubicBezTo>
                  <a:pt x="7339609" y="217128"/>
                  <a:pt x="7330369" y="207888"/>
                  <a:pt x="7330369" y="196339"/>
                </a:cubicBezTo>
                <a:cubicBezTo>
                  <a:pt x="7330369" y="184790"/>
                  <a:pt x="7339609" y="175550"/>
                  <a:pt x="7351157" y="175550"/>
                </a:cubicBezTo>
                <a:close/>
                <a:moveTo>
                  <a:pt x="7216030" y="175550"/>
                </a:moveTo>
                <a:cubicBezTo>
                  <a:pt x="7227579" y="175550"/>
                  <a:pt x="7236819" y="184790"/>
                  <a:pt x="7236819" y="196339"/>
                </a:cubicBezTo>
                <a:cubicBezTo>
                  <a:pt x="7236819" y="207888"/>
                  <a:pt x="7227579" y="217128"/>
                  <a:pt x="7216030" y="217128"/>
                </a:cubicBezTo>
                <a:cubicBezTo>
                  <a:pt x="7204481" y="217128"/>
                  <a:pt x="7195241" y="207888"/>
                  <a:pt x="7195241" y="196339"/>
                </a:cubicBezTo>
                <a:cubicBezTo>
                  <a:pt x="7195241" y="184790"/>
                  <a:pt x="7204481" y="175550"/>
                  <a:pt x="7216030" y="175550"/>
                </a:cubicBezTo>
                <a:close/>
                <a:moveTo>
                  <a:pt x="7079748" y="175550"/>
                </a:moveTo>
                <a:cubicBezTo>
                  <a:pt x="7091297" y="175550"/>
                  <a:pt x="7100537" y="184790"/>
                  <a:pt x="7100537" y="196339"/>
                </a:cubicBezTo>
                <a:cubicBezTo>
                  <a:pt x="7100537" y="207888"/>
                  <a:pt x="7091297" y="217128"/>
                  <a:pt x="7079748" y="217128"/>
                </a:cubicBezTo>
                <a:cubicBezTo>
                  <a:pt x="7068199" y="217128"/>
                  <a:pt x="7058959" y="207888"/>
                  <a:pt x="7058959" y="196339"/>
                </a:cubicBezTo>
                <a:cubicBezTo>
                  <a:pt x="7058959" y="184790"/>
                  <a:pt x="7068199" y="175550"/>
                  <a:pt x="7079748" y="175550"/>
                </a:cubicBezTo>
                <a:close/>
                <a:moveTo>
                  <a:pt x="6131548" y="175550"/>
                </a:moveTo>
                <a:cubicBezTo>
                  <a:pt x="6143096" y="175550"/>
                  <a:pt x="6152336" y="184790"/>
                  <a:pt x="6152336" y="196339"/>
                </a:cubicBezTo>
                <a:cubicBezTo>
                  <a:pt x="6152336" y="207888"/>
                  <a:pt x="6143096" y="217128"/>
                  <a:pt x="6131548" y="217128"/>
                </a:cubicBezTo>
                <a:cubicBezTo>
                  <a:pt x="6119997" y="217128"/>
                  <a:pt x="6110759" y="207888"/>
                  <a:pt x="6110759" y="196339"/>
                </a:cubicBezTo>
                <a:cubicBezTo>
                  <a:pt x="6110759" y="184790"/>
                  <a:pt x="6119997" y="175550"/>
                  <a:pt x="6131548" y="175550"/>
                </a:cubicBezTo>
                <a:close/>
                <a:moveTo>
                  <a:pt x="5996418" y="175550"/>
                </a:moveTo>
                <a:cubicBezTo>
                  <a:pt x="6007969" y="175550"/>
                  <a:pt x="6017209" y="184790"/>
                  <a:pt x="6017209" y="196339"/>
                </a:cubicBezTo>
                <a:cubicBezTo>
                  <a:pt x="6017209" y="207888"/>
                  <a:pt x="6007969" y="217128"/>
                  <a:pt x="5996418" y="217128"/>
                </a:cubicBezTo>
                <a:cubicBezTo>
                  <a:pt x="5984870" y="217128"/>
                  <a:pt x="5975631" y="207888"/>
                  <a:pt x="5975631" y="196339"/>
                </a:cubicBezTo>
                <a:cubicBezTo>
                  <a:pt x="5975631" y="184790"/>
                  <a:pt x="5984870" y="175550"/>
                  <a:pt x="5996418" y="175550"/>
                </a:cubicBezTo>
                <a:close/>
                <a:moveTo>
                  <a:pt x="3415142" y="175550"/>
                </a:moveTo>
                <a:cubicBezTo>
                  <a:pt x="3426691" y="175550"/>
                  <a:pt x="3435930" y="184790"/>
                  <a:pt x="3435930" y="196339"/>
                </a:cubicBezTo>
                <a:cubicBezTo>
                  <a:pt x="3435930" y="207888"/>
                  <a:pt x="3426691" y="217128"/>
                  <a:pt x="3415142" y="217128"/>
                </a:cubicBezTo>
                <a:cubicBezTo>
                  <a:pt x="3403592" y="217128"/>
                  <a:pt x="3394352" y="207888"/>
                  <a:pt x="3394352" y="196339"/>
                </a:cubicBezTo>
                <a:cubicBezTo>
                  <a:pt x="3394352" y="184790"/>
                  <a:pt x="3403592" y="175550"/>
                  <a:pt x="3415142" y="175550"/>
                </a:cubicBezTo>
                <a:close/>
                <a:moveTo>
                  <a:pt x="3280013" y="175550"/>
                </a:moveTo>
                <a:cubicBezTo>
                  <a:pt x="3291564" y="175550"/>
                  <a:pt x="3300802" y="184790"/>
                  <a:pt x="3300802" y="196339"/>
                </a:cubicBezTo>
                <a:cubicBezTo>
                  <a:pt x="3300802" y="207888"/>
                  <a:pt x="3291564" y="217128"/>
                  <a:pt x="3280013" y="217128"/>
                </a:cubicBezTo>
                <a:cubicBezTo>
                  <a:pt x="3268464" y="217128"/>
                  <a:pt x="3259224" y="207888"/>
                  <a:pt x="3259224" y="196339"/>
                </a:cubicBezTo>
                <a:cubicBezTo>
                  <a:pt x="3259224" y="184790"/>
                  <a:pt x="3268464" y="175550"/>
                  <a:pt x="3280013" y="175550"/>
                </a:cubicBezTo>
                <a:close/>
                <a:moveTo>
                  <a:pt x="3144887" y="175550"/>
                </a:moveTo>
                <a:cubicBezTo>
                  <a:pt x="3156436" y="175550"/>
                  <a:pt x="3165675" y="184790"/>
                  <a:pt x="3165675" y="196339"/>
                </a:cubicBezTo>
                <a:cubicBezTo>
                  <a:pt x="3165675" y="207888"/>
                  <a:pt x="3156436" y="217128"/>
                  <a:pt x="3144887" y="217128"/>
                </a:cubicBezTo>
                <a:cubicBezTo>
                  <a:pt x="3133338" y="217128"/>
                  <a:pt x="3124098" y="207888"/>
                  <a:pt x="3124098" y="196339"/>
                </a:cubicBezTo>
                <a:cubicBezTo>
                  <a:pt x="3124098" y="184790"/>
                  <a:pt x="3133338" y="175550"/>
                  <a:pt x="3144887" y="175550"/>
                </a:cubicBezTo>
                <a:close/>
                <a:moveTo>
                  <a:pt x="3009759" y="175550"/>
                </a:moveTo>
                <a:cubicBezTo>
                  <a:pt x="3020154" y="175550"/>
                  <a:pt x="3030548" y="184790"/>
                  <a:pt x="3030548" y="196339"/>
                </a:cubicBezTo>
                <a:cubicBezTo>
                  <a:pt x="3030548" y="207888"/>
                  <a:pt x="3021308" y="217128"/>
                  <a:pt x="3009759" y="217128"/>
                </a:cubicBezTo>
                <a:cubicBezTo>
                  <a:pt x="2998209" y="217128"/>
                  <a:pt x="2988971" y="207888"/>
                  <a:pt x="2988971" y="196339"/>
                </a:cubicBezTo>
                <a:cubicBezTo>
                  <a:pt x="2988971" y="184790"/>
                  <a:pt x="2998209" y="175550"/>
                  <a:pt x="3009759" y="175550"/>
                </a:cubicBezTo>
                <a:close/>
                <a:moveTo>
                  <a:pt x="2873476" y="175550"/>
                </a:moveTo>
                <a:cubicBezTo>
                  <a:pt x="2885026" y="175550"/>
                  <a:pt x="2894265" y="184790"/>
                  <a:pt x="2894265" y="196339"/>
                </a:cubicBezTo>
                <a:cubicBezTo>
                  <a:pt x="2894265" y="207888"/>
                  <a:pt x="2885026" y="217128"/>
                  <a:pt x="2873476" y="217128"/>
                </a:cubicBezTo>
                <a:cubicBezTo>
                  <a:pt x="2861927" y="217128"/>
                  <a:pt x="2852688" y="207888"/>
                  <a:pt x="2852688" y="196339"/>
                </a:cubicBezTo>
                <a:cubicBezTo>
                  <a:pt x="2852688" y="184790"/>
                  <a:pt x="2861927" y="175550"/>
                  <a:pt x="2873476" y="175550"/>
                </a:cubicBezTo>
                <a:close/>
                <a:moveTo>
                  <a:pt x="2738350" y="175550"/>
                </a:moveTo>
                <a:cubicBezTo>
                  <a:pt x="2749899" y="175550"/>
                  <a:pt x="2759139" y="184790"/>
                  <a:pt x="2759139" y="196339"/>
                </a:cubicBezTo>
                <a:cubicBezTo>
                  <a:pt x="2759139" y="207888"/>
                  <a:pt x="2749899" y="217128"/>
                  <a:pt x="2738350" y="217128"/>
                </a:cubicBezTo>
                <a:cubicBezTo>
                  <a:pt x="2726800" y="217128"/>
                  <a:pt x="2717562" y="207888"/>
                  <a:pt x="2717562" y="196339"/>
                </a:cubicBezTo>
                <a:cubicBezTo>
                  <a:pt x="2717562" y="184790"/>
                  <a:pt x="2726800" y="175550"/>
                  <a:pt x="2738350" y="175550"/>
                </a:cubicBezTo>
                <a:close/>
                <a:moveTo>
                  <a:pt x="2603222" y="175550"/>
                </a:moveTo>
                <a:cubicBezTo>
                  <a:pt x="2614771" y="175550"/>
                  <a:pt x="2624011" y="184790"/>
                  <a:pt x="2624011" y="196339"/>
                </a:cubicBezTo>
                <a:cubicBezTo>
                  <a:pt x="2624011" y="207888"/>
                  <a:pt x="2614771" y="217128"/>
                  <a:pt x="2603222" y="217128"/>
                </a:cubicBezTo>
                <a:cubicBezTo>
                  <a:pt x="2591673" y="217128"/>
                  <a:pt x="2582433" y="207888"/>
                  <a:pt x="2582433" y="196339"/>
                </a:cubicBezTo>
                <a:cubicBezTo>
                  <a:pt x="2582433" y="184790"/>
                  <a:pt x="2591673" y="175550"/>
                  <a:pt x="2603222" y="175550"/>
                </a:cubicBezTo>
                <a:close/>
                <a:moveTo>
                  <a:pt x="2466940" y="175550"/>
                </a:moveTo>
                <a:cubicBezTo>
                  <a:pt x="2478489" y="175550"/>
                  <a:pt x="2487729" y="184790"/>
                  <a:pt x="2487729" y="196339"/>
                </a:cubicBezTo>
                <a:cubicBezTo>
                  <a:pt x="2487729" y="207888"/>
                  <a:pt x="2478489" y="217128"/>
                  <a:pt x="2466940" y="217128"/>
                </a:cubicBezTo>
                <a:cubicBezTo>
                  <a:pt x="2455390" y="217128"/>
                  <a:pt x="2446151" y="207888"/>
                  <a:pt x="2446151" y="196339"/>
                </a:cubicBezTo>
                <a:cubicBezTo>
                  <a:pt x="2446151" y="184790"/>
                  <a:pt x="2455390" y="175550"/>
                  <a:pt x="2466940" y="175550"/>
                </a:cubicBezTo>
                <a:close/>
                <a:moveTo>
                  <a:pt x="1518739" y="175550"/>
                </a:moveTo>
                <a:cubicBezTo>
                  <a:pt x="1530289" y="175550"/>
                  <a:pt x="1539528" y="184790"/>
                  <a:pt x="1539528" y="196339"/>
                </a:cubicBezTo>
                <a:cubicBezTo>
                  <a:pt x="1539528" y="207888"/>
                  <a:pt x="1530289" y="217128"/>
                  <a:pt x="1518739" y="217128"/>
                </a:cubicBezTo>
                <a:cubicBezTo>
                  <a:pt x="1507190" y="217128"/>
                  <a:pt x="1497951" y="207888"/>
                  <a:pt x="1497951" y="196339"/>
                </a:cubicBezTo>
                <a:cubicBezTo>
                  <a:pt x="1497951" y="184790"/>
                  <a:pt x="1507190" y="175550"/>
                  <a:pt x="1518739" y="175550"/>
                </a:cubicBezTo>
                <a:close/>
                <a:moveTo>
                  <a:pt x="1383611" y="175550"/>
                </a:moveTo>
                <a:cubicBezTo>
                  <a:pt x="1395161" y="175550"/>
                  <a:pt x="1404400" y="184790"/>
                  <a:pt x="1404400" y="196339"/>
                </a:cubicBezTo>
                <a:cubicBezTo>
                  <a:pt x="1404400" y="207888"/>
                  <a:pt x="1395161" y="217128"/>
                  <a:pt x="1383611" y="217128"/>
                </a:cubicBezTo>
                <a:cubicBezTo>
                  <a:pt x="1372062" y="217128"/>
                  <a:pt x="1362823" y="207888"/>
                  <a:pt x="1362823" y="196339"/>
                </a:cubicBezTo>
                <a:cubicBezTo>
                  <a:pt x="1362823" y="184790"/>
                  <a:pt x="1372062" y="175550"/>
                  <a:pt x="1383611" y="175550"/>
                </a:cubicBezTo>
                <a:close/>
                <a:moveTo>
                  <a:pt x="11549947" y="172086"/>
                </a:moveTo>
                <a:cubicBezTo>
                  <a:pt x="11562650" y="172086"/>
                  <a:pt x="11573046" y="182480"/>
                  <a:pt x="11573046" y="195185"/>
                </a:cubicBezTo>
                <a:cubicBezTo>
                  <a:pt x="11573046" y="207888"/>
                  <a:pt x="11562650" y="218283"/>
                  <a:pt x="11549947" y="218283"/>
                </a:cubicBezTo>
                <a:cubicBezTo>
                  <a:pt x="11537242" y="218283"/>
                  <a:pt x="11526848" y="207888"/>
                  <a:pt x="11526848" y="195185"/>
                </a:cubicBezTo>
                <a:cubicBezTo>
                  <a:pt x="11526848" y="182480"/>
                  <a:pt x="11537242" y="172086"/>
                  <a:pt x="11549947" y="172086"/>
                </a:cubicBezTo>
                <a:close/>
                <a:moveTo>
                  <a:pt x="10466618" y="172086"/>
                </a:moveTo>
                <a:cubicBezTo>
                  <a:pt x="10479322" y="172086"/>
                  <a:pt x="10489717" y="182480"/>
                  <a:pt x="10489717" y="195185"/>
                </a:cubicBezTo>
                <a:cubicBezTo>
                  <a:pt x="10489717" y="207888"/>
                  <a:pt x="10479322" y="218283"/>
                  <a:pt x="10466618" y="218283"/>
                </a:cubicBezTo>
                <a:cubicBezTo>
                  <a:pt x="10453914" y="218283"/>
                  <a:pt x="10443520" y="207888"/>
                  <a:pt x="10443520" y="195185"/>
                </a:cubicBezTo>
                <a:cubicBezTo>
                  <a:pt x="10443520" y="182480"/>
                  <a:pt x="10453914" y="172086"/>
                  <a:pt x="10466618" y="172086"/>
                </a:cubicBezTo>
                <a:close/>
                <a:moveTo>
                  <a:pt x="9244698" y="172086"/>
                </a:moveTo>
                <a:cubicBezTo>
                  <a:pt x="9258557" y="172086"/>
                  <a:pt x="9268951" y="181325"/>
                  <a:pt x="9270107" y="194029"/>
                </a:cubicBezTo>
                <a:cubicBezTo>
                  <a:pt x="9271261" y="206734"/>
                  <a:pt x="9262022" y="219438"/>
                  <a:pt x="9249318" y="219438"/>
                </a:cubicBezTo>
                <a:cubicBezTo>
                  <a:pt x="9236613" y="219438"/>
                  <a:pt x="9225064" y="210198"/>
                  <a:pt x="9223909" y="197494"/>
                </a:cubicBezTo>
                <a:cubicBezTo>
                  <a:pt x="9222754" y="184790"/>
                  <a:pt x="9231993" y="173240"/>
                  <a:pt x="9244698" y="172086"/>
                </a:cubicBezTo>
                <a:close/>
                <a:moveTo>
                  <a:pt x="8164231" y="172086"/>
                </a:moveTo>
                <a:cubicBezTo>
                  <a:pt x="8176935" y="172086"/>
                  <a:pt x="8187331" y="182480"/>
                  <a:pt x="8187331" y="195185"/>
                </a:cubicBezTo>
                <a:cubicBezTo>
                  <a:pt x="8187331" y="207888"/>
                  <a:pt x="8176935" y="218283"/>
                  <a:pt x="8164231" y="218283"/>
                </a:cubicBezTo>
                <a:cubicBezTo>
                  <a:pt x="8151527" y="218283"/>
                  <a:pt x="8141133" y="207888"/>
                  <a:pt x="8141133" y="195185"/>
                </a:cubicBezTo>
                <a:cubicBezTo>
                  <a:pt x="8141133" y="182480"/>
                  <a:pt x="8151527" y="172086"/>
                  <a:pt x="8164231" y="172086"/>
                </a:cubicBezTo>
                <a:close/>
                <a:moveTo>
                  <a:pt x="6944621" y="172086"/>
                </a:moveTo>
                <a:cubicBezTo>
                  <a:pt x="6957325" y="172086"/>
                  <a:pt x="6967719" y="182480"/>
                  <a:pt x="6967719" y="195185"/>
                </a:cubicBezTo>
                <a:cubicBezTo>
                  <a:pt x="6967719" y="207888"/>
                  <a:pt x="6957325" y="218283"/>
                  <a:pt x="6944621" y="218283"/>
                </a:cubicBezTo>
                <a:cubicBezTo>
                  <a:pt x="6931915" y="218283"/>
                  <a:pt x="6921522" y="207888"/>
                  <a:pt x="6921522" y="195185"/>
                </a:cubicBezTo>
                <a:cubicBezTo>
                  <a:pt x="6921522" y="182480"/>
                  <a:pt x="6931915" y="172086"/>
                  <a:pt x="6944621" y="172086"/>
                </a:cubicBezTo>
                <a:close/>
                <a:moveTo>
                  <a:pt x="5861292" y="172086"/>
                </a:moveTo>
                <a:cubicBezTo>
                  <a:pt x="5873996" y="172086"/>
                  <a:pt x="5884392" y="182480"/>
                  <a:pt x="5884392" y="195185"/>
                </a:cubicBezTo>
                <a:cubicBezTo>
                  <a:pt x="5884392" y="207888"/>
                  <a:pt x="5873996" y="218283"/>
                  <a:pt x="5861292" y="218283"/>
                </a:cubicBezTo>
                <a:cubicBezTo>
                  <a:pt x="5848588" y="218283"/>
                  <a:pt x="5838194" y="207888"/>
                  <a:pt x="5838194" y="195185"/>
                </a:cubicBezTo>
                <a:cubicBezTo>
                  <a:pt x="5838194" y="182480"/>
                  <a:pt x="5848588" y="172086"/>
                  <a:pt x="5861292" y="172086"/>
                </a:cubicBezTo>
                <a:close/>
                <a:moveTo>
                  <a:pt x="4639374" y="172086"/>
                </a:moveTo>
                <a:cubicBezTo>
                  <a:pt x="4653231" y="172086"/>
                  <a:pt x="4663624" y="181325"/>
                  <a:pt x="4664780" y="192875"/>
                </a:cubicBezTo>
                <a:cubicBezTo>
                  <a:pt x="4665936" y="205578"/>
                  <a:pt x="4656695" y="217128"/>
                  <a:pt x="4643991" y="218283"/>
                </a:cubicBezTo>
                <a:cubicBezTo>
                  <a:pt x="4631287" y="219438"/>
                  <a:pt x="4619739" y="210198"/>
                  <a:pt x="4618583" y="197494"/>
                </a:cubicBezTo>
                <a:cubicBezTo>
                  <a:pt x="4617428" y="184790"/>
                  <a:pt x="4626667" y="173240"/>
                  <a:pt x="4639374" y="172086"/>
                </a:cubicBezTo>
                <a:close/>
                <a:moveTo>
                  <a:pt x="3551423" y="172086"/>
                </a:moveTo>
                <a:cubicBezTo>
                  <a:pt x="3564127" y="172086"/>
                  <a:pt x="3574522" y="182480"/>
                  <a:pt x="3574522" y="195185"/>
                </a:cubicBezTo>
                <a:cubicBezTo>
                  <a:pt x="3574522" y="207888"/>
                  <a:pt x="3564127" y="218283"/>
                  <a:pt x="3551423" y="218283"/>
                </a:cubicBezTo>
                <a:cubicBezTo>
                  <a:pt x="3538719" y="218283"/>
                  <a:pt x="3528325" y="207888"/>
                  <a:pt x="3528325" y="195185"/>
                </a:cubicBezTo>
                <a:cubicBezTo>
                  <a:pt x="3528325" y="182480"/>
                  <a:pt x="3538719" y="172086"/>
                  <a:pt x="3551423" y="172086"/>
                </a:cubicBezTo>
                <a:close/>
                <a:moveTo>
                  <a:pt x="2331813" y="172086"/>
                </a:moveTo>
                <a:cubicBezTo>
                  <a:pt x="2344517" y="172086"/>
                  <a:pt x="2354912" y="182480"/>
                  <a:pt x="2354912" y="195185"/>
                </a:cubicBezTo>
                <a:cubicBezTo>
                  <a:pt x="2354912" y="207888"/>
                  <a:pt x="2344517" y="218283"/>
                  <a:pt x="2331813" y="218283"/>
                </a:cubicBezTo>
                <a:cubicBezTo>
                  <a:pt x="2319108" y="218283"/>
                  <a:pt x="2308714" y="207888"/>
                  <a:pt x="2308714" y="195185"/>
                </a:cubicBezTo>
                <a:cubicBezTo>
                  <a:pt x="2308714" y="182480"/>
                  <a:pt x="2319108" y="172086"/>
                  <a:pt x="2331813" y="172086"/>
                </a:cubicBezTo>
                <a:close/>
                <a:moveTo>
                  <a:pt x="1248485" y="172086"/>
                </a:moveTo>
                <a:cubicBezTo>
                  <a:pt x="1261188" y="172086"/>
                  <a:pt x="1271583" y="182480"/>
                  <a:pt x="1271583" y="195185"/>
                </a:cubicBezTo>
                <a:cubicBezTo>
                  <a:pt x="1271583" y="207888"/>
                  <a:pt x="1261188" y="218283"/>
                  <a:pt x="1248485" y="218283"/>
                </a:cubicBezTo>
                <a:cubicBezTo>
                  <a:pt x="1235780" y="218283"/>
                  <a:pt x="1225386" y="207888"/>
                  <a:pt x="1225386" y="195185"/>
                </a:cubicBezTo>
                <a:cubicBezTo>
                  <a:pt x="1225386" y="182480"/>
                  <a:pt x="1235780" y="172086"/>
                  <a:pt x="1248485" y="172086"/>
                </a:cubicBezTo>
                <a:close/>
                <a:moveTo>
                  <a:pt x="26564" y="172086"/>
                </a:moveTo>
                <a:cubicBezTo>
                  <a:pt x="40424" y="172086"/>
                  <a:pt x="50817" y="181325"/>
                  <a:pt x="51973" y="194029"/>
                </a:cubicBezTo>
                <a:cubicBezTo>
                  <a:pt x="53127" y="206734"/>
                  <a:pt x="43888" y="219438"/>
                  <a:pt x="31184" y="219438"/>
                </a:cubicBezTo>
                <a:cubicBezTo>
                  <a:pt x="18479" y="219438"/>
                  <a:pt x="6930" y="210198"/>
                  <a:pt x="5776" y="197494"/>
                </a:cubicBezTo>
                <a:cubicBezTo>
                  <a:pt x="4620" y="184790"/>
                  <a:pt x="13860" y="173240"/>
                  <a:pt x="26564" y="172086"/>
                </a:cubicBezTo>
                <a:close/>
                <a:moveTo>
                  <a:pt x="11414819" y="166311"/>
                </a:moveTo>
                <a:cubicBezTo>
                  <a:pt x="11430988" y="166311"/>
                  <a:pt x="11443693" y="179016"/>
                  <a:pt x="11443693" y="195185"/>
                </a:cubicBezTo>
                <a:cubicBezTo>
                  <a:pt x="11443693" y="211354"/>
                  <a:pt x="11430988" y="224057"/>
                  <a:pt x="11414819" y="224057"/>
                </a:cubicBezTo>
                <a:cubicBezTo>
                  <a:pt x="11398650" y="224057"/>
                  <a:pt x="11385946" y="211354"/>
                  <a:pt x="11385946" y="195185"/>
                </a:cubicBezTo>
                <a:cubicBezTo>
                  <a:pt x="11385946" y="179016"/>
                  <a:pt x="11398650" y="166311"/>
                  <a:pt x="11414819" y="166311"/>
                </a:cubicBezTo>
                <a:close/>
                <a:moveTo>
                  <a:pt x="10330336" y="166311"/>
                </a:moveTo>
                <a:cubicBezTo>
                  <a:pt x="10346505" y="166311"/>
                  <a:pt x="10359209" y="179016"/>
                  <a:pt x="10359209" y="195185"/>
                </a:cubicBezTo>
                <a:cubicBezTo>
                  <a:pt x="10359209" y="211354"/>
                  <a:pt x="10346505" y="224057"/>
                  <a:pt x="10330336" y="224057"/>
                </a:cubicBezTo>
                <a:cubicBezTo>
                  <a:pt x="10314167" y="224057"/>
                  <a:pt x="10301462" y="211354"/>
                  <a:pt x="10301462" y="195185"/>
                </a:cubicBezTo>
                <a:cubicBezTo>
                  <a:pt x="10301462" y="179016"/>
                  <a:pt x="10314167" y="166311"/>
                  <a:pt x="10330336" y="166311"/>
                </a:cubicBezTo>
                <a:close/>
                <a:moveTo>
                  <a:pt x="9382135" y="166311"/>
                </a:moveTo>
                <a:cubicBezTo>
                  <a:pt x="9398304" y="166311"/>
                  <a:pt x="9411009" y="179016"/>
                  <a:pt x="9411009" y="195185"/>
                </a:cubicBezTo>
                <a:cubicBezTo>
                  <a:pt x="9411009" y="211354"/>
                  <a:pt x="9398304" y="224057"/>
                  <a:pt x="9382135" y="224057"/>
                </a:cubicBezTo>
                <a:cubicBezTo>
                  <a:pt x="9365966" y="224057"/>
                  <a:pt x="9353262" y="211354"/>
                  <a:pt x="9353262" y="195185"/>
                </a:cubicBezTo>
                <a:cubicBezTo>
                  <a:pt x="9353262" y="179016"/>
                  <a:pt x="9365966" y="166311"/>
                  <a:pt x="9382135" y="166311"/>
                </a:cubicBezTo>
                <a:close/>
                <a:moveTo>
                  <a:pt x="9112431" y="166311"/>
                </a:moveTo>
                <a:cubicBezTo>
                  <a:pt x="9128600" y="166311"/>
                  <a:pt x="9141305" y="179016"/>
                  <a:pt x="9141305" y="195185"/>
                </a:cubicBezTo>
                <a:cubicBezTo>
                  <a:pt x="9141305" y="211354"/>
                  <a:pt x="9128600" y="224057"/>
                  <a:pt x="9112431" y="224057"/>
                </a:cubicBezTo>
                <a:cubicBezTo>
                  <a:pt x="9096262" y="224057"/>
                  <a:pt x="9083558" y="211354"/>
                  <a:pt x="9083558" y="195185"/>
                </a:cubicBezTo>
                <a:cubicBezTo>
                  <a:pt x="9083558" y="179016"/>
                  <a:pt x="9096262" y="166311"/>
                  <a:pt x="9112431" y="166311"/>
                </a:cubicBezTo>
                <a:close/>
                <a:moveTo>
                  <a:pt x="8299358" y="166311"/>
                </a:moveTo>
                <a:cubicBezTo>
                  <a:pt x="8315526" y="166311"/>
                  <a:pt x="8328231" y="179016"/>
                  <a:pt x="8328231" y="195185"/>
                </a:cubicBezTo>
                <a:cubicBezTo>
                  <a:pt x="8328231" y="211354"/>
                  <a:pt x="8315526" y="224057"/>
                  <a:pt x="8299358" y="224057"/>
                </a:cubicBezTo>
                <a:cubicBezTo>
                  <a:pt x="8283189" y="224057"/>
                  <a:pt x="8270485" y="211354"/>
                  <a:pt x="8270485" y="195185"/>
                </a:cubicBezTo>
                <a:cubicBezTo>
                  <a:pt x="8270485" y="179016"/>
                  <a:pt x="8283189" y="166311"/>
                  <a:pt x="8299358" y="166311"/>
                </a:cubicBezTo>
                <a:close/>
                <a:moveTo>
                  <a:pt x="6809492" y="166311"/>
                </a:moveTo>
                <a:cubicBezTo>
                  <a:pt x="6825661" y="166311"/>
                  <a:pt x="6838367" y="179016"/>
                  <a:pt x="6838367" y="195185"/>
                </a:cubicBezTo>
                <a:cubicBezTo>
                  <a:pt x="6838367" y="211354"/>
                  <a:pt x="6825661" y="224057"/>
                  <a:pt x="6809492" y="224057"/>
                </a:cubicBezTo>
                <a:cubicBezTo>
                  <a:pt x="6793324" y="224057"/>
                  <a:pt x="6780620" y="211354"/>
                  <a:pt x="6780620" y="195185"/>
                </a:cubicBezTo>
                <a:cubicBezTo>
                  <a:pt x="6780620" y="179016"/>
                  <a:pt x="6793324" y="166311"/>
                  <a:pt x="6809492" y="166311"/>
                </a:cubicBezTo>
                <a:close/>
                <a:moveTo>
                  <a:pt x="5726165" y="166311"/>
                </a:moveTo>
                <a:cubicBezTo>
                  <a:pt x="5741178" y="166311"/>
                  <a:pt x="5755038" y="179016"/>
                  <a:pt x="5755038" y="195185"/>
                </a:cubicBezTo>
                <a:cubicBezTo>
                  <a:pt x="5755038" y="211354"/>
                  <a:pt x="5742334" y="224057"/>
                  <a:pt x="5726165" y="224057"/>
                </a:cubicBezTo>
                <a:cubicBezTo>
                  <a:pt x="5709996" y="224057"/>
                  <a:pt x="5697292" y="211354"/>
                  <a:pt x="5697292" y="195185"/>
                </a:cubicBezTo>
                <a:cubicBezTo>
                  <a:pt x="5697292" y="179016"/>
                  <a:pt x="5709996" y="166311"/>
                  <a:pt x="5726165" y="166311"/>
                </a:cubicBezTo>
                <a:close/>
                <a:moveTo>
                  <a:pt x="4776809" y="166311"/>
                </a:moveTo>
                <a:cubicBezTo>
                  <a:pt x="4792978" y="166311"/>
                  <a:pt x="4805682" y="179016"/>
                  <a:pt x="4805682" y="195185"/>
                </a:cubicBezTo>
                <a:cubicBezTo>
                  <a:pt x="4805682" y="211354"/>
                  <a:pt x="4792978" y="224057"/>
                  <a:pt x="4776809" y="224057"/>
                </a:cubicBezTo>
                <a:cubicBezTo>
                  <a:pt x="4760640" y="224057"/>
                  <a:pt x="4747936" y="211354"/>
                  <a:pt x="4747936" y="195185"/>
                </a:cubicBezTo>
                <a:cubicBezTo>
                  <a:pt x="4747936" y="179016"/>
                  <a:pt x="4760640" y="166311"/>
                  <a:pt x="4776809" y="166311"/>
                </a:cubicBezTo>
                <a:close/>
                <a:moveTo>
                  <a:pt x="4499625" y="166311"/>
                </a:moveTo>
                <a:cubicBezTo>
                  <a:pt x="4515793" y="166311"/>
                  <a:pt x="4528499" y="179016"/>
                  <a:pt x="4528499" y="195185"/>
                </a:cubicBezTo>
                <a:cubicBezTo>
                  <a:pt x="4528499" y="211354"/>
                  <a:pt x="4515793" y="224057"/>
                  <a:pt x="4499625" y="224057"/>
                </a:cubicBezTo>
                <a:cubicBezTo>
                  <a:pt x="4483457" y="224057"/>
                  <a:pt x="4470752" y="211354"/>
                  <a:pt x="4470752" y="195185"/>
                </a:cubicBezTo>
                <a:cubicBezTo>
                  <a:pt x="4470752" y="179016"/>
                  <a:pt x="4483457" y="166311"/>
                  <a:pt x="4499625" y="166311"/>
                </a:cubicBezTo>
                <a:close/>
                <a:moveTo>
                  <a:pt x="3686551" y="166311"/>
                </a:moveTo>
                <a:cubicBezTo>
                  <a:pt x="3702719" y="166311"/>
                  <a:pt x="3715424" y="179016"/>
                  <a:pt x="3715424" y="195185"/>
                </a:cubicBezTo>
                <a:cubicBezTo>
                  <a:pt x="3715424" y="211354"/>
                  <a:pt x="3702719" y="224057"/>
                  <a:pt x="3686551" y="224057"/>
                </a:cubicBezTo>
                <a:cubicBezTo>
                  <a:pt x="3670381" y="224057"/>
                  <a:pt x="3657677" y="211354"/>
                  <a:pt x="3657677" y="195185"/>
                </a:cubicBezTo>
                <a:cubicBezTo>
                  <a:pt x="3657677" y="179016"/>
                  <a:pt x="3670381" y="166311"/>
                  <a:pt x="3686551" y="166311"/>
                </a:cubicBezTo>
                <a:close/>
                <a:moveTo>
                  <a:pt x="2196685" y="166311"/>
                </a:moveTo>
                <a:cubicBezTo>
                  <a:pt x="2212854" y="166311"/>
                  <a:pt x="2225559" y="179016"/>
                  <a:pt x="2225559" y="195185"/>
                </a:cubicBezTo>
                <a:cubicBezTo>
                  <a:pt x="2225559" y="211354"/>
                  <a:pt x="2212854" y="224057"/>
                  <a:pt x="2196685" y="224057"/>
                </a:cubicBezTo>
                <a:cubicBezTo>
                  <a:pt x="2180516" y="224057"/>
                  <a:pt x="2167813" y="211354"/>
                  <a:pt x="2167813" y="195185"/>
                </a:cubicBezTo>
                <a:cubicBezTo>
                  <a:pt x="2167813" y="179016"/>
                  <a:pt x="2180516" y="166311"/>
                  <a:pt x="2196685" y="166311"/>
                </a:cubicBezTo>
                <a:close/>
                <a:moveTo>
                  <a:pt x="1112202" y="166311"/>
                </a:moveTo>
                <a:cubicBezTo>
                  <a:pt x="1128371" y="166311"/>
                  <a:pt x="1141075" y="179016"/>
                  <a:pt x="1141075" y="195185"/>
                </a:cubicBezTo>
                <a:cubicBezTo>
                  <a:pt x="1141075" y="211354"/>
                  <a:pt x="1128371" y="224057"/>
                  <a:pt x="1112202" y="224057"/>
                </a:cubicBezTo>
                <a:cubicBezTo>
                  <a:pt x="1096033" y="224057"/>
                  <a:pt x="1083328" y="211354"/>
                  <a:pt x="1083328" y="195185"/>
                </a:cubicBezTo>
                <a:cubicBezTo>
                  <a:pt x="1083328" y="179016"/>
                  <a:pt x="1096033" y="166311"/>
                  <a:pt x="1112202" y="166311"/>
                </a:cubicBezTo>
                <a:close/>
                <a:moveTo>
                  <a:pt x="164001" y="166311"/>
                </a:moveTo>
                <a:cubicBezTo>
                  <a:pt x="180170" y="166311"/>
                  <a:pt x="192875" y="179016"/>
                  <a:pt x="192875" y="195185"/>
                </a:cubicBezTo>
                <a:cubicBezTo>
                  <a:pt x="192875" y="211354"/>
                  <a:pt x="180170" y="224057"/>
                  <a:pt x="164001" y="224057"/>
                </a:cubicBezTo>
                <a:cubicBezTo>
                  <a:pt x="147832" y="224057"/>
                  <a:pt x="135128" y="211354"/>
                  <a:pt x="135128" y="195185"/>
                </a:cubicBezTo>
                <a:cubicBezTo>
                  <a:pt x="135128" y="179016"/>
                  <a:pt x="147832" y="166311"/>
                  <a:pt x="164001" y="166311"/>
                </a:cubicBezTo>
                <a:close/>
                <a:moveTo>
                  <a:pt x="11279692" y="160537"/>
                </a:moveTo>
                <a:cubicBezTo>
                  <a:pt x="11298171" y="160537"/>
                  <a:pt x="11314340" y="176706"/>
                  <a:pt x="11314340" y="195185"/>
                </a:cubicBezTo>
                <a:cubicBezTo>
                  <a:pt x="11314340" y="213664"/>
                  <a:pt x="11299326" y="229833"/>
                  <a:pt x="11279692" y="229833"/>
                </a:cubicBezTo>
                <a:cubicBezTo>
                  <a:pt x="11261213" y="229833"/>
                  <a:pt x="11245044" y="213664"/>
                  <a:pt x="11245044" y="195185"/>
                </a:cubicBezTo>
                <a:cubicBezTo>
                  <a:pt x="11245044" y="176706"/>
                  <a:pt x="11260058" y="160537"/>
                  <a:pt x="11279692" y="160537"/>
                </a:cubicBezTo>
                <a:close/>
                <a:moveTo>
                  <a:pt x="10195208" y="160537"/>
                </a:moveTo>
                <a:cubicBezTo>
                  <a:pt x="10214843" y="160537"/>
                  <a:pt x="10229856" y="176706"/>
                  <a:pt x="10229856" y="195185"/>
                </a:cubicBezTo>
                <a:cubicBezTo>
                  <a:pt x="10229856" y="213664"/>
                  <a:pt x="10213687" y="229833"/>
                  <a:pt x="10195208" y="229833"/>
                </a:cubicBezTo>
                <a:cubicBezTo>
                  <a:pt x="10176729" y="229833"/>
                  <a:pt x="10160560" y="213664"/>
                  <a:pt x="10160560" y="195185"/>
                </a:cubicBezTo>
                <a:cubicBezTo>
                  <a:pt x="10160560" y="176706"/>
                  <a:pt x="10175575" y="160537"/>
                  <a:pt x="10195208" y="160537"/>
                </a:cubicBezTo>
                <a:close/>
                <a:moveTo>
                  <a:pt x="9518417" y="160537"/>
                </a:moveTo>
                <a:cubicBezTo>
                  <a:pt x="9536896" y="160537"/>
                  <a:pt x="9553065" y="176706"/>
                  <a:pt x="9553065" y="195185"/>
                </a:cubicBezTo>
                <a:cubicBezTo>
                  <a:pt x="9553065" y="213664"/>
                  <a:pt x="9536896" y="229833"/>
                  <a:pt x="9518417" y="229833"/>
                </a:cubicBezTo>
                <a:cubicBezTo>
                  <a:pt x="9499938" y="229833"/>
                  <a:pt x="9483769" y="213664"/>
                  <a:pt x="9483769" y="195185"/>
                </a:cubicBezTo>
                <a:cubicBezTo>
                  <a:pt x="9483769" y="176706"/>
                  <a:pt x="9498784" y="160537"/>
                  <a:pt x="9518417" y="160537"/>
                </a:cubicBezTo>
                <a:close/>
                <a:moveTo>
                  <a:pt x="8977304" y="160537"/>
                </a:moveTo>
                <a:cubicBezTo>
                  <a:pt x="8995783" y="160537"/>
                  <a:pt x="9011952" y="176706"/>
                  <a:pt x="9011952" y="195185"/>
                </a:cubicBezTo>
                <a:cubicBezTo>
                  <a:pt x="9011952" y="213664"/>
                  <a:pt x="8996938" y="229833"/>
                  <a:pt x="8977304" y="229833"/>
                </a:cubicBezTo>
                <a:cubicBezTo>
                  <a:pt x="8958825" y="229833"/>
                  <a:pt x="8942656" y="213664"/>
                  <a:pt x="8942656" y="195185"/>
                </a:cubicBezTo>
                <a:cubicBezTo>
                  <a:pt x="8942656" y="176706"/>
                  <a:pt x="8957670" y="160537"/>
                  <a:pt x="8977304" y="160537"/>
                </a:cubicBezTo>
                <a:close/>
                <a:moveTo>
                  <a:pt x="8434485" y="160537"/>
                </a:moveTo>
                <a:cubicBezTo>
                  <a:pt x="8454118" y="160537"/>
                  <a:pt x="8469133" y="176706"/>
                  <a:pt x="8469133" y="195185"/>
                </a:cubicBezTo>
                <a:cubicBezTo>
                  <a:pt x="8469133" y="213664"/>
                  <a:pt x="8454118" y="229833"/>
                  <a:pt x="8434485" y="229833"/>
                </a:cubicBezTo>
                <a:cubicBezTo>
                  <a:pt x="8416006" y="229833"/>
                  <a:pt x="8399837" y="213664"/>
                  <a:pt x="8399837" y="195185"/>
                </a:cubicBezTo>
                <a:cubicBezTo>
                  <a:pt x="8399837" y="176706"/>
                  <a:pt x="8414851" y="160537"/>
                  <a:pt x="8434485" y="160537"/>
                </a:cubicBezTo>
                <a:close/>
                <a:moveTo>
                  <a:pt x="6674366" y="160537"/>
                </a:moveTo>
                <a:cubicBezTo>
                  <a:pt x="6692845" y="160537"/>
                  <a:pt x="6709014" y="176706"/>
                  <a:pt x="6709014" y="195185"/>
                </a:cubicBezTo>
                <a:cubicBezTo>
                  <a:pt x="6709014" y="213664"/>
                  <a:pt x="6692845" y="229833"/>
                  <a:pt x="6674366" y="229833"/>
                </a:cubicBezTo>
                <a:cubicBezTo>
                  <a:pt x="6655888" y="229833"/>
                  <a:pt x="6639717" y="213664"/>
                  <a:pt x="6639717" y="195185"/>
                </a:cubicBezTo>
                <a:cubicBezTo>
                  <a:pt x="6639717" y="176706"/>
                  <a:pt x="6654732" y="160537"/>
                  <a:pt x="6674366" y="160537"/>
                </a:cubicBezTo>
                <a:close/>
                <a:moveTo>
                  <a:pt x="5589882" y="160537"/>
                </a:moveTo>
                <a:cubicBezTo>
                  <a:pt x="5609516" y="160537"/>
                  <a:pt x="5624531" y="176706"/>
                  <a:pt x="5624531" y="195185"/>
                </a:cubicBezTo>
                <a:cubicBezTo>
                  <a:pt x="5624531" y="213664"/>
                  <a:pt x="5609516" y="229833"/>
                  <a:pt x="5589882" y="229833"/>
                </a:cubicBezTo>
                <a:cubicBezTo>
                  <a:pt x="5571403" y="229833"/>
                  <a:pt x="5555234" y="213664"/>
                  <a:pt x="5555234" y="195185"/>
                </a:cubicBezTo>
                <a:cubicBezTo>
                  <a:pt x="5555234" y="176706"/>
                  <a:pt x="5570250" y="160537"/>
                  <a:pt x="5589882" y="160537"/>
                </a:cubicBezTo>
                <a:close/>
                <a:moveTo>
                  <a:pt x="4913091" y="160537"/>
                </a:moveTo>
                <a:cubicBezTo>
                  <a:pt x="4931569" y="160537"/>
                  <a:pt x="4947739" y="176706"/>
                  <a:pt x="4947739" y="195185"/>
                </a:cubicBezTo>
                <a:cubicBezTo>
                  <a:pt x="4947739" y="213664"/>
                  <a:pt x="4932726" y="229833"/>
                  <a:pt x="4913091" y="229833"/>
                </a:cubicBezTo>
                <a:cubicBezTo>
                  <a:pt x="4894612" y="229833"/>
                  <a:pt x="4878443" y="213664"/>
                  <a:pt x="4878443" y="195185"/>
                </a:cubicBezTo>
                <a:cubicBezTo>
                  <a:pt x="4878443" y="176706"/>
                  <a:pt x="4893458" y="160537"/>
                  <a:pt x="4913091" y="160537"/>
                </a:cubicBezTo>
                <a:close/>
                <a:moveTo>
                  <a:pt x="4364499" y="160537"/>
                </a:moveTo>
                <a:cubicBezTo>
                  <a:pt x="4382977" y="160537"/>
                  <a:pt x="4399146" y="176706"/>
                  <a:pt x="4399146" y="195185"/>
                </a:cubicBezTo>
                <a:cubicBezTo>
                  <a:pt x="4399146" y="213664"/>
                  <a:pt x="4384131" y="229833"/>
                  <a:pt x="4364499" y="229833"/>
                </a:cubicBezTo>
                <a:cubicBezTo>
                  <a:pt x="4346018" y="229833"/>
                  <a:pt x="4329850" y="213664"/>
                  <a:pt x="4329850" y="195185"/>
                </a:cubicBezTo>
                <a:cubicBezTo>
                  <a:pt x="4329850" y="176706"/>
                  <a:pt x="4344863" y="160537"/>
                  <a:pt x="4364499" y="160537"/>
                </a:cubicBezTo>
                <a:close/>
                <a:moveTo>
                  <a:pt x="3821678" y="160537"/>
                </a:moveTo>
                <a:cubicBezTo>
                  <a:pt x="3841311" y="160537"/>
                  <a:pt x="3856326" y="176706"/>
                  <a:pt x="3856326" y="195185"/>
                </a:cubicBezTo>
                <a:cubicBezTo>
                  <a:pt x="3856326" y="213664"/>
                  <a:pt x="3841311" y="229833"/>
                  <a:pt x="3821678" y="229833"/>
                </a:cubicBezTo>
                <a:cubicBezTo>
                  <a:pt x="3803199" y="229833"/>
                  <a:pt x="3787030" y="213664"/>
                  <a:pt x="3787030" y="195185"/>
                </a:cubicBezTo>
                <a:cubicBezTo>
                  <a:pt x="3787030" y="176706"/>
                  <a:pt x="3802045" y="160537"/>
                  <a:pt x="3821678" y="160537"/>
                </a:cubicBezTo>
                <a:close/>
                <a:moveTo>
                  <a:pt x="2061558" y="160537"/>
                </a:moveTo>
                <a:cubicBezTo>
                  <a:pt x="2080037" y="160537"/>
                  <a:pt x="2096206" y="176706"/>
                  <a:pt x="2096206" y="195185"/>
                </a:cubicBezTo>
                <a:cubicBezTo>
                  <a:pt x="2096206" y="213664"/>
                  <a:pt x="2081192" y="229833"/>
                  <a:pt x="2061558" y="229833"/>
                </a:cubicBezTo>
                <a:cubicBezTo>
                  <a:pt x="2043080" y="229833"/>
                  <a:pt x="2026910" y="213664"/>
                  <a:pt x="2026910" y="195185"/>
                </a:cubicBezTo>
                <a:cubicBezTo>
                  <a:pt x="2026910" y="176706"/>
                  <a:pt x="2041924" y="160537"/>
                  <a:pt x="2061558" y="160537"/>
                </a:cubicBezTo>
                <a:close/>
                <a:moveTo>
                  <a:pt x="977075" y="160537"/>
                </a:moveTo>
                <a:cubicBezTo>
                  <a:pt x="996709" y="160537"/>
                  <a:pt x="1011723" y="176706"/>
                  <a:pt x="1011723" y="195185"/>
                </a:cubicBezTo>
                <a:cubicBezTo>
                  <a:pt x="1011723" y="213664"/>
                  <a:pt x="995554" y="229833"/>
                  <a:pt x="977075" y="229833"/>
                </a:cubicBezTo>
                <a:cubicBezTo>
                  <a:pt x="958596" y="229833"/>
                  <a:pt x="942427" y="213664"/>
                  <a:pt x="942427" y="195185"/>
                </a:cubicBezTo>
                <a:cubicBezTo>
                  <a:pt x="942427" y="176706"/>
                  <a:pt x="957441" y="160537"/>
                  <a:pt x="977075" y="160537"/>
                </a:cubicBezTo>
                <a:close/>
                <a:moveTo>
                  <a:pt x="300283" y="160537"/>
                </a:moveTo>
                <a:cubicBezTo>
                  <a:pt x="318762" y="160537"/>
                  <a:pt x="334931" y="176706"/>
                  <a:pt x="334931" y="195185"/>
                </a:cubicBezTo>
                <a:cubicBezTo>
                  <a:pt x="334931" y="213664"/>
                  <a:pt x="318762" y="229833"/>
                  <a:pt x="300283" y="229833"/>
                </a:cubicBezTo>
                <a:cubicBezTo>
                  <a:pt x="281804" y="229833"/>
                  <a:pt x="265635" y="213664"/>
                  <a:pt x="265635" y="195185"/>
                </a:cubicBezTo>
                <a:cubicBezTo>
                  <a:pt x="265635" y="176706"/>
                  <a:pt x="280650" y="160537"/>
                  <a:pt x="300283" y="160537"/>
                </a:cubicBezTo>
                <a:close/>
                <a:moveTo>
                  <a:pt x="11143410" y="154761"/>
                </a:moveTo>
                <a:cubicBezTo>
                  <a:pt x="11166509" y="154761"/>
                  <a:pt x="11183832" y="173240"/>
                  <a:pt x="11183832" y="195185"/>
                </a:cubicBezTo>
                <a:cubicBezTo>
                  <a:pt x="11183832" y="217128"/>
                  <a:pt x="11165353" y="235607"/>
                  <a:pt x="11143410" y="235607"/>
                </a:cubicBezTo>
                <a:cubicBezTo>
                  <a:pt x="11121466" y="235607"/>
                  <a:pt x="11102987" y="217128"/>
                  <a:pt x="11102987" y="195185"/>
                </a:cubicBezTo>
                <a:cubicBezTo>
                  <a:pt x="11102987" y="173240"/>
                  <a:pt x="11121466" y="154761"/>
                  <a:pt x="11143410" y="154761"/>
                </a:cubicBezTo>
                <a:close/>
                <a:moveTo>
                  <a:pt x="10873155" y="154761"/>
                </a:moveTo>
                <a:cubicBezTo>
                  <a:pt x="10895098" y="154761"/>
                  <a:pt x="10913577" y="173240"/>
                  <a:pt x="10913577" y="195185"/>
                </a:cubicBezTo>
                <a:cubicBezTo>
                  <a:pt x="10913577" y="217128"/>
                  <a:pt x="10895098" y="235607"/>
                  <a:pt x="10873155" y="235607"/>
                </a:cubicBezTo>
                <a:cubicBezTo>
                  <a:pt x="10851211" y="235607"/>
                  <a:pt x="10832732" y="217128"/>
                  <a:pt x="10832732" y="195185"/>
                </a:cubicBezTo>
                <a:cubicBezTo>
                  <a:pt x="10832732" y="173240"/>
                  <a:pt x="10851211" y="154761"/>
                  <a:pt x="10873155" y="154761"/>
                </a:cubicBezTo>
                <a:close/>
                <a:moveTo>
                  <a:pt x="10060082" y="154761"/>
                </a:moveTo>
                <a:cubicBezTo>
                  <a:pt x="10082025" y="154761"/>
                  <a:pt x="10100504" y="173240"/>
                  <a:pt x="10100504" y="195185"/>
                </a:cubicBezTo>
                <a:cubicBezTo>
                  <a:pt x="10100504" y="217128"/>
                  <a:pt x="10082025" y="235607"/>
                  <a:pt x="10060082" y="235607"/>
                </a:cubicBezTo>
                <a:cubicBezTo>
                  <a:pt x="10038137" y="235607"/>
                  <a:pt x="10019658" y="217128"/>
                  <a:pt x="10019658" y="195185"/>
                </a:cubicBezTo>
                <a:cubicBezTo>
                  <a:pt x="10019658" y="173240"/>
                  <a:pt x="10038137" y="154761"/>
                  <a:pt x="10060082" y="154761"/>
                </a:cubicBezTo>
                <a:close/>
                <a:moveTo>
                  <a:pt x="9653545" y="154761"/>
                </a:moveTo>
                <a:cubicBezTo>
                  <a:pt x="9675488" y="154761"/>
                  <a:pt x="9693967" y="173240"/>
                  <a:pt x="9693967" y="195185"/>
                </a:cubicBezTo>
                <a:cubicBezTo>
                  <a:pt x="9693967" y="217128"/>
                  <a:pt x="9675488" y="235607"/>
                  <a:pt x="9653545" y="235607"/>
                </a:cubicBezTo>
                <a:cubicBezTo>
                  <a:pt x="9631600" y="235607"/>
                  <a:pt x="9613122" y="217128"/>
                  <a:pt x="9613122" y="195185"/>
                </a:cubicBezTo>
                <a:cubicBezTo>
                  <a:pt x="9613122" y="173240"/>
                  <a:pt x="9631600" y="154761"/>
                  <a:pt x="9653545" y="154761"/>
                </a:cubicBezTo>
                <a:close/>
                <a:moveTo>
                  <a:pt x="8841022" y="154761"/>
                </a:moveTo>
                <a:cubicBezTo>
                  <a:pt x="8864121" y="154761"/>
                  <a:pt x="8881444" y="173240"/>
                  <a:pt x="8881444" y="195185"/>
                </a:cubicBezTo>
                <a:cubicBezTo>
                  <a:pt x="8881444" y="217128"/>
                  <a:pt x="8862965" y="235607"/>
                  <a:pt x="8841022" y="235607"/>
                </a:cubicBezTo>
                <a:cubicBezTo>
                  <a:pt x="8819078" y="235607"/>
                  <a:pt x="8800599" y="217128"/>
                  <a:pt x="8800599" y="195185"/>
                </a:cubicBezTo>
                <a:cubicBezTo>
                  <a:pt x="8800599" y="173240"/>
                  <a:pt x="8819078" y="154761"/>
                  <a:pt x="8841022" y="154761"/>
                </a:cubicBezTo>
                <a:close/>
                <a:moveTo>
                  <a:pt x="8570767" y="154761"/>
                </a:moveTo>
                <a:cubicBezTo>
                  <a:pt x="8592711" y="154761"/>
                  <a:pt x="8611190" y="173240"/>
                  <a:pt x="8611190" y="195185"/>
                </a:cubicBezTo>
                <a:cubicBezTo>
                  <a:pt x="8611190" y="217128"/>
                  <a:pt x="8592711" y="235607"/>
                  <a:pt x="8570767" y="235607"/>
                </a:cubicBezTo>
                <a:cubicBezTo>
                  <a:pt x="8548823" y="235607"/>
                  <a:pt x="8530344" y="217128"/>
                  <a:pt x="8530344" y="195185"/>
                </a:cubicBezTo>
                <a:cubicBezTo>
                  <a:pt x="8530344" y="173240"/>
                  <a:pt x="8548823" y="154761"/>
                  <a:pt x="8570767" y="154761"/>
                </a:cubicBezTo>
                <a:close/>
                <a:moveTo>
                  <a:pt x="6538083" y="154761"/>
                </a:moveTo>
                <a:cubicBezTo>
                  <a:pt x="6561183" y="154761"/>
                  <a:pt x="6578507" y="173240"/>
                  <a:pt x="6578507" y="195185"/>
                </a:cubicBezTo>
                <a:cubicBezTo>
                  <a:pt x="6578507" y="217128"/>
                  <a:pt x="6560028" y="235607"/>
                  <a:pt x="6538083" y="235607"/>
                </a:cubicBezTo>
                <a:cubicBezTo>
                  <a:pt x="6516139" y="235607"/>
                  <a:pt x="6497661" y="217128"/>
                  <a:pt x="6497661" y="195185"/>
                </a:cubicBezTo>
                <a:cubicBezTo>
                  <a:pt x="6497661" y="173240"/>
                  <a:pt x="6516139" y="154761"/>
                  <a:pt x="6538083" y="154761"/>
                </a:cubicBezTo>
                <a:close/>
                <a:moveTo>
                  <a:pt x="6267830" y="154761"/>
                </a:moveTo>
                <a:cubicBezTo>
                  <a:pt x="6289772" y="154761"/>
                  <a:pt x="6308251" y="173240"/>
                  <a:pt x="6308251" y="195185"/>
                </a:cubicBezTo>
                <a:cubicBezTo>
                  <a:pt x="6308251" y="217128"/>
                  <a:pt x="6289772" y="235607"/>
                  <a:pt x="6267830" y="235607"/>
                </a:cubicBezTo>
                <a:cubicBezTo>
                  <a:pt x="6245885" y="235607"/>
                  <a:pt x="6227406" y="217128"/>
                  <a:pt x="6227406" y="195185"/>
                </a:cubicBezTo>
                <a:cubicBezTo>
                  <a:pt x="6227406" y="173240"/>
                  <a:pt x="6245885" y="154761"/>
                  <a:pt x="6267830" y="154761"/>
                </a:cubicBezTo>
                <a:close/>
                <a:moveTo>
                  <a:pt x="5454756" y="154761"/>
                </a:moveTo>
                <a:cubicBezTo>
                  <a:pt x="5476698" y="154761"/>
                  <a:pt x="5495178" y="173240"/>
                  <a:pt x="5495178" y="195185"/>
                </a:cubicBezTo>
                <a:cubicBezTo>
                  <a:pt x="5495178" y="217128"/>
                  <a:pt x="5476698" y="235607"/>
                  <a:pt x="5454756" y="235607"/>
                </a:cubicBezTo>
                <a:cubicBezTo>
                  <a:pt x="5432812" y="235607"/>
                  <a:pt x="5414332" y="217128"/>
                  <a:pt x="5414332" y="195185"/>
                </a:cubicBezTo>
                <a:cubicBezTo>
                  <a:pt x="5414332" y="173240"/>
                  <a:pt x="5432812" y="154761"/>
                  <a:pt x="5454756" y="154761"/>
                </a:cubicBezTo>
                <a:close/>
                <a:moveTo>
                  <a:pt x="5048218" y="154761"/>
                </a:moveTo>
                <a:cubicBezTo>
                  <a:pt x="5070162" y="154761"/>
                  <a:pt x="5088641" y="173240"/>
                  <a:pt x="5088641" y="195185"/>
                </a:cubicBezTo>
                <a:cubicBezTo>
                  <a:pt x="5088641" y="217128"/>
                  <a:pt x="5070162" y="235607"/>
                  <a:pt x="5048218" y="235607"/>
                </a:cubicBezTo>
                <a:cubicBezTo>
                  <a:pt x="5026274" y="235607"/>
                  <a:pt x="5007796" y="217128"/>
                  <a:pt x="5007796" y="195185"/>
                </a:cubicBezTo>
                <a:cubicBezTo>
                  <a:pt x="5007796" y="173240"/>
                  <a:pt x="5026274" y="154761"/>
                  <a:pt x="5048218" y="154761"/>
                </a:cubicBezTo>
                <a:close/>
                <a:moveTo>
                  <a:pt x="4228217" y="154761"/>
                </a:moveTo>
                <a:cubicBezTo>
                  <a:pt x="4251315" y="154761"/>
                  <a:pt x="4268637" y="173240"/>
                  <a:pt x="4268637" y="195185"/>
                </a:cubicBezTo>
                <a:cubicBezTo>
                  <a:pt x="4268637" y="217128"/>
                  <a:pt x="4250160" y="235607"/>
                  <a:pt x="4228217" y="235607"/>
                </a:cubicBezTo>
                <a:cubicBezTo>
                  <a:pt x="4206271" y="235607"/>
                  <a:pt x="4187792" y="217128"/>
                  <a:pt x="4187792" y="195185"/>
                </a:cubicBezTo>
                <a:cubicBezTo>
                  <a:pt x="4187792" y="173240"/>
                  <a:pt x="4206271" y="154761"/>
                  <a:pt x="4228217" y="154761"/>
                </a:cubicBezTo>
                <a:close/>
                <a:moveTo>
                  <a:pt x="3957960" y="154761"/>
                </a:moveTo>
                <a:cubicBezTo>
                  <a:pt x="3979904" y="154761"/>
                  <a:pt x="3998382" y="173240"/>
                  <a:pt x="3998382" y="195185"/>
                </a:cubicBezTo>
                <a:cubicBezTo>
                  <a:pt x="3998382" y="217128"/>
                  <a:pt x="3979904" y="235607"/>
                  <a:pt x="3957960" y="235607"/>
                </a:cubicBezTo>
                <a:cubicBezTo>
                  <a:pt x="3936016" y="235607"/>
                  <a:pt x="3917537" y="217128"/>
                  <a:pt x="3917537" y="195185"/>
                </a:cubicBezTo>
                <a:cubicBezTo>
                  <a:pt x="3917537" y="173240"/>
                  <a:pt x="3936016" y="154761"/>
                  <a:pt x="3957960" y="154761"/>
                </a:cubicBezTo>
                <a:close/>
                <a:moveTo>
                  <a:pt x="1925276" y="154761"/>
                </a:moveTo>
                <a:cubicBezTo>
                  <a:pt x="1948375" y="154761"/>
                  <a:pt x="1965698" y="173240"/>
                  <a:pt x="1965698" y="195185"/>
                </a:cubicBezTo>
                <a:cubicBezTo>
                  <a:pt x="1965698" y="217128"/>
                  <a:pt x="1947219" y="235607"/>
                  <a:pt x="1925276" y="235607"/>
                </a:cubicBezTo>
                <a:cubicBezTo>
                  <a:pt x="1903332" y="235607"/>
                  <a:pt x="1884853" y="217128"/>
                  <a:pt x="1884853" y="195185"/>
                </a:cubicBezTo>
                <a:cubicBezTo>
                  <a:pt x="1884853" y="173240"/>
                  <a:pt x="1903332" y="154761"/>
                  <a:pt x="1925276" y="154761"/>
                </a:cubicBezTo>
                <a:close/>
                <a:moveTo>
                  <a:pt x="1655022" y="154761"/>
                </a:moveTo>
                <a:cubicBezTo>
                  <a:pt x="1676965" y="154761"/>
                  <a:pt x="1695444" y="173240"/>
                  <a:pt x="1695444" y="195185"/>
                </a:cubicBezTo>
                <a:cubicBezTo>
                  <a:pt x="1695444" y="217128"/>
                  <a:pt x="1676965" y="235607"/>
                  <a:pt x="1655022" y="235607"/>
                </a:cubicBezTo>
                <a:cubicBezTo>
                  <a:pt x="1633077" y="235607"/>
                  <a:pt x="1614598" y="217128"/>
                  <a:pt x="1614598" y="195185"/>
                </a:cubicBezTo>
                <a:cubicBezTo>
                  <a:pt x="1614598" y="173240"/>
                  <a:pt x="1633077" y="154761"/>
                  <a:pt x="1655022" y="154761"/>
                </a:cubicBezTo>
                <a:close/>
                <a:moveTo>
                  <a:pt x="841948" y="154761"/>
                </a:moveTo>
                <a:cubicBezTo>
                  <a:pt x="863891" y="154761"/>
                  <a:pt x="882370" y="173240"/>
                  <a:pt x="882370" y="195185"/>
                </a:cubicBezTo>
                <a:cubicBezTo>
                  <a:pt x="882370" y="217128"/>
                  <a:pt x="863891" y="235607"/>
                  <a:pt x="841948" y="235607"/>
                </a:cubicBezTo>
                <a:cubicBezTo>
                  <a:pt x="820004" y="235607"/>
                  <a:pt x="801525" y="217128"/>
                  <a:pt x="801525" y="195185"/>
                </a:cubicBezTo>
                <a:cubicBezTo>
                  <a:pt x="801525" y="173240"/>
                  <a:pt x="820004" y="154761"/>
                  <a:pt x="841948" y="154761"/>
                </a:cubicBezTo>
                <a:close/>
                <a:moveTo>
                  <a:pt x="435411" y="154761"/>
                </a:moveTo>
                <a:cubicBezTo>
                  <a:pt x="457354" y="154761"/>
                  <a:pt x="475833" y="173240"/>
                  <a:pt x="475833" y="195185"/>
                </a:cubicBezTo>
                <a:cubicBezTo>
                  <a:pt x="475833" y="217128"/>
                  <a:pt x="457354" y="235607"/>
                  <a:pt x="435411" y="235607"/>
                </a:cubicBezTo>
                <a:cubicBezTo>
                  <a:pt x="413467" y="235607"/>
                  <a:pt x="394988" y="217128"/>
                  <a:pt x="394988" y="195185"/>
                </a:cubicBezTo>
                <a:cubicBezTo>
                  <a:pt x="394988" y="173240"/>
                  <a:pt x="413467" y="154761"/>
                  <a:pt x="435411" y="154761"/>
                </a:cubicBezTo>
                <a:close/>
                <a:moveTo>
                  <a:pt x="11008282" y="144368"/>
                </a:moveTo>
                <a:cubicBezTo>
                  <a:pt x="11036000" y="144368"/>
                  <a:pt x="11059099" y="167466"/>
                  <a:pt x="11059099" y="195185"/>
                </a:cubicBezTo>
                <a:cubicBezTo>
                  <a:pt x="11059099" y="222903"/>
                  <a:pt x="11037156" y="246002"/>
                  <a:pt x="11008282" y="246002"/>
                </a:cubicBezTo>
                <a:cubicBezTo>
                  <a:pt x="10980564" y="246002"/>
                  <a:pt x="10957465" y="222903"/>
                  <a:pt x="10957465" y="195185"/>
                </a:cubicBezTo>
                <a:cubicBezTo>
                  <a:pt x="10957465" y="167466"/>
                  <a:pt x="10979409" y="144368"/>
                  <a:pt x="11008282" y="144368"/>
                </a:cubicBezTo>
                <a:close/>
                <a:moveTo>
                  <a:pt x="9924954" y="144368"/>
                </a:moveTo>
                <a:cubicBezTo>
                  <a:pt x="9952672" y="144368"/>
                  <a:pt x="9975771" y="167466"/>
                  <a:pt x="9975771" y="195185"/>
                </a:cubicBezTo>
                <a:cubicBezTo>
                  <a:pt x="9975771" y="222903"/>
                  <a:pt x="9953828" y="246002"/>
                  <a:pt x="9924954" y="246002"/>
                </a:cubicBezTo>
                <a:cubicBezTo>
                  <a:pt x="9897235" y="246002"/>
                  <a:pt x="9874137" y="222903"/>
                  <a:pt x="9874137" y="195185"/>
                </a:cubicBezTo>
                <a:cubicBezTo>
                  <a:pt x="9874137" y="167466"/>
                  <a:pt x="9896081" y="144368"/>
                  <a:pt x="9924954" y="144368"/>
                </a:cubicBezTo>
                <a:close/>
                <a:moveTo>
                  <a:pt x="9788672" y="144368"/>
                </a:moveTo>
                <a:cubicBezTo>
                  <a:pt x="9817545" y="144368"/>
                  <a:pt x="9839489" y="167466"/>
                  <a:pt x="9839489" y="195185"/>
                </a:cubicBezTo>
                <a:cubicBezTo>
                  <a:pt x="9839489" y="222903"/>
                  <a:pt x="9816390" y="246002"/>
                  <a:pt x="9788672" y="246002"/>
                </a:cubicBezTo>
                <a:cubicBezTo>
                  <a:pt x="9760953" y="246002"/>
                  <a:pt x="9737854" y="222903"/>
                  <a:pt x="9737854" y="195185"/>
                </a:cubicBezTo>
                <a:cubicBezTo>
                  <a:pt x="9737854" y="167466"/>
                  <a:pt x="9759799" y="144368"/>
                  <a:pt x="9788672" y="144368"/>
                </a:cubicBezTo>
                <a:close/>
                <a:moveTo>
                  <a:pt x="8705894" y="144368"/>
                </a:moveTo>
                <a:cubicBezTo>
                  <a:pt x="8733613" y="144368"/>
                  <a:pt x="8756711" y="167466"/>
                  <a:pt x="8756711" y="195185"/>
                </a:cubicBezTo>
                <a:cubicBezTo>
                  <a:pt x="8756711" y="222903"/>
                  <a:pt x="8733613" y="246002"/>
                  <a:pt x="8705894" y="246002"/>
                </a:cubicBezTo>
                <a:cubicBezTo>
                  <a:pt x="8678176" y="246002"/>
                  <a:pt x="8655077" y="222903"/>
                  <a:pt x="8655077" y="195185"/>
                </a:cubicBezTo>
                <a:cubicBezTo>
                  <a:pt x="8655077" y="167466"/>
                  <a:pt x="8677021" y="144368"/>
                  <a:pt x="8705894" y="144368"/>
                </a:cubicBezTo>
                <a:close/>
                <a:moveTo>
                  <a:pt x="6402956" y="144368"/>
                </a:moveTo>
                <a:cubicBezTo>
                  <a:pt x="6431830" y="144368"/>
                  <a:pt x="6453773" y="167466"/>
                  <a:pt x="6453773" y="195185"/>
                </a:cubicBezTo>
                <a:cubicBezTo>
                  <a:pt x="6453773" y="222903"/>
                  <a:pt x="6431830" y="246002"/>
                  <a:pt x="6402956" y="246002"/>
                </a:cubicBezTo>
                <a:cubicBezTo>
                  <a:pt x="6375237" y="246002"/>
                  <a:pt x="6352139" y="222903"/>
                  <a:pt x="6352139" y="195185"/>
                </a:cubicBezTo>
                <a:cubicBezTo>
                  <a:pt x="6352139" y="167466"/>
                  <a:pt x="6374084" y="144368"/>
                  <a:pt x="6402956" y="144368"/>
                </a:cubicBezTo>
                <a:close/>
                <a:moveTo>
                  <a:pt x="5319628" y="144368"/>
                </a:moveTo>
                <a:cubicBezTo>
                  <a:pt x="5347347" y="144368"/>
                  <a:pt x="5370444" y="167466"/>
                  <a:pt x="5370444" y="195185"/>
                </a:cubicBezTo>
                <a:cubicBezTo>
                  <a:pt x="5370444" y="222903"/>
                  <a:pt x="5347347" y="246002"/>
                  <a:pt x="5319628" y="246002"/>
                </a:cubicBezTo>
                <a:cubicBezTo>
                  <a:pt x="5291910" y="246002"/>
                  <a:pt x="5268810" y="222903"/>
                  <a:pt x="5268810" y="195185"/>
                </a:cubicBezTo>
                <a:cubicBezTo>
                  <a:pt x="5268810" y="167466"/>
                  <a:pt x="5290756" y="144368"/>
                  <a:pt x="5319628" y="144368"/>
                </a:cubicBezTo>
                <a:close/>
                <a:moveTo>
                  <a:pt x="5183346" y="144368"/>
                </a:moveTo>
                <a:cubicBezTo>
                  <a:pt x="5212220" y="144368"/>
                  <a:pt x="5234162" y="167466"/>
                  <a:pt x="5234162" y="195185"/>
                </a:cubicBezTo>
                <a:cubicBezTo>
                  <a:pt x="5234162" y="222903"/>
                  <a:pt x="5211064" y="246002"/>
                  <a:pt x="5183346" y="246002"/>
                </a:cubicBezTo>
                <a:cubicBezTo>
                  <a:pt x="5155627" y="246002"/>
                  <a:pt x="5132528" y="222903"/>
                  <a:pt x="5132528" y="195185"/>
                </a:cubicBezTo>
                <a:cubicBezTo>
                  <a:pt x="5132528" y="167466"/>
                  <a:pt x="5154473" y="144368"/>
                  <a:pt x="5183346" y="144368"/>
                </a:cubicBezTo>
                <a:close/>
                <a:moveTo>
                  <a:pt x="4093087" y="144368"/>
                </a:moveTo>
                <a:cubicBezTo>
                  <a:pt x="4120806" y="144368"/>
                  <a:pt x="4143904" y="167466"/>
                  <a:pt x="4143904" y="195185"/>
                </a:cubicBezTo>
                <a:cubicBezTo>
                  <a:pt x="4143904" y="222903"/>
                  <a:pt x="4120806" y="246002"/>
                  <a:pt x="4093087" y="246002"/>
                </a:cubicBezTo>
                <a:cubicBezTo>
                  <a:pt x="4065369" y="246002"/>
                  <a:pt x="4042270" y="222903"/>
                  <a:pt x="4042270" y="195185"/>
                </a:cubicBezTo>
                <a:cubicBezTo>
                  <a:pt x="4042270" y="167466"/>
                  <a:pt x="4064214" y="144368"/>
                  <a:pt x="4093087" y="144368"/>
                </a:cubicBezTo>
                <a:close/>
                <a:moveTo>
                  <a:pt x="1790148" y="144368"/>
                </a:moveTo>
                <a:cubicBezTo>
                  <a:pt x="1817867" y="144368"/>
                  <a:pt x="1840965" y="167466"/>
                  <a:pt x="1840965" y="195185"/>
                </a:cubicBezTo>
                <a:cubicBezTo>
                  <a:pt x="1840965" y="222903"/>
                  <a:pt x="1819022" y="246002"/>
                  <a:pt x="1790148" y="246002"/>
                </a:cubicBezTo>
                <a:cubicBezTo>
                  <a:pt x="1762430" y="246002"/>
                  <a:pt x="1739331" y="222903"/>
                  <a:pt x="1739331" y="195185"/>
                </a:cubicBezTo>
                <a:cubicBezTo>
                  <a:pt x="1739331" y="167466"/>
                  <a:pt x="1761275" y="144368"/>
                  <a:pt x="1790148" y="144368"/>
                </a:cubicBezTo>
                <a:close/>
                <a:moveTo>
                  <a:pt x="706820" y="144368"/>
                </a:moveTo>
                <a:cubicBezTo>
                  <a:pt x="734538" y="144368"/>
                  <a:pt x="757637" y="167466"/>
                  <a:pt x="757637" y="195185"/>
                </a:cubicBezTo>
                <a:cubicBezTo>
                  <a:pt x="757637" y="222903"/>
                  <a:pt x="735694" y="246002"/>
                  <a:pt x="706820" y="246002"/>
                </a:cubicBezTo>
                <a:cubicBezTo>
                  <a:pt x="679101" y="246002"/>
                  <a:pt x="656003" y="222903"/>
                  <a:pt x="656003" y="195185"/>
                </a:cubicBezTo>
                <a:cubicBezTo>
                  <a:pt x="656003" y="167466"/>
                  <a:pt x="677947" y="144368"/>
                  <a:pt x="706820" y="144368"/>
                </a:cubicBezTo>
                <a:close/>
                <a:moveTo>
                  <a:pt x="570538" y="144368"/>
                </a:moveTo>
                <a:cubicBezTo>
                  <a:pt x="599412" y="144368"/>
                  <a:pt x="621355" y="167466"/>
                  <a:pt x="621355" y="195185"/>
                </a:cubicBezTo>
                <a:cubicBezTo>
                  <a:pt x="621355" y="222903"/>
                  <a:pt x="598256" y="246002"/>
                  <a:pt x="570538" y="246002"/>
                </a:cubicBezTo>
                <a:cubicBezTo>
                  <a:pt x="542819" y="246002"/>
                  <a:pt x="519721" y="222903"/>
                  <a:pt x="519721" y="195185"/>
                </a:cubicBezTo>
                <a:cubicBezTo>
                  <a:pt x="519721" y="167466"/>
                  <a:pt x="541665" y="144368"/>
                  <a:pt x="570538" y="144368"/>
                </a:cubicBezTo>
                <a:close/>
                <a:moveTo>
                  <a:pt x="12180541" y="31184"/>
                </a:moveTo>
                <a:cubicBezTo>
                  <a:pt x="12192090" y="31184"/>
                  <a:pt x="12201330" y="40424"/>
                  <a:pt x="12201330" y="51973"/>
                </a:cubicBezTo>
                <a:cubicBezTo>
                  <a:pt x="12201330" y="63522"/>
                  <a:pt x="12192090" y="72762"/>
                  <a:pt x="12180541" y="72762"/>
                </a:cubicBezTo>
                <a:cubicBezTo>
                  <a:pt x="12168992" y="72762"/>
                  <a:pt x="12159752" y="63522"/>
                  <a:pt x="12159752" y="51973"/>
                </a:cubicBezTo>
                <a:cubicBezTo>
                  <a:pt x="12159752" y="40424"/>
                  <a:pt x="12168992" y="31184"/>
                  <a:pt x="12180541" y="31184"/>
                </a:cubicBezTo>
                <a:close/>
                <a:moveTo>
                  <a:pt x="12040793" y="31184"/>
                </a:moveTo>
                <a:cubicBezTo>
                  <a:pt x="12052342" y="31184"/>
                  <a:pt x="12061582" y="40424"/>
                  <a:pt x="12061582" y="51973"/>
                </a:cubicBezTo>
                <a:cubicBezTo>
                  <a:pt x="12061582" y="63522"/>
                  <a:pt x="12052342" y="72762"/>
                  <a:pt x="12040793" y="72762"/>
                </a:cubicBezTo>
                <a:cubicBezTo>
                  <a:pt x="12029244" y="72762"/>
                  <a:pt x="12020004" y="63522"/>
                  <a:pt x="12020004" y="51973"/>
                </a:cubicBezTo>
                <a:cubicBezTo>
                  <a:pt x="12020004" y="40424"/>
                  <a:pt x="12029244" y="31184"/>
                  <a:pt x="12040793" y="31184"/>
                </a:cubicBezTo>
                <a:close/>
                <a:moveTo>
                  <a:pt x="11901047" y="31184"/>
                </a:moveTo>
                <a:cubicBezTo>
                  <a:pt x="11912596" y="31184"/>
                  <a:pt x="11921836" y="40424"/>
                  <a:pt x="11921836" y="51973"/>
                </a:cubicBezTo>
                <a:cubicBezTo>
                  <a:pt x="11921836" y="63522"/>
                  <a:pt x="11912596" y="72762"/>
                  <a:pt x="11901047" y="72762"/>
                </a:cubicBezTo>
                <a:cubicBezTo>
                  <a:pt x="11889498" y="72762"/>
                  <a:pt x="11880258" y="63522"/>
                  <a:pt x="11880258" y="51973"/>
                </a:cubicBezTo>
                <a:cubicBezTo>
                  <a:pt x="11880258" y="40424"/>
                  <a:pt x="11889498" y="31184"/>
                  <a:pt x="11901047" y="31184"/>
                </a:cubicBezTo>
                <a:close/>
                <a:moveTo>
                  <a:pt x="11761299" y="31184"/>
                </a:moveTo>
                <a:cubicBezTo>
                  <a:pt x="11772848" y="31184"/>
                  <a:pt x="11782088" y="40424"/>
                  <a:pt x="11782088" y="51973"/>
                </a:cubicBezTo>
                <a:cubicBezTo>
                  <a:pt x="11782088" y="63522"/>
                  <a:pt x="11772848" y="72762"/>
                  <a:pt x="11761299" y="72762"/>
                </a:cubicBezTo>
                <a:cubicBezTo>
                  <a:pt x="11749750" y="72762"/>
                  <a:pt x="11740510" y="63522"/>
                  <a:pt x="11740510" y="51973"/>
                </a:cubicBezTo>
                <a:cubicBezTo>
                  <a:pt x="11740510" y="40424"/>
                  <a:pt x="11749750" y="31184"/>
                  <a:pt x="11761299" y="31184"/>
                </a:cubicBezTo>
                <a:close/>
                <a:moveTo>
                  <a:pt x="11621553" y="31184"/>
                </a:moveTo>
                <a:cubicBezTo>
                  <a:pt x="11633102" y="31184"/>
                  <a:pt x="11642342" y="40424"/>
                  <a:pt x="11642342" y="51973"/>
                </a:cubicBezTo>
                <a:cubicBezTo>
                  <a:pt x="11642342" y="63522"/>
                  <a:pt x="11633102" y="72762"/>
                  <a:pt x="11621553" y="72762"/>
                </a:cubicBezTo>
                <a:cubicBezTo>
                  <a:pt x="11610003" y="72762"/>
                  <a:pt x="11600764" y="63522"/>
                  <a:pt x="11600764" y="51973"/>
                </a:cubicBezTo>
                <a:cubicBezTo>
                  <a:pt x="11600764" y="40424"/>
                  <a:pt x="11610003" y="31184"/>
                  <a:pt x="11621553" y="31184"/>
                </a:cubicBezTo>
                <a:close/>
                <a:moveTo>
                  <a:pt x="11481805" y="31184"/>
                </a:moveTo>
                <a:cubicBezTo>
                  <a:pt x="11493354" y="31184"/>
                  <a:pt x="11502594" y="40424"/>
                  <a:pt x="11502594" y="51973"/>
                </a:cubicBezTo>
                <a:cubicBezTo>
                  <a:pt x="11502594" y="63522"/>
                  <a:pt x="11493354" y="72762"/>
                  <a:pt x="11481805" y="72762"/>
                </a:cubicBezTo>
                <a:cubicBezTo>
                  <a:pt x="11470256" y="72762"/>
                  <a:pt x="11461016" y="63522"/>
                  <a:pt x="11461016" y="51973"/>
                </a:cubicBezTo>
                <a:cubicBezTo>
                  <a:pt x="11461016" y="40424"/>
                  <a:pt x="11470256" y="31184"/>
                  <a:pt x="11481805" y="31184"/>
                </a:cubicBezTo>
                <a:close/>
                <a:moveTo>
                  <a:pt x="10644478" y="31184"/>
                </a:moveTo>
                <a:cubicBezTo>
                  <a:pt x="10656028" y="31184"/>
                  <a:pt x="10665267" y="40424"/>
                  <a:pt x="10665267" y="51973"/>
                </a:cubicBezTo>
                <a:cubicBezTo>
                  <a:pt x="10665267" y="63522"/>
                  <a:pt x="10656028" y="72762"/>
                  <a:pt x="10644478" y="72762"/>
                </a:cubicBezTo>
                <a:cubicBezTo>
                  <a:pt x="10632929" y="72762"/>
                  <a:pt x="10623690" y="63522"/>
                  <a:pt x="10623690" y="51973"/>
                </a:cubicBezTo>
                <a:cubicBezTo>
                  <a:pt x="10623690" y="40424"/>
                  <a:pt x="10632929" y="31184"/>
                  <a:pt x="10644478" y="31184"/>
                </a:cubicBezTo>
                <a:close/>
                <a:moveTo>
                  <a:pt x="10504731" y="31184"/>
                </a:moveTo>
                <a:cubicBezTo>
                  <a:pt x="10516280" y="31184"/>
                  <a:pt x="10525520" y="40424"/>
                  <a:pt x="10525520" y="51973"/>
                </a:cubicBezTo>
                <a:cubicBezTo>
                  <a:pt x="10525520" y="63522"/>
                  <a:pt x="10516280" y="72762"/>
                  <a:pt x="10504731" y="72762"/>
                </a:cubicBezTo>
                <a:cubicBezTo>
                  <a:pt x="10493181" y="72762"/>
                  <a:pt x="10483942" y="63522"/>
                  <a:pt x="10483942" y="51973"/>
                </a:cubicBezTo>
                <a:cubicBezTo>
                  <a:pt x="10483942" y="40424"/>
                  <a:pt x="10493181" y="31184"/>
                  <a:pt x="10504731" y="31184"/>
                </a:cubicBezTo>
                <a:close/>
                <a:moveTo>
                  <a:pt x="10364984" y="31184"/>
                </a:moveTo>
                <a:cubicBezTo>
                  <a:pt x="10376534" y="31184"/>
                  <a:pt x="10385773" y="40424"/>
                  <a:pt x="10385773" y="51973"/>
                </a:cubicBezTo>
                <a:cubicBezTo>
                  <a:pt x="10385773" y="63522"/>
                  <a:pt x="10376534" y="72762"/>
                  <a:pt x="10364984" y="72762"/>
                </a:cubicBezTo>
                <a:cubicBezTo>
                  <a:pt x="10353435" y="72762"/>
                  <a:pt x="10344196" y="63522"/>
                  <a:pt x="10344196" y="51973"/>
                </a:cubicBezTo>
                <a:cubicBezTo>
                  <a:pt x="10344196" y="40424"/>
                  <a:pt x="10353435" y="31184"/>
                  <a:pt x="10364984" y="31184"/>
                </a:cubicBezTo>
                <a:close/>
                <a:moveTo>
                  <a:pt x="7854709" y="31184"/>
                </a:moveTo>
                <a:cubicBezTo>
                  <a:pt x="7866258" y="31184"/>
                  <a:pt x="7875498" y="40424"/>
                  <a:pt x="7875498" y="51973"/>
                </a:cubicBezTo>
                <a:cubicBezTo>
                  <a:pt x="7875498" y="63522"/>
                  <a:pt x="7866258" y="72762"/>
                  <a:pt x="7854709" y="72762"/>
                </a:cubicBezTo>
                <a:cubicBezTo>
                  <a:pt x="7843160" y="72762"/>
                  <a:pt x="7833921" y="63522"/>
                  <a:pt x="7833921" y="51973"/>
                </a:cubicBezTo>
                <a:cubicBezTo>
                  <a:pt x="7833921" y="40424"/>
                  <a:pt x="7843160" y="31184"/>
                  <a:pt x="7854709" y="31184"/>
                </a:cubicBezTo>
                <a:close/>
                <a:moveTo>
                  <a:pt x="7714960" y="31184"/>
                </a:moveTo>
                <a:cubicBezTo>
                  <a:pt x="7726511" y="31184"/>
                  <a:pt x="7735749" y="40424"/>
                  <a:pt x="7735749" y="51973"/>
                </a:cubicBezTo>
                <a:cubicBezTo>
                  <a:pt x="7735749" y="63522"/>
                  <a:pt x="7726511" y="72762"/>
                  <a:pt x="7714960" y="72762"/>
                </a:cubicBezTo>
                <a:cubicBezTo>
                  <a:pt x="7703411" y="72762"/>
                  <a:pt x="7694172" y="63522"/>
                  <a:pt x="7694172" y="51973"/>
                </a:cubicBezTo>
                <a:cubicBezTo>
                  <a:pt x="7694172" y="40424"/>
                  <a:pt x="7703411" y="31184"/>
                  <a:pt x="7714960" y="31184"/>
                </a:cubicBezTo>
                <a:close/>
                <a:moveTo>
                  <a:pt x="7575214" y="31184"/>
                </a:moveTo>
                <a:cubicBezTo>
                  <a:pt x="7586765" y="31184"/>
                  <a:pt x="7596004" y="40424"/>
                  <a:pt x="7596004" y="51973"/>
                </a:cubicBezTo>
                <a:cubicBezTo>
                  <a:pt x="7596004" y="63522"/>
                  <a:pt x="7586765" y="72762"/>
                  <a:pt x="7575214" y="72762"/>
                </a:cubicBezTo>
                <a:cubicBezTo>
                  <a:pt x="7563665" y="72762"/>
                  <a:pt x="7554427" y="63522"/>
                  <a:pt x="7554427" y="51973"/>
                </a:cubicBezTo>
                <a:cubicBezTo>
                  <a:pt x="7554427" y="40424"/>
                  <a:pt x="7563665" y="31184"/>
                  <a:pt x="7575214" y="31184"/>
                </a:cubicBezTo>
                <a:close/>
                <a:moveTo>
                  <a:pt x="7435467" y="31184"/>
                </a:moveTo>
                <a:cubicBezTo>
                  <a:pt x="7447016" y="31184"/>
                  <a:pt x="7456257" y="40424"/>
                  <a:pt x="7456257" y="51973"/>
                </a:cubicBezTo>
                <a:cubicBezTo>
                  <a:pt x="7456257" y="63522"/>
                  <a:pt x="7447016" y="72762"/>
                  <a:pt x="7435467" y="72762"/>
                </a:cubicBezTo>
                <a:cubicBezTo>
                  <a:pt x="7423918" y="72762"/>
                  <a:pt x="7414678" y="63522"/>
                  <a:pt x="7414678" y="51973"/>
                </a:cubicBezTo>
                <a:cubicBezTo>
                  <a:pt x="7414678" y="40424"/>
                  <a:pt x="7423918" y="31184"/>
                  <a:pt x="7435467" y="31184"/>
                </a:cubicBezTo>
                <a:close/>
                <a:moveTo>
                  <a:pt x="7295720" y="31184"/>
                </a:moveTo>
                <a:cubicBezTo>
                  <a:pt x="7307271" y="31184"/>
                  <a:pt x="7316509" y="40424"/>
                  <a:pt x="7316509" y="51973"/>
                </a:cubicBezTo>
                <a:cubicBezTo>
                  <a:pt x="7316509" y="63522"/>
                  <a:pt x="7307271" y="72762"/>
                  <a:pt x="7295720" y="72762"/>
                </a:cubicBezTo>
                <a:cubicBezTo>
                  <a:pt x="7284172" y="72762"/>
                  <a:pt x="7274932" y="63522"/>
                  <a:pt x="7274932" y="51973"/>
                </a:cubicBezTo>
                <a:cubicBezTo>
                  <a:pt x="7274932" y="40424"/>
                  <a:pt x="7284172" y="31184"/>
                  <a:pt x="7295720" y="31184"/>
                </a:cubicBezTo>
                <a:close/>
                <a:moveTo>
                  <a:pt x="7155974" y="31184"/>
                </a:moveTo>
                <a:cubicBezTo>
                  <a:pt x="7167522" y="31184"/>
                  <a:pt x="7176762" y="40424"/>
                  <a:pt x="7176762" y="51973"/>
                </a:cubicBezTo>
                <a:cubicBezTo>
                  <a:pt x="7176762" y="63522"/>
                  <a:pt x="7167522" y="72762"/>
                  <a:pt x="7155974" y="72762"/>
                </a:cubicBezTo>
                <a:cubicBezTo>
                  <a:pt x="7144423" y="72762"/>
                  <a:pt x="7135183" y="63522"/>
                  <a:pt x="7135183" y="51973"/>
                </a:cubicBezTo>
                <a:cubicBezTo>
                  <a:pt x="7135183" y="40424"/>
                  <a:pt x="7144423" y="31184"/>
                  <a:pt x="7155974" y="31184"/>
                </a:cubicBezTo>
                <a:close/>
                <a:moveTo>
                  <a:pt x="7016227" y="31184"/>
                </a:moveTo>
                <a:cubicBezTo>
                  <a:pt x="7027776" y="31184"/>
                  <a:pt x="7037016" y="40424"/>
                  <a:pt x="7037016" y="51973"/>
                </a:cubicBezTo>
                <a:cubicBezTo>
                  <a:pt x="7037016" y="63522"/>
                  <a:pt x="7027776" y="72762"/>
                  <a:pt x="7016227" y="72762"/>
                </a:cubicBezTo>
                <a:cubicBezTo>
                  <a:pt x="7004678" y="72762"/>
                  <a:pt x="6995438" y="63522"/>
                  <a:pt x="6995438" y="51973"/>
                </a:cubicBezTo>
                <a:cubicBezTo>
                  <a:pt x="6995438" y="40424"/>
                  <a:pt x="7004678" y="31184"/>
                  <a:pt x="7016227" y="31184"/>
                </a:cubicBezTo>
                <a:close/>
                <a:moveTo>
                  <a:pt x="6877634" y="31184"/>
                </a:moveTo>
                <a:cubicBezTo>
                  <a:pt x="6888028" y="31184"/>
                  <a:pt x="6898424" y="40424"/>
                  <a:pt x="6898424" y="51973"/>
                </a:cubicBezTo>
                <a:cubicBezTo>
                  <a:pt x="6898424" y="63522"/>
                  <a:pt x="6889184" y="72762"/>
                  <a:pt x="6877634" y="72762"/>
                </a:cubicBezTo>
                <a:cubicBezTo>
                  <a:pt x="6866085" y="72762"/>
                  <a:pt x="6856845" y="63522"/>
                  <a:pt x="6856845" y="51973"/>
                </a:cubicBezTo>
                <a:cubicBezTo>
                  <a:pt x="6856845" y="40424"/>
                  <a:pt x="6866085" y="31184"/>
                  <a:pt x="6877634" y="31184"/>
                </a:cubicBezTo>
                <a:close/>
                <a:moveTo>
                  <a:pt x="6039151" y="31184"/>
                </a:moveTo>
                <a:cubicBezTo>
                  <a:pt x="6050702" y="31184"/>
                  <a:pt x="6059942" y="40424"/>
                  <a:pt x="6059942" y="51973"/>
                </a:cubicBezTo>
                <a:cubicBezTo>
                  <a:pt x="6059942" y="63522"/>
                  <a:pt x="6050702" y="72762"/>
                  <a:pt x="6039151" y="72762"/>
                </a:cubicBezTo>
                <a:cubicBezTo>
                  <a:pt x="6027603" y="72762"/>
                  <a:pt x="6018363" y="63522"/>
                  <a:pt x="6018363" y="51973"/>
                </a:cubicBezTo>
                <a:cubicBezTo>
                  <a:pt x="6018363" y="40424"/>
                  <a:pt x="6027603" y="31184"/>
                  <a:pt x="6039151" y="31184"/>
                </a:cubicBezTo>
                <a:close/>
                <a:moveTo>
                  <a:pt x="5899406" y="31184"/>
                </a:moveTo>
                <a:cubicBezTo>
                  <a:pt x="5910953" y="31184"/>
                  <a:pt x="5920193" y="40424"/>
                  <a:pt x="5920193" y="51973"/>
                </a:cubicBezTo>
                <a:cubicBezTo>
                  <a:pt x="5920193" y="63522"/>
                  <a:pt x="5910953" y="72762"/>
                  <a:pt x="5899406" y="72762"/>
                </a:cubicBezTo>
                <a:cubicBezTo>
                  <a:pt x="5887855" y="72762"/>
                  <a:pt x="5878616" y="63522"/>
                  <a:pt x="5878616" y="51973"/>
                </a:cubicBezTo>
                <a:cubicBezTo>
                  <a:pt x="5878616" y="40424"/>
                  <a:pt x="5887855" y="31184"/>
                  <a:pt x="5899406" y="31184"/>
                </a:cubicBezTo>
                <a:close/>
                <a:moveTo>
                  <a:pt x="5759658" y="31184"/>
                </a:moveTo>
                <a:cubicBezTo>
                  <a:pt x="5771207" y="31184"/>
                  <a:pt x="5780448" y="40424"/>
                  <a:pt x="5780448" y="51973"/>
                </a:cubicBezTo>
                <a:cubicBezTo>
                  <a:pt x="5780448" y="63522"/>
                  <a:pt x="5771207" y="72762"/>
                  <a:pt x="5759658" y="72762"/>
                </a:cubicBezTo>
                <a:cubicBezTo>
                  <a:pt x="5748109" y="72762"/>
                  <a:pt x="5738869" y="63522"/>
                  <a:pt x="5738869" y="51973"/>
                </a:cubicBezTo>
                <a:cubicBezTo>
                  <a:pt x="5738869" y="40424"/>
                  <a:pt x="5748109" y="31184"/>
                  <a:pt x="5759658" y="31184"/>
                </a:cubicBezTo>
                <a:close/>
                <a:moveTo>
                  <a:pt x="3241901" y="31184"/>
                </a:moveTo>
                <a:cubicBezTo>
                  <a:pt x="3253450" y="31184"/>
                  <a:pt x="3262690" y="40424"/>
                  <a:pt x="3262690" y="51973"/>
                </a:cubicBezTo>
                <a:cubicBezTo>
                  <a:pt x="3262690" y="63522"/>
                  <a:pt x="3253450" y="72762"/>
                  <a:pt x="3241901" y="72762"/>
                </a:cubicBezTo>
                <a:cubicBezTo>
                  <a:pt x="3230352" y="72762"/>
                  <a:pt x="3221112" y="63522"/>
                  <a:pt x="3221112" y="51973"/>
                </a:cubicBezTo>
                <a:cubicBezTo>
                  <a:pt x="3221112" y="40424"/>
                  <a:pt x="3230352" y="31184"/>
                  <a:pt x="3241901" y="31184"/>
                </a:cubicBezTo>
                <a:close/>
                <a:moveTo>
                  <a:pt x="3102153" y="31184"/>
                </a:moveTo>
                <a:cubicBezTo>
                  <a:pt x="3113703" y="31184"/>
                  <a:pt x="3122942" y="40424"/>
                  <a:pt x="3122942" y="51973"/>
                </a:cubicBezTo>
                <a:cubicBezTo>
                  <a:pt x="3122942" y="63522"/>
                  <a:pt x="3113703" y="72762"/>
                  <a:pt x="3102153" y="72762"/>
                </a:cubicBezTo>
                <a:cubicBezTo>
                  <a:pt x="3090605" y="72762"/>
                  <a:pt x="3081365" y="63522"/>
                  <a:pt x="3081365" y="51973"/>
                </a:cubicBezTo>
                <a:cubicBezTo>
                  <a:pt x="3081365" y="40424"/>
                  <a:pt x="3090605" y="31184"/>
                  <a:pt x="3102153" y="31184"/>
                </a:cubicBezTo>
                <a:close/>
                <a:moveTo>
                  <a:pt x="2962407" y="31184"/>
                </a:moveTo>
                <a:cubicBezTo>
                  <a:pt x="2973956" y="31184"/>
                  <a:pt x="2983196" y="40424"/>
                  <a:pt x="2983196" y="51973"/>
                </a:cubicBezTo>
                <a:cubicBezTo>
                  <a:pt x="2983196" y="63522"/>
                  <a:pt x="2973956" y="72762"/>
                  <a:pt x="2962407" y="72762"/>
                </a:cubicBezTo>
                <a:cubicBezTo>
                  <a:pt x="2950858" y="72762"/>
                  <a:pt x="2941618" y="63522"/>
                  <a:pt x="2941618" y="51973"/>
                </a:cubicBezTo>
                <a:cubicBezTo>
                  <a:pt x="2941618" y="40424"/>
                  <a:pt x="2950858" y="31184"/>
                  <a:pt x="2962407" y="31184"/>
                </a:cubicBezTo>
                <a:close/>
                <a:moveTo>
                  <a:pt x="2822659" y="31184"/>
                </a:moveTo>
                <a:cubicBezTo>
                  <a:pt x="2834209" y="31184"/>
                  <a:pt x="2843448" y="40424"/>
                  <a:pt x="2843448" y="51973"/>
                </a:cubicBezTo>
                <a:cubicBezTo>
                  <a:pt x="2843448" y="63522"/>
                  <a:pt x="2834209" y="72762"/>
                  <a:pt x="2822659" y="72762"/>
                </a:cubicBezTo>
                <a:cubicBezTo>
                  <a:pt x="2811110" y="72762"/>
                  <a:pt x="2801871" y="63522"/>
                  <a:pt x="2801871" y="51973"/>
                </a:cubicBezTo>
                <a:cubicBezTo>
                  <a:pt x="2801871" y="40424"/>
                  <a:pt x="2811110" y="31184"/>
                  <a:pt x="2822659" y="31184"/>
                </a:cubicBezTo>
                <a:close/>
                <a:moveTo>
                  <a:pt x="2682913" y="31184"/>
                </a:moveTo>
                <a:cubicBezTo>
                  <a:pt x="2694462" y="31184"/>
                  <a:pt x="2703702" y="40424"/>
                  <a:pt x="2703702" y="51973"/>
                </a:cubicBezTo>
                <a:cubicBezTo>
                  <a:pt x="2703702" y="63522"/>
                  <a:pt x="2694462" y="72762"/>
                  <a:pt x="2682913" y="72762"/>
                </a:cubicBezTo>
                <a:cubicBezTo>
                  <a:pt x="2671365" y="72762"/>
                  <a:pt x="2662124" y="63522"/>
                  <a:pt x="2662124" y="51973"/>
                </a:cubicBezTo>
                <a:cubicBezTo>
                  <a:pt x="2662124" y="40424"/>
                  <a:pt x="2671365" y="31184"/>
                  <a:pt x="2682913" y="31184"/>
                </a:cubicBezTo>
                <a:close/>
                <a:moveTo>
                  <a:pt x="2543167" y="31184"/>
                </a:moveTo>
                <a:cubicBezTo>
                  <a:pt x="2554715" y="31184"/>
                  <a:pt x="2563954" y="40424"/>
                  <a:pt x="2563954" y="51973"/>
                </a:cubicBezTo>
                <a:cubicBezTo>
                  <a:pt x="2563954" y="63522"/>
                  <a:pt x="2554715" y="72762"/>
                  <a:pt x="2543167" y="72762"/>
                </a:cubicBezTo>
                <a:cubicBezTo>
                  <a:pt x="2531616" y="72762"/>
                  <a:pt x="2522376" y="63522"/>
                  <a:pt x="2522376" y="51973"/>
                </a:cubicBezTo>
                <a:cubicBezTo>
                  <a:pt x="2522376" y="40424"/>
                  <a:pt x="2531616" y="31184"/>
                  <a:pt x="2543167" y="31184"/>
                </a:cubicBezTo>
                <a:close/>
                <a:moveTo>
                  <a:pt x="2403419" y="31184"/>
                </a:moveTo>
                <a:cubicBezTo>
                  <a:pt x="2414969" y="31184"/>
                  <a:pt x="2424209" y="40424"/>
                  <a:pt x="2424209" y="51973"/>
                </a:cubicBezTo>
                <a:cubicBezTo>
                  <a:pt x="2424209" y="63522"/>
                  <a:pt x="2414969" y="72762"/>
                  <a:pt x="2403419" y="72762"/>
                </a:cubicBezTo>
                <a:cubicBezTo>
                  <a:pt x="2391869" y="72762"/>
                  <a:pt x="2382630" y="63522"/>
                  <a:pt x="2382630" y="51973"/>
                </a:cubicBezTo>
                <a:cubicBezTo>
                  <a:pt x="2382630" y="40424"/>
                  <a:pt x="2391869" y="31184"/>
                  <a:pt x="2403419" y="31184"/>
                </a:cubicBezTo>
                <a:close/>
                <a:moveTo>
                  <a:pt x="2263671" y="31184"/>
                </a:moveTo>
                <a:cubicBezTo>
                  <a:pt x="2275221" y="31184"/>
                  <a:pt x="2284460" y="40424"/>
                  <a:pt x="2284460" y="51973"/>
                </a:cubicBezTo>
                <a:cubicBezTo>
                  <a:pt x="2284460" y="63522"/>
                  <a:pt x="2275221" y="72762"/>
                  <a:pt x="2263671" y="72762"/>
                </a:cubicBezTo>
                <a:cubicBezTo>
                  <a:pt x="2252122" y="72762"/>
                  <a:pt x="2242883" y="63522"/>
                  <a:pt x="2242883" y="51973"/>
                </a:cubicBezTo>
                <a:cubicBezTo>
                  <a:pt x="2242883" y="40424"/>
                  <a:pt x="2252122" y="31184"/>
                  <a:pt x="2263671" y="31184"/>
                </a:cubicBezTo>
                <a:close/>
                <a:moveTo>
                  <a:pt x="1426344" y="31184"/>
                </a:moveTo>
                <a:cubicBezTo>
                  <a:pt x="1437894" y="31184"/>
                  <a:pt x="1447133" y="40424"/>
                  <a:pt x="1447133" y="51973"/>
                </a:cubicBezTo>
                <a:cubicBezTo>
                  <a:pt x="1447133" y="63522"/>
                  <a:pt x="1437894" y="72762"/>
                  <a:pt x="1426344" y="72762"/>
                </a:cubicBezTo>
                <a:cubicBezTo>
                  <a:pt x="1414795" y="72762"/>
                  <a:pt x="1405556" y="63522"/>
                  <a:pt x="1405556" y="51973"/>
                </a:cubicBezTo>
                <a:cubicBezTo>
                  <a:pt x="1405556" y="40424"/>
                  <a:pt x="1414795" y="31184"/>
                  <a:pt x="1426344" y="31184"/>
                </a:cubicBezTo>
                <a:close/>
                <a:moveTo>
                  <a:pt x="1286597" y="31184"/>
                </a:moveTo>
                <a:cubicBezTo>
                  <a:pt x="1298146" y="31184"/>
                  <a:pt x="1307386" y="40424"/>
                  <a:pt x="1307386" y="51973"/>
                </a:cubicBezTo>
                <a:cubicBezTo>
                  <a:pt x="1307386" y="63522"/>
                  <a:pt x="1298146" y="72762"/>
                  <a:pt x="1286597" y="72762"/>
                </a:cubicBezTo>
                <a:cubicBezTo>
                  <a:pt x="1275048" y="72762"/>
                  <a:pt x="1265808" y="63522"/>
                  <a:pt x="1265808" y="51973"/>
                </a:cubicBezTo>
                <a:cubicBezTo>
                  <a:pt x="1265808" y="40424"/>
                  <a:pt x="1275048" y="31184"/>
                  <a:pt x="1286597" y="31184"/>
                </a:cubicBezTo>
                <a:close/>
                <a:moveTo>
                  <a:pt x="1146851" y="31184"/>
                </a:moveTo>
                <a:cubicBezTo>
                  <a:pt x="1158400" y="31184"/>
                  <a:pt x="1167639" y="40424"/>
                  <a:pt x="1167639" y="51973"/>
                </a:cubicBezTo>
                <a:cubicBezTo>
                  <a:pt x="1167639" y="63522"/>
                  <a:pt x="1158400" y="72762"/>
                  <a:pt x="1146851" y="72762"/>
                </a:cubicBezTo>
                <a:cubicBezTo>
                  <a:pt x="1135301" y="72762"/>
                  <a:pt x="1126062" y="63522"/>
                  <a:pt x="1126062" y="51973"/>
                </a:cubicBezTo>
                <a:cubicBezTo>
                  <a:pt x="1126062" y="40424"/>
                  <a:pt x="1135301" y="31184"/>
                  <a:pt x="1146851" y="31184"/>
                </a:cubicBezTo>
                <a:close/>
                <a:moveTo>
                  <a:pt x="11343213" y="27719"/>
                </a:moveTo>
                <a:cubicBezTo>
                  <a:pt x="11355918" y="27719"/>
                  <a:pt x="11366312" y="38114"/>
                  <a:pt x="11366312" y="50817"/>
                </a:cubicBezTo>
                <a:cubicBezTo>
                  <a:pt x="11366312" y="63522"/>
                  <a:pt x="11355918" y="73916"/>
                  <a:pt x="11343213" y="73916"/>
                </a:cubicBezTo>
                <a:cubicBezTo>
                  <a:pt x="11330509" y="73916"/>
                  <a:pt x="11320114" y="63522"/>
                  <a:pt x="11320114" y="50817"/>
                </a:cubicBezTo>
                <a:cubicBezTo>
                  <a:pt x="11320114" y="38114"/>
                  <a:pt x="11330509" y="27719"/>
                  <a:pt x="11343213" y="27719"/>
                </a:cubicBezTo>
                <a:close/>
                <a:moveTo>
                  <a:pt x="10225237" y="27719"/>
                </a:moveTo>
                <a:cubicBezTo>
                  <a:pt x="10237942" y="27719"/>
                  <a:pt x="10248335" y="38114"/>
                  <a:pt x="10248335" y="50817"/>
                </a:cubicBezTo>
                <a:cubicBezTo>
                  <a:pt x="10248335" y="63522"/>
                  <a:pt x="10237942" y="73916"/>
                  <a:pt x="10225237" y="73916"/>
                </a:cubicBezTo>
                <a:cubicBezTo>
                  <a:pt x="10212533" y="73916"/>
                  <a:pt x="10202138" y="63522"/>
                  <a:pt x="10202138" y="50817"/>
                </a:cubicBezTo>
                <a:cubicBezTo>
                  <a:pt x="10202138" y="38114"/>
                  <a:pt x="10212533" y="27719"/>
                  <a:pt x="10225237" y="27719"/>
                </a:cubicBezTo>
                <a:close/>
                <a:moveTo>
                  <a:pt x="9112431" y="27719"/>
                </a:moveTo>
                <a:cubicBezTo>
                  <a:pt x="9125136" y="27719"/>
                  <a:pt x="9135530" y="38114"/>
                  <a:pt x="9135530" y="50817"/>
                </a:cubicBezTo>
                <a:cubicBezTo>
                  <a:pt x="9135530" y="63522"/>
                  <a:pt x="9125136" y="73916"/>
                  <a:pt x="9112431" y="73916"/>
                </a:cubicBezTo>
                <a:cubicBezTo>
                  <a:pt x="9099727" y="73916"/>
                  <a:pt x="9089332" y="63522"/>
                  <a:pt x="9089332" y="50817"/>
                </a:cubicBezTo>
                <a:cubicBezTo>
                  <a:pt x="9089332" y="38114"/>
                  <a:pt x="9099727" y="27719"/>
                  <a:pt x="9112431" y="27719"/>
                </a:cubicBezTo>
                <a:close/>
                <a:moveTo>
                  <a:pt x="7994456" y="27719"/>
                </a:moveTo>
                <a:cubicBezTo>
                  <a:pt x="8007160" y="27719"/>
                  <a:pt x="8017555" y="38114"/>
                  <a:pt x="8017555" y="50817"/>
                </a:cubicBezTo>
                <a:cubicBezTo>
                  <a:pt x="8017555" y="63522"/>
                  <a:pt x="8007160" y="73916"/>
                  <a:pt x="7994456" y="73916"/>
                </a:cubicBezTo>
                <a:cubicBezTo>
                  <a:pt x="7981752" y="73916"/>
                  <a:pt x="7971356" y="63522"/>
                  <a:pt x="7971356" y="50817"/>
                </a:cubicBezTo>
                <a:cubicBezTo>
                  <a:pt x="7971356" y="38114"/>
                  <a:pt x="7981752" y="27719"/>
                  <a:pt x="7994456" y="27719"/>
                </a:cubicBezTo>
                <a:close/>
                <a:moveTo>
                  <a:pt x="6737887" y="27719"/>
                </a:moveTo>
                <a:cubicBezTo>
                  <a:pt x="6750591" y="27719"/>
                  <a:pt x="6760986" y="38114"/>
                  <a:pt x="6760986" y="50817"/>
                </a:cubicBezTo>
                <a:cubicBezTo>
                  <a:pt x="6760986" y="63522"/>
                  <a:pt x="6750591" y="73916"/>
                  <a:pt x="6737887" y="73916"/>
                </a:cubicBezTo>
                <a:cubicBezTo>
                  <a:pt x="6725183" y="73916"/>
                  <a:pt x="6714789" y="63522"/>
                  <a:pt x="6714789" y="50817"/>
                </a:cubicBezTo>
                <a:cubicBezTo>
                  <a:pt x="6714789" y="38114"/>
                  <a:pt x="6725183" y="27719"/>
                  <a:pt x="6737887" y="27719"/>
                </a:cubicBezTo>
                <a:close/>
                <a:moveTo>
                  <a:pt x="5619912" y="27719"/>
                </a:moveTo>
                <a:cubicBezTo>
                  <a:pt x="5632617" y="27719"/>
                  <a:pt x="5643008" y="38114"/>
                  <a:pt x="5643008" y="50817"/>
                </a:cubicBezTo>
                <a:cubicBezTo>
                  <a:pt x="5643008" y="63522"/>
                  <a:pt x="5632617" y="73916"/>
                  <a:pt x="5619912" y="73916"/>
                </a:cubicBezTo>
                <a:cubicBezTo>
                  <a:pt x="5607207" y="73916"/>
                  <a:pt x="5596812" y="63522"/>
                  <a:pt x="5596812" y="50817"/>
                </a:cubicBezTo>
                <a:cubicBezTo>
                  <a:pt x="5596812" y="38114"/>
                  <a:pt x="5607207" y="27719"/>
                  <a:pt x="5619912" y="27719"/>
                </a:cubicBezTo>
                <a:close/>
                <a:moveTo>
                  <a:pt x="4499625" y="27719"/>
                </a:moveTo>
                <a:cubicBezTo>
                  <a:pt x="4512330" y="27719"/>
                  <a:pt x="4522722" y="38114"/>
                  <a:pt x="4522722" y="50817"/>
                </a:cubicBezTo>
                <a:cubicBezTo>
                  <a:pt x="4522722" y="63522"/>
                  <a:pt x="4512330" y="73916"/>
                  <a:pt x="4499625" y="73916"/>
                </a:cubicBezTo>
                <a:cubicBezTo>
                  <a:pt x="4486920" y="73916"/>
                  <a:pt x="4476525" y="63522"/>
                  <a:pt x="4476525" y="50817"/>
                </a:cubicBezTo>
                <a:cubicBezTo>
                  <a:pt x="4476525" y="38114"/>
                  <a:pt x="4486920" y="27719"/>
                  <a:pt x="4499625" y="27719"/>
                </a:cubicBezTo>
                <a:close/>
                <a:moveTo>
                  <a:pt x="3381648" y="27719"/>
                </a:moveTo>
                <a:cubicBezTo>
                  <a:pt x="3394352" y="27719"/>
                  <a:pt x="3404746" y="38114"/>
                  <a:pt x="3404746" y="50817"/>
                </a:cubicBezTo>
                <a:cubicBezTo>
                  <a:pt x="3404746" y="63522"/>
                  <a:pt x="3394352" y="73916"/>
                  <a:pt x="3381648" y="73916"/>
                </a:cubicBezTo>
                <a:cubicBezTo>
                  <a:pt x="3368944" y="73916"/>
                  <a:pt x="3358549" y="63522"/>
                  <a:pt x="3358549" y="50817"/>
                </a:cubicBezTo>
                <a:cubicBezTo>
                  <a:pt x="3358549" y="38114"/>
                  <a:pt x="3368944" y="27719"/>
                  <a:pt x="3381648" y="27719"/>
                </a:cubicBezTo>
                <a:close/>
                <a:moveTo>
                  <a:pt x="2125079" y="27719"/>
                </a:moveTo>
                <a:cubicBezTo>
                  <a:pt x="2137784" y="27719"/>
                  <a:pt x="2148178" y="38114"/>
                  <a:pt x="2148178" y="50817"/>
                </a:cubicBezTo>
                <a:cubicBezTo>
                  <a:pt x="2148178" y="63522"/>
                  <a:pt x="2137784" y="73916"/>
                  <a:pt x="2125079" y="73916"/>
                </a:cubicBezTo>
                <a:cubicBezTo>
                  <a:pt x="2112376" y="73916"/>
                  <a:pt x="2101980" y="63522"/>
                  <a:pt x="2101980" y="50817"/>
                </a:cubicBezTo>
                <a:cubicBezTo>
                  <a:pt x="2101980" y="38114"/>
                  <a:pt x="2112376" y="27719"/>
                  <a:pt x="2125079" y="27719"/>
                </a:cubicBezTo>
                <a:close/>
                <a:moveTo>
                  <a:pt x="1007103" y="27719"/>
                </a:moveTo>
                <a:cubicBezTo>
                  <a:pt x="1019808" y="27719"/>
                  <a:pt x="1030201" y="38114"/>
                  <a:pt x="1030201" y="50817"/>
                </a:cubicBezTo>
                <a:cubicBezTo>
                  <a:pt x="1030201" y="63522"/>
                  <a:pt x="1019808" y="73916"/>
                  <a:pt x="1007103" y="73916"/>
                </a:cubicBezTo>
                <a:cubicBezTo>
                  <a:pt x="994399" y="73916"/>
                  <a:pt x="984004" y="63522"/>
                  <a:pt x="984004" y="50817"/>
                </a:cubicBezTo>
                <a:cubicBezTo>
                  <a:pt x="984004" y="38114"/>
                  <a:pt x="994399" y="27719"/>
                  <a:pt x="1007103" y="27719"/>
                </a:cubicBezTo>
                <a:close/>
                <a:moveTo>
                  <a:pt x="11203466" y="21945"/>
                </a:moveTo>
                <a:cubicBezTo>
                  <a:pt x="11218480" y="21945"/>
                  <a:pt x="11232339" y="34648"/>
                  <a:pt x="11232339" y="50817"/>
                </a:cubicBezTo>
                <a:cubicBezTo>
                  <a:pt x="11232339" y="66986"/>
                  <a:pt x="11219636" y="79691"/>
                  <a:pt x="11203466" y="79691"/>
                </a:cubicBezTo>
                <a:cubicBezTo>
                  <a:pt x="11187298" y="79691"/>
                  <a:pt x="11174593" y="66986"/>
                  <a:pt x="11174593" y="50817"/>
                </a:cubicBezTo>
                <a:cubicBezTo>
                  <a:pt x="11174593" y="34648"/>
                  <a:pt x="11187298" y="21945"/>
                  <a:pt x="11203466" y="21945"/>
                </a:cubicBezTo>
                <a:close/>
                <a:moveTo>
                  <a:pt x="10085490" y="21945"/>
                </a:moveTo>
                <a:cubicBezTo>
                  <a:pt x="10101659" y="21945"/>
                  <a:pt x="10114363" y="35804"/>
                  <a:pt x="10114363" y="51973"/>
                </a:cubicBezTo>
                <a:cubicBezTo>
                  <a:pt x="10114363" y="68142"/>
                  <a:pt x="10101659" y="80846"/>
                  <a:pt x="10085490" y="80846"/>
                </a:cubicBezTo>
                <a:cubicBezTo>
                  <a:pt x="10069321" y="80846"/>
                  <a:pt x="10056616" y="66986"/>
                  <a:pt x="10056616" y="50817"/>
                </a:cubicBezTo>
                <a:cubicBezTo>
                  <a:pt x="10056616" y="34648"/>
                  <a:pt x="10069321" y="21945"/>
                  <a:pt x="10085490" y="21945"/>
                </a:cubicBezTo>
                <a:close/>
                <a:moveTo>
                  <a:pt x="9247008" y="21945"/>
                </a:moveTo>
                <a:cubicBezTo>
                  <a:pt x="9263177" y="21945"/>
                  <a:pt x="9275881" y="34648"/>
                  <a:pt x="9275881" y="50817"/>
                </a:cubicBezTo>
                <a:cubicBezTo>
                  <a:pt x="9275881" y="66986"/>
                  <a:pt x="9263177" y="80846"/>
                  <a:pt x="9247008" y="80846"/>
                </a:cubicBezTo>
                <a:cubicBezTo>
                  <a:pt x="9230839" y="80846"/>
                  <a:pt x="9218134" y="65832"/>
                  <a:pt x="9218134" y="50817"/>
                </a:cubicBezTo>
                <a:cubicBezTo>
                  <a:pt x="9218134" y="35804"/>
                  <a:pt x="9230839" y="21945"/>
                  <a:pt x="9247008" y="21945"/>
                </a:cubicBezTo>
                <a:close/>
                <a:moveTo>
                  <a:pt x="8972685" y="21945"/>
                </a:moveTo>
                <a:cubicBezTo>
                  <a:pt x="8988854" y="21945"/>
                  <a:pt x="9001557" y="34648"/>
                  <a:pt x="9001557" y="50817"/>
                </a:cubicBezTo>
                <a:cubicBezTo>
                  <a:pt x="9001557" y="66986"/>
                  <a:pt x="8988854" y="79691"/>
                  <a:pt x="8972685" y="79691"/>
                </a:cubicBezTo>
                <a:cubicBezTo>
                  <a:pt x="8956515" y="79691"/>
                  <a:pt x="8943811" y="66986"/>
                  <a:pt x="8943811" y="50817"/>
                </a:cubicBezTo>
                <a:cubicBezTo>
                  <a:pt x="8943811" y="34648"/>
                  <a:pt x="8956515" y="21945"/>
                  <a:pt x="8972685" y="21945"/>
                </a:cubicBezTo>
                <a:close/>
                <a:moveTo>
                  <a:pt x="8134203" y="21945"/>
                </a:moveTo>
                <a:cubicBezTo>
                  <a:pt x="8150373" y="21945"/>
                  <a:pt x="8163075" y="34648"/>
                  <a:pt x="8163075" y="50817"/>
                </a:cubicBezTo>
                <a:cubicBezTo>
                  <a:pt x="8163075" y="66986"/>
                  <a:pt x="8150373" y="79691"/>
                  <a:pt x="8134203" y="79691"/>
                </a:cubicBezTo>
                <a:cubicBezTo>
                  <a:pt x="8118034" y="79691"/>
                  <a:pt x="8105330" y="66986"/>
                  <a:pt x="8105330" y="50817"/>
                </a:cubicBezTo>
                <a:cubicBezTo>
                  <a:pt x="8105330" y="34648"/>
                  <a:pt x="8118034" y="21945"/>
                  <a:pt x="8134203" y="21945"/>
                </a:cubicBezTo>
                <a:close/>
                <a:moveTo>
                  <a:pt x="6598140" y="21945"/>
                </a:moveTo>
                <a:cubicBezTo>
                  <a:pt x="6613155" y="21945"/>
                  <a:pt x="6627013" y="34648"/>
                  <a:pt x="6627013" y="50817"/>
                </a:cubicBezTo>
                <a:cubicBezTo>
                  <a:pt x="6627013" y="66986"/>
                  <a:pt x="6614309" y="79691"/>
                  <a:pt x="6598140" y="79691"/>
                </a:cubicBezTo>
                <a:cubicBezTo>
                  <a:pt x="6581971" y="79691"/>
                  <a:pt x="6569267" y="66986"/>
                  <a:pt x="6569267" y="50817"/>
                </a:cubicBezTo>
                <a:cubicBezTo>
                  <a:pt x="6569267" y="34648"/>
                  <a:pt x="6581971" y="21945"/>
                  <a:pt x="6598140" y="21945"/>
                </a:cubicBezTo>
                <a:close/>
                <a:moveTo>
                  <a:pt x="5480165" y="21945"/>
                </a:moveTo>
                <a:cubicBezTo>
                  <a:pt x="5496333" y="21945"/>
                  <a:pt x="5509037" y="34648"/>
                  <a:pt x="5509037" y="50817"/>
                </a:cubicBezTo>
                <a:cubicBezTo>
                  <a:pt x="5509037" y="66986"/>
                  <a:pt x="5496333" y="79691"/>
                  <a:pt x="5480165" y="79691"/>
                </a:cubicBezTo>
                <a:cubicBezTo>
                  <a:pt x="5463996" y="79691"/>
                  <a:pt x="5451289" y="66986"/>
                  <a:pt x="5451289" y="50817"/>
                </a:cubicBezTo>
                <a:cubicBezTo>
                  <a:pt x="5451289" y="34648"/>
                  <a:pt x="5463996" y="21945"/>
                  <a:pt x="5480165" y="21945"/>
                </a:cubicBezTo>
                <a:close/>
                <a:moveTo>
                  <a:pt x="4641682" y="21945"/>
                </a:moveTo>
                <a:cubicBezTo>
                  <a:pt x="4657851" y="21945"/>
                  <a:pt x="4670555" y="34648"/>
                  <a:pt x="4670555" y="50817"/>
                </a:cubicBezTo>
                <a:cubicBezTo>
                  <a:pt x="4670555" y="66986"/>
                  <a:pt x="4657851" y="79691"/>
                  <a:pt x="4641682" y="79691"/>
                </a:cubicBezTo>
                <a:cubicBezTo>
                  <a:pt x="4625513" y="79691"/>
                  <a:pt x="4612809" y="66986"/>
                  <a:pt x="4612809" y="50817"/>
                </a:cubicBezTo>
                <a:cubicBezTo>
                  <a:pt x="4612809" y="34648"/>
                  <a:pt x="4625513" y="21945"/>
                  <a:pt x="4641682" y="21945"/>
                </a:cubicBezTo>
                <a:close/>
                <a:moveTo>
                  <a:pt x="4359878" y="21945"/>
                </a:moveTo>
                <a:cubicBezTo>
                  <a:pt x="4376046" y="21945"/>
                  <a:pt x="4388751" y="34648"/>
                  <a:pt x="4388751" y="50817"/>
                </a:cubicBezTo>
                <a:cubicBezTo>
                  <a:pt x="4388751" y="66986"/>
                  <a:pt x="4376046" y="79691"/>
                  <a:pt x="4359878" y="79691"/>
                </a:cubicBezTo>
                <a:cubicBezTo>
                  <a:pt x="4343709" y="79691"/>
                  <a:pt x="4331004" y="66986"/>
                  <a:pt x="4331004" y="50817"/>
                </a:cubicBezTo>
                <a:cubicBezTo>
                  <a:pt x="4331004" y="34648"/>
                  <a:pt x="4343709" y="21945"/>
                  <a:pt x="4359878" y="21945"/>
                </a:cubicBezTo>
                <a:close/>
                <a:moveTo>
                  <a:pt x="3521396" y="21945"/>
                </a:moveTo>
                <a:cubicBezTo>
                  <a:pt x="3537564" y="21945"/>
                  <a:pt x="3550268" y="34648"/>
                  <a:pt x="3550268" y="50817"/>
                </a:cubicBezTo>
                <a:cubicBezTo>
                  <a:pt x="3550268" y="66986"/>
                  <a:pt x="3537564" y="79691"/>
                  <a:pt x="3521396" y="79691"/>
                </a:cubicBezTo>
                <a:cubicBezTo>
                  <a:pt x="3505226" y="79691"/>
                  <a:pt x="3492521" y="66986"/>
                  <a:pt x="3492521" y="50817"/>
                </a:cubicBezTo>
                <a:cubicBezTo>
                  <a:pt x="3492521" y="34648"/>
                  <a:pt x="3505226" y="21945"/>
                  <a:pt x="3521396" y="21945"/>
                </a:cubicBezTo>
                <a:close/>
                <a:moveTo>
                  <a:pt x="1985333" y="21945"/>
                </a:moveTo>
                <a:cubicBezTo>
                  <a:pt x="2000346" y="21945"/>
                  <a:pt x="2014205" y="34648"/>
                  <a:pt x="2014205" y="50817"/>
                </a:cubicBezTo>
                <a:cubicBezTo>
                  <a:pt x="2014205" y="66986"/>
                  <a:pt x="2001502" y="79691"/>
                  <a:pt x="1985333" y="79691"/>
                </a:cubicBezTo>
                <a:cubicBezTo>
                  <a:pt x="1969164" y="79691"/>
                  <a:pt x="1956459" y="66986"/>
                  <a:pt x="1956459" y="50817"/>
                </a:cubicBezTo>
                <a:cubicBezTo>
                  <a:pt x="1956459" y="34648"/>
                  <a:pt x="1969164" y="21945"/>
                  <a:pt x="1985333" y="21945"/>
                </a:cubicBezTo>
                <a:close/>
                <a:moveTo>
                  <a:pt x="867356" y="21945"/>
                </a:moveTo>
                <a:cubicBezTo>
                  <a:pt x="883525" y="21945"/>
                  <a:pt x="896229" y="35804"/>
                  <a:pt x="896229" y="51973"/>
                </a:cubicBezTo>
                <a:cubicBezTo>
                  <a:pt x="896229" y="68142"/>
                  <a:pt x="883525" y="80846"/>
                  <a:pt x="867356" y="80846"/>
                </a:cubicBezTo>
                <a:cubicBezTo>
                  <a:pt x="851187" y="80846"/>
                  <a:pt x="838482" y="66986"/>
                  <a:pt x="838482" y="50817"/>
                </a:cubicBezTo>
                <a:cubicBezTo>
                  <a:pt x="838482" y="34648"/>
                  <a:pt x="851187" y="21945"/>
                  <a:pt x="867356" y="21945"/>
                </a:cubicBezTo>
                <a:close/>
                <a:moveTo>
                  <a:pt x="28874" y="21945"/>
                </a:moveTo>
                <a:cubicBezTo>
                  <a:pt x="45043" y="21945"/>
                  <a:pt x="57747" y="34648"/>
                  <a:pt x="57747" y="50817"/>
                </a:cubicBezTo>
                <a:cubicBezTo>
                  <a:pt x="57747" y="66986"/>
                  <a:pt x="45043" y="80846"/>
                  <a:pt x="28874" y="80846"/>
                </a:cubicBezTo>
                <a:cubicBezTo>
                  <a:pt x="12705" y="80846"/>
                  <a:pt x="0" y="65832"/>
                  <a:pt x="0" y="50817"/>
                </a:cubicBezTo>
                <a:cubicBezTo>
                  <a:pt x="0" y="35804"/>
                  <a:pt x="12705" y="21945"/>
                  <a:pt x="28874" y="21945"/>
                </a:cubicBezTo>
                <a:close/>
                <a:moveTo>
                  <a:pt x="11063719" y="16169"/>
                </a:moveTo>
                <a:cubicBezTo>
                  <a:pt x="11082198" y="16169"/>
                  <a:pt x="11098367" y="32338"/>
                  <a:pt x="11098367" y="50817"/>
                </a:cubicBezTo>
                <a:cubicBezTo>
                  <a:pt x="11098367" y="69296"/>
                  <a:pt x="11083353" y="85465"/>
                  <a:pt x="11063719" y="85465"/>
                </a:cubicBezTo>
                <a:cubicBezTo>
                  <a:pt x="11045240" y="85465"/>
                  <a:pt x="11029071" y="69296"/>
                  <a:pt x="11029071" y="50817"/>
                </a:cubicBezTo>
                <a:cubicBezTo>
                  <a:pt x="11029071" y="32338"/>
                  <a:pt x="11044086" y="16169"/>
                  <a:pt x="11063719" y="16169"/>
                </a:cubicBezTo>
                <a:close/>
                <a:moveTo>
                  <a:pt x="9945743" y="16169"/>
                </a:moveTo>
                <a:cubicBezTo>
                  <a:pt x="9965377" y="16169"/>
                  <a:pt x="9980391" y="32338"/>
                  <a:pt x="9980391" y="50817"/>
                </a:cubicBezTo>
                <a:cubicBezTo>
                  <a:pt x="9980391" y="69296"/>
                  <a:pt x="9964222" y="85465"/>
                  <a:pt x="9945743" y="85465"/>
                </a:cubicBezTo>
                <a:cubicBezTo>
                  <a:pt x="9927264" y="85465"/>
                  <a:pt x="9911094" y="69296"/>
                  <a:pt x="9911094" y="50817"/>
                </a:cubicBezTo>
                <a:cubicBezTo>
                  <a:pt x="9911094" y="32338"/>
                  <a:pt x="9926109" y="16169"/>
                  <a:pt x="9945743" y="16169"/>
                </a:cubicBezTo>
                <a:close/>
                <a:moveTo>
                  <a:pt x="9386754" y="16169"/>
                </a:moveTo>
                <a:cubicBezTo>
                  <a:pt x="9406389" y="16169"/>
                  <a:pt x="9421402" y="32338"/>
                  <a:pt x="9421402" y="50817"/>
                </a:cubicBezTo>
                <a:cubicBezTo>
                  <a:pt x="9421402" y="69296"/>
                  <a:pt x="9405233" y="85465"/>
                  <a:pt x="9386754" y="85465"/>
                </a:cubicBezTo>
                <a:cubicBezTo>
                  <a:pt x="9368275" y="85465"/>
                  <a:pt x="9352106" y="69296"/>
                  <a:pt x="9352106" y="50817"/>
                </a:cubicBezTo>
                <a:cubicBezTo>
                  <a:pt x="9352106" y="32338"/>
                  <a:pt x="9367121" y="16169"/>
                  <a:pt x="9386754" y="16169"/>
                </a:cubicBezTo>
                <a:close/>
                <a:moveTo>
                  <a:pt x="8832937" y="16169"/>
                </a:moveTo>
                <a:cubicBezTo>
                  <a:pt x="8852571" y="16169"/>
                  <a:pt x="8867585" y="32338"/>
                  <a:pt x="8867585" y="50817"/>
                </a:cubicBezTo>
                <a:cubicBezTo>
                  <a:pt x="8867585" y="69296"/>
                  <a:pt x="8852571" y="85465"/>
                  <a:pt x="8832937" y="85465"/>
                </a:cubicBezTo>
                <a:cubicBezTo>
                  <a:pt x="8814458" y="85465"/>
                  <a:pt x="8798289" y="69296"/>
                  <a:pt x="8798289" y="50817"/>
                </a:cubicBezTo>
                <a:cubicBezTo>
                  <a:pt x="8798289" y="32338"/>
                  <a:pt x="8813304" y="16169"/>
                  <a:pt x="8832937" y="16169"/>
                </a:cubicBezTo>
                <a:close/>
                <a:moveTo>
                  <a:pt x="8273949" y="16169"/>
                </a:moveTo>
                <a:cubicBezTo>
                  <a:pt x="8293584" y="16169"/>
                  <a:pt x="8308598" y="32338"/>
                  <a:pt x="8308598" y="50817"/>
                </a:cubicBezTo>
                <a:cubicBezTo>
                  <a:pt x="8308598" y="69296"/>
                  <a:pt x="8293584" y="85465"/>
                  <a:pt x="8273949" y="85465"/>
                </a:cubicBezTo>
                <a:cubicBezTo>
                  <a:pt x="8255471" y="85465"/>
                  <a:pt x="8239301" y="69296"/>
                  <a:pt x="8239301" y="50817"/>
                </a:cubicBezTo>
                <a:cubicBezTo>
                  <a:pt x="8239301" y="32338"/>
                  <a:pt x="8254316" y="16169"/>
                  <a:pt x="8273949" y="16169"/>
                </a:cubicBezTo>
                <a:close/>
                <a:moveTo>
                  <a:pt x="6458393" y="16169"/>
                </a:moveTo>
                <a:cubicBezTo>
                  <a:pt x="6476871" y="16169"/>
                  <a:pt x="6493041" y="32338"/>
                  <a:pt x="6493041" y="50817"/>
                </a:cubicBezTo>
                <a:cubicBezTo>
                  <a:pt x="6493041" y="69296"/>
                  <a:pt x="6476871" y="85465"/>
                  <a:pt x="6458393" y="85465"/>
                </a:cubicBezTo>
                <a:cubicBezTo>
                  <a:pt x="6439914" y="85465"/>
                  <a:pt x="6423745" y="69296"/>
                  <a:pt x="6423745" y="50817"/>
                </a:cubicBezTo>
                <a:cubicBezTo>
                  <a:pt x="6423745" y="32338"/>
                  <a:pt x="6438760" y="16169"/>
                  <a:pt x="6458393" y="16169"/>
                </a:cubicBezTo>
                <a:close/>
                <a:moveTo>
                  <a:pt x="5340416" y="16169"/>
                </a:moveTo>
                <a:cubicBezTo>
                  <a:pt x="5360051" y="16169"/>
                  <a:pt x="5375064" y="32338"/>
                  <a:pt x="5375064" y="50817"/>
                </a:cubicBezTo>
                <a:cubicBezTo>
                  <a:pt x="5375064" y="69296"/>
                  <a:pt x="5358895" y="85465"/>
                  <a:pt x="5340416" y="85465"/>
                </a:cubicBezTo>
                <a:cubicBezTo>
                  <a:pt x="5321939" y="85465"/>
                  <a:pt x="5305769" y="69296"/>
                  <a:pt x="5305769" y="50817"/>
                </a:cubicBezTo>
                <a:cubicBezTo>
                  <a:pt x="5305769" y="32338"/>
                  <a:pt x="5320783" y="16169"/>
                  <a:pt x="5340416" y="16169"/>
                </a:cubicBezTo>
                <a:close/>
                <a:moveTo>
                  <a:pt x="4781429" y="16169"/>
                </a:moveTo>
                <a:cubicBezTo>
                  <a:pt x="4801062" y="16169"/>
                  <a:pt x="4816075" y="32338"/>
                  <a:pt x="4816075" y="50817"/>
                </a:cubicBezTo>
                <a:cubicBezTo>
                  <a:pt x="4816075" y="69296"/>
                  <a:pt x="4799906" y="85465"/>
                  <a:pt x="4781429" y="85465"/>
                </a:cubicBezTo>
                <a:cubicBezTo>
                  <a:pt x="4762949" y="85465"/>
                  <a:pt x="4746781" y="69296"/>
                  <a:pt x="4746781" y="50817"/>
                </a:cubicBezTo>
                <a:cubicBezTo>
                  <a:pt x="4746781" y="32338"/>
                  <a:pt x="4761794" y="16169"/>
                  <a:pt x="4781429" y="16169"/>
                </a:cubicBezTo>
                <a:close/>
                <a:moveTo>
                  <a:pt x="4220129" y="16169"/>
                </a:moveTo>
                <a:cubicBezTo>
                  <a:pt x="4239764" y="16169"/>
                  <a:pt x="4254779" y="32338"/>
                  <a:pt x="4254779" y="50817"/>
                </a:cubicBezTo>
                <a:cubicBezTo>
                  <a:pt x="4254779" y="69296"/>
                  <a:pt x="4239764" y="85465"/>
                  <a:pt x="4220129" y="85465"/>
                </a:cubicBezTo>
                <a:cubicBezTo>
                  <a:pt x="4201651" y="85465"/>
                  <a:pt x="4185482" y="69296"/>
                  <a:pt x="4185482" y="50817"/>
                </a:cubicBezTo>
                <a:cubicBezTo>
                  <a:pt x="4185482" y="32338"/>
                  <a:pt x="4200498" y="16169"/>
                  <a:pt x="4220129" y="16169"/>
                </a:cubicBezTo>
                <a:close/>
                <a:moveTo>
                  <a:pt x="3661142" y="16169"/>
                </a:moveTo>
                <a:cubicBezTo>
                  <a:pt x="3680776" y="16169"/>
                  <a:pt x="3695791" y="32338"/>
                  <a:pt x="3695791" y="50817"/>
                </a:cubicBezTo>
                <a:cubicBezTo>
                  <a:pt x="3695791" y="69296"/>
                  <a:pt x="3680776" y="85465"/>
                  <a:pt x="3661142" y="85465"/>
                </a:cubicBezTo>
                <a:cubicBezTo>
                  <a:pt x="3642663" y="85465"/>
                  <a:pt x="3626494" y="69296"/>
                  <a:pt x="3626494" y="50817"/>
                </a:cubicBezTo>
                <a:cubicBezTo>
                  <a:pt x="3626494" y="32338"/>
                  <a:pt x="3641508" y="16169"/>
                  <a:pt x="3661142" y="16169"/>
                </a:cubicBezTo>
                <a:close/>
                <a:moveTo>
                  <a:pt x="1845585" y="16169"/>
                </a:moveTo>
                <a:cubicBezTo>
                  <a:pt x="1864064" y="16169"/>
                  <a:pt x="1880233" y="32338"/>
                  <a:pt x="1880233" y="50817"/>
                </a:cubicBezTo>
                <a:cubicBezTo>
                  <a:pt x="1880233" y="69296"/>
                  <a:pt x="1865220" y="85465"/>
                  <a:pt x="1845585" y="85465"/>
                </a:cubicBezTo>
                <a:cubicBezTo>
                  <a:pt x="1827106" y="85465"/>
                  <a:pt x="1810937" y="69296"/>
                  <a:pt x="1810937" y="50817"/>
                </a:cubicBezTo>
                <a:cubicBezTo>
                  <a:pt x="1810937" y="32338"/>
                  <a:pt x="1825952" y="16169"/>
                  <a:pt x="1845585" y="16169"/>
                </a:cubicBezTo>
                <a:close/>
                <a:moveTo>
                  <a:pt x="727609" y="16169"/>
                </a:moveTo>
                <a:cubicBezTo>
                  <a:pt x="747243" y="16169"/>
                  <a:pt x="762257" y="32338"/>
                  <a:pt x="762257" y="50817"/>
                </a:cubicBezTo>
                <a:cubicBezTo>
                  <a:pt x="762257" y="69296"/>
                  <a:pt x="746088" y="85465"/>
                  <a:pt x="727609" y="85465"/>
                </a:cubicBezTo>
                <a:cubicBezTo>
                  <a:pt x="709130" y="85465"/>
                  <a:pt x="692961" y="69296"/>
                  <a:pt x="692961" y="50817"/>
                </a:cubicBezTo>
                <a:cubicBezTo>
                  <a:pt x="692961" y="32338"/>
                  <a:pt x="707976" y="16169"/>
                  <a:pt x="727609" y="16169"/>
                </a:cubicBezTo>
                <a:close/>
                <a:moveTo>
                  <a:pt x="168621" y="16169"/>
                </a:moveTo>
                <a:cubicBezTo>
                  <a:pt x="188255" y="16169"/>
                  <a:pt x="203269" y="32338"/>
                  <a:pt x="203269" y="50817"/>
                </a:cubicBezTo>
                <a:cubicBezTo>
                  <a:pt x="203269" y="69296"/>
                  <a:pt x="187100" y="85465"/>
                  <a:pt x="168621" y="85465"/>
                </a:cubicBezTo>
                <a:cubicBezTo>
                  <a:pt x="150142" y="85465"/>
                  <a:pt x="133973" y="69296"/>
                  <a:pt x="133973" y="50817"/>
                </a:cubicBezTo>
                <a:cubicBezTo>
                  <a:pt x="133973" y="32338"/>
                  <a:pt x="148988" y="16169"/>
                  <a:pt x="168621" y="16169"/>
                </a:cubicBezTo>
                <a:close/>
                <a:moveTo>
                  <a:pt x="10923972" y="10395"/>
                </a:moveTo>
                <a:cubicBezTo>
                  <a:pt x="10945916" y="10395"/>
                  <a:pt x="10964394" y="28874"/>
                  <a:pt x="10964394" y="50817"/>
                </a:cubicBezTo>
                <a:cubicBezTo>
                  <a:pt x="10964394" y="72762"/>
                  <a:pt x="10945916" y="91241"/>
                  <a:pt x="10923972" y="91241"/>
                </a:cubicBezTo>
                <a:cubicBezTo>
                  <a:pt x="10902028" y="91241"/>
                  <a:pt x="10883549" y="72762"/>
                  <a:pt x="10883549" y="50817"/>
                </a:cubicBezTo>
                <a:cubicBezTo>
                  <a:pt x="10883549" y="28874"/>
                  <a:pt x="10902028" y="10395"/>
                  <a:pt x="10923972" y="10395"/>
                </a:cubicBezTo>
                <a:close/>
                <a:moveTo>
                  <a:pt x="9805996" y="10395"/>
                </a:moveTo>
                <a:cubicBezTo>
                  <a:pt x="9827939" y="10395"/>
                  <a:pt x="9846418" y="30029"/>
                  <a:pt x="9846418" y="51973"/>
                </a:cubicBezTo>
                <a:cubicBezTo>
                  <a:pt x="9846418" y="73916"/>
                  <a:pt x="9827939" y="92395"/>
                  <a:pt x="9805996" y="92395"/>
                </a:cubicBezTo>
                <a:cubicBezTo>
                  <a:pt x="9784052" y="92395"/>
                  <a:pt x="9765573" y="72762"/>
                  <a:pt x="9765573" y="50817"/>
                </a:cubicBezTo>
                <a:cubicBezTo>
                  <a:pt x="9765573" y="28874"/>
                  <a:pt x="9784052" y="10395"/>
                  <a:pt x="9805996" y="10395"/>
                </a:cubicBezTo>
                <a:close/>
                <a:moveTo>
                  <a:pt x="9526502" y="10395"/>
                </a:moveTo>
                <a:cubicBezTo>
                  <a:pt x="9548445" y="10395"/>
                  <a:pt x="9566924" y="30029"/>
                  <a:pt x="9566924" y="51973"/>
                </a:cubicBezTo>
                <a:cubicBezTo>
                  <a:pt x="9566924" y="73916"/>
                  <a:pt x="9548445" y="92395"/>
                  <a:pt x="9526502" y="92395"/>
                </a:cubicBezTo>
                <a:cubicBezTo>
                  <a:pt x="9504558" y="92395"/>
                  <a:pt x="9486079" y="72762"/>
                  <a:pt x="9486079" y="50817"/>
                </a:cubicBezTo>
                <a:cubicBezTo>
                  <a:pt x="9486079" y="28874"/>
                  <a:pt x="9504558" y="10395"/>
                  <a:pt x="9526502" y="10395"/>
                </a:cubicBezTo>
                <a:close/>
                <a:moveTo>
                  <a:pt x="8693190" y="10395"/>
                </a:moveTo>
                <a:cubicBezTo>
                  <a:pt x="8715134" y="10395"/>
                  <a:pt x="8733613" y="28874"/>
                  <a:pt x="8733613" y="50817"/>
                </a:cubicBezTo>
                <a:cubicBezTo>
                  <a:pt x="8733613" y="72762"/>
                  <a:pt x="8715134" y="91241"/>
                  <a:pt x="8693190" y="91241"/>
                </a:cubicBezTo>
                <a:cubicBezTo>
                  <a:pt x="8671246" y="91241"/>
                  <a:pt x="8652767" y="72762"/>
                  <a:pt x="8652767" y="50817"/>
                </a:cubicBezTo>
                <a:cubicBezTo>
                  <a:pt x="8652767" y="28874"/>
                  <a:pt x="8671246" y="10395"/>
                  <a:pt x="8693190" y="10395"/>
                </a:cubicBezTo>
                <a:close/>
                <a:moveTo>
                  <a:pt x="8413696" y="10395"/>
                </a:moveTo>
                <a:cubicBezTo>
                  <a:pt x="8435640" y="10395"/>
                  <a:pt x="8454118" y="28874"/>
                  <a:pt x="8454118" y="50817"/>
                </a:cubicBezTo>
                <a:cubicBezTo>
                  <a:pt x="8454118" y="72762"/>
                  <a:pt x="8435640" y="91241"/>
                  <a:pt x="8413696" y="91241"/>
                </a:cubicBezTo>
                <a:cubicBezTo>
                  <a:pt x="8391752" y="91241"/>
                  <a:pt x="8373274" y="72762"/>
                  <a:pt x="8373274" y="50817"/>
                </a:cubicBezTo>
                <a:cubicBezTo>
                  <a:pt x="8373274" y="28874"/>
                  <a:pt x="8391752" y="10395"/>
                  <a:pt x="8413696" y="10395"/>
                </a:cubicBezTo>
                <a:close/>
                <a:moveTo>
                  <a:pt x="6318647" y="10395"/>
                </a:moveTo>
                <a:cubicBezTo>
                  <a:pt x="6340589" y="10395"/>
                  <a:pt x="6359068" y="28874"/>
                  <a:pt x="6359068" y="50817"/>
                </a:cubicBezTo>
                <a:cubicBezTo>
                  <a:pt x="6359068" y="72762"/>
                  <a:pt x="6340589" y="91241"/>
                  <a:pt x="6318647" y="91241"/>
                </a:cubicBezTo>
                <a:cubicBezTo>
                  <a:pt x="6296702" y="91241"/>
                  <a:pt x="6278223" y="72762"/>
                  <a:pt x="6278223" y="50817"/>
                </a:cubicBezTo>
                <a:cubicBezTo>
                  <a:pt x="6278223" y="28874"/>
                  <a:pt x="6296702" y="10395"/>
                  <a:pt x="6318647" y="10395"/>
                </a:cubicBezTo>
                <a:close/>
                <a:moveTo>
                  <a:pt x="5200670" y="10395"/>
                </a:moveTo>
                <a:cubicBezTo>
                  <a:pt x="5222613" y="10395"/>
                  <a:pt x="5241093" y="28874"/>
                  <a:pt x="5241093" y="50817"/>
                </a:cubicBezTo>
                <a:cubicBezTo>
                  <a:pt x="5241093" y="72762"/>
                  <a:pt x="5222613" y="91241"/>
                  <a:pt x="5200670" y="91241"/>
                </a:cubicBezTo>
                <a:cubicBezTo>
                  <a:pt x="5178725" y="91241"/>
                  <a:pt x="5160247" y="72762"/>
                  <a:pt x="5160247" y="50817"/>
                </a:cubicBezTo>
                <a:cubicBezTo>
                  <a:pt x="5160247" y="28874"/>
                  <a:pt x="5178725" y="10395"/>
                  <a:pt x="5200670" y="10395"/>
                </a:cubicBezTo>
                <a:close/>
                <a:moveTo>
                  <a:pt x="4921176" y="10395"/>
                </a:moveTo>
                <a:cubicBezTo>
                  <a:pt x="4944275" y="10395"/>
                  <a:pt x="4961598" y="28874"/>
                  <a:pt x="4961598" y="50817"/>
                </a:cubicBezTo>
                <a:cubicBezTo>
                  <a:pt x="4961598" y="72762"/>
                  <a:pt x="4943120" y="91241"/>
                  <a:pt x="4921176" y="91241"/>
                </a:cubicBezTo>
                <a:cubicBezTo>
                  <a:pt x="4899233" y="91241"/>
                  <a:pt x="4880752" y="72762"/>
                  <a:pt x="4880752" y="50817"/>
                </a:cubicBezTo>
                <a:cubicBezTo>
                  <a:pt x="4880752" y="28874"/>
                  <a:pt x="4899233" y="10395"/>
                  <a:pt x="4921176" y="10395"/>
                </a:cubicBezTo>
                <a:close/>
                <a:moveTo>
                  <a:pt x="4080383" y="10395"/>
                </a:moveTo>
                <a:cubicBezTo>
                  <a:pt x="4102326" y="10395"/>
                  <a:pt x="4120806" y="28874"/>
                  <a:pt x="4120806" y="50817"/>
                </a:cubicBezTo>
                <a:cubicBezTo>
                  <a:pt x="4120806" y="72762"/>
                  <a:pt x="4102326" y="91241"/>
                  <a:pt x="4080383" y="91241"/>
                </a:cubicBezTo>
                <a:cubicBezTo>
                  <a:pt x="4058439" y="91241"/>
                  <a:pt x="4039961" y="72762"/>
                  <a:pt x="4039961" y="50817"/>
                </a:cubicBezTo>
                <a:cubicBezTo>
                  <a:pt x="4039961" y="28874"/>
                  <a:pt x="4058439" y="10395"/>
                  <a:pt x="4080383" y="10395"/>
                </a:cubicBezTo>
                <a:close/>
                <a:moveTo>
                  <a:pt x="3800889" y="10395"/>
                </a:moveTo>
                <a:cubicBezTo>
                  <a:pt x="3822833" y="10395"/>
                  <a:pt x="3841311" y="28874"/>
                  <a:pt x="3841311" y="50817"/>
                </a:cubicBezTo>
                <a:cubicBezTo>
                  <a:pt x="3841311" y="72762"/>
                  <a:pt x="3822833" y="91241"/>
                  <a:pt x="3800889" y="91241"/>
                </a:cubicBezTo>
                <a:cubicBezTo>
                  <a:pt x="3778945" y="91241"/>
                  <a:pt x="3760466" y="72762"/>
                  <a:pt x="3760466" y="50817"/>
                </a:cubicBezTo>
                <a:cubicBezTo>
                  <a:pt x="3760466" y="28874"/>
                  <a:pt x="3778945" y="10395"/>
                  <a:pt x="3800889" y="10395"/>
                </a:cubicBezTo>
                <a:close/>
                <a:moveTo>
                  <a:pt x="1705839" y="10395"/>
                </a:moveTo>
                <a:cubicBezTo>
                  <a:pt x="1727782" y="10395"/>
                  <a:pt x="1746261" y="28874"/>
                  <a:pt x="1746261" y="50817"/>
                </a:cubicBezTo>
                <a:cubicBezTo>
                  <a:pt x="1746261" y="72762"/>
                  <a:pt x="1727782" y="91241"/>
                  <a:pt x="1705839" y="91241"/>
                </a:cubicBezTo>
                <a:cubicBezTo>
                  <a:pt x="1683894" y="91241"/>
                  <a:pt x="1665415" y="72762"/>
                  <a:pt x="1665415" y="50817"/>
                </a:cubicBezTo>
                <a:cubicBezTo>
                  <a:pt x="1665415" y="28874"/>
                  <a:pt x="1683894" y="10395"/>
                  <a:pt x="1705839" y="10395"/>
                </a:cubicBezTo>
                <a:close/>
                <a:moveTo>
                  <a:pt x="587862" y="10395"/>
                </a:moveTo>
                <a:cubicBezTo>
                  <a:pt x="609806" y="10395"/>
                  <a:pt x="628284" y="30029"/>
                  <a:pt x="628284" y="51973"/>
                </a:cubicBezTo>
                <a:cubicBezTo>
                  <a:pt x="628284" y="73916"/>
                  <a:pt x="609806" y="92395"/>
                  <a:pt x="587862" y="92395"/>
                </a:cubicBezTo>
                <a:cubicBezTo>
                  <a:pt x="565918" y="92395"/>
                  <a:pt x="547439" y="72762"/>
                  <a:pt x="547439" y="50817"/>
                </a:cubicBezTo>
                <a:cubicBezTo>
                  <a:pt x="547439" y="28874"/>
                  <a:pt x="565918" y="10395"/>
                  <a:pt x="587862" y="10395"/>
                </a:cubicBezTo>
                <a:close/>
                <a:moveTo>
                  <a:pt x="308368" y="10395"/>
                </a:moveTo>
                <a:cubicBezTo>
                  <a:pt x="330311" y="10395"/>
                  <a:pt x="348790" y="30029"/>
                  <a:pt x="348790" y="51973"/>
                </a:cubicBezTo>
                <a:cubicBezTo>
                  <a:pt x="348790" y="73916"/>
                  <a:pt x="330311" y="92395"/>
                  <a:pt x="308368" y="92395"/>
                </a:cubicBezTo>
                <a:cubicBezTo>
                  <a:pt x="286424" y="92395"/>
                  <a:pt x="267945" y="72762"/>
                  <a:pt x="267945" y="50817"/>
                </a:cubicBezTo>
                <a:cubicBezTo>
                  <a:pt x="267945" y="28874"/>
                  <a:pt x="286424" y="10395"/>
                  <a:pt x="308368" y="10395"/>
                </a:cubicBezTo>
                <a:close/>
                <a:moveTo>
                  <a:pt x="10784225" y="0"/>
                </a:moveTo>
                <a:cubicBezTo>
                  <a:pt x="10811943" y="0"/>
                  <a:pt x="10835042" y="23099"/>
                  <a:pt x="10835042" y="50817"/>
                </a:cubicBezTo>
                <a:cubicBezTo>
                  <a:pt x="10835042" y="78536"/>
                  <a:pt x="10811943" y="101634"/>
                  <a:pt x="10784225" y="101634"/>
                </a:cubicBezTo>
                <a:cubicBezTo>
                  <a:pt x="10756506" y="101634"/>
                  <a:pt x="10733408" y="78536"/>
                  <a:pt x="10733408" y="50817"/>
                </a:cubicBezTo>
                <a:cubicBezTo>
                  <a:pt x="10733408" y="23099"/>
                  <a:pt x="10755352" y="0"/>
                  <a:pt x="10784225" y="0"/>
                </a:cubicBezTo>
                <a:close/>
                <a:moveTo>
                  <a:pt x="9666248" y="0"/>
                </a:moveTo>
                <a:cubicBezTo>
                  <a:pt x="9695122" y="0"/>
                  <a:pt x="9717066" y="23099"/>
                  <a:pt x="9717066" y="50817"/>
                </a:cubicBezTo>
                <a:cubicBezTo>
                  <a:pt x="9717066" y="78536"/>
                  <a:pt x="9695122" y="101634"/>
                  <a:pt x="9666248" y="101634"/>
                </a:cubicBezTo>
                <a:cubicBezTo>
                  <a:pt x="9638530" y="101634"/>
                  <a:pt x="9615431" y="78536"/>
                  <a:pt x="9615431" y="50817"/>
                </a:cubicBezTo>
                <a:cubicBezTo>
                  <a:pt x="9615431" y="23099"/>
                  <a:pt x="9637376" y="0"/>
                  <a:pt x="9666248" y="0"/>
                </a:cubicBezTo>
                <a:close/>
                <a:moveTo>
                  <a:pt x="8553443" y="0"/>
                </a:moveTo>
                <a:cubicBezTo>
                  <a:pt x="8582317" y="0"/>
                  <a:pt x="8604260" y="23099"/>
                  <a:pt x="8604260" y="50817"/>
                </a:cubicBezTo>
                <a:cubicBezTo>
                  <a:pt x="8604260" y="78536"/>
                  <a:pt x="8582317" y="101634"/>
                  <a:pt x="8553443" y="101634"/>
                </a:cubicBezTo>
                <a:cubicBezTo>
                  <a:pt x="8525724" y="101634"/>
                  <a:pt x="8502626" y="78536"/>
                  <a:pt x="8502626" y="50817"/>
                </a:cubicBezTo>
                <a:cubicBezTo>
                  <a:pt x="8502626" y="23099"/>
                  <a:pt x="8524570" y="0"/>
                  <a:pt x="8553443" y="0"/>
                </a:cubicBezTo>
                <a:close/>
                <a:moveTo>
                  <a:pt x="6178898" y="0"/>
                </a:moveTo>
                <a:cubicBezTo>
                  <a:pt x="6206618" y="0"/>
                  <a:pt x="6229715" y="23099"/>
                  <a:pt x="6229715" y="50817"/>
                </a:cubicBezTo>
                <a:cubicBezTo>
                  <a:pt x="6229715" y="78536"/>
                  <a:pt x="6206618" y="101634"/>
                  <a:pt x="6178898" y="101634"/>
                </a:cubicBezTo>
                <a:cubicBezTo>
                  <a:pt x="6151180" y="101634"/>
                  <a:pt x="6128081" y="78536"/>
                  <a:pt x="6128081" y="50817"/>
                </a:cubicBezTo>
                <a:cubicBezTo>
                  <a:pt x="6128081" y="23099"/>
                  <a:pt x="6150025" y="0"/>
                  <a:pt x="6178898" y="0"/>
                </a:cubicBezTo>
                <a:close/>
                <a:moveTo>
                  <a:pt x="5060922" y="0"/>
                </a:moveTo>
                <a:cubicBezTo>
                  <a:pt x="5089795" y="0"/>
                  <a:pt x="5111740" y="23099"/>
                  <a:pt x="5111740" y="50817"/>
                </a:cubicBezTo>
                <a:cubicBezTo>
                  <a:pt x="5111740" y="78536"/>
                  <a:pt x="5088641" y="101634"/>
                  <a:pt x="5060922" y="101634"/>
                </a:cubicBezTo>
                <a:cubicBezTo>
                  <a:pt x="5033205" y="101634"/>
                  <a:pt x="5010105" y="78536"/>
                  <a:pt x="5010105" y="50817"/>
                </a:cubicBezTo>
                <a:cubicBezTo>
                  <a:pt x="5010105" y="23099"/>
                  <a:pt x="5032050" y="0"/>
                  <a:pt x="5060922" y="0"/>
                </a:cubicBezTo>
                <a:close/>
                <a:moveTo>
                  <a:pt x="3940636" y="0"/>
                </a:moveTo>
                <a:cubicBezTo>
                  <a:pt x="3969510" y="0"/>
                  <a:pt x="3991453" y="23099"/>
                  <a:pt x="3991453" y="50817"/>
                </a:cubicBezTo>
                <a:cubicBezTo>
                  <a:pt x="3991453" y="78536"/>
                  <a:pt x="3969510" y="101634"/>
                  <a:pt x="3940636" y="101634"/>
                </a:cubicBezTo>
                <a:cubicBezTo>
                  <a:pt x="3912917" y="101634"/>
                  <a:pt x="3889819" y="78536"/>
                  <a:pt x="3889819" y="50817"/>
                </a:cubicBezTo>
                <a:cubicBezTo>
                  <a:pt x="3889819" y="23099"/>
                  <a:pt x="3911763" y="0"/>
                  <a:pt x="3940636" y="0"/>
                </a:cubicBezTo>
                <a:close/>
                <a:moveTo>
                  <a:pt x="1566091" y="0"/>
                </a:moveTo>
                <a:cubicBezTo>
                  <a:pt x="1593810" y="0"/>
                  <a:pt x="1616908" y="23099"/>
                  <a:pt x="1616908" y="50817"/>
                </a:cubicBezTo>
                <a:cubicBezTo>
                  <a:pt x="1616908" y="78536"/>
                  <a:pt x="1593810" y="101634"/>
                  <a:pt x="1566091" y="101634"/>
                </a:cubicBezTo>
                <a:cubicBezTo>
                  <a:pt x="1538373" y="101634"/>
                  <a:pt x="1515274" y="78536"/>
                  <a:pt x="1515274" y="50817"/>
                </a:cubicBezTo>
                <a:cubicBezTo>
                  <a:pt x="1515274" y="23099"/>
                  <a:pt x="1537218" y="0"/>
                  <a:pt x="1566091" y="0"/>
                </a:cubicBezTo>
                <a:close/>
                <a:moveTo>
                  <a:pt x="448115" y="0"/>
                </a:moveTo>
                <a:cubicBezTo>
                  <a:pt x="476989" y="0"/>
                  <a:pt x="498932" y="23099"/>
                  <a:pt x="498932" y="50817"/>
                </a:cubicBezTo>
                <a:cubicBezTo>
                  <a:pt x="498932" y="78536"/>
                  <a:pt x="476989" y="101634"/>
                  <a:pt x="448115" y="101634"/>
                </a:cubicBezTo>
                <a:cubicBezTo>
                  <a:pt x="420396" y="101634"/>
                  <a:pt x="397298" y="78536"/>
                  <a:pt x="397298" y="50817"/>
                </a:cubicBezTo>
                <a:cubicBezTo>
                  <a:pt x="397298" y="23099"/>
                  <a:pt x="419242" y="0"/>
                  <a:pt x="448115" y="0"/>
                </a:cubicBezTo>
                <a:close/>
              </a:path>
            </a:pathLst>
          </a:custGeom>
          <a:solidFill>
            <a:schemeClr val="bg2">
              <a:alpha val="6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23F41AB2-E4EA-46BA-9797-EE783A2934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E6FFDDB9-EADC-45C3-9B9E-0296DEB59E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4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A0D4FE7D-0FBF-4FBE-B450-41F7F6DEB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549EFA15-ADB9-4F37-A509-987C3916BA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2" name="BR Logo">
            <a:extLst>
              <a:ext uri="{FF2B5EF4-FFF2-40B4-BE49-F238E27FC236}">
                <a16:creationId xmlns:a16="http://schemas.microsoft.com/office/drawing/2014/main" id="{4E434024-75F6-9240-A8DC-DCAAEC7606DA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2CB4D5F8-3161-2941-891D-FB65E214F67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86D1E27-C0A3-1444-9C07-D3EF6FB4CE4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8309913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6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pic>
        <p:nvPicPr>
          <p:cNvPr id="16" name="Picture 15" descr="A picture containing swimming, large, laptop, sitting&#10;&#10;Description automatically generated">
            <a:extLst>
              <a:ext uri="{FF2B5EF4-FFF2-40B4-BE49-F238E27FC236}">
                <a16:creationId xmlns:a16="http://schemas.microsoft.com/office/drawing/2014/main" id="{338C03BC-00A3-43D2-878D-D11BA0FD4E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971800"/>
            <a:ext cx="12212719" cy="2286000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2F8ECD-C490-45D9-890F-19655D35AA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0" name="BR Logo">
            <a:extLst>
              <a:ext uri="{FF2B5EF4-FFF2-40B4-BE49-F238E27FC236}">
                <a16:creationId xmlns:a16="http://schemas.microsoft.com/office/drawing/2014/main" id="{56ABD2E0-1AF8-4FA5-95BF-F2D4266792B8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7B85939F-582F-46C2-A2E4-E8B4D36E2B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14C828-FC46-4E4D-A477-B5EB3767D63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041155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  <p15:guide id="4" pos="635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33C91CA-9CD2-42F1-8DC2-73758E677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971802"/>
            <a:ext cx="12191999" cy="2285998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8CA09573-12E1-4D48-B3B9-59B19048A8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ECE40BA1-1624-4319-B4AC-A35703EB67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6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AC3B507F-9B6F-4359-A311-FE05301FD1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1536300-DF53-47E1-B801-2F87423768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0" name="BR Logo">
            <a:extLst>
              <a:ext uri="{FF2B5EF4-FFF2-40B4-BE49-F238E27FC236}">
                <a16:creationId xmlns:a16="http://schemas.microsoft.com/office/drawing/2014/main" id="{B7C8B328-F073-6E4B-9700-CC26818F4DE8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34AD6C37-8E45-7C41-AE05-6F37F374EC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26F1F1E-F711-9542-A353-42006D406CA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     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1268000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Dot Pattern">
            <a:extLst>
              <a:ext uri="{FF2B5EF4-FFF2-40B4-BE49-F238E27FC236}">
                <a16:creationId xmlns:a16="http://schemas.microsoft.com/office/drawing/2014/main" id="{4C7C04B5-CA51-4B87-AC0B-778968F98C86}"/>
              </a:ext>
            </a:extLst>
          </p:cNvPr>
          <p:cNvSpPr/>
          <p:nvPr userDrawn="1"/>
        </p:nvSpPr>
        <p:spPr>
          <a:xfrm>
            <a:off x="-3082" y="4648002"/>
            <a:ext cx="12251873" cy="823468"/>
          </a:xfrm>
          <a:custGeom>
            <a:avLst/>
            <a:gdLst>
              <a:gd name="connsiteX0" fmla="*/ 12210569 w 12248682"/>
              <a:gd name="connsiteY0" fmla="*/ 753017 h 823468"/>
              <a:gd name="connsiteX1" fmla="*/ 12231358 w 12248682"/>
              <a:gd name="connsiteY1" fmla="*/ 773806 h 823468"/>
              <a:gd name="connsiteX2" fmla="*/ 12210569 w 12248682"/>
              <a:gd name="connsiteY2" fmla="*/ 794594 h 823468"/>
              <a:gd name="connsiteX3" fmla="*/ 12189780 w 12248682"/>
              <a:gd name="connsiteY3" fmla="*/ 773806 h 823468"/>
              <a:gd name="connsiteX4" fmla="*/ 12210569 w 12248682"/>
              <a:gd name="connsiteY4" fmla="*/ 753017 h 823468"/>
              <a:gd name="connsiteX5" fmla="*/ 12071977 w 12248682"/>
              <a:gd name="connsiteY5" fmla="*/ 753017 h 823468"/>
              <a:gd name="connsiteX6" fmla="*/ 12092766 w 12248682"/>
              <a:gd name="connsiteY6" fmla="*/ 773806 h 823468"/>
              <a:gd name="connsiteX7" fmla="*/ 12071977 w 12248682"/>
              <a:gd name="connsiteY7" fmla="*/ 794594 h 823468"/>
              <a:gd name="connsiteX8" fmla="*/ 12051188 w 12248682"/>
              <a:gd name="connsiteY8" fmla="*/ 773806 h 823468"/>
              <a:gd name="connsiteX9" fmla="*/ 12071977 w 12248682"/>
              <a:gd name="connsiteY9" fmla="*/ 753017 h 823468"/>
              <a:gd name="connsiteX10" fmla="*/ 11934539 w 12248682"/>
              <a:gd name="connsiteY10" fmla="*/ 753017 h 823468"/>
              <a:gd name="connsiteX11" fmla="*/ 11955328 w 12248682"/>
              <a:gd name="connsiteY11" fmla="*/ 773806 h 823468"/>
              <a:gd name="connsiteX12" fmla="*/ 11934539 w 12248682"/>
              <a:gd name="connsiteY12" fmla="*/ 794594 h 823468"/>
              <a:gd name="connsiteX13" fmla="*/ 11913750 w 12248682"/>
              <a:gd name="connsiteY13" fmla="*/ 773806 h 823468"/>
              <a:gd name="connsiteX14" fmla="*/ 11934539 w 12248682"/>
              <a:gd name="connsiteY14" fmla="*/ 753017 h 823468"/>
              <a:gd name="connsiteX15" fmla="*/ 11797103 w 12248682"/>
              <a:gd name="connsiteY15" fmla="*/ 753017 h 823468"/>
              <a:gd name="connsiteX16" fmla="*/ 11816736 w 12248682"/>
              <a:gd name="connsiteY16" fmla="*/ 773806 h 823468"/>
              <a:gd name="connsiteX17" fmla="*/ 11797103 w 12248682"/>
              <a:gd name="connsiteY17" fmla="*/ 794594 h 823468"/>
              <a:gd name="connsiteX18" fmla="*/ 11776314 w 12248682"/>
              <a:gd name="connsiteY18" fmla="*/ 773806 h 823468"/>
              <a:gd name="connsiteX19" fmla="*/ 11797103 w 12248682"/>
              <a:gd name="connsiteY19" fmla="*/ 753017 h 823468"/>
              <a:gd name="connsiteX20" fmla="*/ 10645633 w 12248682"/>
              <a:gd name="connsiteY20" fmla="*/ 753017 h 823468"/>
              <a:gd name="connsiteX21" fmla="*/ 10666422 w 12248682"/>
              <a:gd name="connsiteY21" fmla="*/ 773806 h 823468"/>
              <a:gd name="connsiteX22" fmla="*/ 10645633 w 12248682"/>
              <a:gd name="connsiteY22" fmla="*/ 794594 h 823468"/>
              <a:gd name="connsiteX23" fmla="*/ 10624844 w 12248682"/>
              <a:gd name="connsiteY23" fmla="*/ 773806 h 823468"/>
              <a:gd name="connsiteX24" fmla="*/ 10645633 w 12248682"/>
              <a:gd name="connsiteY24" fmla="*/ 753017 h 823468"/>
              <a:gd name="connsiteX25" fmla="*/ 9247008 w 12248682"/>
              <a:gd name="connsiteY25" fmla="*/ 753017 h 823468"/>
              <a:gd name="connsiteX26" fmla="*/ 9267797 w 12248682"/>
              <a:gd name="connsiteY26" fmla="*/ 773806 h 823468"/>
              <a:gd name="connsiteX27" fmla="*/ 9247008 w 12248682"/>
              <a:gd name="connsiteY27" fmla="*/ 794594 h 823468"/>
              <a:gd name="connsiteX28" fmla="*/ 9226219 w 12248682"/>
              <a:gd name="connsiteY28" fmla="*/ 773806 h 823468"/>
              <a:gd name="connsiteX29" fmla="*/ 9247008 w 12248682"/>
              <a:gd name="connsiteY29" fmla="*/ 753017 h 823468"/>
              <a:gd name="connsiteX30" fmla="*/ 8148062 w 12248682"/>
              <a:gd name="connsiteY30" fmla="*/ 753017 h 823468"/>
              <a:gd name="connsiteX31" fmla="*/ 8168851 w 12248682"/>
              <a:gd name="connsiteY31" fmla="*/ 773806 h 823468"/>
              <a:gd name="connsiteX32" fmla="*/ 8148062 w 12248682"/>
              <a:gd name="connsiteY32" fmla="*/ 794594 h 823468"/>
              <a:gd name="connsiteX33" fmla="*/ 8127274 w 12248682"/>
              <a:gd name="connsiteY33" fmla="*/ 773806 h 823468"/>
              <a:gd name="connsiteX34" fmla="*/ 8148062 w 12248682"/>
              <a:gd name="connsiteY34" fmla="*/ 753017 h 823468"/>
              <a:gd name="connsiteX35" fmla="*/ 8009471 w 12248682"/>
              <a:gd name="connsiteY35" fmla="*/ 753017 h 823468"/>
              <a:gd name="connsiteX36" fmla="*/ 8030259 w 12248682"/>
              <a:gd name="connsiteY36" fmla="*/ 773806 h 823468"/>
              <a:gd name="connsiteX37" fmla="*/ 8009471 w 12248682"/>
              <a:gd name="connsiteY37" fmla="*/ 794594 h 823468"/>
              <a:gd name="connsiteX38" fmla="*/ 7988682 w 12248682"/>
              <a:gd name="connsiteY38" fmla="*/ 773806 h 823468"/>
              <a:gd name="connsiteX39" fmla="*/ 8009471 w 12248682"/>
              <a:gd name="connsiteY39" fmla="*/ 753017 h 823468"/>
              <a:gd name="connsiteX40" fmla="*/ 7872031 w 12248682"/>
              <a:gd name="connsiteY40" fmla="*/ 753017 h 823468"/>
              <a:gd name="connsiteX41" fmla="*/ 7892822 w 12248682"/>
              <a:gd name="connsiteY41" fmla="*/ 773806 h 823468"/>
              <a:gd name="connsiteX42" fmla="*/ 7872031 w 12248682"/>
              <a:gd name="connsiteY42" fmla="*/ 794594 h 823468"/>
              <a:gd name="connsiteX43" fmla="*/ 7851244 w 12248682"/>
              <a:gd name="connsiteY43" fmla="*/ 773806 h 823468"/>
              <a:gd name="connsiteX44" fmla="*/ 7872031 w 12248682"/>
              <a:gd name="connsiteY44" fmla="*/ 753017 h 823468"/>
              <a:gd name="connsiteX45" fmla="*/ 7713807 w 12248682"/>
              <a:gd name="connsiteY45" fmla="*/ 753017 h 823468"/>
              <a:gd name="connsiteX46" fmla="*/ 7734596 w 12248682"/>
              <a:gd name="connsiteY46" fmla="*/ 773806 h 823468"/>
              <a:gd name="connsiteX47" fmla="*/ 7713807 w 12248682"/>
              <a:gd name="connsiteY47" fmla="*/ 794594 h 823468"/>
              <a:gd name="connsiteX48" fmla="*/ 7693019 w 12248682"/>
              <a:gd name="connsiteY48" fmla="*/ 773806 h 823468"/>
              <a:gd name="connsiteX49" fmla="*/ 7713807 w 12248682"/>
              <a:gd name="connsiteY49" fmla="*/ 753017 h 823468"/>
              <a:gd name="connsiteX50" fmla="*/ 7605244 w 12248682"/>
              <a:gd name="connsiteY50" fmla="*/ 753017 h 823468"/>
              <a:gd name="connsiteX51" fmla="*/ 7626031 w 12248682"/>
              <a:gd name="connsiteY51" fmla="*/ 773806 h 823468"/>
              <a:gd name="connsiteX52" fmla="*/ 7605244 w 12248682"/>
              <a:gd name="connsiteY52" fmla="*/ 794594 h 823468"/>
              <a:gd name="connsiteX53" fmla="*/ 7584454 w 12248682"/>
              <a:gd name="connsiteY53" fmla="*/ 773806 h 823468"/>
              <a:gd name="connsiteX54" fmla="*/ 7605244 w 12248682"/>
              <a:gd name="connsiteY54" fmla="*/ 753017 h 823468"/>
              <a:gd name="connsiteX55" fmla="*/ 7466651 w 12248682"/>
              <a:gd name="connsiteY55" fmla="*/ 753017 h 823468"/>
              <a:gd name="connsiteX56" fmla="*/ 7487439 w 12248682"/>
              <a:gd name="connsiteY56" fmla="*/ 773806 h 823468"/>
              <a:gd name="connsiteX57" fmla="*/ 7466651 w 12248682"/>
              <a:gd name="connsiteY57" fmla="*/ 794594 h 823468"/>
              <a:gd name="connsiteX58" fmla="*/ 7445863 w 12248682"/>
              <a:gd name="connsiteY58" fmla="*/ 773806 h 823468"/>
              <a:gd name="connsiteX59" fmla="*/ 7466651 w 12248682"/>
              <a:gd name="connsiteY59" fmla="*/ 753017 h 823468"/>
              <a:gd name="connsiteX60" fmla="*/ 7329213 w 12248682"/>
              <a:gd name="connsiteY60" fmla="*/ 753017 h 823468"/>
              <a:gd name="connsiteX61" fmla="*/ 7350002 w 12248682"/>
              <a:gd name="connsiteY61" fmla="*/ 773806 h 823468"/>
              <a:gd name="connsiteX62" fmla="*/ 7329213 w 12248682"/>
              <a:gd name="connsiteY62" fmla="*/ 794594 h 823468"/>
              <a:gd name="connsiteX63" fmla="*/ 7308425 w 12248682"/>
              <a:gd name="connsiteY63" fmla="*/ 773806 h 823468"/>
              <a:gd name="connsiteX64" fmla="*/ 7329213 w 12248682"/>
              <a:gd name="connsiteY64" fmla="*/ 753017 h 823468"/>
              <a:gd name="connsiteX65" fmla="*/ 7191777 w 12248682"/>
              <a:gd name="connsiteY65" fmla="*/ 753017 h 823468"/>
              <a:gd name="connsiteX66" fmla="*/ 7212566 w 12248682"/>
              <a:gd name="connsiteY66" fmla="*/ 773806 h 823468"/>
              <a:gd name="connsiteX67" fmla="*/ 7191777 w 12248682"/>
              <a:gd name="connsiteY67" fmla="*/ 794594 h 823468"/>
              <a:gd name="connsiteX68" fmla="*/ 7170987 w 12248682"/>
              <a:gd name="connsiteY68" fmla="*/ 773806 h 823468"/>
              <a:gd name="connsiteX69" fmla="*/ 7191777 w 12248682"/>
              <a:gd name="connsiteY69" fmla="*/ 753017 h 823468"/>
              <a:gd name="connsiteX70" fmla="*/ 6040307 w 12248682"/>
              <a:gd name="connsiteY70" fmla="*/ 753017 h 823468"/>
              <a:gd name="connsiteX71" fmla="*/ 6061095 w 12248682"/>
              <a:gd name="connsiteY71" fmla="*/ 773806 h 823468"/>
              <a:gd name="connsiteX72" fmla="*/ 6040307 w 12248682"/>
              <a:gd name="connsiteY72" fmla="*/ 794594 h 823468"/>
              <a:gd name="connsiteX73" fmla="*/ 6019518 w 12248682"/>
              <a:gd name="connsiteY73" fmla="*/ 773806 h 823468"/>
              <a:gd name="connsiteX74" fmla="*/ 6040307 w 12248682"/>
              <a:gd name="connsiteY74" fmla="*/ 753017 h 823468"/>
              <a:gd name="connsiteX75" fmla="*/ 4641682 w 12248682"/>
              <a:gd name="connsiteY75" fmla="*/ 753017 h 823468"/>
              <a:gd name="connsiteX76" fmla="*/ 4662471 w 12248682"/>
              <a:gd name="connsiteY76" fmla="*/ 773806 h 823468"/>
              <a:gd name="connsiteX77" fmla="*/ 4641682 w 12248682"/>
              <a:gd name="connsiteY77" fmla="*/ 794594 h 823468"/>
              <a:gd name="connsiteX78" fmla="*/ 4620893 w 12248682"/>
              <a:gd name="connsiteY78" fmla="*/ 773806 h 823468"/>
              <a:gd name="connsiteX79" fmla="*/ 4641682 w 12248682"/>
              <a:gd name="connsiteY79" fmla="*/ 753017 h 823468"/>
              <a:gd name="connsiteX80" fmla="*/ 3535254 w 12248682"/>
              <a:gd name="connsiteY80" fmla="*/ 753017 h 823468"/>
              <a:gd name="connsiteX81" fmla="*/ 3556043 w 12248682"/>
              <a:gd name="connsiteY81" fmla="*/ 773806 h 823468"/>
              <a:gd name="connsiteX82" fmla="*/ 3535254 w 12248682"/>
              <a:gd name="connsiteY82" fmla="*/ 794594 h 823468"/>
              <a:gd name="connsiteX83" fmla="*/ 3514466 w 12248682"/>
              <a:gd name="connsiteY83" fmla="*/ 773806 h 823468"/>
              <a:gd name="connsiteX84" fmla="*/ 3535254 w 12248682"/>
              <a:gd name="connsiteY84" fmla="*/ 753017 h 823468"/>
              <a:gd name="connsiteX85" fmla="*/ 3396662 w 12248682"/>
              <a:gd name="connsiteY85" fmla="*/ 753017 h 823468"/>
              <a:gd name="connsiteX86" fmla="*/ 3417451 w 12248682"/>
              <a:gd name="connsiteY86" fmla="*/ 773806 h 823468"/>
              <a:gd name="connsiteX87" fmla="*/ 3396662 w 12248682"/>
              <a:gd name="connsiteY87" fmla="*/ 794594 h 823468"/>
              <a:gd name="connsiteX88" fmla="*/ 3375874 w 12248682"/>
              <a:gd name="connsiteY88" fmla="*/ 773806 h 823468"/>
              <a:gd name="connsiteX89" fmla="*/ 3396662 w 12248682"/>
              <a:gd name="connsiteY89" fmla="*/ 753017 h 823468"/>
              <a:gd name="connsiteX90" fmla="*/ 3259224 w 12248682"/>
              <a:gd name="connsiteY90" fmla="*/ 753017 h 823468"/>
              <a:gd name="connsiteX91" fmla="*/ 3280013 w 12248682"/>
              <a:gd name="connsiteY91" fmla="*/ 773806 h 823468"/>
              <a:gd name="connsiteX92" fmla="*/ 3259224 w 12248682"/>
              <a:gd name="connsiteY92" fmla="*/ 794594 h 823468"/>
              <a:gd name="connsiteX93" fmla="*/ 3238436 w 12248682"/>
              <a:gd name="connsiteY93" fmla="*/ 773806 h 823468"/>
              <a:gd name="connsiteX94" fmla="*/ 3259224 w 12248682"/>
              <a:gd name="connsiteY94" fmla="*/ 753017 h 823468"/>
              <a:gd name="connsiteX95" fmla="*/ 3100999 w 12248682"/>
              <a:gd name="connsiteY95" fmla="*/ 753017 h 823468"/>
              <a:gd name="connsiteX96" fmla="*/ 3121789 w 12248682"/>
              <a:gd name="connsiteY96" fmla="*/ 773806 h 823468"/>
              <a:gd name="connsiteX97" fmla="*/ 3100999 w 12248682"/>
              <a:gd name="connsiteY97" fmla="*/ 794594 h 823468"/>
              <a:gd name="connsiteX98" fmla="*/ 3080212 w 12248682"/>
              <a:gd name="connsiteY98" fmla="*/ 773806 h 823468"/>
              <a:gd name="connsiteX99" fmla="*/ 3100999 w 12248682"/>
              <a:gd name="connsiteY99" fmla="*/ 753017 h 823468"/>
              <a:gd name="connsiteX100" fmla="*/ 2992435 w 12248682"/>
              <a:gd name="connsiteY100" fmla="*/ 753017 h 823468"/>
              <a:gd name="connsiteX101" fmla="*/ 3013224 w 12248682"/>
              <a:gd name="connsiteY101" fmla="*/ 773806 h 823468"/>
              <a:gd name="connsiteX102" fmla="*/ 2992435 w 12248682"/>
              <a:gd name="connsiteY102" fmla="*/ 794594 h 823468"/>
              <a:gd name="connsiteX103" fmla="*/ 2971647 w 12248682"/>
              <a:gd name="connsiteY103" fmla="*/ 773806 h 823468"/>
              <a:gd name="connsiteX104" fmla="*/ 2992435 w 12248682"/>
              <a:gd name="connsiteY104" fmla="*/ 753017 h 823468"/>
              <a:gd name="connsiteX105" fmla="*/ 2853843 w 12248682"/>
              <a:gd name="connsiteY105" fmla="*/ 753017 h 823468"/>
              <a:gd name="connsiteX106" fmla="*/ 2874633 w 12248682"/>
              <a:gd name="connsiteY106" fmla="*/ 773806 h 823468"/>
              <a:gd name="connsiteX107" fmla="*/ 2853843 w 12248682"/>
              <a:gd name="connsiteY107" fmla="*/ 794594 h 823468"/>
              <a:gd name="connsiteX108" fmla="*/ 2833056 w 12248682"/>
              <a:gd name="connsiteY108" fmla="*/ 773806 h 823468"/>
              <a:gd name="connsiteX109" fmla="*/ 2853843 w 12248682"/>
              <a:gd name="connsiteY109" fmla="*/ 753017 h 823468"/>
              <a:gd name="connsiteX110" fmla="*/ 2716405 w 12248682"/>
              <a:gd name="connsiteY110" fmla="*/ 753017 h 823468"/>
              <a:gd name="connsiteX111" fmla="*/ 2737195 w 12248682"/>
              <a:gd name="connsiteY111" fmla="*/ 773806 h 823468"/>
              <a:gd name="connsiteX112" fmla="*/ 2716405 w 12248682"/>
              <a:gd name="connsiteY112" fmla="*/ 794594 h 823468"/>
              <a:gd name="connsiteX113" fmla="*/ 2695618 w 12248682"/>
              <a:gd name="connsiteY113" fmla="*/ 773806 h 823468"/>
              <a:gd name="connsiteX114" fmla="*/ 2716405 w 12248682"/>
              <a:gd name="connsiteY114" fmla="*/ 753017 h 823468"/>
              <a:gd name="connsiteX115" fmla="*/ 2578969 w 12248682"/>
              <a:gd name="connsiteY115" fmla="*/ 753017 h 823468"/>
              <a:gd name="connsiteX116" fmla="*/ 2598602 w 12248682"/>
              <a:gd name="connsiteY116" fmla="*/ 773806 h 823468"/>
              <a:gd name="connsiteX117" fmla="*/ 2578969 w 12248682"/>
              <a:gd name="connsiteY117" fmla="*/ 794594 h 823468"/>
              <a:gd name="connsiteX118" fmla="*/ 2558180 w 12248682"/>
              <a:gd name="connsiteY118" fmla="*/ 773806 h 823468"/>
              <a:gd name="connsiteX119" fmla="*/ 2578969 w 12248682"/>
              <a:gd name="connsiteY119" fmla="*/ 753017 h 823468"/>
              <a:gd name="connsiteX120" fmla="*/ 1427499 w 12248682"/>
              <a:gd name="connsiteY120" fmla="*/ 753017 h 823468"/>
              <a:gd name="connsiteX121" fmla="*/ 1448288 w 12248682"/>
              <a:gd name="connsiteY121" fmla="*/ 773806 h 823468"/>
              <a:gd name="connsiteX122" fmla="*/ 1427499 w 12248682"/>
              <a:gd name="connsiteY122" fmla="*/ 794594 h 823468"/>
              <a:gd name="connsiteX123" fmla="*/ 1406710 w 12248682"/>
              <a:gd name="connsiteY123" fmla="*/ 773806 h 823468"/>
              <a:gd name="connsiteX124" fmla="*/ 1427499 w 12248682"/>
              <a:gd name="connsiteY124" fmla="*/ 753017 h 823468"/>
              <a:gd name="connsiteX125" fmla="*/ 28874 w 12248682"/>
              <a:gd name="connsiteY125" fmla="*/ 753017 h 823468"/>
              <a:gd name="connsiteX126" fmla="*/ 49663 w 12248682"/>
              <a:gd name="connsiteY126" fmla="*/ 773806 h 823468"/>
              <a:gd name="connsiteX127" fmla="*/ 28874 w 12248682"/>
              <a:gd name="connsiteY127" fmla="*/ 794594 h 823468"/>
              <a:gd name="connsiteX128" fmla="*/ 8085 w 12248682"/>
              <a:gd name="connsiteY128" fmla="*/ 773806 h 823468"/>
              <a:gd name="connsiteX129" fmla="*/ 28874 w 12248682"/>
              <a:gd name="connsiteY129" fmla="*/ 753017 h 823468"/>
              <a:gd name="connsiteX130" fmla="*/ 11658510 w 12248682"/>
              <a:gd name="connsiteY130" fmla="*/ 750707 h 823468"/>
              <a:gd name="connsiteX131" fmla="*/ 11681609 w 12248682"/>
              <a:gd name="connsiteY131" fmla="*/ 773806 h 823468"/>
              <a:gd name="connsiteX132" fmla="*/ 11658510 w 12248682"/>
              <a:gd name="connsiteY132" fmla="*/ 796904 h 823468"/>
              <a:gd name="connsiteX133" fmla="*/ 11635412 w 12248682"/>
              <a:gd name="connsiteY133" fmla="*/ 773806 h 823468"/>
              <a:gd name="connsiteX134" fmla="*/ 11658510 w 12248682"/>
              <a:gd name="connsiteY134" fmla="*/ 750707 h 823468"/>
              <a:gd name="connsiteX135" fmla="*/ 10508196 w 12248682"/>
              <a:gd name="connsiteY135" fmla="*/ 750707 h 823468"/>
              <a:gd name="connsiteX136" fmla="*/ 10531295 w 12248682"/>
              <a:gd name="connsiteY136" fmla="*/ 773806 h 823468"/>
              <a:gd name="connsiteX137" fmla="*/ 10508196 w 12248682"/>
              <a:gd name="connsiteY137" fmla="*/ 796904 h 823468"/>
              <a:gd name="connsiteX138" fmla="*/ 10485098 w 12248682"/>
              <a:gd name="connsiteY138" fmla="*/ 773806 h 823468"/>
              <a:gd name="connsiteX139" fmla="*/ 10508196 w 12248682"/>
              <a:gd name="connsiteY139" fmla="*/ 750707 h 823468"/>
              <a:gd name="connsiteX140" fmla="*/ 9405233 w 12248682"/>
              <a:gd name="connsiteY140" fmla="*/ 750707 h 823468"/>
              <a:gd name="connsiteX141" fmla="*/ 9428332 w 12248682"/>
              <a:gd name="connsiteY141" fmla="*/ 773806 h 823468"/>
              <a:gd name="connsiteX142" fmla="*/ 9405233 w 12248682"/>
              <a:gd name="connsiteY142" fmla="*/ 796904 h 823468"/>
              <a:gd name="connsiteX143" fmla="*/ 9382135 w 12248682"/>
              <a:gd name="connsiteY143" fmla="*/ 773806 h 823468"/>
              <a:gd name="connsiteX144" fmla="*/ 9405233 w 12248682"/>
              <a:gd name="connsiteY144" fmla="*/ 750707 h 823468"/>
              <a:gd name="connsiteX145" fmla="*/ 8285498 w 12248682"/>
              <a:gd name="connsiteY145" fmla="*/ 750707 h 823468"/>
              <a:gd name="connsiteX146" fmla="*/ 8308598 w 12248682"/>
              <a:gd name="connsiteY146" fmla="*/ 773806 h 823468"/>
              <a:gd name="connsiteX147" fmla="*/ 8285498 w 12248682"/>
              <a:gd name="connsiteY147" fmla="*/ 796904 h 823468"/>
              <a:gd name="connsiteX148" fmla="*/ 8262401 w 12248682"/>
              <a:gd name="connsiteY148" fmla="*/ 773806 h 823468"/>
              <a:gd name="connsiteX149" fmla="*/ 8285498 w 12248682"/>
              <a:gd name="connsiteY149" fmla="*/ 750707 h 823468"/>
              <a:gd name="connsiteX150" fmla="*/ 7053184 w 12248682"/>
              <a:gd name="connsiteY150" fmla="*/ 750707 h 823468"/>
              <a:gd name="connsiteX151" fmla="*/ 7076283 w 12248682"/>
              <a:gd name="connsiteY151" fmla="*/ 773806 h 823468"/>
              <a:gd name="connsiteX152" fmla="*/ 7053184 w 12248682"/>
              <a:gd name="connsiteY152" fmla="*/ 796904 h 823468"/>
              <a:gd name="connsiteX153" fmla="*/ 7030086 w 12248682"/>
              <a:gd name="connsiteY153" fmla="*/ 773806 h 823468"/>
              <a:gd name="connsiteX154" fmla="*/ 7053184 w 12248682"/>
              <a:gd name="connsiteY154" fmla="*/ 750707 h 823468"/>
              <a:gd name="connsiteX155" fmla="*/ 5902869 w 12248682"/>
              <a:gd name="connsiteY155" fmla="*/ 750707 h 823468"/>
              <a:gd name="connsiteX156" fmla="*/ 5925969 w 12248682"/>
              <a:gd name="connsiteY156" fmla="*/ 773806 h 823468"/>
              <a:gd name="connsiteX157" fmla="*/ 5902869 w 12248682"/>
              <a:gd name="connsiteY157" fmla="*/ 796904 h 823468"/>
              <a:gd name="connsiteX158" fmla="*/ 5879771 w 12248682"/>
              <a:gd name="connsiteY158" fmla="*/ 773806 h 823468"/>
              <a:gd name="connsiteX159" fmla="*/ 5902869 w 12248682"/>
              <a:gd name="connsiteY159" fmla="*/ 750707 h 823468"/>
              <a:gd name="connsiteX160" fmla="*/ 4799906 w 12248682"/>
              <a:gd name="connsiteY160" fmla="*/ 750707 h 823468"/>
              <a:gd name="connsiteX161" fmla="*/ 4823006 w 12248682"/>
              <a:gd name="connsiteY161" fmla="*/ 773806 h 823468"/>
              <a:gd name="connsiteX162" fmla="*/ 4799906 w 12248682"/>
              <a:gd name="connsiteY162" fmla="*/ 796904 h 823468"/>
              <a:gd name="connsiteX163" fmla="*/ 4776809 w 12248682"/>
              <a:gd name="connsiteY163" fmla="*/ 773806 h 823468"/>
              <a:gd name="connsiteX164" fmla="*/ 4799906 w 12248682"/>
              <a:gd name="connsiteY164" fmla="*/ 750707 h 823468"/>
              <a:gd name="connsiteX165" fmla="*/ 3672691 w 12248682"/>
              <a:gd name="connsiteY165" fmla="*/ 750707 h 823468"/>
              <a:gd name="connsiteX166" fmla="*/ 3695791 w 12248682"/>
              <a:gd name="connsiteY166" fmla="*/ 773806 h 823468"/>
              <a:gd name="connsiteX167" fmla="*/ 3672691 w 12248682"/>
              <a:gd name="connsiteY167" fmla="*/ 796904 h 823468"/>
              <a:gd name="connsiteX168" fmla="*/ 3649592 w 12248682"/>
              <a:gd name="connsiteY168" fmla="*/ 773806 h 823468"/>
              <a:gd name="connsiteX169" fmla="*/ 3672691 w 12248682"/>
              <a:gd name="connsiteY169" fmla="*/ 750707 h 823468"/>
              <a:gd name="connsiteX170" fmla="*/ 2440377 w 12248682"/>
              <a:gd name="connsiteY170" fmla="*/ 750707 h 823468"/>
              <a:gd name="connsiteX171" fmla="*/ 2463475 w 12248682"/>
              <a:gd name="connsiteY171" fmla="*/ 773806 h 823468"/>
              <a:gd name="connsiteX172" fmla="*/ 2440377 w 12248682"/>
              <a:gd name="connsiteY172" fmla="*/ 796904 h 823468"/>
              <a:gd name="connsiteX173" fmla="*/ 2417278 w 12248682"/>
              <a:gd name="connsiteY173" fmla="*/ 773806 h 823468"/>
              <a:gd name="connsiteX174" fmla="*/ 2440377 w 12248682"/>
              <a:gd name="connsiteY174" fmla="*/ 750707 h 823468"/>
              <a:gd name="connsiteX175" fmla="*/ 1290062 w 12248682"/>
              <a:gd name="connsiteY175" fmla="*/ 750707 h 823468"/>
              <a:gd name="connsiteX176" fmla="*/ 1313161 w 12248682"/>
              <a:gd name="connsiteY176" fmla="*/ 773806 h 823468"/>
              <a:gd name="connsiteX177" fmla="*/ 1290062 w 12248682"/>
              <a:gd name="connsiteY177" fmla="*/ 796904 h 823468"/>
              <a:gd name="connsiteX178" fmla="*/ 1266964 w 12248682"/>
              <a:gd name="connsiteY178" fmla="*/ 773806 h 823468"/>
              <a:gd name="connsiteX179" fmla="*/ 1290062 w 12248682"/>
              <a:gd name="connsiteY179" fmla="*/ 750707 h 823468"/>
              <a:gd name="connsiteX180" fmla="*/ 187100 w 12248682"/>
              <a:gd name="connsiteY180" fmla="*/ 750707 h 823468"/>
              <a:gd name="connsiteX181" fmla="*/ 210198 w 12248682"/>
              <a:gd name="connsiteY181" fmla="*/ 773806 h 823468"/>
              <a:gd name="connsiteX182" fmla="*/ 187100 w 12248682"/>
              <a:gd name="connsiteY182" fmla="*/ 796904 h 823468"/>
              <a:gd name="connsiteX183" fmla="*/ 164001 w 12248682"/>
              <a:gd name="connsiteY183" fmla="*/ 773806 h 823468"/>
              <a:gd name="connsiteX184" fmla="*/ 187100 w 12248682"/>
              <a:gd name="connsiteY184" fmla="*/ 750707 h 823468"/>
              <a:gd name="connsiteX185" fmla="*/ 11521073 w 12248682"/>
              <a:gd name="connsiteY185" fmla="*/ 744933 h 823468"/>
              <a:gd name="connsiteX186" fmla="*/ 11549947 w 12248682"/>
              <a:gd name="connsiteY186" fmla="*/ 773806 h 823468"/>
              <a:gd name="connsiteX187" fmla="*/ 11521073 w 12248682"/>
              <a:gd name="connsiteY187" fmla="*/ 802680 h 823468"/>
              <a:gd name="connsiteX188" fmla="*/ 11492200 w 12248682"/>
              <a:gd name="connsiteY188" fmla="*/ 773806 h 823468"/>
              <a:gd name="connsiteX189" fmla="*/ 11521073 w 12248682"/>
              <a:gd name="connsiteY189" fmla="*/ 744933 h 823468"/>
              <a:gd name="connsiteX190" fmla="*/ 10369604 w 12248682"/>
              <a:gd name="connsiteY190" fmla="*/ 744933 h 823468"/>
              <a:gd name="connsiteX191" fmla="*/ 10398477 w 12248682"/>
              <a:gd name="connsiteY191" fmla="*/ 773806 h 823468"/>
              <a:gd name="connsiteX192" fmla="*/ 10369604 w 12248682"/>
              <a:gd name="connsiteY192" fmla="*/ 802680 h 823468"/>
              <a:gd name="connsiteX193" fmla="*/ 10340730 w 12248682"/>
              <a:gd name="connsiteY193" fmla="*/ 773806 h 823468"/>
              <a:gd name="connsiteX194" fmla="*/ 10369604 w 12248682"/>
              <a:gd name="connsiteY194" fmla="*/ 744933 h 823468"/>
              <a:gd name="connsiteX195" fmla="*/ 9543825 w 12248682"/>
              <a:gd name="connsiteY195" fmla="*/ 744933 h 823468"/>
              <a:gd name="connsiteX196" fmla="*/ 9572699 w 12248682"/>
              <a:gd name="connsiteY196" fmla="*/ 773806 h 823468"/>
              <a:gd name="connsiteX197" fmla="*/ 9543825 w 12248682"/>
              <a:gd name="connsiteY197" fmla="*/ 802680 h 823468"/>
              <a:gd name="connsiteX198" fmla="*/ 9514953 w 12248682"/>
              <a:gd name="connsiteY198" fmla="*/ 773806 h 823468"/>
              <a:gd name="connsiteX199" fmla="*/ 9543825 w 12248682"/>
              <a:gd name="connsiteY199" fmla="*/ 744933 h 823468"/>
              <a:gd name="connsiteX200" fmla="*/ 8422936 w 12248682"/>
              <a:gd name="connsiteY200" fmla="*/ 744933 h 823468"/>
              <a:gd name="connsiteX201" fmla="*/ 8451809 w 12248682"/>
              <a:gd name="connsiteY201" fmla="*/ 773806 h 823468"/>
              <a:gd name="connsiteX202" fmla="*/ 8422936 w 12248682"/>
              <a:gd name="connsiteY202" fmla="*/ 802680 h 823468"/>
              <a:gd name="connsiteX203" fmla="*/ 8394062 w 12248682"/>
              <a:gd name="connsiteY203" fmla="*/ 773806 h 823468"/>
              <a:gd name="connsiteX204" fmla="*/ 8422936 w 12248682"/>
              <a:gd name="connsiteY204" fmla="*/ 744933 h 823468"/>
              <a:gd name="connsiteX205" fmla="*/ 6915746 w 12248682"/>
              <a:gd name="connsiteY205" fmla="*/ 744933 h 823468"/>
              <a:gd name="connsiteX206" fmla="*/ 6944621 w 12248682"/>
              <a:gd name="connsiteY206" fmla="*/ 773806 h 823468"/>
              <a:gd name="connsiteX207" fmla="*/ 6915746 w 12248682"/>
              <a:gd name="connsiteY207" fmla="*/ 802680 h 823468"/>
              <a:gd name="connsiteX208" fmla="*/ 6886873 w 12248682"/>
              <a:gd name="connsiteY208" fmla="*/ 773806 h 823468"/>
              <a:gd name="connsiteX209" fmla="*/ 6915746 w 12248682"/>
              <a:gd name="connsiteY209" fmla="*/ 744933 h 823468"/>
              <a:gd name="connsiteX210" fmla="*/ 5764278 w 12248682"/>
              <a:gd name="connsiteY210" fmla="*/ 744933 h 823468"/>
              <a:gd name="connsiteX211" fmla="*/ 5793151 w 12248682"/>
              <a:gd name="connsiteY211" fmla="*/ 773806 h 823468"/>
              <a:gd name="connsiteX212" fmla="*/ 5764278 w 12248682"/>
              <a:gd name="connsiteY212" fmla="*/ 802680 h 823468"/>
              <a:gd name="connsiteX213" fmla="*/ 5735405 w 12248682"/>
              <a:gd name="connsiteY213" fmla="*/ 773806 h 823468"/>
              <a:gd name="connsiteX214" fmla="*/ 5764278 w 12248682"/>
              <a:gd name="connsiteY214" fmla="*/ 744933 h 823468"/>
              <a:gd name="connsiteX215" fmla="*/ 4938500 w 12248682"/>
              <a:gd name="connsiteY215" fmla="*/ 744933 h 823468"/>
              <a:gd name="connsiteX216" fmla="*/ 4967373 w 12248682"/>
              <a:gd name="connsiteY216" fmla="*/ 773806 h 823468"/>
              <a:gd name="connsiteX217" fmla="*/ 4938500 w 12248682"/>
              <a:gd name="connsiteY217" fmla="*/ 802680 h 823468"/>
              <a:gd name="connsiteX218" fmla="*/ 4909627 w 12248682"/>
              <a:gd name="connsiteY218" fmla="*/ 773806 h 823468"/>
              <a:gd name="connsiteX219" fmla="*/ 4938500 w 12248682"/>
              <a:gd name="connsiteY219" fmla="*/ 744933 h 823468"/>
              <a:gd name="connsiteX220" fmla="*/ 3810129 w 12248682"/>
              <a:gd name="connsiteY220" fmla="*/ 744933 h 823468"/>
              <a:gd name="connsiteX221" fmla="*/ 3839002 w 12248682"/>
              <a:gd name="connsiteY221" fmla="*/ 773806 h 823468"/>
              <a:gd name="connsiteX222" fmla="*/ 3810129 w 12248682"/>
              <a:gd name="connsiteY222" fmla="*/ 802680 h 823468"/>
              <a:gd name="connsiteX223" fmla="*/ 3781255 w 12248682"/>
              <a:gd name="connsiteY223" fmla="*/ 773806 h 823468"/>
              <a:gd name="connsiteX224" fmla="*/ 3810129 w 12248682"/>
              <a:gd name="connsiteY224" fmla="*/ 744933 h 823468"/>
              <a:gd name="connsiteX225" fmla="*/ 2302939 w 12248682"/>
              <a:gd name="connsiteY225" fmla="*/ 744933 h 823468"/>
              <a:gd name="connsiteX226" fmla="*/ 2331813 w 12248682"/>
              <a:gd name="connsiteY226" fmla="*/ 773806 h 823468"/>
              <a:gd name="connsiteX227" fmla="*/ 2302939 w 12248682"/>
              <a:gd name="connsiteY227" fmla="*/ 802680 h 823468"/>
              <a:gd name="connsiteX228" fmla="*/ 2274067 w 12248682"/>
              <a:gd name="connsiteY228" fmla="*/ 773806 h 823468"/>
              <a:gd name="connsiteX229" fmla="*/ 2302939 w 12248682"/>
              <a:gd name="connsiteY229" fmla="*/ 744933 h 823468"/>
              <a:gd name="connsiteX230" fmla="*/ 1151470 w 12248682"/>
              <a:gd name="connsiteY230" fmla="*/ 744933 h 823468"/>
              <a:gd name="connsiteX231" fmla="*/ 1180343 w 12248682"/>
              <a:gd name="connsiteY231" fmla="*/ 773806 h 823468"/>
              <a:gd name="connsiteX232" fmla="*/ 1151470 w 12248682"/>
              <a:gd name="connsiteY232" fmla="*/ 802680 h 823468"/>
              <a:gd name="connsiteX233" fmla="*/ 1122596 w 12248682"/>
              <a:gd name="connsiteY233" fmla="*/ 773806 h 823468"/>
              <a:gd name="connsiteX234" fmla="*/ 1151470 w 12248682"/>
              <a:gd name="connsiteY234" fmla="*/ 744933 h 823468"/>
              <a:gd name="connsiteX235" fmla="*/ 325692 w 12248682"/>
              <a:gd name="connsiteY235" fmla="*/ 744933 h 823468"/>
              <a:gd name="connsiteX236" fmla="*/ 354566 w 12248682"/>
              <a:gd name="connsiteY236" fmla="*/ 773806 h 823468"/>
              <a:gd name="connsiteX237" fmla="*/ 325692 w 12248682"/>
              <a:gd name="connsiteY237" fmla="*/ 802680 h 823468"/>
              <a:gd name="connsiteX238" fmla="*/ 296819 w 12248682"/>
              <a:gd name="connsiteY238" fmla="*/ 773806 h 823468"/>
              <a:gd name="connsiteX239" fmla="*/ 325692 w 12248682"/>
              <a:gd name="connsiteY239" fmla="*/ 744933 h 823468"/>
              <a:gd name="connsiteX240" fmla="*/ 11383636 w 12248682"/>
              <a:gd name="connsiteY240" fmla="*/ 739158 h 823468"/>
              <a:gd name="connsiteX241" fmla="*/ 11418284 w 12248682"/>
              <a:gd name="connsiteY241" fmla="*/ 773806 h 823468"/>
              <a:gd name="connsiteX242" fmla="*/ 11383636 w 12248682"/>
              <a:gd name="connsiteY242" fmla="*/ 808454 h 823468"/>
              <a:gd name="connsiteX243" fmla="*/ 11348988 w 12248682"/>
              <a:gd name="connsiteY243" fmla="*/ 773806 h 823468"/>
              <a:gd name="connsiteX244" fmla="*/ 11383636 w 12248682"/>
              <a:gd name="connsiteY244" fmla="*/ 739158 h 823468"/>
              <a:gd name="connsiteX245" fmla="*/ 10811943 w 12248682"/>
              <a:gd name="connsiteY245" fmla="*/ 739158 h 823468"/>
              <a:gd name="connsiteX246" fmla="*/ 10846591 w 12248682"/>
              <a:gd name="connsiteY246" fmla="*/ 773806 h 823468"/>
              <a:gd name="connsiteX247" fmla="*/ 10811943 w 12248682"/>
              <a:gd name="connsiteY247" fmla="*/ 808454 h 823468"/>
              <a:gd name="connsiteX248" fmla="*/ 10777295 w 12248682"/>
              <a:gd name="connsiteY248" fmla="*/ 773806 h 823468"/>
              <a:gd name="connsiteX249" fmla="*/ 10811943 w 12248682"/>
              <a:gd name="connsiteY249" fmla="*/ 739158 h 823468"/>
              <a:gd name="connsiteX250" fmla="*/ 10232166 w 12248682"/>
              <a:gd name="connsiteY250" fmla="*/ 739158 h 823468"/>
              <a:gd name="connsiteX251" fmla="*/ 10266814 w 12248682"/>
              <a:gd name="connsiteY251" fmla="*/ 773806 h 823468"/>
              <a:gd name="connsiteX252" fmla="*/ 10232166 w 12248682"/>
              <a:gd name="connsiteY252" fmla="*/ 808454 h 823468"/>
              <a:gd name="connsiteX253" fmla="*/ 10197518 w 12248682"/>
              <a:gd name="connsiteY253" fmla="*/ 773806 h 823468"/>
              <a:gd name="connsiteX254" fmla="*/ 10232166 w 12248682"/>
              <a:gd name="connsiteY254" fmla="*/ 739158 h 823468"/>
              <a:gd name="connsiteX255" fmla="*/ 9681263 w 12248682"/>
              <a:gd name="connsiteY255" fmla="*/ 739158 h 823468"/>
              <a:gd name="connsiteX256" fmla="*/ 9715911 w 12248682"/>
              <a:gd name="connsiteY256" fmla="*/ 773806 h 823468"/>
              <a:gd name="connsiteX257" fmla="*/ 9681263 w 12248682"/>
              <a:gd name="connsiteY257" fmla="*/ 808454 h 823468"/>
              <a:gd name="connsiteX258" fmla="*/ 9646615 w 12248682"/>
              <a:gd name="connsiteY258" fmla="*/ 773806 h 823468"/>
              <a:gd name="connsiteX259" fmla="*/ 9681263 w 12248682"/>
              <a:gd name="connsiteY259" fmla="*/ 739158 h 823468"/>
              <a:gd name="connsiteX260" fmla="*/ 9112431 w 12248682"/>
              <a:gd name="connsiteY260" fmla="*/ 739158 h 823468"/>
              <a:gd name="connsiteX261" fmla="*/ 9147079 w 12248682"/>
              <a:gd name="connsiteY261" fmla="*/ 773806 h 823468"/>
              <a:gd name="connsiteX262" fmla="*/ 9112431 w 12248682"/>
              <a:gd name="connsiteY262" fmla="*/ 808454 h 823468"/>
              <a:gd name="connsiteX263" fmla="*/ 9077783 w 12248682"/>
              <a:gd name="connsiteY263" fmla="*/ 773806 h 823468"/>
              <a:gd name="connsiteX264" fmla="*/ 9112431 w 12248682"/>
              <a:gd name="connsiteY264" fmla="*/ 739158 h 823468"/>
              <a:gd name="connsiteX265" fmla="*/ 8561528 w 12248682"/>
              <a:gd name="connsiteY265" fmla="*/ 739158 h 823468"/>
              <a:gd name="connsiteX266" fmla="*/ 8596176 w 12248682"/>
              <a:gd name="connsiteY266" fmla="*/ 773806 h 823468"/>
              <a:gd name="connsiteX267" fmla="*/ 8561528 w 12248682"/>
              <a:gd name="connsiteY267" fmla="*/ 808454 h 823468"/>
              <a:gd name="connsiteX268" fmla="*/ 8526880 w 12248682"/>
              <a:gd name="connsiteY268" fmla="*/ 773806 h 823468"/>
              <a:gd name="connsiteX269" fmla="*/ 8561528 w 12248682"/>
              <a:gd name="connsiteY269" fmla="*/ 739158 h 823468"/>
              <a:gd name="connsiteX270" fmla="*/ 6778310 w 12248682"/>
              <a:gd name="connsiteY270" fmla="*/ 739158 h 823468"/>
              <a:gd name="connsiteX271" fmla="*/ 6812959 w 12248682"/>
              <a:gd name="connsiteY271" fmla="*/ 773806 h 823468"/>
              <a:gd name="connsiteX272" fmla="*/ 6778310 w 12248682"/>
              <a:gd name="connsiteY272" fmla="*/ 808454 h 823468"/>
              <a:gd name="connsiteX273" fmla="*/ 6743662 w 12248682"/>
              <a:gd name="connsiteY273" fmla="*/ 773806 h 823468"/>
              <a:gd name="connsiteX274" fmla="*/ 6778310 w 12248682"/>
              <a:gd name="connsiteY274" fmla="*/ 739158 h 823468"/>
              <a:gd name="connsiteX275" fmla="*/ 6206618 w 12248682"/>
              <a:gd name="connsiteY275" fmla="*/ 739158 h 823468"/>
              <a:gd name="connsiteX276" fmla="*/ 6241265 w 12248682"/>
              <a:gd name="connsiteY276" fmla="*/ 773806 h 823468"/>
              <a:gd name="connsiteX277" fmla="*/ 6206618 w 12248682"/>
              <a:gd name="connsiteY277" fmla="*/ 808454 h 823468"/>
              <a:gd name="connsiteX278" fmla="*/ 6171969 w 12248682"/>
              <a:gd name="connsiteY278" fmla="*/ 773806 h 823468"/>
              <a:gd name="connsiteX279" fmla="*/ 6206618 w 12248682"/>
              <a:gd name="connsiteY279" fmla="*/ 739158 h 823468"/>
              <a:gd name="connsiteX280" fmla="*/ 5626840 w 12248682"/>
              <a:gd name="connsiteY280" fmla="*/ 739158 h 823468"/>
              <a:gd name="connsiteX281" fmla="*/ 5661488 w 12248682"/>
              <a:gd name="connsiteY281" fmla="*/ 773806 h 823468"/>
              <a:gd name="connsiteX282" fmla="*/ 5626840 w 12248682"/>
              <a:gd name="connsiteY282" fmla="*/ 808454 h 823468"/>
              <a:gd name="connsiteX283" fmla="*/ 5592192 w 12248682"/>
              <a:gd name="connsiteY283" fmla="*/ 773806 h 823468"/>
              <a:gd name="connsiteX284" fmla="*/ 5626840 w 12248682"/>
              <a:gd name="connsiteY284" fmla="*/ 739158 h 823468"/>
              <a:gd name="connsiteX285" fmla="*/ 5075938 w 12248682"/>
              <a:gd name="connsiteY285" fmla="*/ 739158 h 823468"/>
              <a:gd name="connsiteX286" fmla="*/ 5110584 w 12248682"/>
              <a:gd name="connsiteY286" fmla="*/ 773806 h 823468"/>
              <a:gd name="connsiteX287" fmla="*/ 5075938 w 12248682"/>
              <a:gd name="connsiteY287" fmla="*/ 808454 h 823468"/>
              <a:gd name="connsiteX288" fmla="*/ 5041289 w 12248682"/>
              <a:gd name="connsiteY288" fmla="*/ 773806 h 823468"/>
              <a:gd name="connsiteX289" fmla="*/ 5075938 w 12248682"/>
              <a:gd name="connsiteY289" fmla="*/ 739158 h 823468"/>
              <a:gd name="connsiteX290" fmla="*/ 4499625 w 12248682"/>
              <a:gd name="connsiteY290" fmla="*/ 739158 h 823468"/>
              <a:gd name="connsiteX291" fmla="*/ 4534273 w 12248682"/>
              <a:gd name="connsiteY291" fmla="*/ 773806 h 823468"/>
              <a:gd name="connsiteX292" fmla="*/ 4499625 w 12248682"/>
              <a:gd name="connsiteY292" fmla="*/ 808454 h 823468"/>
              <a:gd name="connsiteX293" fmla="*/ 4464976 w 12248682"/>
              <a:gd name="connsiteY293" fmla="*/ 773806 h 823468"/>
              <a:gd name="connsiteX294" fmla="*/ 4499625 w 12248682"/>
              <a:gd name="connsiteY294" fmla="*/ 739158 h 823468"/>
              <a:gd name="connsiteX295" fmla="*/ 3948721 w 12248682"/>
              <a:gd name="connsiteY295" fmla="*/ 739158 h 823468"/>
              <a:gd name="connsiteX296" fmla="*/ 3983369 w 12248682"/>
              <a:gd name="connsiteY296" fmla="*/ 773806 h 823468"/>
              <a:gd name="connsiteX297" fmla="*/ 3948721 w 12248682"/>
              <a:gd name="connsiteY297" fmla="*/ 808454 h 823468"/>
              <a:gd name="connsiteX298" fmla="*/ 3914073 w 12248682"/>
              <a:gd name="connsiteY298" fmla="*/ 773806 h 823468"/>
              <a:gd name="connsiteX299" fmla="*/ 3948721 w 12248682"/>
              <a:gd name="connsiteY299" fmla="*/ 739158 h 823468"/>
              <a:gd name="connsiteX300" fmla="*/ 2165502 w 12248682"/>
              <a:gd name="connsiteY300" fmla="*/ 739158 h 823468"/>
              <a:gd name="connsiteX301" fmla="*/ 2200150 w 12248682"/>
              <a:gd name="connsiteY301" fmla="*/ 773806 h 823468"/>
              <a:gd name="connsiteX302" fmla="*/ 2165502 w 12248682"/>
              <a:gd name="connsiteY302" fmla="*/ 808454 h 823468"/>
              <a:gd name="connsiteX303" fmla="*/ 2130854 w 12248682"/>
              <a:gd name="connsiteY303" fmla="*/ 773806 h 823468"/>
              <a:gd name="connsiteX304" fmla="*/ 2165502 w 12248682"/>
              <a:gd name="connsiteY304" fmla="*/ 739158 h 823468"/>
              <a:gd name="connsiteX305" fmla="*/ 1593810 w 12248682"/>
              <a:gd name="connsiteY305" fmla="*/ 739158 h 823468"/>
              <a:gd name="connsiteX306" fmla="*/ 1628457 w 12248682"/>
              <a:gd name="connsiteY306" fmla="*/ 773806 h 823468"/>
              <a:gd name="connsiteX307" fmla="*/ 1593810 w 12248682"/>
              <a:gd name="connsiteY307" fmla="*/ 808454 h 823468"/>
              <a:gd name="connsiteX308" fmla="*/ 1559161 w 12248682"/>
              <a:gd name="connsiteY308" fmla="*/ 773806 h 823468"/>
              <a:gd name="connsiteX309" fmla="*/ 1593810 w 12248682"/>
              <a:gd name="connsiteY309" fmla="*/ 739158 h 823468"/>
              <a:gd name="connsiteX310" fmla="*/ 1014032 w 12248682"/>
              <a:gd name="connsiteY310" fmla="*/ 739158 h 823468"/>
              <a:gd name="connsiteX311" fmla="*/ 1048681 w 12248682"/>
              <a:gd name="connsiteY311" fmla="*/ 773806 h 823468"/>
              <a:gd name="connsiteX312" fmla="*/ 1014032 w 12248682"/>
              <a:gd name="connsiteY312" fmla="*/ 808454 h 823468"/>
              <a:gd name="connsiteX313" fmla="*/ 979384 w 12248682"/>
              <a:gd name="connsiteY313" fmla="*/ 773806 h 823468"/>
              <a:gd name="connsiteX314" fmla="*/ 1014032 w 12248682"/>
              <a:gd name="connsiteY314" fmla="*/ 739158 h 823468"/>
              <a:gd name="connsiteX315" fmla="*/ 463129 w 12248682"/>
              <a:gd name="connsiteY315" fmla="*/ 739158 h 823468"/>
              <a:gd name="connsiteX316" fmla="*/ 497778 w 12248682"/>
              <a:gd name="connsiteY316" fmla="*/ 773806 h 823468"/>
              <a:gd name="connsiteX317" fmla="*/ 463129 w 12248682"/>
              <a:gd name="connsiteY317" fmla="*/ 808454 h 823468"/>
              <a:gd name="connsiteX318" fmla="*/ 428481 w 12248682"/>
              <a:gd name="connsiteY318" fmla="*/ 773806 h 823468"/>
              <a:gd name="connsiteX319" fmla="*/ 463129 w 12248682"/>
              <a:gd name="connsiteY319" fmla="*/ 739158 h 823468"/>
              <a:gd name="connsiteX320" fmla="*/ 11245044 w 12248682"/>
              <a:gd name="connsiteY320" fmla="*/ 733384 h 823468"/>
              <a:gd name="connsiteX321" fmla="*/ 11285466 w 12248682"/>
              <a:gd name="connsiteY321" fmla="*/ 773806 h 823468"/>
              <a:gd name="connsiteX322" fmla="*/ 11245044 w 12248682"/>
              <a:gd name="connsiteY322" fmla="*/ 814229 h 823468"/>
              <a:gd name="connsiteX323" fmla="*/ 11204621 w 12248682"/>
              <a:gd name="connsiteY323" fmla="*/ 773806 h 823468"/>
              <a:gd name="connsiteX324" fmla="*/ 11245044 w 12248682"/>
              <a:gd name="connsiteY324" fmla="*/ 733384 h 823468"/>
              <a:gd name="connsiteX325" fmla="*/ 10970170 w 12248682"/>
              <a:gd name="connsiteY325" fmla="*/ 733384 h 823468"/>
              <a:gd name="connsiteX326" fmla="*/ 11010592 w 12248682"/>
              <a:gd name="connsiteY326" fmla="*/ 773806 h 823468"/>
              <a:gd name="connsiteX327" fmla="*/ 10970170 w 12248682"/>
              <a:gd name="connsiteY327" fmla="*/ 814229 h 823468"/>
              <a:gd name="connsiteX328" fmla="*/ 10929746 w 12248682"/>
              <a:gd name="connsiteY328" fmla="*/ 773806 h 823468"/>
              <a:gd name="connsiteX329" fmla="*/ 10970170 w 12248682"/>
              <a:gd name="connsiteY329" fmla="*/ 733384 h 823468"/>
              <a:gd name="connsiteX330" fmla="*/ 10094730 w 12248682"/>
              <a:gd name="connsiteY330" fmla="*/ 733384 h 823468"/>
              <a:gd name="connsiteX331" fmla="*/ 10135152 w 12248682"/>
              <a:gd name="connsiteY331" fmla="*/ 773806 h 823468"/>
              <a:gd name="connsiteX332" fmla="*/ 10094730 w 12248682"/>
              <a:gd name="connsiteY332" fmla="*/ 814229 h 823468"/>
              <a:gd name="connsiteX333" fmla="*/ 10054306 w 12248682"/>
              <a:gd name="connsiteY333" fmla="*/ 773806 h 823468"/>
              <a:gd name="connsiteX334" fmla="*/ 10094730 w 12248682"/>
              <a:gd name="connsiteY334" fmla="*/ 733384 h 823468"/>
              <a:gd name="connsiteX335" fmla="*/ 9818700 w 12248682"/>
              <a:gd name="connsiteY335" fmla="*/ 733384 h 823468"/>
              <a:gd name="connsiteX336" fmla="*/ 9859123 w 12248682"/>
              <a:gd name="connsiteY336" fmla="*/ 773806 h 823468"/>
              <a:gd name="connsiteX337" fmla="*/ 9818700 w 12248682"/>
              <a:gd name="connsiteY337" fmla="*/ 814229 h 823468"/>
              <a:gd name="connsiteX338" fmla="*/ 9778278 w 12248682"/>
              <a:gd name="connsiteY338" fmla="*/ 773806 h 823468"/>
              <a:gd name="connsiteX339" fmla="*/ 9818700 w 12248682"/>
              <a:gd name="connsiteY339" fmla="*/ 733384 h 823468"/>
              <a:gd name="connsiteX340" fmla="*/ 8974994 w 12248682"/>
              <a:gd name="connsiteY340" fmla="*/ 733384 h 823468"/>
              <a:gd name="connsiteX341" fmla="*/ 9015416 w 12248682"/>
              <a:gd name="connsiteY341" fmla="*/ 773806 h 823468"/>
              <a:gd name="connsiteX342" fmla="*/ 8974994 w 12248682"/>
              <a:gd name="connsiteY342" fmla="*/ 814229 h 823468"/>
              <a:gd name="connsiteX343" fmla="*/ 8934571 w 12248682"/>
              <a:gd name="connsiteY343" fmla="*/ 773806 h 823468"/>
              <a:gd name="connsiteX344" fmla="*/ 8974994 w 12248682"/>
              <a:gd name="connsiteY344" fmla="*/ 733384 h 823468"/>
              <a:gd name="connsiteX345" fmla="*/ 8698965 w 12248682"/>
              <a:gd name="connsiteY345" fmla="*/ 733384 h 823468"/>
              <a:gd name="connsiteX346" fmla="*/ 8739388 w 12248682"/>
              <a:gd name="connsiteY346" fmla="*/ 773806 h 823468"/>
              <a:gd name="connsiteX347" fmla="*/ 8698965 w 12248682"/>
              <a:gd name="connsiteY347" fmla="*/ 814229 h 823468"/>
              <a:gd name="connsiteX348" fmla="*/ 8658542 w 12248682"/>
              <a:gd name="connsiteY348" fmla="*/ 773806 h 823468"/>
              <a:gd name="connsiteX349" fmla="*/ 8698965 w 12248682"/>
              <a:gd name="connsiteY349" fmla="*/ 733384 h 823468"/>
              <a:gd name="connsiteX350" fmla="*/ 6639717 w 12248682"/>
              <a:gd name="connsiteY350" fmla="*/ 733384 h 823468"/>
              <a:gd name="connsiteX351" fmla="*/ 6680139 w 12248682"/>
              <a:gd name="connsiteY351" fmla="*/ 773806 h 823468"/>
              <a:gd name="connsiteX352" fmla="*/ 6639717 w 12248682"/>
              <a:gd name="connsiteY352" fmla="*/ 814229 h 823468"/>
              <a:gd name="connsiteX353" fmla="*/ 6599295 w 12248682"/>
              <a:gd name="connsiteY353" fmla="*/ 773806 h 823468"/>
              <a:gd name="connsiteX354" fmla="*/ 6639717 w 12248682"/>
              <a:gd name="connsiteY354" fmla="*/ 733384 h 823468"/>
              <a:gd name="connsiteX355" fmla="*/ 6364844 w 12248682"/>
              <a:gd name="connsiteY355" fmla="*/ 733384 h 823468"/>
              <a:gd name="connsiteX356" fmla="*/ 6405265 w 12248682"/>
              <a:gd name="connsiteY356" fmla="*/ 773806 h 823468"/>
              <a:gd name="connsiteX357" fmla="*/ 6364844 w 12248682"/>
              <a:gd name="connsiteY357" fmla="*/ 814229 h 823468"/>
              <a:gd name="connsiteX358" fmla="*/ 6324420 w 12248682"/>
              <a:gd name="connsiteY358" fmla="*/ 773806 h 823468"/>
              <a:gd name="connsiteX359" fmla="*/ 6364844 w 12248682"/>
              <a:gd name="connsiteY359" fmla="*/ 733384 h 823468"/>
              <a:gd name="connsiteX360" fmla="*/ 5489404 w 12248682"/>
              <a:gd name="connsiteY360" fmla="*/ 733384 h 823468"/>
              <a:gd name="connsiteX361" fmla="*/ 5529826 w 12248682"/>
              <a:gd name="connsiteY361" fmla="*/ 773806 h 823468"/>
              <a:gd name="connsiteX362" fmla="*/ 5489404 w 12248682"/>
              <a:gd name="connsiteY362" fmla="*/ 814229 h 823468"/>
              <a:gd name="connsiteX363" fmla="*/ 5448980 w 12248682"/>
              <a:gd name="connsiteY363" fmla="*/ 773806 h 823468"/>
              <a:gd name="connsiteX364" fmla="*/ 5489404 w 12248682"/>
              <a:gd name="connsiteY364" fmla="*/ 733384 h 823468"/>
              <a:gd name="connsiteX365" fmla="*/ 5213373 w 12248682"/>
              <a:gd name="connsiteY365" fmla="*/ 733384 h 823468"/>
              <a:gd name="connsiteX366" fmla="*/ 5253797 w 12248682"/>
              <a:gd name="connsiteY366" fmla="*/ 773806 h 823468"/>
              <a:gd name="connsiteX367" fmla="*/ 5213373 w 12248682"/>
              <a:gd name="connsiteY367" fmla="*/ 814229 h 823468"/>
              <a:gd name="connsiteX368" fmla="*/ 5172952 w 12248682"/>
              <a:gd name="connsiteY368" fmla="*/ 773806 h 823468"/>
              <a:gd name="connsiteX369" fmla="*/ 5213373 w 12248682"/>
              <a:gd name="connsiteY369" fmla="*/ 733384 h 823468"/>
              <a:gd name="connsiteX370" fmla="*/ 4361031 w 12248682"/>
              <a:gd name="connsiteY370" fmla="*/ 733384 h 823468"/>
              <a:gd name="connsiteX371" fmla="*/ 4401455 w 12248682"/>
              <a:gd name="connsiteY371" fmla="*/ 773806 h 823468"/>
              <a:gd name="connsiteX372" fmla="*/ 4361031 w 12248682"/>
              <a:gd name="connsiteY372" fmla="*/ 814229 h 823468"/>
              <a:gd name="connsiteX373" fmla="*/ 4320610 w 12248682"/>
              <a:gd name="connsiteY373" fmla="*/ 773806 h 823468"/>
              <a:gd name="connsiteX374" fmla="*/ 4361031 w 12248682"/>
              <a:gd name="connsiteY374" fmla="*/ 733384 h 823468"/>
              <a:gd name="connsiteX375" fmla="*/ 4086158 w 12248682"/>
              <a:gd name="connsiteY375" fmla="*/ 733384 h 823468"/>
              <a:gd name="connsiteX376" fmla="*/ 4126582 w 12248682"/>
              <a:gd name="connsiteY376" fmla="*/ 773806 h 823468"/>
              <a:gd name="connsiteX377" fmla="*/ 4086158 w 12248682"/>
              <a:gd name="connsiteY377" fmla="*/ 814229 h 823468"/>
              <a:gd name="connsiteX378" fmla="*/ 4045735 w 12248682"/>
              <a:gd name="connsiteY378" fmla="*/ 773806 h 823468"/>
              <a:gd name="connsiteX379" fmla="*/ 4086158 w 12248682"/>
              <a:gd name="connsiteY379" fmla="*/ 733384 h 823468"/>
              <a:gd name="connsiteX380" fmla="*/ 2026910 w 12248682"/>
              <a:gd name="connsiteY380" fmla="*/ 733384 h 823468"/>
              <a:gd name="connsiteX381" fmla="*/ 2067332 w 12248682"/>
              <a:gd name="connsiteY381" fmla="*/ 773806 h 823468"/>
              <a:gd name="connsiteX382" fmla="*/ 2026910 w 12248682"/>
              <a:gd name="connsiteY382" fmla="*/ 814229 h 823468"/>
              <a:gd name="connsiteX383" fmla="*/ 1986487 w 12248682"/>
              <a:gd name="connsiteY383" fmla="*/ 773806 h 823468"/>
              <a:gd name="connsiteX384" fmla="*/ 2026910 w 12248682"/>
              <a:gd name="connsiteY384" fmla="*/ 733384 h 823468"/>
              <a:gd name="connsiteX385" fmla="*/ 1752036 w 12248682"/>
              <a:gd name="connsiteY385" fmla="*/ 733384 h 823468"/>
              <a:gd name="connsiteX386" fmla="*/ 1792458 w 12248682"/>
              <a:gd name="connsiteY386" fmla="*/ 773806 h 823468"/>
              <a:gd name="connsiteX387" fmla="*/ 1752036 w 12248682"/>
              <a:gd name="connsiteY387" fmla="*/ 814229 h 823468"/>
              <a:gd name="connsiteX388" fmla="*/ 1711613 w 12248682"/>
              <a:gd name="connsiteY388" fmla="*/ 773806 h 823468"/>
              <a:gd name="connsiteX389" fmla="*/ 1752036 w 12248682"/>
              <a:gd name="connsiteY389" fmla="*/ 733384 h 823468"/>
              <a:gd name="connsiteX390" fmla="*/ 876596 w 12248682"/>
              <a:gd name="connsiteY390" fmla="*/ 733384 h 823468"/>
              <a:gd name="connsiteX391" fmla="*/ 917018 w 12248682"/>
              <a:gd name="connsiteY391" fmla="*/ 773806 h 823468"/>
              <a:gd name="connsiteX392" fmla="*/ 876596 w 12248682"/>
              <a:gd name="connsiteY392" fmla="*/ 814229 h 823468"/>
              <a:gd name="connsiteX393" fmla="*/ 836172 w 12248682"/>
              <a:gd name="connsiteY393" fmla="*/ 773806 h 823468"/>
              <a:gd name="connsiteX394" fmla="*/ 876596 w 12248682"/>
              <a:gd name="connsiteY394" fmla="*/ 733384 h 823468"/>
              <a:gd name="connsiteX395" fmla="*/ 600566 w 12248682"/>
              <a:gd name="connsiteY395" fmla="*/ 733384 h 823468"/>
              <a:gd name="connsiteX396" fmla="*/ 640989 w 12248682"/>
              <a:gd name="connsiteY396" fmla="*/ 773806 h 823468"/>
              <a:gd name="connsiteX397" fmla="*/ 600566 w 12248682"/>
              <a:gd name="connsiteY397" fmla="*/ 814229 h 823468"/>
              <a:gd name="connsiteX398" fmla="*/ 560144 w 12248682"/>
              <a:gd name="connsiteY398" fmla="*/ 773806 h 823468"/>
              <a:gd name="connsiteX399" fmla="*/ 600566 w 12248682"/>
              <a:gd name="connsiteY399" fmla="*/ 733384 h 823468"/>
              <a:gd name="connsiteX400" fmla="*/ 11107606 w 12248682"/>
              <a:gd name="connsiteY400" fmla="*/ 721834 h 823468"/>
              <a:gd name="connsiteX401" fmla="*/ 11158424 w 12248682"/>
              <a:gd name="connsiteY401" fmla="*/ 772651 h 823468"/>
              <a:gd name="connsiteX402" fmla="*/ 11107606 w 12248682"/>
              <a:gd name="connsiteY402" fmla="*/ 823468 h 823468"/>
              <a:gd name="connsiteX403" fmla="*/ 11056789 w 12248682"/>
              <a:gd name="connsiteY403" fmla="*/ 772651 h 823468"/>
              <a:gd name="connsiteX404" fmla="*/ 11107606 w 12248682"/>
              <a:gd name="connsiteY404" fmla="*/ 721834 h 823468"/>
              <a:gd name="connsiteX405" fmla="*/ 9957292 w 12248682"/>
              <a:gd name="connsiteY405" fmla="*/ 721834 h 823468"/>
              <a:gd name="connsiteX406" fmla="*/ 10008109 w 12248682"/>
              <a:gd name="connsiteY406" fmla="*/ 772651 h 823468"/>
              <a:gd name="connsiteX407" fmla="*/ 9957292 w 12248682"/>
              <a:gd name="connsiteY407" fmla="*/ 823468 h 823468"/>
              <a:gd name="connsiteX408" fmla="*/ 9906475 w 12248682"/>
              <a:gd name="connsiteY408" fmla="*/ 772651 h 823468"/>
              <a:gd name="connsiteX409" fmla="*/ 9957292 w 12248682"/>
              <a:gd name="connsiteY409" fmla="*/ 721834 h 823468"/>
              <a:gd name="connsiteX410" fmla="*/ 8836402 w 12248682"/>
              <a:gd name="connsiteY410" fmla="*/ 721834 h 823468"/>
              <a:gd name="connsiteX411" fmla="*/ 8887219 w 12248682"/>
              <a:gd name="connsiteY411" fmla="*/ 772651 h 823468"/>
              <a:gd name="connsiteX412" fmla="*/ 8836402 w 12248682"/>
              <a:gd name="connsiteY412" fmla="*/ 823468 h 823468"/>
              <a:gd name="connsiteX413" fmla="*/ 8785585 w 12248682"/>
              <a:gd name="connsiteY413" fmla="*/ 772651 h 823468"/>
              <a:gd name="connsiteX414" fmla="*/ 8836402 w 12248682"/>
              <a:gd name="connsiteY414" fmla="*/ 721834 h 823468"/>
              <a:gd name="connsiteX415" fmla="*/ 6502281 w 12248682"/>
              <a:gd name="connsiteY415" fmla="*/ 721834 h 823468"/>
              <a:gd name="connsiteX416" fmla="*/ 6553098 w 12248682"/>
              <a:gd name="connsiteY416" fmla="*/ 772651 h 823468"/>
              <a:gd name="connsiteX417" fmla="*/ 6502281 w 12248682"/>
              <a:gd name="connsiteY417" fmla="*/ 823468 h 823468"/>
              <a:gd name="connsiteX418" fmla="*/ 6451462 w 12248682"/>
              <a:gd name="connsiteY418" fmla="*/ 772651 h 823468"/>
              <a:gd name="connsiteX419" fmla="*/ 6502281 w 12248682"/>
              <a:gd name="connsiteY419" fmla="*/ 721834 h 823468"/>
              <a:gd name="connsiteX420" fmla="*/ 5351966 w 12248682"/>
              <a:gd name="connsiteY420" fmla="*/ 721834 h 823468"/>
              <a:gd name="connsiteX421" fmla="*/ 5402784 w 12248682"/>
              <a:gd name="connsiteY421" fmla="*/ 772651 h 823468"/>
              <a:gd name="connsiteX422" fmla="*/ 5351966 w 12248682"/>
              <a:gd name="connsiteY422" fmla="*/ 823468 h 823468"/>
              <a:gd name="connsiteX423" fmla="*/ 5301149 w 12248682"/>
              <a:gd name="connsiteY423" fmla="*/ 772651 h 823468"/>
              <a:gd name="connsiteX424" fmla="*/ 5351966 w 12248682"/>
              <a:gd name="connsiteY424" fmla="*/ 721834 h 823468"/>
              <a:gd name="connsiteX425" fmla="*/ 4223596 w 12248682"/>
              <a:gd name="connsiteY425" fmla="*/ 721834 h 823468"/>
              <a:gd name="connsiteX426" fmla="*/ 4274413 w 12248682"/>
              <a:gd name="connsiteY426" fmla="*/ 772651 h 823468"/>
              <a:gd name="connsiteX427" fmla="*/ 4223596 w 12248682"/>
              <a:gd name="connsiteY427" fmla="*/ 823468 h 823468"/>
              <a:gd name="connsiteX428" fmla="*/ 4172779 w 12248682"/>
              <a:gd name="connsiteY428" fmla="*/ 772651 h 823468"/>
              <a:gd name="connsiteX429" fmla="*/ 4223596 w 12248682"/>
              <a:gd name="connsiteY429" fmla="*/ 721834 h 823468"/>
              <a:gd name="connsiteX430" fmla="*/ 1889473 w 12248682"/>
              <a:gd name="connsiteY430" fmla="*/ 721834 h 823468"/>
              <a:gd name="connsiteX431" fmla="*/ 1940290 w 12248682"/>
              <a:gd name="connsiteY431" fmla="*/ 772651 h 823468"/>
              <a:gd name="connsiteX432" fmla="*/ 1889473 w 12248682"/>
              <a:gd name="connsiteY432" fmla="*/ 823468 h 823468"/>
              <a:gd name="connsiteX433" fmla="*/ 1838656 w 12248682"/>
              <a:gd name="connsiteY433" fmla="*/ 772651 h 823468"/>
              <a:gd name="connsiteX434" fmla="*/ 1889473 w 12248682"/>
              <a:gd name="connsiteY434" fmla="*/ 721834 h 823468"/>
              <a:gd name="connsiteX435" fmla="*/ 739158 w 12248682"/>
              <a:gd name="connsiteY435" fmla="*/ 721834 h 823468"/>
              <a:gd name="connsiteX436" fmla="*/ 789975 w 12248682"/>
              <a:gd name="connsiteY436" fmla="*/ 772651 h 823468"/>
              <a:gd name="connsiteX437" fmla="*/ 739158 w 12248682"/>
              <a:gd name="connsiteY437" fmla="*/ 823468 h 823468"/>
              <a:gd name="connsiteX438" fmla="*/ 688341 w 12248682"/>
              <a:gd name="connsiteY438" fmla="*/ 772651 h 823468"/>
              <a:gd name="connsiteX439" fmla="*/ 739158 w 12248682"/>
              <a:gd name="connsiteY439" fmla="*/ 721834 h 823468"/>
              <a:gd name="connsiteX440" fmla="*/ 12227892 w 12248682"/>
              <a:gd name="connsiteY440" fmla="*/ 608651 h 823468"/>
              <a:gd name="connsiteX441" fmla="*/ 12248682 w 12248682"/>
              <a:gd name="connsiteY441" fmla="*/ 629440 h 823468"/>
              <a:gd name="connsiteX442" fmla="*/ 12227892 w 12248682"/>
              <a:gd name="connsiteY442" fmla="*/ 650228 h 823468"/>
              <a:gd name="connsiteX443" fmla="*/ 12207104 w 12248682"/>
              <a:gd name="connsiteY443" fmla="*/ 629440 h 823468"/>
              <a:gd name="connsiteX444" fmla="*/ 12227892 w 12248682"/>
              <a:gd name="connsiteY444" fmla="*/ 608651 h 823468"/>
              <a:gd name="connsiteX445" fmla="*/ 12091610 w 12248682"/>
              <a:gd name="connsiteY445" fmla="*/ 608651 h 823468"/>
              <a:gd name="connsiteX446" fmla="*/ 12112399 w 12248682"/>
              <a:gd name="connsiteY446" fmla="*/ 629440 h 823468"/>
              <a:gd name="connsiteX447" fmla="*/ 12091610 w 12248682"/>
              <a:gd name="connsiteY447" fmla="*/ 650228 h 823468"/>
              <a:gd name="connsiteX448" fmla="*/ 12070822 w 12248682"/>
              <a:gd name="connsiteY448" fmla="*/ 629440 h 823468"/>
              <a:gd name="connsiteX449" fmla="*/ 12091610 w 12248682"/>
              <a:gd name="connsiteY449" fmla="*/ 608651 h 823468"/>
              <a:gd name="connsiteX450" fmla="*/ 11956484 w 12248682"/>
              <a:gd name="connsiteY450" fmla="*/ 608651 h 823468"/>
              <a:gd name="connsiteX451" fmla="*/ 11977272 w 12248682"/>
              <a:gd name="connsiteY451" fmla="*/ 629440 h 823468"/>
              <a:gd name="connsiteX452" fmla="*/ 11956484 w 12248682"/>
              <a:gd name="connsiteY452" fmla="*/ 650228 h 823468"/>
              <a:gd name="connsiteX453" fmla="*/ 11935695 w 12248682"/>
              <a:gd name="connsiteY453" fmla="*/ 629440 h 823468"/>
              <a:gd name="connsiteX454" fmla="*/ 11956484 w 12248682"/>
              <a:gd name="connsiteY454" fmla="*/ 608651 h 823468"/>
              <a:gd name="connsiteX455" fmla="*/ 11821356 w 12248682"/>
              <a:gd name="connsiteY455" fmla="*/ 608651 h 823468"/>
              <a:gd name="connsiteX456" fmla="*/ 11842144 w 12248682"/>
              <a:gd name="connsiteY456" fmla="*/ 629440 h 823468"/>
              <a:gd name="connsiteX457" fmla="*/ 11821356 w 12248682"/>
              <a:gd name="connsiteY457" fmla="*/ 650228 h 823468"/>
              <a:gd name="connsiteX458" fmla="*/ 11800567 w 12248682"/>
              <a:gd name="connsiteY458" fmla="*/ 629440 h 823468"/>
              <a:gd name="connsiteX459" fmla="*/ 11821356 w 12248682"/>
              <a:gd name="connsiteY459" fmla="*/ 608651 h 823468"/>
              <a:gd name="connsiteX460" fmla="*/ 11685074 w 12248682"/>
              <a:gd name="connsiteY460" fmla="*/ 608651 h 823468"/>
              <a:gd name="connsiteX461" fmla="*/ 11705862 w 12248682"/>
              <a:gd name="connsiteY461" fmla="*/ 629440 h 823468"/>
              <a:gd name="connsiteX462" fmla="*/ 11685074 w 12248682"/>
              <a:gd name="connsiteY462" fmla="*/ 650228 h 823468"/>
              <a:gd name="connsiteX463" fmla="*/ 11664285 w 12248682"/>
              <a:gd name="connsiteY463" fmla="*/ 629440 h 823468"/>
              <a:gd name="connsiteX464" fmla="*/ 11685074 w 12248682"/>
              <a:gd name="connsiteY464" fmla="*/ 608651 h 823468"/>
              <a:gd name="connsiteX465" fmla="*/ 10736873 w 12248682"/>
              <a:gd name="connsiteY465" fmla="*/ 608651 h 823468"/>
              <a:gd name="connsiteX466" fmla="*/ 10757662 w 12248682"/>
              <a:gd name="connsiteY466" fmla="*/ 629440 h 823468"/>
              <a:gd name="connsiteX467" fmla="*/ 10736873 w 12248682"/>
              <a:gd name="connsiteY467" fmla="*/ 650228 h 823468"/>
              <a:gd name="connsiteX468" fmla="*/ 10716084 w 12248682"/>
              <a:gd name="connsiteY468" fmla="*/ 629440 h 823468"/>
              <a:gd name="connsiteX469" fmla="*/ 10736873 w 12248682"/>
              <a:gd name="connsiteY469" fmla="*/ 608651 h 823468"/>
              <a:gd name="connsiteX470" fmla="*/ 10601745 w 12248682"/>
              <a:gd name="connsiteY470" fmla="*/ 608651 h 823468"/>
              <a:gd name="connsiteX471" fmla="*/ 10622534 w 12248682"/>
              <a:gd name="connsiteY471" fmla="*/ 629440 h 823468"/>
              <a:gd name="connsiteX472" fmla="*/ 10601745 w 12248682"/>
              <a:gd name="connsiteY472" fmla="*/ 650228 h 823468"/>
              <a:gd name="connsiteX473" fmla="*/ 10580956 w 12248682"/>
              <a:gd name="connsiteY473" fmla="*/ 629440 h 823468"/>
              <a:gd name="connsiteX474" fmla="*/ 10601745 w 12248682"/>
              <a:gd name="connsiteY474" fmla="*/ 608651 h 823468"/>
              <a:gd name="connsiteX475" fmla="*/ 8027949 w 12248682"/>
              <a:gd name="connsiteY475" fmla="*/ 608651 h 823468"/>
              <a:gd name="connsiteX476" fmla="*/ 8048737 w 12248682"/>
              <a:gd name="connsiteY476" fmla="*/ 629440 h 823468"/>
              <a:gd name="connsiteX477" fmla="*/ 8027949 w 12248682"/>
              <a:gd name="connsiteY477" fmla="*/ 650228 h 823468"/>
              <a:gd name="connsiteX478" fmla="*/ 8007160 w 12248682"/>
              <a:gd name="connsiteY478" fmla="*/ 629440 h 823468"/>
              <a:gd name="connsiteX479" fmla="*/ 8027949 w 12248682"/>
              <a:gd name="connsiteY479" fmla="*/ 608651 h 823468"/>
              <a:gd name="connsiteX480" fmla="*/ 7892822 w 12248682"/>
              <a:gd name="connsiteY480" fmla="*/ 608651 h 823468"/>
              <a:gd name="connsiteX481" fmla="*/ 7913611 w 12248682"/>
              <a:gd name="connsiteY481" fmla="*/ 629440 h 823468"/>
              <a:gd name="connsiteX482" fmla="*/ 7892822 w 12248682"/>
              <a:gd name="connsiteY482" fmla="*/ 650228 h 823468"/>
              <a:gd name="connsiteX483" fmla="*/ 7872031 w 12248682"/>
              <a:gd name="connsiteY483" fmla="*/ 629440 h 823468"/>
              <a:gd name="connsiteX484" fmla="*/ 7892822 w 12248682"/>
              <a:gd name="connsiteY484" fmla="*/ 608651 h 823468"/>
              <a:gd name="connsiteX485" fmla="*/ 7757693 w 12248682"/>
              <a:gd name="connsiteY485" fmla="*/ 608651 h 823468"/>
              <a:gd name="connsiteX486" fmla="*/ 7778483 w 12248682"/>
              <a:gd name="connsiteY486" fmla="*/ 629440 h 823468"/>
              <a:gd name="connsiteX487" fmla="*/ 7757693 w 12248682"/>
              <a:gd name="connsiteY487" fmla="*/ 650228 h 823468"/>
              <a:gd name="connsiteX488" fmla="*/ 7736906 w 12248682"/>
              <a:gd name="connsiteY488" fmla="*/ 629440 h 823468"/>
              <a:gd name="connsiteX489" fmla="*/ 7757693 w 12248682"/>
              <a:gd name="connsiteY489" fmla="*/ 608651 h 823468"/>
              <a:gd name="connsiteX490" fmla="*/ 7622566 w 12248682"/>
              <a:gd name="connsiteY490" fmla="*/ 608651 h 823468"/>
              <a:gd name="connsiteX491" fmla="*/ 7643355 w 12248682"/>
              <a:gd name="connsiteY491" fmla="*/ 629440 h 823468"/>
              <a:gd name="connsiteX492" fmla="*/ 7622566 w 12248682"/>
              <a:gd name="connsiteY492" fmla="*/ 650228 h 823468"/>
              <a:gd name="connsiteX493" fmla="*/ 7601778 w 12248682"/>
              <a:gd name="connsiteY493" fmla="*/ 629440 h 823468"/>
              <a:gd name="connsiteX494" fmla="*/ 7622566 w 12248682"/>
              <a:gd name="connsiteY494" fmla="*/ 608651 h 823468"/>
              <a:gd name="connsiteX495" fmla="*/ 7486284 w 12248682"/>
              <a:gd name="connsiteY495" fmla="*/ 608651 h 823468"/>
              <a:gd name="connsiteX496" fmla="*/ 7507074 w 12248682"/>
              <a:gd name="connsiteY496" fmla="*/ 629440 h 823468"/>
              <a:gd name="connsiteX497" fmla="*/ 7486284 w 12248682"/>
              <a:gd name="connsiteY497" fmla="*/ 650228 h 823468"/>
              <a:gd name="connsiteX498" fmla="*/ 7465495 w 12248682"/>
              <a:gd name="connsiteY498" fmla="*/ 629440 h 823468"/>
              <a:gd name="connsiteX499" fmla="*/ 7486284 w 12248682"/>
              <a:gd name="connsiteY499" fmla="*/ 608651 h 823468"/>
              <a:gd name="connsiteX500" fmla="*/ 7351157 w 12248682"/>
              <a:gd name="connsiteY500" fmla="*/ 608651 h 823468"/>
              <a:gd name="connsiteX501" fmla="*/ 7371946 w 12248682"/>
              <a:gd name="connsiteY501" fmla="*/ 629440 h 823468"/>
              <a:gd name="connsiteX502" fmla="*/ 7351157 w 12248682"/>
              <a:gd name="connsiteY502" fmla="*/ 650228 h 823468"/>
              <a:gd name="connsiteX503" fmla="*/ 7330369 w 12248682"/>
              <a:gd name="connsiteY503" fmla="*/ 629440 h 823468"/>
              <a:gd name="connsiteX504" fmla="*/ 7351157 w 12248682"/>
              <a:gd name="connsiteY504" fmla="*/ 608651 h 823468"/>
              <a:gd name="connsiteX505" fmla="*/ 7216030 w 12248682"/>
              <a:gd name="connsiteY505" fmla="*/ 608651 h 823468"/>
              <a:gd name="connsiteX506" fmla="*/ 7236819 w 12248682"/>
              <a:gd name="connsiteY506" fmla="*/ 629440 h 823468"/>
              <a:gd name="connsiteX507" fmla="*/ 7216030 w 12248682"/>
              <a:gd name="connsiteY507" fmla="*/ 650228 h 823468"/>
              <a:gd name="connsiteX508" fmla="*/ 7195241 w 12248682"/>
              <a:gd name="connsiteY508" fmla="*/ 629440 h 823468"/>
              <a:gd name="connsiteX509" fmla="*/ 7216030 w 12248682"/>
              <a:gd name="connsiteY509" fmla="*/ 608651 h 823468"/>
              <a:gd name="connsiteX510" fmla="*/ 7079748 w 12248682"/>
              <a:gd name="connsiteY510" fmla="*/ 608651 h 823468"/>
              <a:gd name="connsiteX511" fmla="*/ 7100537 w 12248682"/>
              <a:gd name="connsiteY511" fmla="*/ 629440 h 823468"/>
              <a:gd name="connsiteX512" fmla="*/ 7079748 w 12248682"/>
              <a:gd name="connsiteY512" fmla="*/ 650228 h 823468"/>
              <a:gd name="connsiteX513" fmla="*/ 7058959 w 12248682"/>
              <a:gd name="connsiteY513" fmla="*/ 629440 h 823468"/>
              <a:gd name="connsiteX514" fmla="*/ 7079748 w 12248682"/>
              <a:gd name="connsiteY514" fmla="*/ 608651 h 823468"/>
              <a:gd name="connsiteX515" fmla="*/ 6131548 w 12248682"/>
              <a:gd name="connsiteY515" fmla="*/ 608651 h 823468"/>
              <a:gd name="connsiteX516" fmla="*/ 6152336 w 12248682"/>
              <a:gd name="connsiteY516" fmla="*/ 629440 h 823468"/>
              <a:gd name="connsiteX517" fmla="*/ 6131548 w 12248682"/>
              <a:gd name="connsiteY517" fmla="*/ 650228 h 823468"/>
              <a:gd name="connsiteX518" fmla="*/ 6110759 w 12248682"/>
              <a:gd name="connsiteY518" fmla="*/ 629440 h 823468"/>
              <a:gd name="connsiteX519" fmla="*/ 6131548 w 12248682"/>
              <a:gd name="connsiteY519" fmla="*/ 608651 h 823468"/>
              <a:gd name="connsiteX520" fmla="*/ 5996418 w 12248682"/>
              <a:gd name="connsiteY520" fmla="*/ 608651 h 823468"/>
              <a:gd name="connsiteX521" fmla="*/ 6017209 w 12248682"/>
              <a:gd name="connsiteY521" fmla="*/ 629440 h 823468"/>
              <a:gd name="connsiteX522" fmla="*/ 5996418 w 12248682"/>
              <a:gd name="connsiteY522" fmla="*/ 650228 h 823468"/>
              <a:gd name="connsiteX523" fmla="*/ 5975630 w 12248682"/>
              <a:gd name="connsiteY523" fmla="*/ 629440 h 823468"/>
              <a:gd name="connsiteX524" fmla="*/ 5996418 w 12248682"/>
              <a:gd name="connsiteY524" fmla="*/ 608651 h 823468"/>
              <a:gd name="connsiteX525" fmla="*/ 3415142 w 12248682"/>
              <a:gd name="connsiteY525" fmla="*/ 608651 h 823468"/>
              <a:gd name="connsiteX526" fmla="*/ 3435930 w 12248682"/>
              <a:gd name="connsiteY526" fmla="*/ 629440 h 823468"/>
              <a:gd name="connsiteX527" fmla="*/ 3415142 w 12248682"/>
              <a:gd name="connsiteY527" fmla="*/ 650228 h 823468"/>
              <a:gd name="connsiteX528" fmla="*/ 3394352 w 12248682"/>
              <a:gd name="connsiteY528" fmla="*/ 629440 h 823468"/>
              <a:gd name="connsiteX529" fmla="*/ 3415142 w 12248682"/>
              <a:gd name="connsiteY529" fmla="*/ 608651 h 823468"/>
              <a:gd name="connsiteX530" fmla="*/ 3280013 w 12248682"/>
              <a:gd name="connsiteY530" fmla="*/ 608651 h 823468"/>
              <a:gd name="connsiteX531" fmla="*/ 3300802 w 12248682"/>
              <a:gd name="connsiteY531" fmla="*/ 629440 h 823468"/>
              <a:gd name="connsiteX532" fmla="*/ 3280013 w 12248682"/>
              <a:gd name="connsiteY532" fmla="*/ 650228 h 823468"/>
              <a:gd name="connsiteX533" fmla="*/ 3259224 w 12248682"/>
              <a:gd name="connsiteY533" fmla="*/ 629440 h 823468"/>
              <a:gd name="connsiteX534" fmla="*/ 3280013 w 12248682"/>
              <a:gd name="connsiteY534" fmla="*/ 608651 h 823468"/>
              <a:gd name="connsiteX535" fmla="*/ 3144887 w 12248682"/>
              <a:gd name="connsiteY535" fmla="*/ 608651 h 823468"/>
              <a:gd name="connsiteX536" fmla="*/ 3165675 w 12248682"/>
              <a:gd name="connsiteY536" fmla="*/ 629440 h 823468"/>
              <a:gd name="connsiteX537" fmla="*/ 3144887 w 12248682"/>
              <a:gd name="connsiteY537" fmla="*/ 650228 h 823468"/>
              <a:gd name="connsiteX538" fmla="*/ 3124098 w 12248682"/>
              <a:gd name="connsiteY538" fmla="*/ 629440 h 823468"/>
              <a:gd name="connsiteX539" fmla="*/ 3144887 w 12248682"/>
              <a:gd name="connsiteY539" fmla="*/ 608651 h 823468"/>
              <a:gd name="connsiteX540" fmla="*/ 3009759 w 12248682"/>
              <a:gd name="connsiteY540" fmla="*/ 608651 h 823468"/>
              <a:gd name="connsiteX541" fmla="*/ 3030548 w 12248682"/>
              <a:gd name="connsiteY541" fmla="*/ 629440 h 823468"/>
              <a:gd name="connsiteX542" fmla="*/ 3009759 w 12248682"/>
              <a:gd name="connsiteY542" fmla="*/ 650228 h 823468"/>
              <a:gd name="connsiteX543" fmla="*/ 2988971 w 12248682"/>
              <a:gd name="connsiteY543" fmla="*/ 629440 h 823468"/>
              <a:gd name="connsiteX544" fmla="*/ 3009759 w 12248682"/>
              <a:gd name="connsiteY544" fmla="*/ 608651 h 823468"/>
              <a:gd name="connsiteX545" fmla="*/ 2873476 w 12248682"/>
              <a:gd name="connsiteY545" fmla="*/ 608651 h 823468"/>
              <a:gd name="connsiteX546" fmla="*/ 2894265 w 12248682"/>
              <a:gd name="connsiteY546" fmla="*/ 629440 h 823468"/>
              <a:gd name="connsiteX547" fmla="*/ 2873476 w 12248682"/>
              <a:gd name="connsiteY547" fmla="*/ 650228 h 823468"/>
              <a:gd name="connsiteX548" fmla="*/ 2852688 w 12248682"/>
              <a:gd name="connsiteY548" fmla="*/ 629440 h 823468"/>
              <a:gd name="connsiteX549" fmla="*/ 2873476 w 12248682"/>
              <a:gd name="connsiteY549" fmla="*/ 608651 h 823468"/>
              <a:gd name="connsiteX550" fmla="*/ 2738350 w 12248682"/>
              <a:gd name="connsiteY550" fmla="*/ 608651 h 823468"/>
              <a:gd name="connsiteX551" fmla="*/ 2759139 w 12248682"/>
              <a:gd name="connsiteY551" fmla="*/ 629440 h 823468"/>
              <a:gd name="connsiteX552" fmla="*/ 2738350 w 12248682"/>
              <a:gd name="connsiteY552" fmla="*/ 650228 h 823468"/>
              <a:gd name="connsiteX553" fmla="*/ 2717562 w 12248682"/>
              <a:gd name="connsiteY553" fmla="*/ 629440 h 823468"/>
              <a:gd name="connsiteX554" fmla="*/ 2738350 w 12248682"/>
              <a:gd name="connsiteY554" fmla="*/ 608651 h 823468"/>
              <a:gd name="connsiteX555" fmla="*/ 2603222 w 12248682"/>
              <a:gd name="connsiteY555" fmla="*/ 608651 h 823468"/>
              <a:gd name="connsiteX556" fmla="*/ 2624011 w 12248682"/>
              <a:gd name="connsiteY556" fmla="*/ 629440 h 823468"/>
              <a:gd name="connsiteX557" fmla="*/ 2603222 w 12248682"/>
              <a:gd name="connsiteY557" fmla="*/ 650228 h 823468"/>
              <a:gd name="connsiteX558" fmla="*/ 2582433 w 12248682"/>
              <a:gd name="connsiteY558" fmla="*/ 629440 h 823468"/>
              <a:gd name="connsiteX559" fmla="*/ 2603222 w 12248682"/>
              <a:gd name="connsiteY559" fmla="*/ 608651 h 823468"/>
              <a:gd name="connsiteX560" fmla="*/ 2466940 w 12248682"/>
              <a:gd name="connsiteY560" fmla="*/ 608651 h 823468"/>
              <a:gd name="connsiteX561" fmla="*/ 2487729 w 12248682"/>
              <a:gd name="connsiteY561" fmla="*/ 629440 h 823468"/>
              <a:gd name="connsiteX562" fmla="*/ 2466940 w 12248682"/>
              <a:gd name="connsiteY562" fmla="*/ 650228 h 823468"/>
              <a:gd name="connsiteX563" fmla="*/ 2446151 w 12248682"/>
              <a:gd name="connsiteY563" fmla="*/ 629440 h 823468"/>
              <a:gd name="connsiteX564" fmla="*/ 2466940 w 12248682"/>
              <a:gd name="connsiteY564" fmla="*/ 608651 h 823468"/>
              <a:gd name="connsiteX565" fmla="*/ 1518739 w 12248682"/>
              <a:gd name="connsiteY565" fmla="*/ 608651 h 823468"/>
              <a:gd name="connsiteX566" fmla="*/ 1539528 w 12248682"/>
              <a:gd name="connsiteY566" fmla="*/ 629440 h 823468"/>
              <a:gd name="connsiteX567" fmla="*/ 1518739 w 12248682"/>
              <a:gd name="connsiteY567" fmla="*/ 650228 h 823468"/>
              <a:gd name="connsiteX568" fmla="*/ 1497951 w 12248682"/>
              <a:gd name="connsiteY568" fmla="*/ 629440 h 823468"/>
              <a:gd name="connsiteX569" fmla="*/ 1518739 w 12248682"/>
              <a:gd name="connsiteY569" fmla="*/ 608651 h 823468"/>
              <a:gd name="connsiteX570" fmla="*/ 1383611 w 12248682"/>
              <a:gd name="connsiteY570" fmla="*/ 608651 h 823468"/>
              <a:gd name="connsiteX571" fmla="*/ 1404400 w 12248682"/>
              <a:gd name="connsiteY571" fmla="*/ 629440 h 823468"/>
              <a:gd name="connsiteX572" fmla="*/ 1383611 w 12248682"/>
              <a:gd name="connsiteY572" fmla="*/ 650228 h 823468"/>
              <a:gd name="connsiteX573" fmla="*/ 1362823 w 12248682"/>
              <a:gd name="connsiteY573" fmla="*/ 629440 h 823468"/>
              <a:gd name="connsiteX574" fmla="*/ 1383611 w 12248682"/>
              <a:gd name="connsiteY574" fmla="*/ 608651 h 823468"/>
              <a:gd name="connsiteX575" fmla="*/ 11549947 w 12248682"/>
              <a:gd name="connsiteY575" fmla="*/ 606341 h 823468"/>
              <a:gd name="connsiteX576" fmla="*/ 11573046 w 12248682"/>
              <a:gd name="connsiteY576" fmla="*/ 629440 h 823468"/>
              <a:gd name="connsiteX577" fmla="*/ 11549947 w 12248682"/>
              <a:gd name="connsiteY577" fmla="*/ 652538 h 823468"/>
              <a:gd name="connsiteX578" fmla="*/ 11526848 w 12248682"/>
              <a:gd name="connsiteY578" fmla="*/ 629440 h 823468"/>
              <a:gd name="connsiteX579" fmla="*/ 11549947 w 12248682"/>
              <a:gd name="connsiteY579" fmla="*/ 606341 h 823468"/>
              <a:gd name="connsiteX580" fmla="*/ 10466618 w 12248682"/>
              <a:gd name="connsiteY580" fmla="*/ 606341 h 823468"/>
              <a:gd name="connsiteX581" fmla="*/ 10489717 w 12248682"/>
              <a:gd name="connsiteY581" fmla="*/ 629440 h 823468"/>
              <a:gd name="connsiteX582" fmla="*/ 10466618 w 12248682"/>
              <a:gd name="connsiteY582" fmla="*/ 652538 h 823468"/>
              <a:gd name="connsiteX583" fmla="*/ 10443520 w 12248682"/>
              <a:gd name="connsiteY583" fmla="*/ 629440 h 823468"/>
              <a:gd name="connsiteX584" fmla="*/ 10466618 w 12248682"/>
              <a:gd name="connsiteY584" fmla="*/ 606341 h 823468"/>
              <a:gd name="connsiteX585" fmla="*/ 9244698 w 12248682"/>
              <a:gd name="connsiteY585" fmla="*/ 606341 h 823468"/>
              <a:gd name="connsiteX586" fmla="*/ 9270107 w 12248682"/>
              <a:gd name="connsiteY586" fmla="*/ 627130 h 823468"/>
              <a:gd name="connsiteX587" fmla="*/ 9249318 w 12248682"/>
              <a:gd name="connsiteY587" fmla="*/ 652538 h 823468"/>
              <a:gd name="connsiteX588" fmla="*/ 9223909 w 12248682"/>
              <a:gd name="connsiteY588" fmla="*/ 631749 h 823468"/>
              <a:gd name="connsiteX589" fmla="*/ 9244698 w 12248682"/>
              <a:gd name="connsiteY589" fmla="*/ 606341 h 823468"/>
              <a:gd name="connsiteX590" fmla="*/ 8164231 w 12248682"/>
              <a:gd name="connsiteY590" fmla="*/ 606341 h 823468"/>
              <a:gd name="connsiteX591" fmla="*/ 8187331 w 12248682"/>
              <a:gd name="connsiteY591" fmla="*/ 629440 h 823468"/>
              <a:gd name="connsiteX592" fmla="*/ 8164231 w 12248682"/>
              <a:gd name="connsiteY592" fmla="*/ 652538 h 823468"/>
              <a:gd name="connsiteX593" fmla="*/ 8141133 w 12248682"/>
              <a:gd name="connsiteY593" fmla="*/ 629440 h 823468"/>
              <a:gd name="connsiteX594" fmla="*/ 8164231 w 12248682"/>
              <a:gd name="connsiteY594" fmla="*/ 606341 h 823468"/>
              <a:gd name="connsiteX595" fmla="*/ 6944621 w 12248682"/>
              <a:gd name="connsiteY595" fmla="*/ 606341 h 823468"/>
              <a:gd name="connsiteX596" fmla="*/ 6967719 w 12248682"/>
              <a:gd name="connsiteY596" fmla="*/ 629440 h 823468"/>
              <a:gd name="connsiteX597" fmla="*/ 6944621 w 12248682"/>
              <a:gd name="connsiteY597" fmla="*/ 652538 h 823468"/>
              <a:gd name="connsiteX598" fmla="*/ 6921522 w 12248682"/>
              <a:gd name="connsiteY598" fmla="*/ 629440 h 823468"/>
              <a:gd name="connsiteX599" fmla="*/ 6944621 w 12248682"/>
              <a:gd name="connsiteY599" fmla="*/ 606341 h 823468"/>
              <a:gd name="connsiteX600" fmla="*/ 5861292 w 12248682"/>
              <a:gd name="connsiteY600" fmla="*/ 606341 h 823468"/>
              <a:gd name="connsiteX601" fmla="*/ 5884392 w 12248682"/>
              <a:gd name="connsiteY601" fmla="*/ 629440 h 823468"/>
              <a:gd name="connsiteX602" fmla="*/ 5861292 w 12248682"/>
              <a:gd name="connsiteY602" fmla="*/ 652538 h 823468"/>
              <a:gd name="connsiteX603" fmla="*/ 5838194 w 12248682"/>
              <a:gd name="connsiteY603" fmla="*/ 629440 h 823468"/>
              <a:gd name="connsiteX604" fmla="*/ 5861292 w 12248682"/>
              <a:gd name="connsiteY604" fmla="*/ 606341 h 823468"/>
              <a:gd name="connsiteX605" fmla="*/ 4639373 w 12248682"/>
              <a:gd name="connsiteY605" fmla="*/ 606341 h 823468"/>
              <a:gd name="connsiteX606" fmla="*/ 4664780 w 12248682"/>
              <a:gd name="connsiteY606" fmla="*/ 627130 h 823468"/>
              <a:gd name="connsiteX607" fmla="*/ 4643991 w 12248682"/>
              <a:gd name="connsiteY607" fmla="*/ 652538 h 823468"/>
              <a:gd name="connsiteX608" fmla="*/ 4618583 w 12248682"/>
              <a:gd name="connsiteY608" fmla="*/ 631749 h 823468"/>
              <a:gd name="connsiteX609" fmla="*/ 4639373 w 12248682"/>
              <a:gd name="connsiteY609" fmla="*/ 606341 h 823468"/>
              <a:gd name="connsiteX610" fmla="*/ 3551423 w 12248682"/>
              <a:gd name="connsiteY610" fmla="*/ 606341 h 823468"/>
              <a:gd name="connsiteX611" fmla="*/ 3574522 w 12248682"/>
              <a:gd name="connsiteY611" fmla="*/ 629440 h 823468"/>
              <a:gd name="connsiteX612" fmla="*/ 3551423 w 12248682"/>
              <a:gd name="connsiteY612" fmla="*/ 652538 h 823468"/>
              <a:gd name="connsiteX613" fmla="*/ 3528325 w 12248682"/>
              <a:gd name="connsiteY613" fmla="*/ 629440 h 823468"/>
              <a:gd name="connsiteX614" fmla="*/ 3551423 w 12248682"/>
              <a:gd name="connsiteY614" fmla="*/ 606341 h 823468"/>
              <a:gd name="connsiteX615" fmla="*/ 2331813 w 12248682"/>
              <a:gd name="connsiteY615" fmla="*/ 606341 h 823468"/>
              <a:gd name="connsiteX616" fmla="*/ 2354912 w 12248682"/>
              <a:gd name="connsiteY616" fmla="*/ 629440 h 823468"/>
              <a:gd name="connsiteX617" fmla="*/ 2331813 w 12248682"/>
              <a:gd name="connsiteY617" fmla="*/ 652538 h 823468"/>
              <a:gd name="connsiteX618" fmla="*/ 2308714 w 12248682"/>
              <a:gd name="connsiteY618" fmla="*/ 629440 h 823468"/>
              <a:gd name="connsiteX619" fmla="*/ 2331813 w 12248682"/>
              <a:gd name="connsiteY619" fmla="*/ 606341 h 823468"/>
              <a:gd name="connsiteX620" fmla="*/ 1248485 w 12248682"/>
              <a:gd name="connsiteY620" fmla="*/ 606341 h 823468"/>
              <a:gd name="connsiteX621" fmla="*/ 1271583 w 12248682"/>
              <a:gd name="connsiteY621" fmla="*/ 629440 h 823468"/>
              <a:gd name="connsiteX622" fmla="*/ 1248485 w 12248682"/>
              <a:gd name="connsiteY622" fmla="*/ 652538 h 823468"/>
              <a:gd name="connsiteX623" fmla="*/ 1225386 w 12248682"/>
              <a:gd name="connsiteY623" fmla="*/ 629440 h 823468"/>
              <a:gd name="connsiteX624" fmla="*/ 1248485 w 12248682"/>
              <a:gd name="connsiteY624" fmla="*/ 606341 h 823468"/>
              <a:gd name="connsiteX625" fmla="*/ 26564 w 12248682"/>
              <a:gd name="connsiteY625" fmla="*/ 606341 h 823468"/>
              <a:gd name="connsiteX626" fmla="*/ 51973 w 12248682"/>
              <a:gd name="connsiteY626" fmla="*/ 627130 h 823468"/>
              <a:gd name="connsiteX627" fmla="*/ 31184 w 12248682"/>
              <a:gd name="connsiteY627" fmla="*/ 652538 h 823468"/>
              <a:gd name="connsiteX628" fmla="*/ 5776 w 12248682"/>
              <a:gd name="connsiteY628" fmla="*/ 631749 h 823468"/>
              <a:gd name="connsiteX629" fmla="*/ 26564 w 12248682"/>
              <a:gd name="connsiteY629" fmla="*/ 606341 h 823468"/>
              <a:gd name="connsiteX630" fmla="*/ 11414819 w 12248682"/>
              <a:gd name="connsiteY630" fmla="*/ 600566 h 823468"/>
              <a:gd name="connsiteX631" fmla="*/ 11443693 w 12248682"/>
              <a:gd name="connsiteY631" fmla="*/ 629440 h 823468"/>
              <a:gd name="connsiteX632" fmla="*/ 11414819 w 12248682"/>
              <a:gd name="connsiteY632" fmla="*/ 658312 h 823468"/>
              <a:gd name="connsiteX633" fmla="*/ 11385946 w 12248682"/>
              <a:gd name="connsiteY633" fmla="*/ 629440 h 823468"/>
              <a:gd name="connsiteX634" fmla="*/ 11414819 w 12248682"/>
              <a:gd name="connsiteY634" fmla="*/ 600566 h 823468"/>
              <a:gd name="connsiteX635" fmla="*/ 10330336 w 12248682"/>
              <a:gd name="connsiteY635" fmla="*/ 600566 h 823468"/>
              <a:gd name="connsiteX636" fmla="*/ 10359209 w 12248682"/>
              <a:gd name="connsiteY636" fmla="*/ 629440 h 823468"/>
              <a:gd name="connsiteX637" fmla="*/ 10330336 w 12248682"/>
              <a:gd name="connsiteY637" fmla="*/ 658312 h 823468"/>
              <a:gd name="connsiteX638" fmla="*/ 10301462 w 12248682"/>
              <a:gd name="connsiteY638" fmla="*/ 629440 h 823468"/>
              <a:gd name="connsiteX639" fmla="*/ 10330336 w 12248682"/>
              <a:gd name="connsiteY639" fmla="*/ 600566 h 823468"/>
              <a:gd name="connsiteX640" fmla="*/ 9382135 w 12248682"/>
              <a:gd name="connsiteY640" fmla="*/ 600566 h 823468"/>
              <a:gd name="connsiteX641" fmla="*/ 9411009 w 12248682"/>
              <a:gd name="connsiteY641" fmla="*/ 629440 h 823468"/>
              <a:gd name="connsiteX642" fmla="*/ 9382135 w 12248682"/>
              <a:gd name="connsiteY642" fmla="*/ 658312 h 823468"/>
              <a:gd name="connsiteX643" fmla="*/ 9353262 w 12248682"/>
              <a:gd name="connsiteY643" fmla="*/ 629440 h 823468"/>
              <a:gd name="connsiteX644" fmla="*/ 9382135 w 12248682"/>
              <a:gd name="connsiteY644" fmla="*/ 600566 h 823468"/>
              <a:gd name="connsiteX645" fmla="*/ 9112431 w 12248682"/>
              <a:gd name="connsiteY645" fmla="*/ 600566 h 823468"/>
              <a:gd name="connsiteX646" fmla="*/ 9141305 w 12248682"/>
              <a:gd name="connsiteY646" fmla="*/ 629440 h 823468"/>
              <a:gd name="connsiteX647" fmla="*/ 9112431 w 12248682"/>
              <a:gd name="connsiteY647" fmla="*/ 658312 h 823468"/>
              <a:gd name="connsiteX648" fmla="*/ 9083558 w 12248682"/>
              <a:gd name="connsiteY648" fmla="*/ 629440 h 823468"/>
              <a:gd name="connsiteX649" fmla="*/ 9112431 w 12248682"/>
              <a:gd name="connsiteY649" fmla="*/ 600566 h 823468"/>
              <a:gd name="connsiteX650" fmla="*/ 8299358 w 12248682"/>
              <a:gd name="connsiteY650" fmla="*/ 600566 h 823468"/>
              <a:gd name="connsiteX651" fmla="*/ 8328231 w 12248682"/>
              <a:gd name="connsiteY651" fmla="*/ 629440 h 823468"/>
              <a:gd name="connsiteX652" fmla="*/ 8299358 w 12248682"/>
              <a:gd name="connsiteY652" fmla="*/ 658312 h 823468"/>
              <a:gd name="connsiteX653" fmla="*/ 8270485 w 12248682"/>
              <a:gd name="connsiteY653" fmla="*/ 629440 h 823468"/>
              <a:gd name="connsiteX654" fmla="*/ 8299358 w 12248682"/>
              <a:gd name="connsiteY654" fmla="*/ 600566 h 823468"/>
              <a:gd name="connsiteX655" fmla="*/ 6809492 w 12248682"/>
              <a:gd name="connsiteY655" fmla="*/ 600566 h 823468"/>
              <a:gd name="connsiteX656" fmla="*/ 6838367 w 12248682"/>
              <a:gd name="connsiteY656" fmla="*/ 629440 h 823468"/>
              <a:gd name="connsiteX657" fmla="*/ 6809492 w 12248682"/>
              <a:gd name="connsiteY657" fmla="*/ 658312 h 823468"/>
              <a:gd name="connsiteX658" fmla="*/ 6780620 w 12248682"/>
              <a:gd name="connsiteY658" fmla="*/ 629440 h 823468"/>
              <a:gd name="connsiteX659" fmla="*/ 6809492 w 12248682"/>
              <a:gd name="connsiteY659" fmla="*/ 600566 h 823468"/>
              <a:gd name="connsiteX660" fmla="*/ 5726165 w 12248682"/>
              <a:gd name="connsiteY660" fmla="*/ 600566 h 823468"/>
              <a:gd name="connsiteX661" fmla="*/ 5755038 w 12248682"/>
              <a:gd name="connsiteY661" fmla="*/ 629440 h 823468"/>
              <a:gd name="connsiteX662" fmla="*/ 5726165 w 12248682"/>
              <a:gd name="connsiteY662" fmla="*/ 658312 h 823468"/>
              <a:gd name="connsiteX663" fmla="*/ 5697292 w 12248682"/>
              <a:gd name="connsiteY663" fmla="*/ 629440 h 823468"/>
              <a:gd name="connsiteX664" fmla="*/ 5726165 w 12248682"/>
              <a:gd name="connsiteY664" fmla="*/ 600566 h 823468"/>
              <a:gd name="connsiteX665" fmla="*/ 4776809 w 12248682"/>
              <a:gd name="connsiteY665" fmla="*/ 600566 h 823468"/>
              <a:gd name="connsiteX666" fmla="*/ 4805682 w 12248682"/>
              <a:gd name="connsiteY666" fmla="*/ 629440 h 823468"/>
              <a:gd name="connsiteX667" fmla="*/ 4776809 w 12248682"/>
              <a:gd name="connsiteY667" fmla="*/ 658312 h 823468"/>
              <a:gd name="connsiteX668" fmla="*/ 4747936 w 12248682"/>
              <a:gd name="connsiteY668" fmla="*/ 629440 h 823468"/>
              <a:gd name="connsiteX669" fmla="*/ 4776809 w 12248682"/>
              <a:gd name="connsiteY669" fmla="*/ 600566 h 823468"/>
              <a:gd name="connsiteX670" fmla="*/ 4499625 w 12248682"/>
              <a:gd name="connsiteY670" fmla="*/ 600566 h 823468"/>
              <a:gd name="connsiteX671" fmla="*/ 4528499 w 12248682"/>
              <a:gd name="connsiteY671" fmla="*/ 629440 h 823468"/>
              <a:gd name="connsiteX672" fmla="*/ 4499625 w 12248682"/>
              <a:gd name="connsiteY672" fmla="*/ 658312 h 823468"/>
              <a:gd name="connsiteX673" fmla="*/ 4470752 w 12248682"/>
              <a:gd name="connsiteY673" fmla="*/ 629440 h 823468"/>
              <a:gd name="connsiteX674" fmla="*/ 4499625 w 12248682"/>
              <a:gd name="connsiteY674" fmla="*/ 600566 h 823468"/>
              <a:gd name="connsiteX675" fmla="*/ 3686551 w 12248682"/>
              <a:gd name="connsiteY675" fmla="*/ 600566 h 823468"/>
              <a:gd name="connsiteX676" fmla="*/ 3715424 w 12248682"/>
              <a:gd name="connsiteY676" fmla="*/ 629440 h 823468"/>
              <a:gd name="connsiteX677" fmla="*/ 3686551 w 12248682"/>
              <a:gd name="connsiteY677" fmla="*/ 658312 h 823468"/>
              <a:gd name="connsiteX678" fmla="*/ 3657677 w 12248682"/>
              <a:gd name="connsiteY678" fmla="*/ 629440 h 823468"/>
              <a:gd name="connsiteX679" fmla="*/ 3686551 w 12248682"/>
              <a:gd name="connsiteY679" fmla="*/ 600566 h 823468"/>
              <a:gd name="connsiteX680" fmla="*/ 2196685 w 12248682"/>
              <a:gd name="connsiteY680" fmla="*/ 600566 h 823468"/>
              <a:gd name="connsiteX681" fmla="*/ 2225559 w 12248682"/>
              <a:gd name="connsiteY681" fmla="*/ 629440 h 823468"/>
              <a:gd name="connsiteX682" fmla="*/ 2196685 w 12248682"/>
              <a:gd name="connsiteY682" fmla="*/ 658312 h 823468"/>
              <a:gd name="connsiteX683" fmla="*/ 2167813 w 12248682"/>
              <a:gd name="connsiteY683" fmla="*/ 629440 h 823468"/>
              <a:gd name="connsiteX684" fmla="*/ 2196685 w 12248682"/>
              <a:gd name="connsiteY684" fmla="*/ 600566 h 823468"/>
              <a:gd name="connsiteX685" fmla="*/ 1112202 w 12248682"/>
              <a:gd name="connsiteY685" fmla="*/ 600566 h 823468"/>
              <a:gd name="connsiteX686" fmla="*/ 1141075 w 12248682"/>
              <a:gd name="connsiteY686" fmla="*/ 629440 h 823468"/>
              <a:gd name="connsiteX687" fmla="*/ 1112202 w 12248682"/>
              <a:gd name="connsiteY687" fmla="*/ 658312 h 823468"/>
              <a:gd name="connsiteX688" fmla="*/ 1083328 w 12248682"/>
              <a:gd name="connsiteY688" fmla="*/ 629440 h 823468"/>
              <a:gd name="connsiteX689" fmla="*/ 1112202 w 12248682"/>
              <a:gd name="connsiteY689" fmla="*/ 600566 h 823468"/>
              <a:gd name="connsiteX690" fmla="*/ 164001 w 12248682"/>
              <a:gd name="connsiteY690" fmla="*/ 600566 h 823468"/>
              <a:gd name="connsiteX691" fmla="*/ 192875 w 12248682"/>
              <a:gd name="connsiteY691" fmla="*/ 629440 h 823468"/>
              <a:gd name="connsiteX692" fmla="*/ 164001 w 12248682"/>
              <a:gd name="connsiteY692" fmla="*/ 658312 h 823468"/>
              <a:gd name="connsiteX693" fmla="*/ 135128 w 12248682"/>
              <a:gd name="connsiteY693" fmla="*/ 629440 h 823468"/>
              <a:gd name="connsiteX694" fmla="*/ 164001 w 12248682"/>
              <a:gd name="connsiteY694" fmla="*/ 600566 h 823468"/>
              <a:gd name="connsiteX695" fmla="*/ 11279692 w 12248682"/>
              <a:gd name="connsiteY695" fmla="*/ 594792 h 823468"/>
              <a:gd name="connsiteX696" fmla="*/ 11314340 w 12248682"/>
              <a:gd name="connsiteY696" fmla="*/ 629440 h 823468"/>
              <a:gd name="connsiteX697" fmla="*/ 11279692 w 12248682"/>
              <a:gd name="connsiteY697" fmla="*/ 664088 h 823468"/>
              <a:gd name="connsiteX698" fmla="*/ 11245044 w 12248682"/>
              <a:gd name="connsiteY698" fmla="*/ 629440 h 823468"/>
              <a:gd name="connsiteX699" fmla="*/ 11279692 w 12248682"/>
              <a:gd name="connsiteY699" fmla="*/ 594792 h 823468"/>
              <a:gd name="connsiteX700" fmla="*/ 10195208 w 12248682"/>
              <a:gd name="connsiteY700" fmla="*/ 594792 h 823468"/>
              <a:gd name="connsiteX701" fmla="*/ 10229856 w 12248682"/>
              <a:gd name="connsiteY701" fmla="*/ 629440 h 823468"/>
              <a:gd name="connsiteX702" fmla="*/ 10195208 w 12248682"/>
              <a:gd name="connsiteY702" fmla="*/ 664088 h 823468"/>
              <a:gd name="connsiteX703" fmla="*/ 10160560 w 12248682"/>
              <a:gd name="connsiteY703" fmla="*/ 629440 h 823468"/>
              <a:gd name="connsiteX704" fmla="*/ 10195208 w 12248682"/>
              <a:gd name="connsiteY704" fmla="*/ 594792 h 823468"/>
              <a:gd name="connsiteX705" fmla="*/ 9518417 w 12248682"/>
              <a:gd name="connsiteY705" fmla="*/ 594792 h 823468"/>
              <a:gd name="connsiteX706" fmla="*/ 9553065 w 12248682"/>
              <a:gd name="connsiteY706" fmla="*/ 629440 h 823468"/>
              <a:gd name="connsiteX707" fmla="*/ 9518417 w 12248682"/>
              <a:gd name="connsiteY707" fmla="*/ 664088 h 823468"/>
              <a:gd name="connsiteX708" fmla="*/ 9483769 w 12248682"/>
              <a:gd name="connsiteY708" fmla="*/ 629440 h 823468"/>
              <a:gd name="connsiteX709" fmla="*/ 9518417 w 12248682"/>
              <a:gd name="connsiteY709" fmla="*/ 594792 h 823468"/>
              <a:gd name="connsiteX710" fmla="*/ 8977304 w 12248682"/>
              <a:gd name="connsiteY710" fmla="*/ 594792 h 823468"/>
              <a:gd name="connsiteX711" fmla="*/ 9011952 w 12248682"/>
              <a:gd name="connsiteY711" fmla="*/ 629440 h 823468"/>
              <a:gd name="connsiteX712" fmla="*/ 8977304 w 12248682"/>
              <a:gd name="connsiteY712" fmla="*/ 664088 h 823468"/>
              <a:gd name="connsiteX713" fmla="*/ 8942656 w 12248682"/>
              <a:gd name="connsiteY713" fmla="*/ 629440 h 823468"/>
              <a:gd name="connsiteX714" fmla="*/ 8977304 w 12248682"/>
              <a:gd name="connsiteY714" fmla="*/ 594792 h 823468"/>
              <a:gd name="connsiteX715" fmla="*/ 8434485 w 12248682"/>
              <a:gd name="connsiteY715" fmla="*/ 594792 h 823468"/>
              <a:gd name="connsiteX716" fmla="*/ 8469133 w 12248682"/>
              <a:gd name="connsiteY716" fmla="*/ 629440 h 823468"/>
              <a:gd name="connsiteX717" fmla="*/ 8434485 w 12248682"/>
              <a:gd name="connsiteY717" fmla="*/ 664088 h 823468"/>
              <a:gd name="connsiteX718" fmla="*/ 8399837 w 12248682"/>
              <a:gd name="connsiteY718" fmla="*/ 629440 h 823468"/>
              <a:gd name="connsiteX719" fmla="*/ 8434485 w 12248682"/>
              <a:gd name="connsiteY719" fmla="*/ 594792 h 823468"/>
              <a:gd name="connsiteX720" fmla="*/ 6674366 w 12248682"/>
              <a:gd name="connsiteY720" fmla="*/ 594792 h 823468"/>
              <a:gd name="connsiteX721" fmla="*/ 6709014 w 12248682"/>
              <a:gd name="connsiteY721" fmla="*/ 629440 h 823468"/>
              <a:gd name="connsiteX722" fmla="*/ 6674366 w 12248682"/>
              <a:gd name="connsiteY722" fmla="*/ 664088 h 823468"/>
              <a:gd name="connsiteX723" fmla="*/ 6639717 w 12248682"/>
              <a:gd name="connsiteY723" fmla="*/ 629440 h 823468"/>
              <a:gd name="connsiteX724" fmla="*/ 6674366 w 12248682"/>
              <a:gd name="connsiteY724" fmla="*/ 594792 h 823468"/>
              <a:gd name="connsiteX725" fmla="*/ 5589882 w 12248682"/>
              <a:gd name="connsiteY725" fmla="*/ 594792 h 823468"/>
              <a:gd name="connsiteX726" fmla="*/ 5624531 w 12248682"/>
              <a:gd name="connsiteY726" fmla="*/ 629440 h 823468"/>
              <a:gd name="connsiteX727" fmla="*/ 5589882 w 12248682"/>
              <a:gd name="connsiteY727" fmla="*/ 664088 h 823468"/>
              <a:gd name="connsiteX728" fmla="*/ 5555234 w 12248682"/>
              <a:gd name="connsiteY728" fmla="*/ 629440 h 823468"/>
              <a:gd name="connsiteX729" fmla="*/ 5589882 w 12248682"/>
              <a:gd name="connsiteY729" fmla="*/ 594792 h 823468"/>
              <a:gd name="connsiteX730" fmla="*/ 4913091 w 12248682"/>
              <a:gd name="connsiteY730" fmla="*/ 594792 h 823468"/>
              <a:gd name="connsiteX731" fmla="*/ 4947739 w 12248682"/>
              <a:gd name="connsiteY731" fmla="*/ 629440 h 823468"/>
              <a:gd name="connsiteX732" fmla="*/ 4913091 w 12248682"/>
              <a:gd name="connsiteY732" fmla="*/ 664088 h 823468"/>
              <a:gd name="connsiteX733" fmla="*/ 4878443 w 12248682"/>
              <a:gd name="connsiteY733" fmla="*/ 629440 h 823468"/>
              <a:gd name="connsiteX734" fmla="*/ 4913091 w 12248682"/>
              <a:gd name="connsiteY734" fmla="*/ 594792 h 823468"/>
              <a:gd name="connsiteX735" fmla="*/ 4364498 w 12248682"/>
              <a:gd name="connsiteY735" fmla="*/ 594792 h 823468"/>
              <a:gd name="connsiteX736" fmla="*/ 4399146 w 12248682"/>
              <a:gd name="connsiteY736" fmla="*/ 629440 h 823468"/>
              <a:gd name="connsiteX737" fmla="*/ 4364498 w 12248682"/>
              <a:gd name="connsiteY737" fmla="*/ 664088 h 823468"/>
              <a:gd name="connsiteX738" fmla="*/ 4329850 w 12248682"/>
              <a:gd name="connsiteY738" fmla="*/ 629440 h 823468"/>
              <a:gd name="connsiteX739" fmla="*/ 4364498 w 12248682"/>
              <a:gd name="connsiteY739" fmla="*/ 594792 h 823468"/>
              <a:gd name="connsiteX740" fmla="*/ 3821678 w 12248682"/>
              <a:gd name="connsiteY740" fmla="*/ 594792 h 823468"/>
              <a:gd name="connsiteX741" fmla="*/ 3856326 w 12248682"/>
              <a:gd name="connsiteY741" fmla="*/ 629440 h 823468"/>
              <a:gd name="connsiteX742" fmla="*/ 3821678 w 12248682"/>
              <a:gd name="connsiteY742" fmla="*/ 664088 h 823468"/>
              <a:gd name="connsiteX743" fmla="*/ 3787030 w 12248682"/>
              <a:gd name="connsiteY743" fmla="*/ 629440 h 823468"/>
              <a:gd name="connsiteX744" fmla="*/ 3821678 w 12248682"/>
              <a:gd name="connsiteY744" fmla="*/ 594792 h 823468"/>
              <a:gd name="connsiteX745" fmla="*/ 2061558 w 12248682"/>
              <a:gd name="connsiteY745" fmla="*/ 594792 h 823468"/>
              <a:gd name="connsiteX746" fmla="*/ 2096206 w 12248682"/>
              <a:gd name="connsiteY746" fmla="*/ 629440 h 823468"/>
              <a:gd name="connsiteX747" fmla="*/ 2061558 w 12248682"/>
              <a:gd name="connsiteY747" fmla="*/ 664088 h 823468"/>
              <a:gd name="connsiteX748" fmla="*/ 2026910 w 12248682"/>
              <a:gd name="connsiteY748" fmla="*/ 629440 h 823468"/>
              <a:gd name="connsiteX749" fmla="*/ 2061558 w 12248682"/>
              <a:gd name="connsiteY749" fmla="*/ 594792 h 823468"/>
              <a:gd name="connsiteX750" fmla="*/ 977075 w 12248682"/>
              <a:gd name="connsiteY750" fmla="*/ 594792 h 823468"/>
              <a:gd name="connsiteX751" fmla="*/ 1011723 w 12248682"/>
              <a:gd name="connsiteY751" fmla="*/ 629440 h 823468"/>
              <a:gd name="connsiteX752" fmla="*/ 977075 w 12248682"/>
              <a:gd name="connsiteY752" fmla="*/ 664088 h 823468"/>
              <a:gd name="connsiteX753" fmla="*/ 942427 w 12248682"/>
              <a:gd name="connsiteY753" fmla="*/ 629440 h 823468"/>
              <a:gd name="connsiteX754" fmla="*/ 977075 w 12248682"/>
              <a:gd name="connsiteY754" fmla="*/ 594792 h 823468"/>
              <a:gd name="connsiteX755" fmla="*/ 300283 w 12248682"/>
              <a:gd name="connsiteY755" fmla="*/ 594792 h 823468"/>
              <a:gd name="connsiteX756" fmla="*/ 334931 w 12248682"/>
              <a:gd name="connsiteY756" fmla="*/ 629440 h 823468"/>
              <a:gd name="connsiteX757" fmla="*/ 300283 w 12248682"/>
              <a:gd name="connsiteY757" fmla="*/ 664088 h 823468"/>
              <a:gd name="connsiteX758" fmla="*/ 265635 w 12248682"/>
              <a:gd name="connsiteY758" fmla="*/ 629440 h 823468"/>
              <a:gd name="connsiteX759" fmla="*/ 300283 w 12248682"/>
              <a:gd name="connsiteY759" fmla="*/ 594792 h 823468"/>
              <a:gd name="connsiteX760" fmla="*/ 11143410 w 12248682"/>
              <a:gd name="connsiteY760" fmla="*/ 589016 h 823468"/>
              <a:gd name="connsiteX761" fmla="*/ 11183832 w 12248682"/>
              <a:gd name="connsiteY761" fmla="*/ 629440 h 823468"/>
              <a:gd name="connsiteX762" fmla="*/ 11143410 w 12248682"/>
              <a:gd name="connsiteY762" fmla="*/ 669862 h 823468"/>
              <a:gd name="connsiteX763" fmla="*/ 11102987 w 12248682"/>
              <a:gd name="connsiteY763" fmla="*/ 629440 h 823468"/>
              <a:gd name="connsiteX764" fmla="*/ 11143410 w 12248682"/>
              <a:gd name="connsiteY764" fmla="*/ 589016 h 823468"/>
              <a:gd name="connsiteX765" fmla="*/ 10873155 w 12248682"/>
              <a:gd name="connsiteY765" fmla="*/ 589016 h 823468"/>
              <a:gd name="connsiteX766" fmla="*/ 10913577 w 12248682"/>
              <a:gd name="connsiteY766" fmla="*/ 629440 h 823468"/>
              <a:gd name="connsiteX767" fmla="*/ 10873155 w 12248682"/>
              <a:gd name="connsiteY767" fmla="*/ 669862 h 823468"/>
              <a:gd name="connsiteX768" fmla="*/ 10832732 w 12248682"/>
              <a:gd name="connsiteY768" fmla="*/ 629440 h 823468"/>
              <a:gd name="connsiteX769" fmla="*/ 10873155 w 12248682"/>
              <a:gd name="connsiteY769" fmla="*/ 589016 h 823468"/>
              <a:gd name="connsiteX770" fmla="*/ 10060082 w 12248682"/>
              <a:gd name="connsiteY770" fmla="*/ 589016 h 823468"/>
              <a:gd name="connsiteX771" fmla="*/ 10100504 w 12248682"/>
              <a:gd name="connsiteY771" fmla="*/ 629440 h 823468"/>
              <a:gd name="connsiteX772" fmla="*/ 10060082 w 12248682"/>
              <a:gd name="connsiteY772" fmla="*/ 669862 h 823468"/>
              <a:gd name="connsiteX773" fmla="*/ 10019658 w 12248682"/>
              <a:gd name="connsiteY773" fmla="*/ 629440 h 823468"/>
              <a:gd name="connsiteX774" fmla="*/ 10060082 w 12248682"/>
              <a:gd name="connsiteY774" fmla="*/ 589016 h 823468"/>
              <a:gd name="connsiteX775" fmla="*/ 9653545 w 12248682"/>
              <a:gd name="connsiteY775" fmla="*/ 589016 h 823468"/>
              <a:gd name="connsiteX776" fmla="*/ 9693967 w 12248682"/>
              <a:gd name="connsiteY776" fmla="*/ 629440 h 823468"/>
              <a:gd name="connsiteX777" fmla="*/ 9653545 w 12248682"/>
              <a:gd name="connsiteY777" fmla="*/ 669862 h 823468"/>
              <a:gd name="connsiteX778" fmla="*/ 9613122 w 12248682"/>
              <a:gd name="connsiteY778" fmla="*/ 629440 h 823468"/>
              <a:gd name="connsiteX779" fmla="*/ 9653545 w 12248682"/>
              <a:gd name="connsiteY779" fmla="*/ 589016 h 823468"/>
              <a:gd name="connsiteX780" fmla="*/ 8841022 w 12248682"/>
              <a:gd name="connsiteY780" fmla="*/ 589016 h 823468"/>
              <a:gd name="connsiteX781" fmla="*/ 8881444 w 12248682"/>
              <a:gd name="connsiteY781" fmla="*/ 629440 h 823468"/>
              <a:gd name="connsiteX782" fmla="*/ 8841022 w 12248682"/>
              <a:gd name="connsiteY782" fmla="*/ 669862 h 823468"/>
              <a:gd name="connsiteX783" fmla="*/ 8800599 w 12248682"/>
              <a:gd name="connsiteY783" fmla="*/ 629440 h 823468"/>
              <a:gd name="connsiteX784" fmla="*/ 8841022 w 12248682"/>
              <a:gd name="connsiteY784" fmla="*/ 589016 h 823468"/>
              <a:gd name="connsiteX785" fmla="*/ 8570767 w 12248682"/>
              <a:gd name="connsiteY785" fmla="*/ 589016 h 823468"/>
              <a:gd name="connsiteX786" fmla="*/ 8611190 w 12248682"/>
              <a:gd name="connsiteY786" fmla="*/ 629440 h 823468"/>
              <a:gd name="connsiteX787" fmla="*/ 8570767 w 12248682"/>
              <a:gd name="connsiteY787" fmla="*/ 669862 h 823468"/>
              <a:gd name="connsiteX788" fmla="*/ 8530344 w 12248682"/>
              <a:gd name="connsiteY788" fmla="*/ 629440 h 823468"/>
              <a:gd name="connsiteX789" fmla="*/ 8570767 w 12248682"/>
              <a:gd name="connsiteY789" fmla="*/ 589016 h 823468"/>
              <a:gd name="connsiteX790" fmla="*/ 6538083 w 12248682"/>
              <a:gd name="connsiteY790" fmla="*/ 589016 h 823468"/>
              <a:gd name="connsiteX791" fmla="*/ 6578507 w 12248682"/>
              <a:gd name="connsiteY791" fmla="*/ 629440 h 823468"/>
              <a:gd name="connsiteX792" fmla="*/ 6538083 w 12248682"/>
              <a:gd name="connsiteY792" fmla="*/ 669862 h 823468"/>
              <a:gd name="connsiteX793" fmla="*/ 6497661 w 12248682"/>
              <a:gd name="connsiteY793" fmla="*/ 629440 h 823468"/>
              <a:gd name="connsiteX794" fmla="*/ 6538083 w 12248682"/>
              <a:gd name="connsiteY794" fmla="*/ 589016 h 823468"/>
              <a:gd name="connsiteX795" fmla="*/ 6267830 w 12248682"/>
              <a:gd name="connsiteY795" fmla="*/ 589016 h 823468"/>
              <a:gd name="connsiteX796" fmla="*/ 6308251 w 12248682"/>
              <a:gd name="connsiteY796" fmla="*/ 629440 h 823468"/>
              <a:gd name="connsiteX797" fmla="*/ 6267830 w 12248682"/>
              <a:gd name="connsiteY797" fmla="*/ 669862 h 823468"/>
              <a:gd name="connsiteX798" fmla="*/ 6227406 w 12248682"/>
              <a:gd name="connsiteY798" fmla="*/ 629440 h 823468"/>
              <a:gd name="connsiteX799" fmla="*/ 6267830 w 12248682"/>
              <a:gd name="connsiteY799" fmla="*/ 589016 h 823468"/>
              <a:gd name="connsiteX800" fmla="*/ 5454756 w 12248682"/>
              <a:gd name="connsiteY800" fmla="*/ 589016 h 823468"/>
              <a:gd name="connsiteX801" fmla="*/ 5495178 w 12248682"/>
              <a:gd name="connsiteY801" fmla="*/ 629440 h 823468"/>
              <a:gd name="connsiteX802" fmla="*/ 5454756 w 12248682"/>
              <a:gd name="connsiteY802" fmla="*/ 669862 h 823468"/>
              <a:gd name="connsiteX803" fmla="*/ 5414332 w 12248682"/>
              <a:gd name="connsiteY803" fmla="*/ 629440 h 823468"/>
              <a:gd name="connsiteX804" fmla="*/ 5454756 w 12248682"/>
              <a:gd name="connsiteY804" fmla="*/ 589016 h 823468"/>
              <a:gd name="connsiteX805" fmla="*/ 5048218 w 12248682"/>
              <a:gd name="connsiteY805" fmla="*/ 589016 h 823468"/>
              <a:gd name="connsiteX806" fmla="*/ 5088641 w 12248682"/>
              <a:gd name="connsiteY806" fmla="*/ 629440 h 823468"/>
              <a:gd name="connsiteX807" fmla="*/ 5048218 w 12248682"/>
              <a:gd name="connsiteY807" fmla="*/ 669862 h 823468"/>
              <a:gd name="connsiteX808" fmla="*/ 5007796 w 12248682"/>
              <a:gd name="connsiteY808" fmla="*/ 629440 h 823468"/>
              <a:gd name="connsiteX809" fmla="*/ 5048218 w 12248682"/>
              <a:gd name="connsiteY809" fmla="*/ 589016 h 823468"/>
              <a:gd name="connsiteX810" fmla="*/ 4228216 w 12248682"/>
              <a:gd name="connsiteY810" fmla="*/ 589016 h 823468"/>
              <a:gd name="connsiteX811" fmla="*/ 4268637 w 12248682"/>
              <a:gd name="connsiteY811" fmla="*/ 629440 h 823468"/>
              <a:gd name="connsiteX812" fmla="*/ 4228216 w 12248682"/>
              <a:gd name="connsiteY812" fmla="*/ 669862 h 823468"/>
              <a:gd name="connsiteX813" fmla="*/ 4187792 w 12248682"/>
              <a:gd name="connsiteY813" fmla="*/ 629440 h 823468"/>
              <a:gd name="connsiteX814" fmla="*/ 4228216 w 12248682"/>
              <a:gd name="connsiteY814" fmla="*/ 589016 h 823468"/>
              <a:gd name="connsiteX815" fmla="*/ 3957960 w 12248682"/>
              <a:gd name="connsiteY815" fmla="*/ 589016 h 823468"/>
              <a:gd name="connsiteX816" fmla="*/ 3998382 w 12248682"/>
              <a:gd name="connsiteY816" fmla="*/ 629440 h 823468"/>
              <a:gd name="connsiteX817" fmla="*/ 3957960 w 12248682"/>
              <a:gd name="connsiteY817" fmla="*/ 669862 h 823468"/>
              <a:gd name="connsiteX818" fmla="*/ 3917537 w 12248682"/>
              <a:gd name="connsiteY818" fmla="*/ 629440 h 823468"/>
              <a:gd name="connsiteX819" fmla="*/ 3957960 w 12248682"/>
              <a:gd name="connsiteY819" fmla="*/ 589016 h 823468"/>
              <a:gd name="connsiteX820" fmla="*/ 1925276 w 12248682"/>
              <a:gd name="connsiteY820" fmla="*/ 589016 h 823468"/>
              <a:gd name="connsiteX821" fmla="*/ 1965698 w 12248682"/>
              <a:gd name="connsiteY821" fmla="*/ 629440 h 823468"/>
              <a:gd name="connsiteX822" fmla="*/ 1925276 w 12248682"/>
              <a:gd name="connsiteY822" fmla="*/ 669862 h 823468"/>
              <a:gd name="connsiteX823" fmla="*/ 1884853 w 12248682"/>
              <a:gd name="connsiteY823" fmla="*/ 629440 h 823468"/>
              <a:gd name="connsiteX824" fmla="*/ 1925276 w 12248682"/>
              <a:gd name="connsiteY824" fmla="*/ 589016 h 823468"/>
              <a:gd name="connsiteX825" fmla="*/ 1655022 w 12248682"/>
              <a:gd name="connsiteY825" fmla="*/ 589016 h 823468"/>
              <a:gd name="connsiteX826" fmla="*/ 1695444 w 12248682"/>
              <a:gd name="connsiteY826" fmla="*/ 629440 h 823468"/>
              <a:gd name="connsiteX827" fmla="*/ 1655022 w 12248682"/>
              <a:gd name="connsiteY827" fmla="*/ 669862 h 823468"/>
              <a:gd name="connsiteX828" fmla="*/ 1614598 w 12248682"/>
              <a:gd name="connsiteY828" fmla="*/ 629440 h 823468"/>
              <a:gd name="connsiteX829" fmla="*/ 1655022 w 12248682"/>
              <a:gd name="connsiteY829" fmla="*/ 589016 h 823468"/>
              <a:gd name="connsiteX830" fmla="*/ 841948 w 12248682"/>
              <a:gd name="connsiteY830" fmla="*/ 589016 h 823468"/>
              <a:gd name="connsiteX831" fmla="*/ 882370 w 12248682"/>
              <a:gd name="connsiteY831" fmla="*/ 629440 h 823468"/>
              <a:gd name="connsiteX832" fmla="*/ 841948 w 12248682"/>
              <a:gd name="connsiteY832" fmla="*/ 669862 h 823468"/>
              <a:gd name="connsiteX833" fmla="*/ 801525 w 12248682"/>
              <a:gd name="connsiteY833" fmla="*/ 629440 h 823468"/>
              <a:gd name="connsiteX834" fmla="*/ 841948 w 12248682"/>
              <a:gd name="connsiteY834" fmla="*/ 589016 h 823468"/>
              <a:gd name="connsiteX835" fmla="*/ 435411 w 12248682"/>
              <a:gd name="connsiteY835" fmla="*/ 589016 h 823468"/>
              <a:gd name="connsiteX836" fmla="*/ 475833 w 12248682"/>
              <a:gd name="connsiteY836" fmla="*/ 629440 h 823468"/>
              <a:gd name="connsiteX837" fmla="*/ 435411 w 12248682"/>
              <a:gd name="connsiteY837" fmla="*/ 669862 h 823468"/>
              <a:gd name="connsiteX838" fmla="*/ 394988 w 12248682"/>
              <a:gd name="connsiteY838" fmla="*/ 629440 h 823468"/>
              <a:gd name="connsiteX839" fmla="*/ 435411 w 12248682"/>
              <a:gd name="connsiteY839" fmla="*/ 589016 h 823468"/>
              <a:gd name="connsiteX840" fmla="*/ 11008282 w 12248682"/>
              <a:gd name="connsiteY840" fmla="*/ 577467 h 823468"/>
              <a:gd name="connsiteX841" fmla="*/ 11059099 w 12248682"/>
              <a:gd name="connsiteY841" fmla="*/ 628284 h 823468"/>
              <a:gd name="connsiteX842" fmla="*/ 11008282 w 12248682"/>
              <a:gd name="connsiteY842" fmla="*/ 679101 h 823468"/>
              <a:gd name="connsiteX843" fmla="*/ 10957465 w 12248682"/>
              <a:gd name="connsiteY843" fmla="*/ 628284 h 823468"/>
              <a:gd name="connsiteX844" fmla="*/ 11008282 w 12248682"/>
              <a:gd name="connsiteY844" fmla="*/ 577467 h 823468"/>
              <a:gd name="connsiteX845" fmla="*/ 9924954 w 12248682"/>
              <a:gd name="connsiteY845" fmla="*/ 577467 h 823468"/>
              <a:gd name="connsiteX846" fmla="*/ 9975771 w 12248682"/>
              <a:gd name="connsiteY846" fmla="*/ 628284 h 823468"/>
              <a:gd name="connsiteX847" fmla="*/ 9924954 w 12248682"/>
              <a:gd name="connsiteY847" fmla="*/ 679101 h 823468"/>
              <a:gd name="connsiteX848" fmla="*/ 9874137 w 12248682"/>
              <a:gd name="connsiteY848" fmla="*/ 628284 h 823468"/>
              <a:gd name="connsiteX849" fmla="*/ 9924954 w 12248682"/>
              <a:gd name="connsiteY849" fmla="*/ 577467 h 823468"/>
              <a:gd name="connsiteX850" fmla="*/ 9788672 w 12248682"/>
              <a:gd name="connsiteY850" fmla="*/ 577467 h 823468"/>
              <a:gd name="connsiteX851" fmla="*/ 9839489 w 12248682"/>
              <a:gd name="connsiteY851" fmla="*/ 629440 h 823468"/>
              <a:gd name="connsiteX852" fmla="*/ 9788672 w 12248682"/>
              <a:gd name="connsiteY852" fmla="*/ 680257 h 823468"/>
              <a:gd name="connsiteX853" fmla="*/ 9737854 w 12248682"/>
              <a:gd name="connsiteY853" fmla="*/ 629440 h 823468"/>
              <a:gd name="connsiteX854" fmla="*/ 9788672 w 12248682"/>
              <a:gd name="connsiteY854" fmla="*/ 577467 h 823468"/>
              <a:gd name="connsiteX855" fmla="*/ 8705894 w 12248682"/>
              <a:gd name="connsiteY855" fmla="*/ 577467 h 823468"/>
              <a:gd name="connsiteX856" fmla="*/ 8756711 w 12248682"/>
              <a:gd name="connsiteY856" fmla="*/ 628284 h 823468"/>
              <a:gd name="connsiteX857" fmla="*/ 8705894 w 12248682"/>
              <a:gd name="connsiteY857" fmla="*/ 679101 h 823468"/>
              <a:gd name="connsiteX858" fmla="*/ 8655077 w 12248682"/>
              <a:gd name="connsiteY858" fmla="*/ 628284 h 823468"/>
              <a:gd name="connsiteX859" fmla="*/ 8705894 w 12248682"/>
              <a:gd name="connsiteY859" fmla="*/ 577467 h 823468"/>
              <a:gd name="connsiteX860" fmla="*/ 6402956 w 12248682"/>
              <a:gd name="connsiteY860" fmla="*/ 577467 h 823468"/>
              <a:gd name="connsiteX861" fmla="*/ 6453773 w 12248682"/>
              <a:gd name="connsiteY861" fmla="*/ 628284 h 823468"/>
              <a:gd name="connsiteX862" fmla="*/ 6402956 w 12248682"/>
              <a:gd name="connsiteY862" fmla="*/ 679101 h 823468"/>
              <a:gd name="connsiteX863" fmla="*/ 6352139 w 12248682"/>
              <a:gd name="connsiteY863" fmla="*/ 628284 h 823468"/>
              <a:gd name="connsiteX864" fmla="*/ 6402956 w 12248682"/>
              <a:gd name="connsiteY864" fmla="*/ 577467 h 823468"/>
              <a:gd name="connsiteX865" fmla="*/ 5319627 w 12248682"/>
              <a:gd name="connsiteY865" fmla="*/ 577467 h 823468"/>
              <a:gd name="connsiteX866" fmla="*/ 5370444 w 12248682"/>
              <a:gd name="connsiteY866" fmla="*/ 628284 h 823468"/>
              <a:gd name="connsiteX867" fmla="*/ 5319627 w 12248682"/>
              <a:gd name="connsiteY867" fmla="*/ 679101 h 823468"/>
              <a:gd name="connsiteX868" fmla="*/ 5268810 w 12248682"/>
              <a:gd name="connsiteY868" fmla="*/ 628284 h 823468"/>
              <a:gd name="connsiteX869" fmla="*/ 5319627 w 12248682"/>
              <a:gd name="connsiteY869" fmla="*/ 577467 h 823468"/>
              <a:gd name="connsiteX870" fmla="*/ 5183345 w 12248682"/>
              <a:gd name="connsiteY870" fmla="*/ 577467 h 823468"/>
              <a:gd name="connsiteX871" fmla="*/ 5234162 w 12248682"/>
              <a:gd name="connsiteY871" fmla="*/ 628284 h 823468"/>
              <a:gd name="connsiteX872" fmla="*/ 5183345 w 12248682"/>
              <a:gd name="connsiteY872" fmla="*/ 679101 h 823468"/>
              <a:gd name="connsiteX873" fmla="*/ 5132528 w 12248682"/>
              <a:gd name="connsiteY873" fmla="*/ 628284 h 823468"/>
              <a:gd name="connsiteX874" fmla="*/ 5183345 w 12248682"/>
              <a:gd name="connsiteY874" fmla="*/ 577467 h 823468"/>
              <a:gd name="connsiteX875" fmla="*/ 4093087 w 12248682"/>
              <a:gd name="connsiteY875" fmla="*/ 577467 h 823468"/>
              <a:gd name="connsiteX876" fmla="*/ 4143904 w 12248682"/>
              <a:gd name="connsiteY876" fmla="*/ 628284 h 823468"/>
              <a:gd name="connsiteX877" fmla="*/ 4093087 w 12248682"/>
              <a:gd name="connsiteY877" fmla="*/ 679101 h 823468"/>
              <a:gd name="connsiteX878" fmla="*/ 4042270 w 12248682"/>
              <a:gd name="connsiteY878" fmla="*/ 628284 h 823468"/>
              <a:gd name="connsiteX879" fmla="*/ 4093087 w 12248682"/>
              <a:gd name="connsiteY879" fmla="*/ 577467 h 823468"/>
              <a:gd name="connsiteX880" fmla="*/ 1790148 w 12248682"/>
              <a:gd name="connsiteY880" fmla="*/ 577467 h 823468"/>
              <a:gd name="connsiteX881" fmla="*/ 1840965 w 12248682"/>
              <a:gd name="connsiteY881" fmla="*/ 628284 h 823468"/>
              <a:gd name="connsiteX882" fmla="*/ 1790148 w 12248682"/>
              <a:gd name="connsiteY882" fmla="*/ 679101 h 823468"/>
              <a:gd name="connsiteX883" fmla="*/ 1739331 w 12248682"/>
              <a:gd name="connsiteY883" fmla="*/ 628284 h 823468"/>
              <a:gd name="connsiteX884" fmla="*/ 1790148 w 12248682"/>
              <a:gd name="connsiteY884" fmla="*/ 577467 h 823468"/>
              <a:gd name="connsiteX885" fmla="*/ 706820 w 12248682"/>
              <a:gd name="connsiteY885" fmla="*/ 577467 h 823468"/>
              <a:gd name="connsiteX886" fmla="*/ 757637 w 12248682"/>
              <a:gd name="connsiteY886" fmla="*/ 628284 h 823468"/>
              <a:gd name="connsiteX887" fmla="*/ 706820 w 12248682"/>
              <a:gd name="connsiteY887" fmla="*/ 679101 h 823468"/>
              <a:gd name="connsiteX888" fmla="*/ 656003 w 12248682"/>
              <a:gd name="connsiteY888" fmla="*/ 628284 h 823468"/>
              <a:gd name="connsiteX889" fmla="*/ 706820 w 12248682"/>
              <a:gd name="connsiteY889" fmla="*/ 577467 h 823468"/>
              <a:gd name="connsiteX890" fmla="*/ 570538 w 12248682"/>
              <a:gd name="connsiteY890" fmla="*/ 577467 h 823468"/>
              <a:gd name="connsiteX891" fmla="*/ 621355 w 12248682"/>
              <a:gd name="connsiteY891" fmla="*/ 629440 h 823468"/>
              <a:gd name="connsiteX892" fmla="*/ 570538 w 12248682"/>
              <a:gd name="connsiteY892" fmla="*/ 680257 h 823468"/>
              <a:gd name="connsiteX893" fmla="*/ 519721 w 12248682"/>
              <a:gd name="connsiteY893" fmla="*/ 629440 h 823468"/>
              <a:gd name="connsiteX894" fmla="*/ 570538 w 12248682"/>
              <a:gd name="connsiteY894" fmla="*/ 577467 h 823468"/>
              <a:gd name="connsiteX895" fmla="*/ 12180541 w 12248682"/>
              <a:gd name="connsiteY895" fmla="*/ 464284 h 823468"/>
              <a:gd name="connsiteX896" fmla="*/ 12201330 w 12248682"/>
              <a:gd name="connsiteY896" fmla="*/ 485072 h 823468"/>
              <a:gd name="connsiteX897" fmla="*/ 12180541 w 12248682"/>
              <a:gd name="connsiteY897" fmla="*/ 505861 h 823468"/>
              <a:gd name="connsiteX898" fmla="*/ 12159752 w 12248682"/>
              <a:gd name="connsiteY898" fmla="*/ 485072 h 823468"/>
              <a:gd name="connsiteX899" fmla="*/ 12180541 w 12248682"/>
              <a:gd name="connsiteY899" fmla="*/ 464284 h 823468"/>
              <a:gd name="connsiteX900" fmla="*/ 12040793 w 12248682"/>
              <a:gd name="connsiteY900" fmla="*/ 464284 h 823468"/>
              <a:gd name="connsiteX901" fmla="*/ 12061582 w 12248682"/>
              <a:gd name="connsiteY901" fmla="*/ 485072 h 823468"/>
              <a:gd name="connsiteX902" fmla="*/ 12040793 w 12248682"/>
              <a:gd name="connsiteY902" fmla="*/ 505861 h 823468"/>
              <a:gd name="connsiteX903" fmla="*/ 12020004 w 12248682"/>
              <a:gd name="connsiteY903" fmla="*/ 485072 h 823468"/>
              <a:gd name="connsiteX904" fmla="*/ 12040793 w 12248682"/>
              <a:gd name="connsiteY904" fmla="*/ 464284 h 823468"/>
              <a:gd name="connsiteX905" fmla="*/ 11901047 w 12248682"/>
              <a:gd name="connsiteY905" fmla="*/ 464284 h 823468"/>
              <a:gd name="connsiteX906" fmla="*/ 11921836 w 12248682"/>
              <a:gd name="connsiteY906" fmla="*/ 485072 h 823468"/>
              <a:gd name="connsiteX907" fmla="*/ 11901047 w 12248682"/>
              <a:gd name="connsiteY907" fmla="*/ 505861 h 823468"/>
              <a:gd name="connsiteX908" fmla="*/ 11880258 w 12248682"/>
              <a:gd name="connsiteY908" fmla="*/ 485072 h 823468"/>
              <a:gd name="connsiteX909" fmla="*/ 11901047 w 12248682"/>
              <a:gd name="connsiteY909" fmla="*/ 464284 h 823468"/>
              <a:gd name="connsiteX910" fmla="*/ 11761299 w 12248682"/>
              <a:gd name="connsiteY910" fmla="*/ 464284 h 823468"/>
              <a:gd name="connsiteX911" fmla="*/ 11782088 w 12248682"/>
              <a:gd name="connsiteY911" fmla="*/ 485072 h 823468"/>
              <a:gd name="connsiteX912" fmla="*/ 11761299 w 12248682"/>
              <a:gd name="connsiteY912" fmla="*/ 505861 h 823468"/>
              <a:gd name="connsiteX913" fmla="*/ 11740510 w 12248682"/>
              <a:gd name="connsiteY913" fmla="*/ 485072 h 823468"/>
              <a:gd name="connsiteX914" fmla="*/ 11761299 w 12248682"/>
              <a:gd name="connsiteY914" fmla="*/ 464284 h 823468"/>
              <a:gd name="connsiteX915" fmla="*/ 11621553 w 12248682"/>
              <a:gd name="connsiteY915" fmla="*/ 464284 h 823468"/>
              <a:gd name="connsiteX916" fmla="*/ 11642342 w 12248682"/>
              <a:gd name="connsiteY916" fmla="*/ 485072 h 823468"/>
              <a:gd name="connsiteX917" fmla="*/ 11621553 w 12248682"/>
              <a:gd name="connsiteY917" fmla="*/ 505861 h 823468"/>
              <a:gd name="connsiteX918" fmla="*/ 11600764 w 12248682"/>
              <a:gd name="connsiteY918" fmla="*/ 485072 h 823468"/>
              <a:gd name="connsiteX919" fmla="*/ 11621553 w 12248682"/>
              <a:gd name="connsiteY919" fmla="*/ 464284 h 823468"/>
              <a:gd name="connsiteX920" fmla="*/ 11481805 w 12248682"/>
              <a:gd name="connsiteY920" fmla="*/ 464284 h 823468"/>
              <a:gd name="connsiteX921" fmla="*/ 11502594 w 12248682"/>
              <a:gd name="connsiteY921" fmla="*/ 485072 h 823468"/>
              <a:gd name="connsiteX922" fmla="*/ 11481805 w 12248682"/>
              <a:gd name="connsiteY922" fmla="*/ 505861 h 823468"/>
              <a:gd name="connsiteX923" fmla="*/ 11461016 w 12248682"/>
              <a:gd name="connsiteY923" fmla="*/ 485072 h 823468"/>
              <a:gd name="connsiteX924" fmla="*/ 11481805 w 12248682"/>
              <a:gd name="connsiteY924" fmla="*/ 464284 h 823468"/>
              <a:gd name="connsiteX925" fmla="*/ 10644478 w 12248682"/>
              <a:gd name="connsiteY925" fmla="*/ 464284 h 823468"/>
              <a:gd name="connsiteX926" fmla="*/ 10665267 w 12248682"/>
              <a:gd name="connsiteY926" fmla="*/ 485072 h 823468"/>
              <a:gd name="connsiteX927" fmla="*/ 10644478 w 12248682"/>
              <a:gd name="connsiteY927" fmla="*/ 505861 h 823468"/>
              <a:gd name="connsiteX928" fmla="*/ 10623690 w 12248682"/>
              <a:gd name="connsiteY928" fmla="*/ 485072 h 823468"/>
              <a:gd name="connsiteX929" fmla="*/ 10644478 w 12248682"/>
              <a:gd name="connsiteY929" fmla="*/ 464284 h 823468"/>
              <a:gd name="connsiteX930" fmla="*/ 10504731 w 12248682"/>
              <a:gd name="connsiteY930" fmla="*/ 464284 h 823468"/>
              <a:gd name="connsiteX931" fmla="*/ 10525520 w 12248682"/>
              <a:gd name="connsiteY931" fmla="*/ 485072 h 823468"/>
              <a:gd name="connsiteX932" fmla="*/ 10504731 w 12248682"/>
              <a:gd name="connsiteY932" fmla="*/ 505861 h 823468"/>
              <a:gd name="connsiteX933" fmla="*/ 10483942 w 12248682"/>
              <a:gd name="connsiteY933" fmla="*/ 485072 h 823468"/>
              <a:gd name="connsiteX934" fmla="*/ 10504731 w 12248682"/>
              <a:gd name="connsiteY934" fmla="*/ 464284 h 823468"/>
              <a:gd name="connsiteX935" fmla="*/ 10364984 w 12248682"/>
              <a:gd name="connsiteY935" fmla="*/ 464284 h 823468"/>
              <a:gd name="connsiteX936" fmla="*/ 10385773 w 12248682"/>
              <a:gd name="connsiteY936" fmla="*/ 485072 h 823468"/>
              <a:gd name="connsiteX937" fmla="*/ 10364984 w 12248682"/>
              <a:gd name="connsiteY937" fmla="*/ 505861 h 823468"/>
              <a:gd name="connsiteX938" fmla="*/ 10344196 w 12248682"/>
              <a:gd name="connsiteY938" fmla="*/ 485072 h 823468"/>
              <a:gd name="connsiteX939" fmla="*/ 10364984 w 12248682"/>
              <a:gd name="connsiteY939" fmla="*/ 464284 h 823468"/>
              <a:gd name="connsiteX940" fmla="*/ 7854709 w 12248682"/>
              <a:gd name="connsiteY940" fmla="*/ 464284 h 823468"/>
              <a:gd name="connsiteX941" fmla="*/ 7875498 w 12248682"/>
              <a:gd name="connsiteY941" fmla="*/ 485072 h 823468"/>
              <a:gd name="connsiteX942" fmla="*/ 7854709 w 12248682"/>
              <a:gd name="connsiteY942" fmla="*/ 505861 h 823468"/>
              <a:gd name="connsiteX943" fmla="*/ 7833921 w 12248682"/>
              <a:gd name="connsiteY943" fmla="*/ 485072 h 823468"/>
              <a:gd name="connsiteX944" fmla="*/ 7854709 w 12248682"/>
              <a:gd name="connsiteY944" fmla="*/ 464284 h 823468"/>
              <a:gd name="connsiteX945" fmla="*/ 7714960 w 12248682"/>
              <a:gd name="connsiteY945" fmla="*/ 464284 h 823468"/>
              <a:gd name="connsiteX946" fmla="*/ 7735749 w 12248682"/>
              <a:gd name="connsiteY946" fmla="*/ 485072 h 823468"/>
              <a:gd name="connsiteX947" fmla="*/ 7714960 w 12248682"/>
              <a:gd name="connsiteY947" fmla="*/ 505861 h 823468"/>
              <a:gd name="connsiteX948" fmla="*/ 7694172 w 12248682"/>
              <a:gd name="connsiteY948" fmla="*/ 485072 h 823468"/>
              <a:gd name="connsiteX949" fmla="*/ 7714960 w 12248682"/>
              <a:gd name="connsiteY949" fmla="*/ 464284 h 823468"/>
              <a:gd name="connsiteX950" fmla="*/ 7575214 w 12248682"/>
              <a:gd name="connsiteY950" fmla="*/ 464284 h 823468"/>
              <a:gd name="connsiteX951" fmla="*/ 7596004 w 12248682"/>
              <a:gd name="connsiteY951" fmla="*/ 485072 h 823468"/>
              <a:gd name="connsiteX952" fmla="*/ 7575214 w 12248682"/>
              <a:gd name="connsiteY952" fmla="*/ 505861 h 823468"/>
              <a:gd name="connsiteX953" fmla="*/ 7554427 w 12248682"/>
              <a:gd name="connsiteY953" fmla="*/ 485072 h 823468"/>
              <a:gd name="connsiteX954" fmla="*/ 7575214 w 12248682"/>
              <a:gd name="connsiteY954" fmla="*/ 464284 h 823468"/>
              <a:gd name="connsiteX955" fmla="*/ 7435467 w 12248682"/>
              <a:gd name="connsiteY955" fmla="*/ 464284 h 823468"/>
              <a:gd name="connsiteX956" fmla="*/ 7456257 w 12248682"/>
              <a:gd name="connsiteY956" fmla="*/ 485072 h 823468"/>
              <a:gd name="connsiteX957" fmla="*/ 7435467 w 12248682"/>
              <a:gd name="connsiteY957" fmla="*/ 505861 h 823468"/>
              <a:gd name="connsiteX958" fmla="*/ 7414678 w 12248682"/>
              <a:gd name="connsiteY958" fmla="*/ 485072 h 823468"/>
              <a:gd name="connsiteX959" fmla="*/ 7435467 w 12248682"/>
              <a:gd name="connsiteY959" fmla="*/ 464284 h 823468"/>
              <a:gd name="connsiteX960" fmla="*/ 7295720 w 12248682"/>
              <a:gd name="connsiteY960" fmla="*/ 464284 h 823468"/>
              <a:gd name="connsiteX961" fmla="*/ 7316509 w 12248682"/>
              <a:gd name="connsiteY961" fmla="*/ 485072 h 823468"/>
              <a:gd name="connsiteX962" fmla="*/ 7295720 w 12248682"/>
              <a:gd name="connsiteY962" fmla="*/ 505861 h 823468"/>
              <a:gd name="connsiteX963" fmla="*/ 7274932 w 12248682"/>
              <a:gd name="connsiteY963" fmla="*/ 485072 h 823468"/>
              <a:gd name="connsiteX964" fmla="*/ 7295720 w 12248682"/>
              <a:gd name="connsiteY964" fmla="*/ 464284 h 823468"/>
              <a:gd name="connsiteX965" fmla="*/ 7155974 w 12248682"/>
              <a:gd name="connsiteY965" fmla="*/ 464284 h 823468"/>
              <a:gd name="connsiteX966" fmla="*/ 7176762 w 12248682"/>
              <a:gd name="connsiteY966" fmla="*/ 485072 h 823468"/>
              <a:gd name="connsiteX967" fmla="*/ 7155974 w 12248682"/>
              <a:gd name="connsiteY967" fmla="*/ 505861 h 823468"/>
              <a:gd name="connsiteX968" fmla="*/ 7135183 w 12248682"/>
              <a:gd name="connsiteY968" fmla="*/ 485072 h 823468"/>
              <a:gd name="connsiteX969" fmla="*/ 7155974 w 12248682"/>
              <a:gd name="connsiteY969" fmla="*/ 464284 h 823468"/>
              <a:gd name="connsiteX970" fmla="*/ 7016227 w 12248682"/>
              <a:gd name="connsiteY970" fmla="*/ 464284 h 823468"/>
              <a:gd name="connsiteX971" fmla="*/ 7037016 w 12248682"/>
              <a:gd name="connsiteY971" fmla="*/ 485072 h 823468"/>
              <a:gd name="connsiteX972" fmla="*/ 7016227 w 12248682"/>
              <a:gd name="connsiteY972" fmla="*/ 505861 h 823468"/>
              <a:gd name="connsiteX973" fmla="*/ 6995438 w 12248682"/>
              <a:gd name="connsiteY973" fmla="*/ 485072 h 823468"/>
              <a:gd name="connsiteX974" fmla="*/ 7016227 w 12248682"/>
              <a:gd name="connsiteY974" fmla="*/ 464284 h 823468"/>
              <a:gd name="connsiteX975" fmla="*/ 6877634 w 12248682"/>
              <a:gd name="connsiteY975" fmla="*/ 464284 h 823468"/>
              <a:gd name="connsiteX976" fmla="*/ 6898424 w 12248682"/>
              <a:gd name="connsiteY976" fmla="*/ 485072 h 823468"/>
              <a:gd name="connsiteX977" fmla="*/ 6877634 w 12248682"/>
              <a:gd name="connsiteY977" fmla="*/ 505861 h 823468"/>
              <a:gd name="connsiteX978" fmla="*/ 6856845 w 12248682"/>
              <a:gd name="connsiteY978" fmla="*/ 485072 h 823468"/>
              <a:gd name="connsiteX979" fmla="*/ 6877634 w 12248682"/>
              <a:gd name="connsiteY979" fmla="*/ 464284 h 823468"/>
              <a:gd name="connsiteX980" fmla="*/ 6039151 w 12248682"/>
              <a:gd name="connsiteY980" fmla="*/ 464284 h 823468"/>
              <a:gd name="connsiteX981" fmla="*/ 6059942 w 12248682"/>
              <a:gd name="connsiteY981" fmla="*/ 485072 h 823468"/>
              <a:gd name="connsiteX982" fmla="*/ 6039151 w 12248682"/>
              <a:gd name="connsiteY982" fmla="*/ 505861 h 823468"/>
              <a:gd name="connsiteX983" fmla="*/ 6018363 w 12248682"/>
              <a:gd name="connsiteY983" fmla="*/ 485072 h 823468"/>
              <a:gd name="connsiteX984" fmla="*/ 6039151 w 12248682"/>
              <a:gd name="connsiteY984" fmla="*/ 464284 h 823468"/>
              <a:gd name="connsiteX985" fmla="*/ 5899405 w 12248682"/>
              <a:gd name="connsiteY985" fmla="*/ 464284 h 823468"/>
              <a:gd name="connsiteX986" fmla="*/ 5920193 w 12248682"/>
              <a:gd name="connsiteY986" fmla="*/ 485072 h 823468"/>
              <a:gd name="connsiteX987" fmla="*/ 5899405 w 12248682"/>
              <a:gd name="connsiteY987" fmla="*/ 505861 h 823468"/>
              <a:gd name="connsiteX988" fmla="*/ 5878616 w 12248682"/>
              <a:gd name="connsiteY988" fmla="*/ 485072 h 823468"/>
              <a:gd name="connsiteX989" fmla="*/ 5899405 w 12248682"/>
              <a:gd name="connsiteY989" fmla="*/ 464284 h 823468"/>
              <a:gd name="connsiteX990" fmla="*/ 5759658 w 12248682"/>
              <a:gd name="connsiteY990" fmla="*/ 464284 h 823468"/>
              <a:gd name="connsiteX991" fmla="*/ 5780447 w 12248682"/>
              <a:gd name="connsiteY991" fmla="*/ 485072 h 823468"/>
              <a:gd name="connsiteX992" fmla="*/ 5759658 w 12248682"/>
              <a:gd name="connsiteY992" fmla="*/ 505861 h 823468"/>
              <a:gd name="connsiteX993" fmla="*/ 5738869 w 12248682"/>
              <a:gd name="connsiteY993" fmla="*/ 485072 h 823468"/>
              <a:gd name="connsiteX994" fmla="*/ 5759658 w 12248682"/>
              <a:gd name="connsiteY994" fmla="*/ 464284 h 823468"/>
              <a:gd name="connsiteX995" fmla="*/ 3241901 w 12248682"/>
              <a:gd name="connsiteY995" fmla="*/ 464284 h 823468"/>
              <a:gd name="connsiteX996" fmla="*/ 3262690 w 12248682"/>
              <a:gd name="connsiteY996" fmla="*/ 485072 h 823468"/>
              <a:gd name="connsiteX997" fmla="*/ 3241901 w 12248682"/>
              <a:gd name="connsiteY997" fmla="*/ 505861 h 823468"/>
              <a:gd name="connsiteX998" fmla="*/ 3221112 w 12248682"/>
              <a:gd name="connsiteY998" fmla="*/ 485072 h 823468"/>
              <a:gd name="connsiteX999" fmla="*/ 3241901 w 12248682"/>
              <a:gd name="connsiteY999" fmla="*/ 464284 h 823468"/>
              <a:gd name="connsiteX1000" fmla="*/ 3102153 w 12248682"/>
              <a:gd name="connsiteY1000" fmla="*/ 464284 h 823468"/>
              <a:gd name="connsiteX1001" fmla="*/ 3122942 w 12248682"/>
              <a:gd name="connsiteY1001" fmla="*/ 485072 h 823468"/>
              <a:gd name="connsiteX1002" fmla="*/ 3102153 w 12248682"/>
              <a:gd name="connsiteY1002" fmla="*/ 505861 h 823468"/>
              <a:gd name="connsiteX1003" fmla="*/ 3081365 w 12248682"/>
              <a:gd name="connsiteY1003" fmla="*/ 485072 h 823468"/>
              <a:gd name="connsiteX1004" fmla="*/ 3102153 w 12248682"/>
              <a:gd name="connsiteY1004" fmla="*/ 464284 h 823468"/>
              <a:gd name="connsiteX1005" fmla="*/ 2962407 w 12248682"/>
              <a:gd name="connsiteY1005" fmla="*/ 464284 h 823468"/>
              <a:gd name="connsiteX1006" fmla="*/ 2983196 w 12248682"/>
              <a:gd name="connsiteY1006" fmla="*/ 485072 h 823468"/>
              <a:gd name="connsiteX1007" fmla="*/ 2962407 w 12248682"/>
              <a:gd name="connsiteY1007" fmla="*/ 505861 h 823468"/>
              <a:gd name="connsiteX1008" fmla="*/ 2941618 w 12248682"/>
              <a:gd name="connsiteY1008" fmla="*/ 485072 h 823468"/>
              <a:gd name="connsiteX1009" fmla="*/ 2962407 w 12248682"/>
              <a:gd name="connsiteY1009" fmla="*/ 464284 h 823468"/>
              <a:gd name="connsiteX1010" fmla="*/ 2822659 w 12248682"/>
              <a:gd name="connsiteY1010" fmla="*/ 464284 h 823468"/>
              <a:gd name="connsiteX1011" fmla="*/ 2843448 w 12248682"/>
              <a:gd name="connsiteY1011" fmla="*/ 485072 h 823468"/>
              <a:gd name="connsiteX1012" fmla="*/ 2822659 w 12248682"/>
              <a:gd name="connsiteY1012" fmla="*/ 505861 h 823468"/>
              <a:gd name="connsiteX1013" fmla="*/ 2801871 w 12248682"/>
              <a:gd name="connsiteY1013" fmla="*/ 485072 h 823468"/>
              <a:gd name="connsiteX1014" fmla="*/ 2822659 w 12248682"/>
              <a:gd name="connsiteY1014" fmla="*/ 464284 h 823468"/>
              <a:gd name="connsiteX1015" fmla="*/ 2682913 w 12248682"/>
              <a:gd name="connsiteY1015" fmla="*/ 464284 h 823468"/>
              <a:gd name="connsiteX1016" fmla="*/ 2703702 w 12248682"/>
              <a:gd name="connsiteY1016" fmla="*/ 485072 h 823468"/>
              <a:gd name="connsiteX1017" fmla="*/ 2682913 w 12248682"/>
              <a:gd name="connsiteY1017" fmla="*/ 505861 h 823468"/>
              <a:gd name="connsiteX1018" fmla="*/ 2662124 w 12248682"/>
              <a:gd name="connsiteY1018" fmla="*/ 485072 h 823468"/>
              <a:gd name="connsiteX1019" fmla="*/ 2682913 w 12248682"/>
              <a:gd name="connsiteY1019" fmla="*/ 464284 h 823468"/>
              <a:gd name="connsiteX1020" fmla="*/ 2543167 w 12248682"/>
              <a:gd name="connsiteY1020" fmla="*/ 464284 h 823468"/>
              <a:gd name="connsiteX1021" fmla="*/ 2563954 w 12248682"/>
              <a:gd name="connsiteY1021" fmla="*/ 485072 h 823468"/>
              <a:gd name="connsiteX1022" fmla="*/ 2543167 w 12248682"/>
              <a:gd name="connsiteY1022" fmla="*/ 505861 h 823468"/>
              <a:gd name="connsiteX1023" fmla="*/ 2522376 w 12248682"/>
              <a:gd name="connsiteY1023" fmla="*/ 485072 h 823468"/>
              <a:gd name="connsiteX1024" fmla="*/ 2543167 w 12248682"/>
              <a:gd name="connsiteY1024" fmla="*/ 464284 h 823468"/>
              <a:gd name="connsiteX1025" fmla="*/ 2403419 w 12248682"/>
              <a:gd name="connsiteY1025" fmla="*/ 464284 h 823468"/>
              <a:gd name="connsiteX1026" fmla="*/ 2424209 w 12248682"/>
              <a:gd name="connsiteY1026" fmla="*/ 485072 h 823468"/>
              <a:gd name="connsiteX1027" fmla="*/ 2403419 w 12248682"/>
              <a:gd name="connsiteY1027" fmla="*/ 505861 h 823468"/>
              <a:gd name="connsiteX1028" fmla="*/ 2382630 w 12248682"/>
              <a:gd name="connsiteY1028" fmla="*/ 485072 h 823468"/>
              <a:gd name="connsiteX1029" fmla="*/ 2403419 w 12248682"/>
              <a:gd name="connsiteY1029" fmla="*/ 464284 h 823468"/>
              <a:gd name="connsiteX1030" fmla="*/ 2263671 w 12248682"/>
              <a:gd name="connsiteY1030" fmla="*/ 464284 h 823468"/>
              <a:gd name="connsiteX1031" fmla="*/ 2284460 w 12248682"/>
              <a:gd name="connsiteY1031" fmla="*/ 485072 h 823468"/>
              <a:gd name="connsiteX1032" fmla="*/ 2263671 w 12248682"/>
              <a:gd name="connsiteY1032" fmla="*/ 505861 h 823468"/>
              <a:gd name="connsiteX1033" fmla="*/ 2242883 w 12248682"/>
              <a:gd name="connsiteY1033" fmla="*/ 485072 h 823468"/>
              <a:gd name="connsiteX1034" fmla="*/ 2263671 w 12248682"/>
              <a:gd name="connsiteY1034" fmla="*/ 464284 h 823468"/>
              <a:gd name="connsiteX1035" fmla="*/ 1426344 w 12248682"/>
              <a:gd name="connsiteY1035" fmla="*/ 464284 h 823468"/>
              <a:gd name="connsiteX1036" fmla="*/ 1447133 w 12248682"/>
              <a:gd name="connsiteY1036" fmla="*/ 485072 h 823468"/>
              <a:gd name="connsiteX1037" fmla="*/ 1426344 w 12248682"/>
              <a:gd name="connsiteY1037" fmla="*/ 505861 h 823468"/>
              <a:gd name="connsiteX1038" fmla="*/ 1405556 w 12248682"/>
              <a:gd name="connsiteY1038" fmla="*/ 485072 h 823468"/>
              <a:gd name="connsiteX1039" fmla="*/ 1426344 w 12248682"/>
              <a:gd name="connsiteY1039" fmla="*/ 464284 h 823468"/>
              <a:gd name="connsiteX1040" fmla="*/ 1286597 w 12248682"/>
              <a:gd name="connsiteY1040" fmla="*/ 464284 h 823468"/>
              <a:gd name="connsiteX1041" fmla="*/ 1307386 w 12248682"/>
              <a:gd name="connsiteY1041" fmla="*/ 485072 h 823468"/>
              <a:gd name="connsiteX1042" fmla="*/ 1286597 w 12248682"/>
              <a:gd name="connsiteY1042" fmla="*/ 505861 h 823468"/>
              <a:gd name="connsiteX1043" fmla="*/ 1265808 w 12248682"/>
              <a:gd name="connsiteY1043" fmla="*/ 485072 h 823468"/>
              <a:gd name="connsiteX1044" fmla="*/ 1286597 w 12248682"/>
              <a:gd name="connsiteY1044" fmla="*/ 464284 h 823468"/>
              <a:gd name="connsiteX1045" fmla="*/ 1146851 w 12248682"/>
              <a:gd name="connsiteY1045" fmla="*/ 464284 h 823468"/>
              <a:gd name="connsiteX1046" fmla="*/ 1167639 w 12248682"/>
              <a:gd name="connsiteY1046" fmla="*/ 485072 h 823468"/>
              <a:gd name="connsiteX1047" fmla="*/ 1146851 w 12248682"/>
              <a:gd name="connsiteY1047" fmla="*/ 505861 h 823468"/>
              <a:gd name="connsiteX1048" fmla="*/ 1126062 w 12248682"/>
              <a:gd name="connsiteY1048" fmla="*/ 485072 h 823468"/>
              <a:gd name="connsiteX1049" fmla="*/ 1146851 w 12248682"/>
              <a:gd name="connsiteY1049" fmla="*/ 464284 h 823468"/>
              <a:gd name="connsiteX1050" fmla="*/ 11343213 w 12248682"/>
              <a:gd name="connsiteY1050" fmla="*/ 461974 h 823468"/>
              <a:gd name="connsiteX1051" fmla="*/ 11366312 w 12248682"/>
              <a:gd name="connsiteY1051" fmla="*/ 485072 h 823468"/>
              <a:gd name="connsiteX1052" fmla="*/ 11343213 w 12248682"/>
              <a:gd name="connsiteY1052" fmla="*/ 508171 h 823468"/>
              <a:gd name="connsiteX1053" fmla="*/ 11320114 w 12248682"/>
              <a:gd name="connsiteY1053" fmla="*/ 485072 h 823468"/>
              <a:gd name="connsiteX1054" fmla="*/ 11343213 w 12248682"/>
              <a:gd name="connsiteY1054" fmla="*/ 461974 h 823468"/>
              <a:gd name="connsiteX1055" fmla="*/ 10225237 w 12248682"/>
              <a:gd name="connsiteY1055" fmla="*/ 461974 h 823468"/>
              <a:gd name="connsiteX1056" fmla="*/ 10248335 w 12248682"/>
              <a:gd name="connsiteY1056" fmla="*/ 485072 h 823468"/>
              <a:gd name="connsiteX1057" fmla="*/ 10225237 w 12248682"/>
              <a:gd name="connsiteY1057" fmla="*/ 508171 h 823468"/>
              <a:gd name="connsiteX1058" fmla="*/ 10202138 w 12248682"/>
              <a:gd name="connsiteY1058" fmla="*/ 485072 h 823468"/>
              <a:gd name="connsiteX1059" fmla="*/ 10225237 w 12248682"/>
              <a:gd name="connsiteY1059" fmla="*/ 461974 h 823468"/>
              <a:gd name="connsiteX1060" fmla="*/ 9112431 w 12248682"/>
              <a:gd name="connsiteY1060" fmla="*/ 461974 h 823468"/>
              <a:gd name="connsiteX1061" fmla="*/ 9135530 w 12248682"/>
              <a:gd name="connsiteY1061" fmla="*/ 485072 h 823468"/>
              <a:gd name="connsiteX1062" fmla="*/ 9112431 w 12248682"/>
              <a:gd name="connsiteY1062" fmla="*/ 508171 h 823468"/>
              <a:gd name="connsiteX1063" fmla="*/ 9089332 w 12248682"/>
              <a:gd name="connsiteY1063" fmla="*/ 485072 h 823468"/>
              <a:gd name="connsiteX1064" fmla="*/ 9112431 w 12248682"/>
              <a:gd name="connsiteY1064" fmla="*/ 461974 h 823468"/>
              <a:gd name="connsiteX1065" fmla="*/ 7994456 w 12248682"/>
              <a:gd name="connsiteY1065" fmla="*/ 461974 h 823468"/>
              <a:gd name="connsiteX1066" fmla="*/ 8017555 w 12248682"/>
              <a:gd name="connsiteY1066" fmla="*/ 485072 h 823468"/>
              <a:gd name="connsiteX1067" fmla="*/ 7994456 w 12248682"/>
              <a:gd name="connsiteY1067" fmla="*/ 508171 h 823468"/>
              <a:gd name="connsiteX1068" fmla="*/ 7971356 w 12248682"/>
              <a:gd name="connsiteY1068" fmla="*/ 485072 h 823468"/>
              <a:gd name="connsiteX1069" fmla="*/ 7994456 w 12248682"/>
              <a:gd name="connsiteY1069" fmla="*/ 461974 h 823468"/>
              <a:gd name="connsiteX1070" fmla="*/ 6737887 w 12248682"/>
              <a:gd name="connsiteY1070" fmla="*/ 461974 h 823468"/>
              <a:gd name="connsiteX1071" fmla="*/ 6760986 w 12248682"/>
              <a:gd name="connsiteY1071" fmla="*/ 485072 h 823468"/>
              <a:gd name="connsiteX1072" fmla="*/ 6737887 w 12248682"/>
              <a:gd name="connsiteY1072" fmla="*/ 508171 h 823468"/>
              <a:gd name="connsiteX1073" fmla="*/ 6714789 w 12248682"/>
              <a:gd name="connsiteY1073" fmla="*/ 485072 h 823468"/>
              <a:gd name="connsiteX1074" fmla="*/ 6737887 w 12248682"/>
              <a:gd name="connsiteY1074" fmla="*/ 461974 h 823468"/>
              <a:gd name="connsiteX1075" fmla="*/ 5619911 w 12248682"/>
              <a:gd name="connsiteY1075" fmla="*/ 461974 h 823468"/>
              <a:gd name="connsiteX1076" fmla="*/ 5643008 w 12248682"/>
              <a:gd name="connsiteY1076" fmla="*/ 485072 h 823468"/>
              <a:gd name="connsiteX1077" fmla="*/ 5619911 w 12248682"/>
              <a:gd name="connsiteY1077" fmla="*/ 508171 h 823468"/>
              <a:gd name="connsiteX1078" fmla="*/ 5596812 w 12248682"/>
              <a:gd name="connsiteY1078" fmla="*/ 485072 h 823468"/>
              <a:gd name="connsiteX1079" fmla="*/ 5619911 w 12248682"/>
              <a:gd name="connsiteY1079" fmla="*/ 461974 h 823468"/>
              <a:gd name="connsiteX1080" fmla="*/ 4499625 w 12248682"/>
              <a:gd name="connsiteY1080" fmla="*/ 461974 h 823468"/>
              <a:gd name="connsiteX1081" fmla="*/ 4522722 w 12248682"/>
              <a:gd name="connsiteY1081" fmla="*/ 485072 h 823468"/>
              <a:gd name="connsiteX1082" fmla="*/ 4499625 w 12248682"/>
              <a:gd name="connsiteY1082" fmla="*/ 508171 h 823468"/>
              <a:gd name="connsiteX1083" fmla="*/ 4476525 w 12248682"/>
              <a:gd name="connsiteY1083" fmla="*/ 485072 h 823468"/>
              <a:gd name="connsiteX1084" fmla="*/ 4499625 w 12248682"/>
              <a:gd name="connsiteY1084" fmla="*/ 461974 h 823468"/>
              <a:gd name="connsiteX1085" fmla="*/ 3381648 w 12248682"/>
              <a:gd name="connsiteY1085" fmla="*/ 461974 h 823468"/>
              <a:gd name="connsiteX1086" fmla="*/ 3404746 w 12248682"/>
              <a:gd name="connsiteY1086" fmla="*/ 485072 h 823468"/>
              <a:gd name="connsiteX1087" fmla="*/ 3381648 w 12248682"/>
              <a:gd name="connsiteY1087" fmla="*/ 508171 h 823468"/>
              <a:gd name="connsiteX1088" fmla="*/ 3358549 w 12248682"/>
              <a:gd name="connsiteY1088" fmla="*/ 485072 h 823468"/>
              <a:gd name="connsiteX1089" fmla="*/ 3381648 w 12248682"/>
              <a:gd name="connsiteY1089" fmla="*/ 461974 h 823468"/>
              <a:gd name="connsiteX1090" fmla="*/ 2125079 w 12248682"/>
              <a:gd name="connsiteY1090" fmla="*/ 461974 h 823468"/>
              <a:gd name="connsiteX1091" fmla="*/ 2148178 w 12248682"/>
              <a:gd name="connsiteY1091" fmla="*/ 485072 h 823468"/>
              <a:gd name="connsiteX1092" fmla="*/ 2125079 w 12248682"/>
              <a:gd name="connsiteY1092" fmla="*/ 508171 h 823468"/>
              <a:gd name="connsiteX1093" fmla="*/ 2101980 w 12248682"/>
              <a:gd name="connsiteY1093" fmla="*/ 485072 h 823468"/>
              <a:gd name="connsiteX1094" fmla="*/ 2125079 w 12248682"/>
              <a:gd name="connsiteY1094" fmla="*/ 461974 h 823468"/>
              <a:gd name="connsiteX1095" fmla="*/ 1007103 w 12248682"/>
              <a:gd name="connsiteY1095" fmla="*/ 461974 h 823468"/>
              <a:gd name="connsiteX1096" fmla="*/ 1030201 w 12248682"/>
              <a:gd name="connsiteY1096" fmla="*/ 485072 h 823468"/>
              <a:gd name="connsiteX1097" fmla="*/ 1007103 w 12248682"/>
              <a:gd name="connsiteY1097" fmla="*/ 508171 h 823468"/>
              <a:gd name="connsiteX1098" fmla="*/ 984004 w 12248682"/>
              <a:gd name="connsiteY1098" fmla="*/ 485072 h 823468"/>
              <a:gd name="connsiteX1099" fmla="*/ 1007103 w 12248682"/>
              <a:gd name="connsiteY1099" fmla="*/ 461974 h 823468"/>
              <a:gd name="connsiteX1100" fmla="*/ 11203466 w 12248682"/>
              <a:gd name="connsiteY1100" fmla="*/ 456200 h 823468"/>
              <a:gd name="connsiteX1101" fmla="*/ 11232339 w 12248682"/>
              <a:gd name="connsiteY1101" fmla="*/ 485072 h 823468"/>
              <a:gd name="connsiteX1102" fmla="*/ 11203466 w 12248682"/>
              <a:gd name="connsiteY1102" fmla="*/ 513946 h 823468"/>
              <a:gd name="connsiteX1103" fmla="*/ 11174593 w 12248682"/>
              <a:gd name="connsiteY1103" fmla="*/ 485072 h 823468"/>
              <a:gd name="connsiteX1104" fmla="*/ 11203466 w 12248682"/>
              <a:gd name="connsiteY1104" fmla="*/ 456200 h 823468"/>
              <a:gd name="connsiteX1105" fmla="*/ 10085490 w 12248682"/>
              <a:gd name="connsiteY1105" fmla="*/ 456200 h 823468"/>
              <a:gd name="connsiteX1106" fmla="*/ 10114363 w 12248682"/>
              <a:gd name="connsiteY1106" fmla="*/ 485072 h 823468"/>
              <a:gd name="connsiteX1107" fmla="*/ 10085490 w 12248682"/>
              <a:gd name="connsiteY1107" fmla="*/ 513946 h 823468"/>
              <a:gd name="connsiteX1108" fmla="*/ 10056616 w 12248682"/>
              <a:gd name="connsiteY1108" fmla="*/ 485072 h 823468"/>
              <a:gd name="connsiteX1109" fmla="*/ 10085490 w 12248682"/>
              <a:gd name="connsiteY1109" fmla="*/ 456200 h 823468"/>
              <a:gd name="connsiteX1110" fmla="*/ 9247008 w 12248682"/>
              <a:gd name="connsiteY1110" fmla="*/ 456200 h 823468"/>
              <a:gd name="connsiteX1111" fmla="*/ 9275881 w 12248682"/>
              <a:gd name="connsiteY1111" fmla="*/ 485072 h 823468"/>
              <a:gd name="connsiteX1112" fmla="*/ 9247008 w 12248682"/>
              <a:gd name="connsiteY1112" fmla="*/ 513946 h 823468"/>
              <a:gd name="connsiteX1113" fmla="*/ 9218134 w 12248682"/>
              <a:gd name="connsiteY1113" fmla="*/ 485072 h 823468"/>
              <a:gd name="connsiteX1114" fmla="*/ 9247008 w 12248682"/>
              <a:gd name="connsiteY1114" fmla="*/ 456200 h 823468"/>
              <a:gd name="connsiteX1115" fmla="*/ 8972685 w 12248682"/>
              <a:gd name="connsiteY1115" fmla="*/ 456200 h 823468"/>
              <a:gd name="connsiteX1116" fmla="*/ 9001557 w 12248682"/>
              <a:gd name="connsiteY1116" fmla="*/ 485072 h 823468"/>
              <a:gd name="connsiteX1117" fmla="*/ 8972685 w 12248682"/>
              <a:gd name="connsiteY1117" fmla="*/ 513946 h 823468"/>
              <a:gd name="connsiteX1118" fmla="*/ 8943811 w 12248682"/>
              <a:gd name="connsiteY1118" fmla="*/ 485072 h 823468"/>
              <a:gd name="connsiteX1119" fmla="*/ 8972685 w 12248682"/>
              <a:gd name="connsiteY1119" fmla="*/ 456200 h 823468"/>
              <a:gd name="connsiteX1120" fmla="*/ 8134203 w 12248682"/>
              <a:gd name="connsiteY1120" fmla="*/ 456200 h 823468"/>
              <a:gd name="connsiteX1121" fmla="*/ 8163075 w 12248682"/>
              <a:gd name="connsiteY1121" fmla="*/ 485072 h 823468"/>
              <a:gd name="connsiteX1122" fmla="*/ 8134203 w 12248682"/>
              <a:gd name="connsiteY1122" fmla="*/ 513946 h 823468"/>
              <a:gd name="connsiteX1123" fmla="*/ 8105330 w 12248682"/>
              <a:gd name="connsiteY1123" fmla="*/ 485072 h 823468"/>
              <a:gd name="connsiteX1124" fmla="*/ 8134203 w 12248682"/>
              <a:gd name="connsiteY1124" fmla="*/ 456200 h 823468"/>
              <a:gd name="connsiteX1125" fmla="*/ 6598140 w 12248682"/>
              <a:gd name="connsiteY1125" fmla="*/ 456200 h 823468"/>
              <a:gd name="connsiteX1126" fmla="*/ 6627013 w 12248682"/>
              <a:gd name="connsiteY1126" fmla="*/ 485072 h 823468"/>
              <a:gd name="connsiteX1127" fmla="*/ 6598140 w 12248682"/>
              <a:gd name="connsiteY1127" fmla="*/ 513946 h 823468"/>
              <a:gd name="connsiteX1128" fmla="*/ 6569267 w 12248682"/>
              <a:gd name="connsiteY1128" fmla="*/ 485072 h 823468"/>
              <a:gd name="connsiteX1129" fmla="*/ 6598140 w 12248682"/>
              <a:gd name="connsiteY1129" fmla="*/ 456200 h 823468"/>
              <a:gd name="connsiteX1130" fmla="*/ 5480165 w 12248682"/>
              <a:gd name="connsiteY1130" fmla="*/ 456200 h 823468"/>
              <a:gd name="connsiteX1131" fmla="*/ 5509037 w 12248682"/>
              <a:gd name="connsiteY1131" fmla="*/ 485072 h 823468"/>
              <a:gd name="connsiteX1132" fmla="*/ 5480165 w 12248682"/>
              <a:gd name="connsiteY1132" fmla="*/ 513946 h 823468"/>
              <a:gd name="connsiteX1133" fmla="*/ 5451289 w 12248682"/>
              <a:gd name="connsiteY1133" fmla="*/ 485072 h 823468"/>
              <a:gd name="connsiteX1134" fmla="*/ 5480165 w 12248682"/>
              <a:gd name="connsiteY1134" fmla="*/ 456200 h 823468"/>
              <a:gd name="connsiteX1135" fmla="*/ 4641682 w 12248682"/>
              <a:gd name="connsiteY1135" fmla="*/ 456200 h 823468"/>
              <a:gd name="connsiteX1136" fmla="*/ 4670555 w 12248682"/>
              <a:gd name="connsiteY1136" fmla="*/ 485072 h 823468"/>
              <a:gd name="connsiteX1137" fmla="*/ 4641682 w 12248682"/>
              <a:gd name="connsiteY1137" fmla="*/ 513946 h 823468"/>
              <a:gd name="connsiteX1138" fmla="*/ 4612809 w 12248682"/>
              <a:gd name="connsiteY1138" fmla="*/ 485072 h 823468"/>
              <a:gd name="connsiteX1139" fmla="*/ 4641682 w 12248682"/>
              <a:gd name="connsiteY1139" fmla="*/ 456200 h 823468"/>
              <a:gd name="connsiteX1140" fmla="*/ 4359878 w 12248682"/>
              <a:gd name="connsiteY1140" fmla="*/ 456200 h 823468"/>
              <a:gd name="connsiteX1141" fmla="*/ 4388751 w 12248682"/>
              <a:gd name="connsiteY1141" fmla="*/ 485072 h 823468"/>
              <a:gd name="connsiteX1142" fmla="*/ 4359878 w 12248682"/>
              <a:gd name="connsiteY1142" fmla="*/ 513946 h 823468"/>
              <a:gd name="connsiteX1143" fmla="*/ 4331003 w 12248682"/>
              <a:gd name="connsiteY1143" fmla="*/ 485072 h 823468"/>
              <a:gd name="connsiteX1144" fmla="*/ 4359878 w 12248682"/>
              <a:gd name="connsiteY1144" fmla="*/ 456200 h 823468"/>
              <a:gd name="connsiteX1145" fmla="*/ 3521396 w 12248682"/>
              <a:gd name="connsiteY1145" fmla="*/ 456200 h 823468"/>
              <a:gd name="connsiteX1146" fmla="*/ 3550268 w 12248682"/>
              <a:gd name="connsiteY1146" fmla="*/ 485072 h 823468"/>
              <a:gd name="connsiteX1147" fmla="*/ 3521396 w 12248682"/>
              <a:gd name="connsiteY1147" fmla="*/ 513946 h 823468"/>
              <a:gd name="connsiteX1148" fmla="*/ 3492521 w 12248682"/>
              <a:gd name="connsiteY1148" fmla="*/ 485072 h 823468"/>
              <a:gd name="connsiteX1149" fmla="*/ 3521396 w 12248682"/>
              <a:gd name="connsiteY1149" fmla="*/ 456200 h 823468"/>
              <a:gd name="connsiteX1150" fmla="*/ 1985333 w 12248682"/>
              <a:gd name="connsiteY1150" fmla="*/ 456200 h 823468"/>
              <a:gd name="connsiteX1151" fmla="*/ 2014205 w 12248682"/>
              <a:gd name="connsiteY1151" fmla="*/ 485072 h 823468"/>
              <a:gd name="connsiteX1152" fmla="*/ 1985333 w 12248682"/>
              <a:gd name="connsiteY1152" fmla="*/ 513946 h 823468"/>
              <a:gd name="connsiteX1153" fmla="*/ 1956459 w 12248682"/>
              <a:gd name="connsiteY1153" fmla="*/ 485072 h 823468"/>
              <a:gd name="connsiteX1154" fmla="*/ 1985333 w 12248682"/>
              <a:gd name="connsiteY1154" fmla="*/ 456200 h 823468"/>
              <a:gd name="connsiteX1155" fmla="*/ 867356 w 12248682"/>
              <a:gd name="connsiteY1155" fmla="*/ 456200 h 823468"/>
              <a:gd name="connsiteX1156" fmla="*/ 896229 w 12248682"/>
              <a:gd name="connsiteY1156" fmla="*/ 485072 h 823468"/>
              <a:gd name="connsiteX1157" fmla="*/ 867356 w 12248682"/>
              <a:gd name="connsiteY1157" fmla="*/ 513946 h 823468"/>
              <a:gd name="connsiteX1158" fmla="*/ 838482 w 12248682"/>
              <a:gd name="connsiteY1158" fmla="*/ 485072 h 823468"/>
              <a:gd name="connsiteX1159" fmla="*/ 867356 w 12248682"/>
              <a:gd name="connsiteY1159" fmla="*/ 456200 h 823468"/>
              <a:gd name="connsiteX1160" fmla="*/ 28874 w 12248682"/>
              <a:gd name="connsiteY1160" fmla="*/ 456200 h 823468"/>
              <a:gd name="connsiteX1161" fmla="*/ 57747 w 12248682"/>
              <a:gd name="connsiteY1161" fmla="*/ 485072 h 823468"/>
              <a:gd name="connsiteX1162" fmla="*/ 28874 w 12248682"/>
              <a:gd name="connsiteY1162" fmla="*/ 513946 h 823468"/>
              <a:gd name="connsiteX1163" fmla="*/ 0 w 12248682"/>
              <a:gd name="connsiteY1163" fmla="*/ 485072 h 823468"/>
              <a:gd name="connsiteX1164" fmla="*/ 28874 w 12248682"/>
              <a:gd name="connsiteY1164" fmla="*/ 456200 h 823468"/>
              <a:gd name="connsiteX1165" fmla="*/ 11063719 w 12248682"/>
              <a:gd name="connsiteY1165" fmla="*/ 449270 h 823468"/>
              <a:gd name="connsiteX1166" fmla="*/ 11098367 w 12248682"/>
              <a:gd name="connsiteY1166" fmla="*/ 483918 h 823468"/>
              <a:gd name="connsiteX1167" fmla="*/ 11063719 w 12248682"/>
              <a:gd name="connsiteY1167" fmla="*/ 518566 h 823468"/>
              <a:gd name="connsiteX1168" fmla="*/ 11029071 w 12248682"/>
              <a:gd name="connsiteY1168" fmla="*/ 483918 h 823468"/>
              <a:gd name="connsiteX1169" fmla="*/ 11063719 w 12248682"/>
              <a:gd name="connsiteY1169" fmla="*/ 449270 h 823468"/>
              <a:gd name="connsiteX1170" fmla="*/ 9945743 w 12248682"/>
              <a:gd name="connsiteY1170" fmla="*/ 449270 h 823468"/>
              <a:gd name="connsiteX1171" fmla="*/ 9980391 w 12248682"/>
              <a:gd name="connsiteY1171" fmla="*/ 483918 h 823468"/>
              <a:gd name="connsiteX1172" fmla="*/ 9945743 w 12248682"/>
              <a:gd name="connsiteY1172" fmla="*/ 518566 h 823468"/>
              <a:gd name="connsiteX1173" fmla="*/ 9911094 w 12248682"/>
              <a:gd name="connsiteY1173" fmla="*/ 483918 h 823468"/>
              <a:gd name="connsiteX1174" fmla="*/ 9945743 w 12248682"/>
              <a:gd name="connsiteY1174" fmla="*/ 449270 h 823468"/>
              <a:gd name="connsiteX1175" fmla="*/ 9386754 w 12248682"/>
              <a:gd name="connsiteY1175" fmla="*/ 449270 h 823468"/>
              <a:gd name="connsiteX1176" fmla="*/ 9421402 w 12248682"/>
              <a:gd name="connsiteY1176" fmla="*/ 483918 h 823468"/>
              <a:gd name="connsiteX1177" fmla="*/ 9386754 w 12248682"/>
              <a:gd name="connsiteY1177" fmla="*/ 518566 h 823468"/>
              <a:gd name="connsiteX1178" fmla="*/ 9352106 w 12248682"/>
              <a:gd name="connsiteY1178" fmla="*/ 483918 h 823468"/>
              <a:gd name="connsiteX1179" fmla="*/ 9386754 w 12248682"/>
              <a:gd name="connsiteY1179" fmla="*/ 449270 h 823468"/>
              <a:gd name="connsiteX1180" fmla="*/ 8832937 w 12248682"/>
              <a:gd name="connsiteY1180" fmla="*/ 449270 h 823468"/>
              <a:gd name="connsiteX1181" fmla="*/ 8867585 w 12248682"/>
              <a:gd name="connsiteY1181" fmla="*/ 483918 h 823468"/>
              <a:gd name="connsiteX1182" fmla="*/ 8832937 w 12248682"/>
              <a:gd name="connsiteY1182" fmla="*/ 518566 h 823468"/>
              <a:gd name="connsiteX1183" fmla="*/ 8798289 w 12248682"/>
              <a:gd name="connsiteY1183" fmla="*/ 483918 h 823468"/>
              <a:gd name="connsiteX1184" fmla="*/ 8832937 w 12248682"/>
              <a:gd name="connsiteY1184" fmla="*/ 449270 h 823468"/>
              <a:gd name="connsiteX1185" fmla="*/ 8273949 w 12248682"/>
              <a:gd name="connsiteY1185" fmla="*/ 449270 h 823468"/>
              <a:gd name="connsiteX1186" fmla="*/ 8308598 w 12248682"/>
              <a:gd name="connsiteY1186" fmla="*/ 483918 h 823468"/>
              <a:gd name="connsiteX1187" fmla="*/ 8273949 w 12248682"/>
              <a:gd name="connsiteY1187" fmla="*/ 518566 h 823468"/>
              <a:gd name="connsiteX1188" fmla="*/ 8239301 w 12248682"/>
              <a:gd name="connsiteY1188" fmla="*/ 483918 h 823468"/>
              <a:gd name="connsiteX1189" fmla="*/ 8273949 w 12248682"/>
              <a:gd name="connsiteY1189" fmla="*/ 449270 h 823468"/>
              <a:gd name="connsiteX1190" fmla="*/ 6458393 w 12248682"/>
              <a:gd name="connsiteY1190" fmla="*/ 449270 h 823468"/>
              <a:gd name="connsiteX1191" fmla="*/ 6493041 w 12248682"/>
              <a:gd name="connsiteY1191" fmla="*/ 483918 h 823468"/>
              <a:gd name="connsiteX1192" fmla="*/ 6458393 w 12248682"/>
              <a:gd name="connsiteY1192" fmla="*/ 518566 h 823468"/>
              <a:gd name="connsiteX1193" fmla="*/ 6423745 w 12248682"/>
              <a:gd name="connsiteY1193" fmla="*/ 483918 h 823468"/>
              <a:gd name="connsiteX1194" fmla="*/ 6458393 w 12248682"/>
              <a:gd name="connsiteY1194" fmla="*/ 449270 h 823468"/>
              <a:gd name="connsiteX1195" fmla="*/ 5340416 w 12248682"/>
              <a:gd name="connsiteY1195" fmla="*/ 449270 h 823468"/>
              <a:gd name="connsiteX1196" fmla="*/ 5375064 w 12248682"/>
              <a:gd name="connsiteY1196" fmla="*/ 483918 h 823468"/>
              <a:gd name="connsiteX1197" fmla="*/ 5340416 w 12248682"/>
              <a:gd name="connsiteY1197" fmla="*/ 518566 h 823468"/>
              <a:gd name="connsiteX1198" fmla="*/ 5305769 w 12248682"/>
              <a:gd name="connsiteY1198" fmla="*/ 483918 h 823468"/>
              <a:gd name="connsiteX1199" fmla="*/ 5340416 w 12248682"/>
              <a:gd name="connsiteY1199" fmla="*/ 449270 h 823468"/>
              <a:gd name="connsiteX1200" fmla="*/ 4781429 w 12248682"/>
              <a:gd name="connsiteY1200" fmla="*/ 449270 h 823468"/>
              <a:gd name="connsiteX1201" fmla="*/ 4816075 w 12248682"/>
              <a:gd name="connsiteY1201" fmla="*/ 483918 h 823468"/>
              <a:gd name="connsiteX1202" fmla="*/ 4781429 w 12248682"/>
              <a:gd name="connsiteY1202" fmla="*/ 518566 h 823468"/>
              <a:gd name="connsiteX1203" fmla="*/ 4746781 w 12248682"/>
              <a:gd name="connsiteY1203" fmla="*/ 483918 h 823468"/>
              <a:gd name="connsiteX1204" fmla="*/ 4781429 w 12248682"/>
              <a:gd name="connsiteY1204" fmla="*/ 449270 h 823468"/>
              <a:gd name="connsiteX1205" fmla="*/ 4220129 w 12248682"/>
              <a:gd name="connsiteY1205" fmla="*/ 449270 h 823468"/>
              <a:gd name="connsiteX1206" fmla="*/ 4254779 w 12248682"/>
              <a:gd name="connsiteY1206" fmla="*/ 483918 h 823468"/>
              <a:gd name="connsiteX1207" fmla="*/ 4220129 w 12248682"/>
              <a:gd name="connsiteY1207" fmla="*/ 518566 h 823468"/>
              <a:gd name="connsiteX1208" fmla="*/ 4185482 w 12248682"/>
              <a:gd name="connsiteY1208" fmla="*/ 483918 h 823468"/>
              <a:gd name="connsiteX1209" fmla="*/ 4220129 w 12248682"/>
              <a:gd name="connsiteY1209" fmla="*/ 449270 h 823468"/>
              <a:gd name="connsiteX1210" fmla="*/ 3661142 w 12248682"/>
              <a:gd name="connsiteY1210" fmla="*/ 449270 h 823468"/>
              <a:gd name="connsiteX1211" fmla="*/ 3695791 w 12248682"/>
              <a:gd name="connsiteY1211" fmla="*/ 483918 h 823468"/>
              <a:gd name="connsiteX1212" fmla="*/ 3661142 w 12248682"/>
              <a:gd name="connsiteY1212" fmla="*/ 518566 h 823468"/>
              <a:gd name="connsiteX1213" fmla="*/ 3626494 w 12248682"/>
              <a:gd name="connsiteY1213" fmla="*/ 483918 h 823468"/>
              <a:gd name="connsiteX1214" fmla="*/ 3661142 w 12248682"/>
              <a:gd name="connsiteY1214" fmla="*/ 449270 h 823468"/>
              <a:gd name="connsiteX1215" fmla="*/ 1845585 w 12248682"/>
              <a:gd name="connsiteY1215" fmla="*/ 449270 h 823468"/>
              <a:gd name="connsiteX1216" fmla="*/ 1880233 w 12248682"/>
              <a:gd name="connsiteY1216" fmla="*/ 483918 h 823468"/>
              <a:gd name="connsiteX1217" fmla="*/ 1845585 w 12248682"/>
              <a:gd name="connsiteY1217" fmla="*/ 518566 h 823468"/>
              <a:gd name="connsiteX1218" fmla="*/ 1810937 w 12248682"/>
              <a:gd name="connsiteY1218" fmla="*/ 483918 h 823468"/>
              <a:gd name="connsiteX1219" fmla="*/ 1845585 w 12248682"/>
              <a:gd name="connsiteY1219" fmla="*/ 449270 h 823468"/>
              <a:gd name="connsiteX1220" fmla="*/ 727609 w 12248682"/>
              <a:gd name="connsiteY1220" fmla="*/ 449270 h 823468"/>
              <a:gd name="connsiteX1221" fmla="*/ 762257 w 12248682"/>
              <a:gd name="connsiteY1221" fmla="*/ 483918 h 823468"/>
              <a:gd name="connsiteX1222" fmla="*/ 727609 w 12248682"/>
              <a:gd name="connsiteY1222" fmla="*/ 518566 h 823468"/>
              <a:gd name="connsiteX1223" fmla="*/ 692961 w 12248682"/>
              <a:gd name="connsiteY1223" fmla="*/ 483918 h 823468"/>
              <a:gd name="connsiteX1224" fmla="*/ 727609 w 12248682"/>
              <a:gd name="connsiteY1224" fmla="*/ 449270 h 823468"/>
              <a:gd name="connsiteX1225" fmla="*/ 168621 w 12248682"/>
              <a:gd name="connsiteY1225" fmla="*/ 449270 h 823468"/>
              <a:gd name="connsiteX1226" fmla="*/ 203269 w 12248682"/>
              <a:gd name="connsiteY1226" fmla="*/ 483918 h 823468"/>
              <a:gd name="connsiteX1227" fmla="*/ 168621 w 12248682"/>
              <a:gd name="connsiteY1227" fmla="*/ 518566 h 823468"/>
              <a:gd name="connsiteX1228" fmla="*/ 133973 w 12248682"/>
              <a:gd name="connsiteY1228" fmla="*/ 483918 h 823468"/>
              <a:gd name="connsiteX1229" fmla="*/ 168621 w 12248682"/>
              <a:gd name="connsiteY1229" fmla="*/ 449270 h 823468"/>
              <a:gd name="connsiteX1230" fmla="*/ 10923972 w 12248682"/>
              <a:gd name="connsiteY1230" fmla="*/ 443495 h 823468"/>
              <a:gd name="connsiteX1231" fmla="*/ 10964394 w 12248682"/>
              <a:gd name="connsiteY1231" fmla="*/ 483918 h 823468"/>
              <a:gd name="connsiteX1232" fmla="*/ 10923972 w 12248682"/>
              <a:gd name="connsiteY1232" fmla="*/ 524340 h 823468"/>
              <a:gd name="connsiteX1233" fmla="*/ 10883549 w 12248682"/>
              <a:gd name="connsiteY1233" fmla="*/ 483918 h 823468"/>
              <a:gd name="connsiteX1234" fmla="*/ 10923972 w 12248682"/>
              <a:gd name="connsiteY1234" fmla="*/ 443495 h 823468"/>
              <a:gd name="connsiteX1235" fmla="*/ 9805996 w 12248682"/>
              <a:gd name="connsiteY1235" fmla="*/ 443495 h 823468"/>
              <a:gd name="connsiteX1236" fmla="*/ 9846418 w 12248682"/>
              <a:gd name="connsiteY1236" fmla="*/ 483918 h 823468"/>
              <a:gd name="connsiteX1237" fmla="*/ 9805996 w 12248682"/>
              <a:gd name="connsiteY1237" fmla="*/ 524340 h 823468"/>
              <a:gd name="connsiteX1238" fmla="*/ 9765573 w 12248682"/>
              <a:gd name="connsiteY1238" fmla="*/ 483918 h 823468"/>
              <a:gd name="connsiteX1239" fmla="*/ 9805996 w 12248682"/>
              <a:gd name="connsiteY1239" fmla="*/ 443495 h 823468"/>
              <a:gd name="connsiteX1240" fmla="*/ 9526502 w 12248682"/>
              <a:gd name="connsiteY1240" fmla="*/ 443495 h 823468"/>
              <a:gd name="connsiteX1241" fmla="*/ 9566924 w 12248682"/>
              <a:gd name="connsiteY1241" fmla="*/ 483918 h 823468"/>
              <a:gd name="connsiteX1242" fmla="*/ 9526502 w 12248682"/>
              <a:gd name="connsiteY1242" fmla="*/ 524340 h 823468"/>
              <a:gd name="connsiteX1243" fmla="*/ 9486079 w 12248682"/>
              <a:gd name="connsiteY1243" fmla="*/ 483918 h 823468"/>
              <a:gd name="connsiteX1244" fmla="*/ 9526502 w 12248682"/>
              <a:gd name="connsiteY1244" fmla="*/ 443495 h 823468"/>
              <a:gd name="connsiteX1245" fmla="*/ 8693190 w 12248682"/>
              <a:gd name="connsiteY1245" fmla="*/ 443495 h 823468"/>
              <a:gd name="connsiteX1246" fmla="*/ 8733613 w 12248682"/>
              <a:gd name="connsiteY1246" fmla="*/ 483918 h 823468"/>
              <a:gd name="connsiteX1247" fmla="*/ 8693190 w 12248682"/>
              <a:gd name="connsiteY1247" fmla="*/ 524340 h 823468"/>
              <a:gd name="connsiteX1248" fmla="*/ 8652767 w 12248682"/>
              <a:gd name="connsiteY1248" fmla="*/ 483918 h 823468"/>
              <a:gd name="connsiteX1249" fmla="*/ 8693190 w 12248682"/>
              <a:gd name="connsiteY1249" fmla="*/ 443495 h 823468"/>
              <a:gd name="connsiteX1250" fmla="*/ 8413696 w 12248682"/>
              <a:gd name="connsiteY1250" fmla="*/ 443495 h 823468"/>
              <a:gd name="connsiteX1251" fmla="*/ 8454118 w 12248682"/>
              <a:gd name="connsiteY1251" fmla="*/ 483918 h 823468"/>
              <a:gd name="connsiteX1252" fmla="*/ 8413696 w 12248682"/>
              <a:gd name="connsiteY1252" fmla="*/ 524340 h 823468"/>
              <a:gd name="connsiteX1253" fmla="*/ 8373274 w 12248682"/>
              <a:gd name="connsiteY1253" fmla="*/ 483918 h 823468"/>
              <a:gd name="connsiteX1254" fmla="*/ 8413696 w 12248682"/>
              <a:gd name="connsiteY1254" fmla="*/ 443495 h 823468"/>
              <a:gd name="connsiteX1255" fmla="*/ 6318647 w 12248682"/>
              <a:gd name="connsiteY1255" fmla="*/ 443495 h 823468"/>
              <a:gd name="connsiteX1256" fmla="*/ 6359068 w 12248682"/>
              <a:gd name="connsiteY1256" fmla="*/ 483918 h 823468"/>
              <a:gd name="connsiteX1257" fmla="*/ 6318647 w 12248682"/>
              <a:gd name="connsiteY1257" fmla="*/ 524340 h 823468"/>
              <a:gd name="connsiteX1258" fmla="*/ 6278223 w 12248682"/>
              <a:gd name="connsiteY1258" fmla="*/ 483918 h 823468"/>
              <a:gd name="connsiteX1259" fmla="*/ 6318647 w 12248682"/>
              <a:gd name="connsiteY1259" fmla="*/ 443495 h 823468"/>
              <a:gd name="connsiteX1260" fmla="*/ 5200669 w 12248682"/>
              <a:gd name="connsiteY1260" fmla="*/ 443495 h 823468"/>
              <a:gd name="connsiteX1261" fmla="*/ 5241093 w 12248682"/>
              <a:gd name="connsiteY1261" fmla="*/ 483918 h 823468"/>
              <a:gd name="connsiteX1262" fmla="*/ 5200669 w 12248682"/>
              <a:gd name="connsiteY1262" fmla="*/ 524340 h 823468"/>
              <a:gd name="connsiteX1263" fmla="*/ 5160247 w 12248682"/>
              <a:gd name="connsiteY1263" fmla="*/ 483918 h 823468"/>
              <a:gd name="connsiteX1264" fmla="*/ 5200669 w 12248682"/>
              <a:gd name="connsiteY1264" fmla="*/ 443495 h 823468"/>
              <a:gd name="connsiteX1265" fmla="*/ 4921176 w 12248682"/>
              <a:gd name="connsiteY1265" fmla="*/ 443495 h 823468"/>
              <a:gd name="connsiteX1266" fmla="*/ 4961597 w 12248682"/>
              <a:gd name="connsiteY1266" fmla="*/ 483918 h 823468"/>
              <a:gd name="connsiteX1267" fmla="*/ 4921176 w 12248682"/>
              <a:gd name="connsiteY1267" fmla="*/ 524340 h 823468"/>
              <a:gd name="connsiteX1268" fmla="*/ 4880752 w 12248682"/>
              <a:gd name="connsiteY1268" fmla="*/ 483918 h 823468"/>
              <a:gd name="connsiteX1269" fmla="*/ 4921176 w 12248682"/>
              <a:gd name="connsiteY1269" fmla="*/ 443495 h 823468"/>
              <a:gd name="connsiteX1270" fmla="*/ 4080383 w 12248682"/>
              <a:gd name="connsiteY1270" fmla="*/ 443495 h 823468"/>
              <a:gd name="connsiteX1271" fmla="*/ 4120806 w 12248682"/>
              <a:gd name="connsiteY1271" fmla="*/ 483918 h 823468"/>
              <a:gd name="connsiteX1272" fmla="*/ 4080383 w 12248682"/>
              <a:gd name="connsiteY1272" fmla="*/ 524340 h 823468"/>
              <a:gd name="connsiteX1273" fmla="*/ 4039961 w 12248682"/>
              <a:gd name="connsiteY1273" fmla="*/ 483918 h 823468"/>
              <a:gd name="connsiteX1274" fmla="*/ 4080383 w 12248682"/>
              <a:gd name="connsiteY1274" fmla="*/ 443495 h 823468"/>
              <a:gd name="connsiteX1275" fmla="*/ 3800889 w 12248682"/>
              <a:gd name="connsiteY1275" fmla="*/ 443495 h 823468"/>
              <a:gd name="connsiteX1276" fmla="*/ 3841311 w 12248682"/>
              <a:gd name="connsiteY1276" fmla="*/ 483918 h 823468"/>
              <a:gd name="connsiteX1277" fmla="*/ 3800889 w 12248682"/>
              <a:gd name="connsiteY1277" fmla="*/ 524340 h 823468"/>
              <a:gd name="connsiteX1278" fmla="*/ 3760466 w 12248682"/>
              <a:gd name="connsiteY1278" fmla="*/ 483918 h 823468"/>
              <a:gd name="connsiteX1279" fmla="*/ 3800889 w 12248682"/>
              <a:gd name="connsiteY1279" fmla="*/ 443495 h 823468"/>
              <a:gd name="connsiteX1280" fmla="*/ 1705839 w 12248682"/>
              <a:gd name="connsiteY1280" fmla="*/ 443495 h 823468"/>
              <a:gd name="connsiteX1281" fmla="*/ 1746261 w 12248682"/>
              <a:gd name="connsiteY1281" fmla="*/ 483918 h 823468"/>
              <a:gd name="connsiteX1282" fmla="*/ 1705839 w 12248682"/>
              <a:gd name="connsiteY1282" fmla="*/ 524340 h 823468"/>
              <a:gd name="connsiteX1283" fmla="*/ 1665415 w 12248682"/>
              <a:gd name="connsiteY1283" fmla="*/ 483918 h 823468"/>
              <a:gd name="connsiteX1284" fmla="*/ 1705839 w 12248682"/>
              <a:gd name="connsiteY1284" fmla="*/ 443495 h 823468"/>
              <a:gd name="connsiteX1285" fmla="*/ 587862 w 12248682"/>
              <a:gd name="connsiteY1285" fmla="*/ 443495 h 823468"/>
              <a:gd name="connsiteX1286" fmla="*/ 628284 w 12248682"/>
              <a:gd name="connsiteY1286" fmla="*/ 483918 h 823468"/>
              <a:gd name="connsiteX1287" fmla="*/ 587862 w 12248682"/>
              <a:gd name="connsiteY1287" fmla="*/ 524340 h 823468"/>
              <a:gd name="connsiteX1288" fmla="*/ 547439 w 12248682"/>
              <a:gd name="connsiteY1288" fmla="*/ 483918 h 823468"/>
              <a:gd name="connsiteX1289" fmla="*/ 587862 w 12248682"/>
              <a:gd name="connsiteY1289" fmla="*/ 443495 h 823468"/>
              <a:gd name="connsiteX1290" fmla="*/ 308368 w 12248682"/>
              <a:gd name="connsiteY1290" fmla="*/ 443495 h 823468"/>
              <a:gd name="connsiteX1291" fmla="*/ 348790 w 12248682"/>
              <a:gd name="connsiteY1291" fmla="*/ 483918 h 823468"/>
              <a:gd name="connsiteX1292" fmla="*/ 308368 w 12248682"/>
              <a:gd name="connsiteY1292" fmla="*/ 524340 h 823468"/>
              <a:gd name="connsiteX1293" fmla="*/ 267945 w 12248682"/>
              <a:gd name="connsiteY1293" fmla="*/ 483918 h 823468"/>
              <a:gd name="connsiteX1294" fmla="*/ 308368 w 12248682"/>
              <a:gd name="connsiteY1294" fmla="*/ 443495 h 823468"/>
              <a:gd name="connsiteX1295" fmla="*/ 10784225 w 12248682"/>
              <a:gd name="connsiteY1295" fmla="*/ 433101 h 823468"/>
              <a:gd name="connsiteX1296" fmla="*/ 10835042 w 12248682"/>
              <a:gd name="connsiteY1296" fmla="*/ 483918 h 823468"/>
              <a:gd name="connsiteX1297" fmla="*/ 10784225 w 12248682"/>
              <a:gd name="connsiteY1297" fmla="*/ 534735 h 823468"/>
              <a:gd name="connsiteX1298" fmla="*/ 10733408 w 12248682"/>
              <a:gd name="connsiteY1298" fmla="*/ 483918 h 823468"/>
              <a:gd name="connsiteX1299" fmla="*/ 10784225 w 12248682"/>
              <a:gd name="connsiteY1299" fmla="*/ 433101 h 823468"/>
              <a:gd name="connsiteX1300" fmla="*/ 9666248 w 12248682"/>
              <a:gd name="connsiteY1300" fmla="*/ 433101 h 823468"/>
              <a:gd name="connsiteX1301" fmla="*/ 9717066 w 12248682"/>
              <a:gd name="connsiteY1301" fmla="*/ 483918 h 823468"/>
              <a:gd name="connsiteX1302" fmla="*/ 9666248 w 12248682"/>
              <a:gd name="connsiteY1302" fmla="*/ 534735 h 823468"/>
              <a:gd name="connsiteX1303" fmla="*/ 9615431 w 12248682"/>
              <a:gd name="connsiteY1303" fmla="*/ 483918 h 823468"/>
              <a:gd name="connsiteX1304" fmla="*/ 9666248 w 12248682"/>
              <a:gd name="connsiteY1304" fmla="*/ 433101 h 823468"/>
              <a:gd name="connsiteX1305" fmla="*/ 8553443 w 12248682"/>
              <a:gd name="connsiteY1305" fmla="*/ 433101 h 823468"/>
              <a:gd name="connsiteX1306" fmla="*/ 8604260 w 12248682"/>
              <a:gd name="connsiteY1306" fmla="*/ 483918 h 823468"/>
              <a:gd name="connsiteX1307" fmla="*/ 8553443 w 12248682"/>
              <a:gd name="connsiteY1307" fmla="*/ 534735 h 823468"/>
              <a:gd name="connsiteX1308" fmla="*/ 8502626 w 12248682"/>
              <a:gd name="connsiteY1308" fmla="*/ 483918 h 823468"/>
              <a:gd name="connsiteX1309" fmla="*/ 8553443 w 12248682"/>
              <a:gd name="connsiteY1309" fmla="*/ 433101 h 823468"/>
              <a:gd name="connsiteX1310" fmla="*/ 6178898 w 12248682"/>
              <a:gd name="connsiteY1310" fmla="*/ 433101 h 823468"/>
              <a:gd name="connsiteX1311" fmla="*/ 6229715 w 12248682"/>
              <a:gd name="connsiteY1311" fmla="*/ 483918 h 823468"/>
              <a:gd name="connsiteX1312" fmla="*/ 6178898 w 12248682"/>
              <a:gd name="connsiteY1312" fmla="*/ 534735 h 823468"/>
              <a:gd name="connsiteX1313" fmla="*/ 6128081 w 12248682"/>
              <a:gd name="connsiteY1313" fmla="*/ 483918 h 823468"/>
              <a:gd name="connsiteX1314" fmla="*/ 6178898 w 12248682"/>
              <a:gd name="connsiteY1314" fmla="*/ 433101 h 823468"/>
              <a:gd name="connsiteX1315" fmla="*/ 5060922 w 12248682"/>
              <a:gd name="connsiteY1315" fmla="*/ 433101 h 823468"/>
              <a:gd name="connsiteX1316" fmla="*/ 5111739 w 12248682"/>
              <a:gd name="connsiteY1316" fmla="*/ 483918 h 823468"/>
              <a:gd name="connsiteX1317" fmla="*/ 5060922 w 12248682"/>
              <a:gd name="connsiteY1317" fmla="*/ 534735 h 823468"/>
              <a:gd name="connsiteX1318" fmla="*/ 5010105 w 12248682"/>
              <a:gd name="connsiteY1318" fmla="*/ 483918 h 823468"/>
              <a:gd name="connsiteX1319" fmla="*/ 5060922 w 12248682"/>
              <a:gd name="connsiteY1319" fmla="*/ 433101 h 823468"/>
              <a:gd name="connsiteX1320" fmla="*/ 3940636 w 12248682"/>
              <a:gd name="connsiteY1320" fmla="*/ 433101 h 823468"/>
              <a:gd name="connsiteX1321" fmla="*/ 3991453 w 12248682"/>
              <a:gd name="connsiteY1321" fmla="*/ 483918 h 823468"/>
              <a:gd name="connsiteX1322" fmla="*/ 3940636 w 12248682"/>
              <a:gd name="connsiteY1322" fmla="*/ 534735 h 823468"/>
              <a:gd name="connsiteX1323" fmla="*/ 3889819 w 12248682"/>
              <a:gd name="connsiteY1323" fmla="*/ 483918 h 823468"/>
              <a:gd name="connsiteX1324" fmla="*/ 3940636 w 12248682"/>
              <a:gd name="connsiteY1324" fmla="*/ 433101 h 823468"/>
              <a:gd name="connsiteX1325" fmla="*/ 1566091 w 12248682"/>
              <a:gd name="connsiteY1325" fmla="*/ 433101 h 823468"/>
              <a:gd name="connsiteX1326" fmla="*/ 1616908 w 12248682"/>
              <a:gd name="connsiteY1326" fmla="*/ 483918 h 823468"/>
              <a:gd name="connsiteX1327" fmla="*/ 1566091 w 12248682"/>
              <a:gd name="connsiteY1327" fmla="*/ 534735 h 823468"/>
              <a:gd name="connsiteX1328" fmla="*/ 1515274 w 12248682"/>
              <a:gd name="connsiteY1328" fmla="*/ 483918 h 823468"/>
              <a:gd name="connsiteX1329" fmla="*/ 1566091 w 12248682"/>
              <a:gd name="connsiteY1329" fmla="*/ 433101 h 823468"/>
              <a:gd name="connsiteX1330" fmla="*/ 448115 w 12248682"/>
              <a:gd name="connsiteY1330" fmla="*/ 433101 h 823468"/>
              <a:gd name="connsiteX1331" fmla="*/ 498932 w 12248682"/>
              <a:gd name="connsiteY1331" fmla="*/ 483918 h 823468"/>
              <a:gd name="connsiteX1332" fmla="*/ 448115 w 12248682"/>
              <a:gd name="connsiteY1332" fmla="*/ 534735 h 823468"/>
              <a:gd name="connsiteX1333" fmla="*/ 397298 w 12248682"/>
              <a:gd name="connsiteY1333" fmla="*/ 483918 h 823468"/>
              <a:gd name="connsiteX1334" fmla="*/ 448115 w 12248682"/>
              <a:gd name="connsiteY1334" fmla="*/ 433101 h 823468"/>
              <a:gd name="connsiteX1335" fmla="*/ 12210569 w 12248682"/>
              <a:gd name="connsiteY1335" fmla="*/ 319917 h 823468"/>
              <a:gd name="connsiteX1336" fmla="*/ 12231358 w 12248682"/>
              <a:gd name="connsiteY1336" fmla="*/ 340706 h 823468"/>
              <a:gd name="connsiteX1337" fmla="*/ 12210569 w 12248682"/>
              <a:gd name="connsiteY1337" fmla="*/ 361495 h 823468"/>
              <a:gd name="connsiteX1338" fmla="*/ 12189780 w 12248682"/>
              <a:gd name="connsiteY1338" fmla="*/ 340706 h 823468"/>
              <a:gd name="connsiteX1339" fmla="*/ 12210569 w 12248682"/>
              <a:gd name="connsiteY1339" fmla="*/ 319917 h 823468"/>
              <a:gd name="connsiteX1340" fmla="*/ 12071977 w 12248682"/>
              <a:gd name="connsiteY1340" fmla="*/ 319917 h 823468"/>
              <a:gd name="connsiteX1341" fmla="*/ 12092766 w 12248682"/>
              <a:gd name="connsiteY1341" fmla="*/ 340706 h 823468"/>
              <a:gd name="connsiteX1342" fmla="*/ 12071977 w 12248682"/>
              <a:gd name="connsiteY1342" fmla="*/ 361495 h 823468"/>
              <a:gd name="connsiteX1343" fmla="*/ 12051188 w 12248682"/>
              <a:gd name="connsiteY1343" fmla="*/ 340706 h 823468"/>
              <a:gd name="connsiteX1344" fmla="*/ 12071977 w 12248682"/>
              <a:gd name="connsiteY1344" fmla="*/ 319917 h 823468"/>
              <a:gd name="connsiteX1345" fmla="*/ 11934539 w 12248682"/>
              <a:gd name="connsiteY1345" fmla="*/ 319917 h 823468"/>
              <a:gd name="connsiteX1346" fmla="*/ 11955328 w 12248682"/>
              <a:gd name="connsiteY1346" fmla="*/ 340706 h 823468"/>
              <a:gd name="connsiteX1347" fmla="*/ 11934539 w 12248682"/>
              <a:gd name="connsiteY1347" fmla="*/ 361495 h 823468"/>
              <a:gd name="connsiteX1348" fmla="*/ 11913750 w 12248682"/>
              <a:gd name="connsiteY1348" fmla="*/ 340706 h 823468"/>
              <a:gd name="connsiteX1349" fmla="*/ 11934539 w 12248682"/>
              <a:gd name="connsiteY1349" fmla="*/ 319917 h 823468"/>
              <a:gd name="connsiteX1350" fmla="*/ 11797103 w 12248682"/>
              <a:gd name="connsiteY1350" fmla="*/ 319917 h 823468"/>
              <a:gd name="connsiteX1351" fmla="*/ 11817892 w 12248682"/>
              <a:gd name="connsiteY1351" fmla="*/ 340706 h 823468"/>
              <a:gd name="connsiteX1352" fmla="*/ 11797103 w 12248682"/>
              <a:gd name="connsiteY1352" fmla="*/ 361495 h 823468"/>
              <a:gd name="connsiteX1353" fmla="*/ 11776314 w 12248682"/>
              <a:gd name="connsiteY1353" fmla="*/ 340706 h 823468"/>
              <a:gd name="connsiteX1354" fmla="*/ 11797103 w 12248682"/>
              <a:gd name="connsiteY1354" fmla="*/ 319917 h 823468"/>
              <a:gd name="connsiteX1355" fmla="*/ 10645633 w 12248682"/>
              <a:gd name="connsiteY1355" fmla="*/ 319917 h 823468"/>
              <a:gd name="connsiteX1356" fmla="*/ 10666422 w 12248682"/>
              <a:gd name="connsiteY1356" fmla="*/ 340706 h 823468"/>
              <a:gd name="connsiteX1357" fmla="*/ 10645633 w 12248682"/>
              <a:gd name="connsiteY1357" fmla="*/ 361495 h 823468"/>
              <a:gd name="connsiteX1358" fmla="*/ 10624844 w 12248682"/>
              <a:gd name="connsiteY1358" fmla="*/ 340706 h 823468"/>
              <a:gd name="connsiteX1359" fmla="*/ 10645633 w 12248682"/>
              <a:gd name="connsiteY1359" fmla="*/ 319917 h 823468"/>
              <a:gd name="connsiteX1360" fmla="*/ 9247008 w 12248682"/>
              <a:gd name="connsiteY1360" fmla="*/ 319917 h 823468"/>
              <a:gd name="connsiteX1361" fmla="*/ 9267797 w 12248682"/>
              <a:gd name="connsiteY1361" fmla="*/ 340706 h 823468"/>
              <a:gd name="connsiteX1362" fmla="*/ 9247008 w 12248682"/>
              <a:gd name="connsiteY1362" fmla="*/ 361495 h 823468"/>
              <a:gd name="connsiteX1363" fmla="*/ 9226219 w 12248682"/>
              <a:gd name="connsiteY1363" fmla="*/ 340706 h 823468"/>
              <a:gd name="connsiteX1364" fmla="*/ 9247008 w 12248682"/>
              <a:gd name="connsiteY1364" fmla="*/ 319917 h 823468"/>
              <a:gd name="connsiteX1365" fmla="*/ 8148062 w 12248682"/>
              <a:gd name="connsiteY1365" fmla="*/ 319917 h 823468"/>
              <a:gd name="connsiteX1366" fmla="*/ 8168851 w 12248682"/>
              <a:gd name="connsiteY1366" fmla="*/ 340706 h 823468"/>
              <a:gd name="connsiteX1367" fmla="*/ 8148062 w 12248682"/>
              <a:gd name="connsiteY1367" fmla="*/ 361495 h 823468"/>
              <a:gd name="connsiteX1368" fmla="*/ 8127274 w 12248682"/>
              <a:gd name="connsiteY1368" fmla="*/ 340706 h 823468"/>
              <a:gd name="connsiteX1369" fmla="*/ 8148062 w 12248682"/>
              <a:gd name="connsiteY1369" fmla="*/ 319917 h 823468"/>
              <a:gd name="connsiteX1370" fmla="*/ 8009471 w 12248682"/>
              <a:gd name="connsiteY1370" fmla="*/ 319917 h 823468"/>
              <a:gd name="connsiteX1371" fmla="*/ 8030259 w 12248682"/>
              <a:gd name="connsiteY1371" fmla="*/ 340706 h 823468"/>
              <a:gd name="connsiteX1372" fmla="*/ 8009471 w 12248682"/>
              <a:gd name="connsiteY1372" fmla="*/ 361495 h 823468"/>
              <a:gd name="connsiteX1373" fmla="*/ 7988682 w 12248682"/>
              <a:gd name="connsiteY1373" fmla="*/ 340706 h 823468"/>
              <a:gd name="connsiteX1374" fmla="*/ 8009471 w 12248682"/>
              <a:gd name="connsiteY1374" fmla="*/ 319917 h 823468"/>
              <a:gd name="connsiteX1375" fmla="*/ 7872031 w 12248682"/>
              <a:gd name="connsiteY1375" fmla="*/ 319917 h 823468"/>
              <a:gd name="connsiteX1376" fmla="*/ 7892822 w 12248682"/>
              <a:gd name="connsiteY1376" fmla="*/ 340706 h 823468"/>
              <a:gd name="connsiteX1377" fmla="*/ 7872031 w 12248682"/>
              <a:gd name="connsiteY1377" fmla="*/ 361495 h 823468"/>
              <a:gd name="connsiteX1378" fmla="*/ 7851244 w 12248682"/>
              <a:gd name="connsiteY1378" fmla="*/ 340706 h 823468"/>
              <a:gd name="connsiteX1379" fmla="*/ 7872031 w 12248682"/>
              <a:gd name="connsiteY1379" fmla="*/ 319917 h 823468"/>
              <a:gd name="connsiteX1380" fmla="*/ 7713807 w 12248682"/>
              <a:gd name="connsiteY1380" fmla="*/ 319917 h 823468"/>
              <a:gd name="connsiteX1381" fmla="*/ 7734596 w 12248682"/>
              <a:gd name="connsiteY1381" fmla="*/ 340706 h 823468"/>
              <a:gd name="connsiteX1382" fmla="*/ 7713807 w 12248682"/>
              <a:gd name="connsiteY1382" fmla="*/ 361495 h 823468"/>
              <a:gd name="connsiteX1383" fmla="*/ 7693019 w 12248682"/>
              <a:gd name="connsiteY1383" fmla="*/ 340706 h 823468"/>
              <a:gd name="connsiteX1384" fmla="*/ 7713807 w 12248682"/>
              <a:gd name="connsiteY1384" fmla="*/ 319917 h 823468"/>
              <a:gd name="connsiteX1385" fmla="*/ 7605244 w 12248682"/>
              <a:gd name="connsiteY1385" fmla="*/ 319917 h 823468"/>
              <a:gd name="connsiteX1386" fmla="*/ 7626031 w 12248682"/>
              <a:gd name="connsiteY1386" fmla="*/ 340706 h 823468"/>
              <a:gd name="connsiteX1387" fmla="*/ 7605244 w 12248682"/>
              <a:gd name="connsiteY1387" fmla="*/ 361495 h 823468"/>
              <a:gd name="connsiteX1388" fmla="*/ 7584454 w 12248682"/>
              <a:gd name="connsiteY1388" fmla="*/ 340706 h 823468"/>
              <a:gd name="connsiteX1389" fmla="*/ 7605244 w 12248682"/>
              <a:gd name="connsiteY1389" fmla="*/ 319917 h 823468"/>
              <a:gd name="connsiteX1390" fmla="*/ 7466651 w 12248682"/>
              <a:gd name="connsiteY1390" fmla="*/ 319917 h 823468"/>
              <a:gd name="connsiteX1391" fmla="*/ 7487439 w 12248682"/>
              <a:gd name="connsiteY1391" fmla="*/ 340706 h 823468"/>
              <a:gd name="connsiteX1392" fmla="*/ 7466651 w 12248682"/>
              <a:gd name="connsiteY1392" fmla="*/ 361495 h 823468"/>
              <a:gd name="connsiteX1393" fmla="*/ 7445863 w 12248682"/>
              <a:gd name="connsiteY1393" fmla="*/ 340706 h 823468"/>
              <a:gd name="connsiteX1394" fmla="*/ 7466651 w 12248682"/>
              <a:gd name="connsiteY1394" fmla="*/ 319917 h 823468"/>
              <a:gd name="connsiteX1395" fmla="*/ 7329213 w 12248682"/>
              <a:gd name="connsiteY1395" fmla="*/ 319917 h 823468"/>
              <a:gd name="connsiteX1396" fmla="*/ 7350002 w 12248682"/>
              <a:gd name="connsiteY1396" fmla="*/ 340706 h 823468"/>
              <a:gd name="connsiteX1397" fmla="*/ 7329213 w 12248682"/>
              <a:gd name="connsiteY1397" fmla="*/ 361495 h 823468"/>
              <a:gd name="connsiteX1398" fmla="*/ 7308425 w 12248682"/>
              <a:gd name="connsiteY1398" fmla="*/ 340706 h 823468"/>
              <a:gd name="connsiteX1399" fmla="*/ 7329213 w 12248682"/>
              <a:gd name="connsiteY1399" fmla="*/ 319917 h 823468"/>
              <a:gd name="connsiteX1400" fmla="*/ 7191777 w 12248682"/>
              <a:gd name="connsiteY1400" fmla="*/ 319917 h 823468"/>
              <a:gd name="connsiteX1401" fmla="*/ 7212566 w 12248682"/>
              <a:gd name="connsiteY1401" fmla="*/ 340706 h 823468"/>
              <a:gd name="connsiteX1402" fmla="*/ 7191777 w 12248682"/>
              <a:gd name="connsiteY1402" fmla="*/ 361495 h 823468"/>
              <a:gd name="connsiteX1403" fmla="*/ 7170987 w 12248682"/>
              <a:gd name="connsiteY1403" fmla="*/ 340706 h 823468"/>
              <a:gd name="connsiteX1404" fmla="*/ 7191777 w 12248682"/>
              <a:gd name="connsiteY1404" fmla="*/ 319917 h 823468"/>
              <a:gd name="connsiteX1405" fmla="*/ 6040307 w 12248682"/>
              <a:gd name="connsiteY1405" fmla="*/ 319917 h 823468"/>
              <a:gd name="connsiteX1406" fmla="*/ 6061095 w 12248682"/>
              <a:gd name="connsiteY1406" fmla="*/ 340706 h 823468"/>
              <a:gd name="connsiteX1407" fmla="*/ 6040307 w 12248682"/>
              <a:gd name="connsiteY1407" fmla="*/ 361495 h 823468"/>
              <a:gd name="connsiteX1408" fmla="*/ 6019518 w 12248682"/>
              <a:gd name="connsiteY1408" fmla="*/ 340706 h 823468"/>
              <a:gd name="connsiteX1409" fmla="*/ 6040307 w 12248682"/>
              <a:gd name="connsiteY1409" fmla="*/ 319917 h 823468"/>
              <a:gd name="connsiteX1410" fmla="*/ 4641682 w 12248682"/>
              <a:gd name="connsiteY1410" fmla="*/ 319917 h 823468"/>
              <a:gd name="connsiteX1411" fmla="*/ 4662471 w 12248682"/>
              <a:gd name="connsiteY1411" fmla="*/ 340706 h 823468"/>
              <a:gd name="connsiteX1412" fmla="*/ 4641682 w 12248682"/>
              <a:gd name="connsiteY1412" fmla="*/ 361495 h 823468"/>
              <a:gd name="connsiteX1413" fmla="*/ 4620893 w 12248682"/>
              <a:gd name="connsiteY1413" fmla="*/ 340706 h 823468"/>
              <a:gd name="connsiteX1414" fmla="*/ 4641682 w 12248682"/>
              <a:gd name="connsiteY1414" fmla="*/ 319917 h 823468"/>
              <a:gd name="connsiteX1415" fmla="*/ 3535254 w 12248682"/>
              <a:gd name="connsiteY1415" fmla="*/ 319917 h 823468"/>
              <a:gd name="connsiteX1416" fmla="*/ 3556043 w 12248682"/>
              <a:gd name="connsiteY1416" fmla="*/ 340706 h 823468"/>
              <a:gd name="connsiteX1417" fmla="*/ 3535254 w 12248682"/>
              <a:gd name="connsiteY1417" fmla="*/ 361495 h 823468"/>
              <a:gd name="connsiteX1418" fmla="*/ 3514466 w 12248682"/>
              <a:gd name="connsiteY1418" fmla="*/ 340706 h 823468"/>
              <a:gd name="connsiteX1419" fmla="*/ 3535254 w 12248682"/>
              <a:gd name="connsiteY1419" fmla="*/ 319917 h 823468"/>
              <a:gd name="connsiteX1420" fmla="*/ 3396662 w 12248682"/>
              <a:gd name="connsiteY1420" fmla="*/ 319917 h 823468"/>
              <a:gd name="connsiteX1421" fmla="*/ 3417451 w 12248682"/>
              <a:gd name="connsiteY1421" fmla="*/ 340706 h 823468"/>
              <a:gd name="connsiteX1422" fmla="*/ 3396662 w 12248682"/>
              <a:gd name="connsiteY1422" fmla="*/ 361495 h 823468"/>
              <a:gd name="connsiteX1423" fmla="*/ 3375874 w 12248682"/>
              <a:gd name="connsiteY1423" fmla="*/ 340706 h 823468"/>
              <a:gd name="connsiteX1424" fmla="*/ 3396662 w 12248682"/>
              <a:gd name="connsiteY1424" fmla="*/ 319917 h 823468"/>
              <a:gd name="connsiteX1425" fmla="*/ 3259224 w 12248682"/>
              <a:gd name="connsiteY1425" fmla="*/ 319917 h 823468"/>
              <a:gd name="connsiteX1426" fmla="*/ 3280013 w 12248682"/>
              <a:gd name="connsiteY1426" fmla="*/ 340706 h 823468"/>
              <a:gd name="connsiteX1427" fmla="*/ 3259224 w 12248682"/>
              <a:gd name="connsiteY1427" fmla="*/ 361495 h 823468"/>
              <a:gd name="connsiteX1428" fmla="*/ 3238436 w 12248682"/>
              <a:gd name="connsiteY1428" fmla="*/ 340706 h 823468"/>
              <a:gd name="connsiteX1429" fmla="*/ 3259224 w 12248682"/>
              <a:gd name="connsiteY1429" fmla="*/ 319917 h 823468"/>
              <a:gd name="connsiteX1430" fmla="*/ 3100999 w 12248682"/>
              <a:gd name="connsiteY1430" fmla="*/ 319917 h 823468"/>
              <a:gd name="connsiteX1431" fmla="*/ 3121789 w 12248682"/>
              <a:gd name="connsiteY1431" fmla="*/ 340706 h 823468"/>
              <a:gd name="connsiteX1432" fmla="*/ 3100999 w 12248682"/>
              <a:gd name="connsiteY1432" fmla="*/ 361495 h 823468"/>
              <a:gd name="connsiteX1433" fmla="*/ 3080212 w 12248682"/>
              <a:gd name="connsiteY1433" fmla="*/ 340706 h 823468"/>
              <a:gd name="connsiteX1434" fmla="*/ 3100999 w 12248682"/>
              <a:gd name="connsiteY1434" fmla="*/ 319917 h 823468"/>
              <a:gd name="connsiteX1435" fmla="*/ 2992435 w 12248682"/>
              <a:gd name="connsiteY1435" fmla="*/ 319917 h 823468"/>
              <a:gd name="connsiteX1436" fmla="*/ 3013224 w 12248682"/>
              <a:gd name="connsiteY1436" fmla="*/ 340706 h 823468"/>
              <a:gd name="connsiteX1437" fmla="*/ 2992435 w 12248682"/>
              <a:gd name="connsiteY1437" fmla="*/ 361495 h 823468"/>
              <a:gd name="connsiteX1438" fmla="*/ 2971647 w 12248682"/>
              <a:gd name="connsiteY1438" fmla="*/ 340706 h 823468"/>
              <a:gd name="connsiteX1439" fmla="*/ 2992435 w 12248682"/>
              <a:gd name="connsiteY1439" fmla="*/ 319917 h 823468"/>
              <a:gd name="connsiteX1440" fmla="*/ 2853843 w 12248682"/>
              <a:gd name="connsiteY1440" fmla="*/ 319917 h 823468"/>
              <a:gd name="connsiteX1441" fmla="*/ 2874633 w 12248682"/>
              <a:gd name="connsiteY1441" fmla="*/ 340706 h 823468"/>
              <a:gd name="connsiteX1442" fmla="*/ 2853843 w 12248682"/>
              <a:gd name="connsiteY1442" fmla="*/ 361495 h 823468"/>
              <a:gd name="connsiteX1443" fmla="*/ 2833056 w 12248682"/>
              <a:gd name="connsiteY1443" fmla="*/ 340706 h 823468"/>
              <a:gd name="connsiteX1444" fmla="*/ 2853843 w 12248682"/>
              <a:gd name="connsiteY1444" fmla="*/ 319917 h 823468"/>
              <a:gd name="connsiteX1445" fmla="*/ 2716405 w 12248682"/>
              <a:gd name="connsiteY1445" fmla="*/ 319917 h 823468"/>
              <a:gd name="connsiteX1446" fmla="*/ 2737195 w 12248682"/>
              <a:gd name="connsiteY1446" fmla="*/ 340706 h 823468"/>
              <a:gd name="connsiteX1447" fmla="*/ 2716405 w 12248682"/>
              <a:gd name="connsiteY1447" fmla="*/ 361495 h 823468"/>
              <a:gd name="connsiteX1448" fmla="*/ 2695618 w 12248682"/>
              <a:gd name="connsiteY1448" fmla="*/ 340706 h 823468"/>
              <a:gd name="connsiteX1449" fmla="*/ 2716405 w 12248682"/>
              <a:gd name="connsiteY1449" fmla="*/ 319917 h 823468"/>
              <a:gd name="connsiteX1450" fmla="*/ 2578969 w 12248682"/>
              <a:gd name="connsiteY1450" fmla="*/ 319917 h 823468"/>
              <a:gd name="connsiteX1451" fmla="*/ 2599758 w 12248682"/>
              <a:gd name="connsiteY1451" fmla="*/ 340706 h 823468"/>
              <a:gd name="connsiteX1452" fmla="*/ 2578969 w 12248682"/>
              <a:gd name="connsiteY1452" fmla="*/ 361495 h 823468"/>
              <a:gd name="connsiteX1453" fmla="*/ 2558180 w 12248682"/>
              <a:gd name="connsiteY1453" fmla="*/ 340706 h 823468"/>
              <a:gd name="connsiteX1454" fmla="*/ 2578969 w 12248682"/>
              <a:gd name="connsiteY1454" fmla="*/ 319917 h 823468"/>
              <a:gd name="connsiteX1455" fmla="*/ 1427499 w 12248682"/>
              <a:gd name="connsiteY1455" fmla="*/ 319917 h 823468"/>
              <a:gd name="connsiteX1456" fmla="*/ 1448288 w 12248682"/>
              <a:gd name="connsiteY1456" fmla="*/ 340706 h 823468"/>
              <a:gd name="connsiteX1457" fmla="*/ 1427499 w 12248682"/>
              <a:gd name="connsiteY1457" fmla="*/ 361495 h 823468"/>
              <a:gd name="connsiteX1458" fmla="*/ 1406710 w 12248682"/>
              <a:gd name="connsiteY1458" fmla="*/ 340706 h 823468"/>
              <a:gd name="connsiteX1459" fmla="*/ 1427499 w 12248682"/>
              <a:gd name="connsiteY1459" fmla="*/ 319917 h 823468"/>
              <a:gd name="connsiteX1460" fmla="*/ 28874 w 12248682"/>
              <a:gd name="connsiteY1460" fmla="*/ 319917 h 823468"/>
              <a:gd name="connsiteX1461" fmla="*/ 49663 w 12248682"/>
              <a:gd name="connsiteY1461" fmla="*/ 340706 h 823468"/>
              <a:gd name="connsiteX1462" fmla="*/ 28874 w 12248682"/>
              <a:gd name="connsiteY1462" fmla="*/ 361495 h 823468"/>
              <a:gd name="connsiteX1463" fmla="*/ 8085 w 12248682"/>
              <a:gd name="connsiteY1463" fmla="*/ 340706 h 823468"/>
              <a:gd name="connsiteX1464" fmla="*/ 28874 w 12248682"/>
              <a:gd name="connsiteY1464" fmla="*/ 319917 h 823468"/>
              <a:gd name="connsiteX1465" fmla="*/ 11658510 w 12248682"/>
              <a:gd name="connsiteY1465" fmla="*/ 316452 h 823468"/>
              <a:gd name="connsiteX1466" fmla="*/ 11681609 w 12248682"/>
              <a:gd name="connsiteY1466" fmla="*/ 339551 h 823468"/>
              <a:gd name="connsiteX1467" fmla="*/ 11658510 w 12248682"/>
              <a:gd name="connsiteY1467" fmla="*/ 362649 h 823468"/>
              <a:gd name="connsiteX1468" fmla="*/ 11635412 w 12248682"/>
              <a:gd name="connsiteY1468" fmla="*/ 339551 h 823468"/>
              <a:gd name="connsiteX1469" fmla="*/ 11658510 w 12248682"/>
              <a:gd name="connsiteY1469" fmla="*/ 316452 h 823468"/>
              <a:gd name="connsiteX1470" fmla="*/ 10508196 w 12248682"/>
              <a:gd name="connsiteY1470" fmla="*/ 316452 h 823468"/>
              <a:gd name="connsiteX1471" fmla="*/ 10531295 w 12248682"/>
              <a:gd name="connsiteY1471" fmla="*/ 339551 h 823468"/>
              <a:gd name="connsiteX1472" fmla="*/ 10508196 w 12248682"/>
              <a:gd name="connsiteY1472" fmla="*/ 362649 h 823468"/>
              <a:gd name="connsiteX1473" fmla="*/ 10485098 w 12248682"/>
              <a:gd name="connsiteY1473" fmla="*/ 339551 h 823468"/>
              <a:gd name="connsiteX1474" fmla="*/ 10508196 w 12248682"/>
              <a:gd name="connsiteY1474" fmla="*/ 316452 h 823468"/>
              <a:gd name="connsiteX1475" fmla="*/ 9405233 w 12248682"/>
              <a:gd name="connsiteY1475" fmla="*/ 316452 h 823468"/>
              <a:gd name="connsiteX1476" fmla="*/ 9428332 w 12248682"/>
              <a:gd name="connsiteY1476" fmla="*/ 339551 h 823468"/>
              <a:gd name="connsiteX1477" fmla="*/ 9405233 w 12248682"/>
              <a:gd name="connsiteY1477" fmla="*/ 362649 h 823468"/>
              <a:gd name="connsiteX1478" fmla="*/ 9382135 w 12248682"/>
              <a:gd name="connsiteY1478" fmla="*/ 339551 h 823468"/>
              <a:gd name="connsiteX1479" fmla="*/ 9405233 w 12248682"/>
              <a:gd name="connsiteY1479" fmla="*/ 316452 h 823468"/>
              <a:gd name="connsiteX1480" fmla="*/ 8285498 w 12248682"/>
              <a:gd name="connsiteY1480" fmla="*/ 316452 h 823468"/>
              <a:gd name="connsiteX1481" fmla="*/ 8308598 w 12248682"/>
              <a:gd name="connsiteY1481" fmla="*/ 339551 h 823468"/>
              <a:gd name="connsiteX1482" fmla="*/ 8285498 w 12248682"/>
              <a:gd name="connsiteY1482" fmla="*/ 362649 h 823468"/>
              <a:gd name="connsiteX1483" fmla="*/ 8262401 w 12248682"/>
              <a:gd name="connsiteY1483" fmla="*/ 339551 h 823468"/>
              <a:gd name="connsiteX1484" fmla="*/ 8285498 w 12248682"/>
              <a:gd name="connsiteY1484" fmla="*/ 316452 h 823468"/>
              <a:gd name="connsiteX1485" fmla="*/ 7053184 w 12248682"/>
              <a:gd name="connsiteY1485" fmla="*/ 316452 h 823468"/>
              <a:gd name="connsiteX1486" fmla="*/ 7076283 w 12248682"/>
              <a:gd name="connsiteY1486" fmla="*/ 339551 h 823468"/>
              <a:gd name="connsiteX1487" fmla="*/ 7053184 w 12248682"/>
              <a:gd name="connsiteY1487" fmla="*/ 362649 h 823468"/>
              <a:gd name="connsiteX1488" fmla="*/ 7030086 w 12248682"/>
              <a:gd name="connsiteY1488" fmla="*/ 339551 h 823468"/>
              <a:gd name="connsiteX1489" fmla="*/ 7053184 w 12248682"/>
              <a:gd name="connsiteY1489" fmla="*/ 316452 h 823468"/>
              <a:gd name="connsiteX1490" fmla="*/ 5902869 w 12248682"/>
              <a:gd name="connsiteY1490" fmla="*/ 316452 h 823468"/>
              <a:gd name="connsiteX1491" fmla="*/ 5925969 w 12248682"/>
              <a:gd name="connsiteY1491" fmla="*/ 339551 h 823468"/>
              <a:gd name="connsiteX1492" fmla="*/ 5902869 w 12248682"/>
              <a:gd name="connsiteY1492" fmla="*/ 362649 h 823468"/>
              <a:gd name="connsiteX1493" fmla="*/ 5879771 w 12248682"/>
              <a:gd name="connsiteY1493" fmla="*/ 339551 h 823468"/>
              <a:gd name="connsiteX1494" fmla="*/ 5902869 w 12248682"/>
              <a:gd name="connsiteY1494" fmla="*/ 316452 h 823468"/>
              <a:gd name="connsiteX1495" fmla="*/ 4799906 w 12248682"/>
              <a:gd name="connsiteY1495" fmla="*/ 316452 h 823468"/>
              <a:gd name="connsiteX1496" fmla="*/ 4823006 w 12248682"/>
              <a:gd name="connsiteY1496" fmla="*/ 339551 h 823468"/>
              <a:gd name="connsiteX1497" fmla="*/ 4799906 w 12248682"/>
              <a:gd name="connsiteY1497" fmla="*/ 362649 h 823468"/>
              <a:gd name="connsiteX1498" fmla="*/ 4776809 w 12248682"/>
              <a:gd name="connsiteY1498" fmla="*/ 339551 h 823468"/>
              <a:gd name="connsiteX1499" fmla="*/ 4799906 w 12248682"/>
              <a:gd name="connsiteY1499" fmla="*/ 316452 h 823468"/>
              <a:gd name="connsiteX1500" fmla="*/ 3672691 w 12248682"/>
              <a:gd name="connsiteY1500" fmla="*/ 316452 h 823468"/>
              <a:gd name="connsiteX1501" fmla="*/ 3695791 w 12248682"/>
              <a:gd name="connsiteY1501" fmla="*/ 339551 h 823468"/>
              <a:gd name="connsiteX1502" fmla="*/ 3672691 w 12248682"/>
              <a:gd name="connsiteY1502" fmla="*/ 362649 h 823468"/>
              <a:gd name="connsiteX1503" fmla="*/ 3649592 w 12248682"/>
              <a:gd name="connsiteY1503" fmla="*/ 339551 h 823468"/>
              <a:gd name="connsiteX1504" fmla="*/ 3672691 w 12248682"/>
              <a:gd name="connsiteY1504" fmla="*/ 316452 h 823468"/>
              <a:gd name="connsiteX1505" fmla="*/ 2440377 w 12248682"/>
              <a:gd name="connsiteY1505" fmla="*/ 316452 h 823468"/>
              <a:gd name="connsiteX1506" fmla="*/ 2463475 w 12248682"/>
              <a:gd name="connsiteY1506" fmla="*/ 339551 h 823468"/>
              <a:gd name="connsiteX1507" fmla="*/ 2440377 w 12248682"/>
              <a:gd name="connsiteY1507" fmla="*/ 362649 h 823468"/>
              <a:gd name="connsiteX1508" fmla="*/ 2417278 w 12248682"/>
              <a:gd name="connsiteY1508" fmla="*/ 339551 h 823468"/>
              <a:gd name="connsiteX1509" fmla="*/ 2440377 w 12248682"/>
              <a:gd name="connsiteY1509" fmla="*/ 316452 h 823468"/>
              <a:gd name="connsiteX1510" fmla="*/ 1290062 w 12248682"/>
              <a:gd name="connsiteY1510" fmla="*/ 316452 h 823468"/>
              <a:gd name="connsiteX1511" fmla="*/ 1313161 w 12248682"/>
              <a:gd name="connsiteY1511" fmla="*/ 339551 h 823468"/>
              <a:gd name="connsiteX1512" fmla="*/ 1290062 w 12248682"/>
              <a:gd name="connsiteY1512" fmla="*/ 362649 h 823468"/>
              <a:gd name="connsiteX1513" fmla="*/ 1266964 w 12248682"/>
              <a:gd name="connsiteY1513" fmla="*/ 339551 h 823468"/>
              <a:gd name="connsiteX1514" fmla="*/ 1290062 w 12248682"/>
              <a:gd name="connsiteY1514" fmla="*/ 316452 h 823468"/>
              <a:gd name="connsiteX1515" fmla="*/ 187100 w 12248682"/>
              <a:gd name="connsiteY1515" fmla="*/ 316452 h 823468"/>
              <a:gd name="connsiteX1516" fmla="*/ 210198 w 12248682"/>
              <a:gd name="connsiteY1516" fmla="*/ 339551 h 823468"/>
              <a:gd name="connsiteX1517" fmla="*/ 187100 w 12248682"/>
              <a:gd name="connsiteY1517" fmla="*/ 362649 h 823468"/>
              <a:gd name="connsiteX1518" fmla="*/ 164001 w 12248682"/>
              <a:gd name="connsiteY1518" fmla="*/ 339551 h 823468"/>
              <a:gd name="connsiteX1519" fmla="*/ 187100 w 12248682"/>
              <a:gd name="connsiteY1519" fmla="*/ 316452 h 823468"/>
              <a:gd name="connsiteX1520" fmla="*/ 11521073 w 12248682"/>
              <a:gd name="connsiteY1520" fmla="*/ 310678 h 823468"/>
              <a:gd name="connsiteX1521" fmla="*/ 11549947 w 12248682"/>
              <a:gd name="connsiteY1521" fmla="*/ 339551 h 823468"/>
              <a:gd name="connsiteX1522" fmla="*/ 11521073 w 12248682"/>
              <a:gd name="connsiteY1522" fmla="*/ 368425 h 823468"/>
              <a:gd name="connsiteX1523" fmla="*/ 11492200 w 12248682"/>
              <a:gd name="connsiteY1523" fmla="*/ 339551 h 823468"/>
              <a:gd name="connsiteX1524" fmla="*/ 11521073 w 12248682"/>
              <a:gd name="connsiteY1524" fmla="*/ 310678 h 823468"/>
              <a:gd name="connsiteX1525" fmla="*/ 10369604 w 12248682"/>
              <a:gd name="connsiteY1525" fmla="*/ 310678 h 823468"/>
              <a:gd name="connsiteX1526" fmla="*/ 10398477 w 12248682"/>
              <a:gd name="connsiteY1526" fmla="*/ 339551 h 823468"/>
              <a:gd name="connsiteX1527" fmla="*/ 10369604 w 12248682"/>
              <a:gd name="connsiteY1527" fmla="*/ 368425 h 823468"/>
              <a:gd name="connsiteX1528" fmla="*/ 10340730 w 12248682"/>
              <a:gd name="connsiteY1528" fmla="*/ 339551 h 823468"/>
              <a:gd name="connsiteX1529" fmla="*/ 10369604 w 12248682"/>
              <a:gd name="connsiteY1529" fmla="*/ 310678 h 823468"/>
              <a:gd name="connsiteX1530" fmla="*/ 9543825 w 12248682"/>
              <a:gd name="connsiteY1530" fmla="*/ 310678 h 823468"/>
              <a:gd name="connsiteX1531" fmla="*/ 9572699 w 12248682"/>
              <a:gd name="connsiteY1531" fmla="*/ 339551 h 823468"/>
              <a:gd name="connsiteX1532" fmla="*/ 9543825 w 12248682"/>
              <a:gd name="connsiteY1532" fmla="*/ 368425 h 823468"/>
              <a:gd name="connsiteX1533" fmla="*/ 9514953 w 12248682"/>
              <a:gd name="connsiteY1533" fmla="*/ 339551 h 823468"/>
              <a:gd name="connsiteX1534" fmla="*/ 9543825 w 12248682"/>
              <a:gd name="connsiteY1534" fmla="*/ 310678 h 823468"/>
              <a:gd name="connsiteX1535" fmla="*/ 8422936 w 12248682"/>
              <a:gd name="connsiteY1535" fmla="*/ 310678 h 823468"/>
              <a:gd name="connsiteX1536" fmla="*/ 8451809 w 12248682"/>
              <a:gd name="connsiteY1536" fmla="*/ 339551 h 823468"/>
              <a:gd name="connsiteX1537" fmla="*/ 8422936 w 12248682"/>
              <a:gd name="connsiteY1537" fmla="*/ 368425 h 823468"/>
              <a:gd name="connsiteX1538" fmla="*/ 8394062 w 12248682"/>
              <a:gd name="connsiteY1538" fmla="*/ 339551 h 823468"/>
              <a:gd name="connsiteX1539" fmla="*/ 8422936 w 12248682"/>
              <a:gd name="connsiteY1539" fmla="*/ 310678 h 823468"/>
              <a:gd name="connsiteX1540" fmla="*/ 6915746 w 12248682"/>
              <a:gd name="connsiteY1540" fmla="*/ 310678 h 823468"/>
              <a:gd name="connsiteX1541" fmla="*/ 6944621 w 12248682"/>
              <a:gd name="connsiteY1541" fmla="*/ 339551 h 823468"/>
              <a:gd name="connsiteX1542" fmla="*/ 6915746 w 12248682"/>
              <a:gd name="connsiteY1542" fmla="*/ 368425 h 823468"/>
              <a:gd name="connsiteX1543" fmla="*/ 6886873 w 12248682"/>
              <a:gd name="connsiteY1543" fmla="*/ 339551 h 823468"/>
              <a:gd name="connsiteX1544" fmla="*/ 6915746 w 12248682"/>
              <a:gd name="connsiteY1544" fmla="*/ 310678 h 823468"/>
              <a:gd name="connsiteX1545" fmla="*/ 5764278 w 12248682"/>
              <a:gd name="connsiteY1545" fmla="*/ 310678 h 823468"/>
              <a:gd name="connsiteX1546" fmla="*/ 5793151 w 12248682"/>
              <a:gd name="connsiteY1546" fmla="*/ 339551 h 823468"/>
              <a:gd name="connsiteX1547" fmla="*/ 5764278 w 12248682"/>
              <a:gd name="connsiteY1547" fmla="*/ 368425 h 823468"/>
              <a:gd name="connsiteX1548" fmla="*/ 5735405 w 12248682"/>
              <a:gd name="connsiteY1548" fmla="*/ 339551 h 823468"/>
              <a:gd name="connsiteX1549" fmla="*/ 5764278 w 12248682"/>
              <a:gd name="connsiteY1549" fmla="*/ 310678 h 823468"/>
              <a:gd name="connsiteX1550" fmla="*/ 4938500 w 12248682"/>
              <a:gd name="connsiteY1550" fmla="*/ 310678 h 823468"/>
              <a:gd name="connsiteX1551" fmla="*/ 4967373 w 12248682"/>
              <a:gd name="connsiteY1551" fmla="*/ 339551 h 823468"/>
              <a:gd name="connsiteX1552" fmla="*/ 4938500 w 12248682"/>
              <a:gd name="connsiteY1552" fmla="*/ 368425 h 823468"/>
              <a:gd name="connsiteX1553" fmla="*/ 4909627 w 12248682"/>
              <a:gd name="connsiteY1553" fmla="*/ 339551 h 823468"/>
              <a:gd name="connsiteX1554" fmla="*/ 4938500 w 12248682"/>
              <a:gd name="connsiteY1554" fmla="*/ 310678 h 823468"/>
              <a:gd name="connsiteX1555" fmla="*/ 3810129 w 12248682"/>
              <a:gd name="connsiteY1555" fmla="*/ 310678 h 823468"/>
              <a:gd name="connsiteX1556" fmla="*/ 3839002 w 12248682"/>
              <a:gd name="connsiteY1556" fmla="*/ 339551 h 823468"/>
              <a:gd name="connsiteX1557" fmla="*/ 3810129 w 12248682"/>
              <a:gd name="connsiteY1557" fmla="*/ 368425 h 823468"/>
              <a:gd name="connsiteX1558" fmla="*/ 3781255 w 12248682"/>
              <a:gd name="connsiteY1558" fmla="*/ 339551 h 823468"/>
              <a:gd name="connsiteX1559" fmla="*/ 3810129 w 12248682"/>
              <a:gd name="connsiteY1559" fmla="*/ 310678 h 823468"/>
              <a:gd name="connsiteX1560" fmla="*/ 2302939 w 12248682"/>
              <a:gd name="connsiteY1560" fmla="*/ 310678 h 823468"/>
              <a:gd name="connsiteX1561" fmla="*/ 2331813 w 12248682"/>
              <a:gd name="connsiteY1561" fmla="*/ 339551 h 823468"/>
              <a:gd name="connsiteX1562" fmla="*/ 2302939 w 12248682"/>
              <a:gd name="connsiteY1562" fmla="*/ 368425 h 823468"/>
              <a:gd name="connsiteX1563" fmla="*/ 2274067 w 12248682"/>
              <a:gd name="connsiteY1563" fmla="*/ 339551 h 823468"/>
              <a:gd name="connsiteX1564" fmla="*/ 2302939 w 12248682"/>
              <a:gd name="connsiteY1564" fmla="*/ 310678 h 823468"/>
              <a:gd name="connsiteX1565" fmla="*/ 1151470 w 12248682"/>
              <a:gd name="connsiteY1565" fmla="*/ 310678 h 823468"/>
              <a:gd name="connsiteX1566" fmla="*/ 1180343 w 12248682"/>
              <a:gd name="connsiteY1566" fmla="*/ 339551 h 823468"/>
              <a:gd name="connsiteX1567" fmla="*/ 1151470 w 12248682"/>
              <a:gd name="connsiteY1567" fmla="*/ 368425 h 823468"/>
              <a:gd name="connsiteX1568" fmla="*/ 1122596 w 12248682"/>
              <a:gd name="connsiteY1568" fmla="*/ 339551 h 823468"/>
              <a:gd name="connsiteX1569" fmla="*/ 1151470 w 12248682"/>
              <a:gd name="connsiteY1569" fmla="*/ 310678 h 823468"/>
              <a:gd name="connsiteX1570" fmla="*/ 325692 w 12248682"/>
              <a:gd name="connsiteY1570" fmla="*/ 310678 h 823468"/>
              <a:gd name="connsiteX1571" fmla="*/ 354566 w 12248682"/>
              <a:gd name="connsiteY1571" fmla="*/ 339551 h 823468"/>
              <a:gd name="connsiteX1572" fmla="*/ 325692 w 12248682"/>
              <a:gd name="connsiteY1572" fmla="*/ 368425 h 823468"/>
              <a:gd name="connsiteX1573" fmla="*/ 296819 w 12248682"/>
              <a:gd name="connsiteY1573" fmla="*/ 339551 h 823468"/>
              <a:gd name="connsiteX1574" fmla="*/ 325692 w 12248682"/>
              <a:gd name="connsiteY1574" fmla="*/ 310678 h 823468"/>
              <a:gd name="connsiteX1575" fmla="*/ 11383636 w 12248682"/>
              <a:gd name="connsiteY1575" fmla="*/ 304903 h 823468"/>
              <a:gd name="connsiteX1576" fmla="*/ 11418284 w 12248682"/>
              <a:gd name="connsiteY1576" fmla="*/ 339551 h 823468"/>
              <a:gd name="connsiteX1577" fmla="*/ 11383636 w 12248682"/>
              <a:gd name="connsiteY1577" fmla="*/ 374199 h 823468"/>
              <a:gd name="connsiteX1578" fmla="*/ 11348988 w 12248682"/>
              <a:gd name="connsiteY1578" fmla="*/ 339551 h 823468"/>
              <a:gd name="connsiteX1579" fmla="*/ 11383636 w 12248682"/>
              <a:gd name="connsiteY1579" fmla="*/ 304903 h 823468"/>
              <a:gd name="connsiteX1580" fmla="*/ 10811943 w 12248682"/>
              <a:gd name="connsiteY1580" fmla="*/ 304903 h 823468"/>
              <a:gd name="connsiteX1581" fmla="*/ 10846591 w 12248682"/>
              <a:gd name="connsiteY1581" fmla="*/ 339551 h 823468"/>
              <a:gd name="connsiteX1582" fmla="*/ 10811943 w 12248682"/>
              <a:gd name="connsiteY1582" fmla="*/ 374199 h 823468"/>
              <a:gd name="connsiteX1583" fmla="*/ 10777295 w 12248682"/>
              <a:gd name="connsiteY1583" fmla="*/ 339551 h 823468"/>
              <a:gd name="connsiteX1584" fmla="*/ 10811943 w 12248682"/>
              <a:gd name="connsiteY1584" fmla="*/ 304903 h 823468"/>
              <a:gd name="connsiteX1585" fmla="*/ 10232166 w 12248682"/>
              <a:gd name="connsiteY1585" fmla="*/ 304903 h 823468"/>
              <a:gd name="connsiteX1586" fmla="*/ 10266814 w 12248682"/>
              <a:gd name="connsiteY1586" fmla="*/ 339551 h 823468"/>
              <a:gd name="connsiteX1587" fmla="*/ 10232166 w 12248682"/>
              <a:gd name="connsiteY1587" fmla="*/ 374199 h 823468"/>
              <a:gd name="connsiteX1588" fmla="*/ 10197518 w 12248682"/>
              <a:gd name="connsiteY1588" fmla="*/ 339551 h 823468"/>
              <a:gd name="connsiteX1589" fmla="*/ 10232166 w 12248682"/>
              <a:gd name="connsiteY1589" fmla="*/ 304903 h 823468"/>
              <a:gd name="connsiteX1590" fmla="*/ 9681263 w 12248682"/>
              <a:gd name="connsiteY1590" fmla="*/ 304903 h 823468"/>
              <a:gd name="connsiteX1591" fmla="*/ 9715911 w 12248682"/>
              <a:gd name="connsiteY1591" fmla="*/ 339551 h 823468"/>
              <a:gd name="connsiteX1592" fmla="*/ 9681263 w 12248682"/>
              <a:gd name="connsiteY1592" fmla="*/ 374199 h 823468"/>
              <a:gd name="connsiteX1593" fmla="*/ 9646615 w 12248682"/>
              <a:gd name="connsiteY1593" fmla="*/ 339551 h 823468"/>
              <a:gd name="connsiteX1594" fmla="*/ 9681263 w 12248682"/>
              <a:gd name="connsiteY1594" fmla="*/ 304903 h 823468"/>
              <a:gd name="connsiteX1595" fmla="*/ 9112431 w 12248682"/>
              <a:gd name="connsiteY1595" fmla="*/ 304903 h 823468"/>
              <a:gd name="connsiteX1596" fmla="*/ 9147079 w 12248682"/>
              <a:gd name="connsiteY1596" fmla="*/ 339551 h 823468"/>
              <a:gd name="connsiteX1597" fmla="*/ 9112431 w 12248682"/>
              <a:gd name="connsiteY1597" fmla="*/ 374199 h 823468"/>
              <a:gd name="connsiteX1598" fmla="*/ 9077783 w 12248682"/>
              <a:gd name="connsiteY1598" fmla="*/ 339551 h 823468"/>
              <a:gd name="connsiteX1599" fmla="*/ 9112431 w 12248682"/>
              <a:gd name="connsiteY1599" fmla="*/ 304903 h 823468"/>
              <a:gd name="connsiteX1600" fmla="*/ 8561528 w 12248682"/>
              <a:gd name="connsiteY1600" fmla="*/ 304903 h 823468"/>
              <a:gd name="connsiteX1601" fmla="*/ 8596176 w 12248682"/>
              <a:gd name="connsiteY1601" fmla="*/ 339551 h 823468"/>
              <a:gd name="connsiteX1602" fmla="*/ 8561528 w 12248682"/>
              <a:gd name="connsiteY1602" fmla="*/ 374199 h 823468"/>
              <a:gd name="connsiteX1603" fmla="*/ 8526880 w 12248682"/>
              <a:gd name="connsiteY1603" fmla="*/ 339551 h 823468"/>
              <a:gd name="connsiteX1604" fmla="*/ 8561528 w 12248682"/>
              <a:gd name="connsiteY1604" fmla="*/ 304903 h 823468"/>
              <a:gd name="connsiteX1605" fmla="*/ 6778310 w 12248682"/>
              <a:gd name="connsiteY1605" fmla="*/ 304903 h 823468"/>
              <a:gd name="connsiteX1606" fmla="*/ 6812959 w 12248682"/>
              <a:gd name="connsiteY1606" fmla="*/ 339551 h 823468"/>
              <a:gd name="connsiteX1607" fmla="*/ 6778310 w 12248682"/>
              <a:gd name="connsiteY1607" fmla="*/ 374199 h 823468"/>
              <a:gd name="connsiteX1608" fmla="*/ 6743662 w 12248682"/>
              <a:gd name="connsiteY1608" fmla="*/ 339551 h 823468"/>
              <a:gd name="connsiteX1609" fmla="*/ 6778310 w 12248682"/>
              <a:gd name="connsiteY1609" fmla="*/ 304903 h 823468"/>
              <a:gd name="connsiteX1610" fmla="*/ 6206618 w 12248682"/>
              <a:gd name="connsiteY1610" fmla="*/ 304903 h 823468"/>
              <a:gd name="connsiteX1611" fmla="*/ 6241265 w 12248682"/>
              <a:gd name="connsiteY1611" fmla="*/ 339551 h 823468"/>
              <a:gd name="connsiteX1612" fmla="*/ 6206618 w 12248682"/>
              <a:gd name="connsiteY1612" fmla="*/ 374199 h 823468"/>
              <a:gd name="connsiteX1613" fmla="*/ 6171969 w 12248682"/>
              <a:gd name="connsiteY1613" fmla="*/ 339551 h 823468"/>
              <a:gd name="connsiteX1614" fmla="*/ 6206618 w 12248682"/>
              <a:gd name="connsiteY1614" fmla="*/ 304903 h 823468"/>
              <a:gd name="connsiteX1615" fmla="*/ 5626840 w 12248682"/>
              <a:gd name="connsiteY1615" fmla="*/ 304903 h 823468"/>
              <a:gd name="connsiteX1616" fmla="*/ 5661488 w 12248682"/>
              <a:gd name="connsiteY1616" fmla="*/ 339551 h 823468"/>
              <a:gd name="connsiteX1617" fmla="*/ 5626840 w 12248682"/>
              <a:gd name="connsiteY1617" fmla="*/ 374199 h 823468"/>
              <a:gd name="connsiteX1618" fmla="*/ 5592192 w 12248682"/>
              <a:gd name="connsiteY1618" fmla="*/ 339551 h 823468"/>
              <a:gd name="connsiteX1619" fmla="*/ 5626840 w 12248682"/>
              <a:gd name="connsiteY1619" fmla="*/ 304903 h 823468"/>
              <a:gd name="connsiteX1620" fmla="*/ 5075938 w 12248682"/>
              <a:gd name="connsiteY1620" fmla="*/ 304903 h 823468"/>
              <a:gd name="connsiteX1621" fmla="*/ 5110584 w 12248682"/>
              <a:gd name="connsiteY1621" fmla="*/ 339551 h 823468"/>
              <a:gd name="connsiteX1622" fmla="*/ 5075938 w 12248682"/>
              <a:gd name="connsiteY1622" fmla="*/ 374199 h 823468"/>
              <a:gd name="connsiteX1623" fmla="*/ 5041289 w 12248682"/>
              <a:gd name="connsiteY1623" fmla="*/ 339551 h 823468"/>
              <a:gd name="connsiteX1624" fmla="*/ 5075938 w 12248682"/>
              <a:gd name="connsiteY1624" fmla="*/ 304903 h 823468"/>
              <a:gd name="connsiteX1625" fmla="*/ 4499625 w 12248682"/>
              <a:gd name="connsiteY1625" fmla="*/ 304903 h 823468"/>
              <a:gd name="connsiteX1626" fmla="*/ 4534273 w 12248682"/>
              <a:gd name="connsiteY1626" fmla="*/ 339551 h 823468"/>
              <a:gd name="connsiteX1627" fmla="*/ 4499625 w 12248682"/>
              <a:gd name="connsiteY1627" fmla="*/ 374199 h 823468"/>
              <a:gd name="connsiteX1628" fmla="*/ 4464976 w 12248682"/>
              <a:gd name="connsiteY1628" fmla="*/ 339551 h 823468"/>
              <a:gd name="connsiteX1629" fmla="*/ 4499625 w 12248682"/>
              <a:gd name="connsiteY1629" fmla="*/ 304903 h 823468"/>
              <a:gd name="connsiteX1630" fmla="*/ 3948721 w 12248682"/>
              <a:gd name="connsiteY1630" fmla="*/ 304903 h 823468"/>
              <a:gd name="connsiteX1631" fmla="*/ 3983369 w 12248682"/>
              <a:gd name="connsiteY1631" fmla="*/ 339551 h 823468"/>
              <a:gd name="connsiteX1632" fmla="*/ 3948721 w 12248682"/>
              <a:gd name="connsiteY1632" fmla="*/ 374199 h 823468"/>
              <a:gd name="connsiteX1633" fmla="*/ 3914073 w 12248682"/>
              <a:gd name="connsiteY1633" fmla="*/ 339551 h 823468"/>
              <a:gd name="connsiteX1634" fmla="*/ 3948721 w 12248682"/>
              <a:gd name="connsiteY1634" fmla="*/ 304903 h 823468"/>
              <a:gd name="connsiteX1635" fmla="*/ 2165502 w 12248682"/>
              <a:gd name="connsiteY1635" fmla="*/ 304903 h 823468"/>
              <a:gd name="connsiteX1636" fmla="*/ 2200150 w 12248682"/>
              <a:gd name="connsiteY1636" fmla="*/ 339551 h 823468"/>
              <a:gd name="connsiteX1637" fmla="*/ 2165502 w 12248682"/>
              <a:gd name="connsiteY1637" fmla="*/ 374199 h 823468"/>
              <a:gd name="connsiteX1638" fmla="*/ 2130854 w 12248682"/>
              <a:gd name="connsiteY1638" fmla="*/ 339551 h 823468"/>
              <a:gd name="connsiteX1639" fmla="*/ 2165502 w 12248682"/>
              <a:gd name="connsiteY1639" fmla="*/ 304903 h 823468"/>
              <a:gd name="connsiteX1640" fmla="*/ 1593810 w 12248682"/>
              <a:gd name="connsiteY1640" fmla="*/ 304903 h 823468"/>
              <a:gd name="connsiteX1641" fmla="*/ 1628457 w 12248682"/>
              <a:gd name="connsiteY1641" fmla="*/ 339551 h 823468"/>
              <a:gd name="connsiteX1642" fmla="*/ 1593810 w 12248682"/>
              <a:gd name="connsiteY1642" fmla="*/ 374199 h 823468"/>
              <a:gd name="connsiteX1643" fmla="*/ 1559161 w 12248682"/>
              <a:gd name="connsiteY1643" fmla="*/ 339551 h 823468"/>
              <a:gd name="connsiteX1644" fmla="*/ 1593810 w 12248682"/>
              <a:gd name="connsiteY1644" fmla="*/ 304903 h 823468"/>
              <a:gd name="connsiteX1645" fmla="*/ 1014032 w 12248682"/>
              <a:gd name="connsiteY1645" fmla="*/ 304903 h 823468"/>
              <a:gd name="connsiteX1646" fmla="*/ 1048681 w 12248682"/>
              <a:gd name="connsiteY1646" fmla="*/ 339551 h 823468"/>
              <a:gd name="connsiteX1647" fmla="*/ 1014032 w 12248682"/>
              <a:gd name="connsiteY1647" fmla="*/ 374199 h 823468"/>
              <a:gd name="connsiteX1648" fmla="*/ 979384 w 12248682"/>
              <a:gd name="connsiteY1648" fmla="*/ 339551 h 823468"/>
              <a:gd name="connsiteX1649" fmla="*/ 1014032 w 12248682"/>
              <a:gd name="connsiteY1649" fmla="*/ 304903 h 823468"/>
              <a:gd name="connsiteX1650" fmla="*/ 463129 w 12248682"/>
              <a:gd name="connsiteY1650" fmla="*/ 304903 h 823468"/>
              <a:gd name="connsiteX1651" fmla="*/ 497778 w 12248682"/>
              <a:gd name="connsiteY1651" fmla="*/ 339551 h 823468"/>
              <a:gd name="connsiteX1652" fmla="*/ 463129 w 12248682"/>
              <a:gd name="connsiteY1652" fmla="*/ 374199 h 823468"/>
              <a:gd name="connsiteX1653" fmla="*/ 428481 w 12248682"/>
              <a:gd name="connsiteY1653" fmla="*/ 339551 h 823468"/>
              <a:gd name="connsiteX1654" fmla="*/ 463129 w 12248682"/>
              <a:gd name="connsiteY1654" fmla="*/ 304903 h 823468"/>
              <a:gd name="connsiteX1655" fmla="*/ 11245044 w 12248682"/>
              <a:gd name="connsiteY1655" fmla="*/ 299129 h 823468"/>
              <a:gd name="connsiteX1656" fmla="*/ 11285466 w 12248682"/>
              <a:gd name="connsiteY1656" fmla="*/ 339551 h 823468"/>
              <a:gd name="connsiteX1657" fmla="*/ 11245044 w 12248682"/>
              <a:gd name="connsiteY1657" fmla="*/ 379974 h 823468"/>
              <a:gd name="connsiteX1658" fmla="*/ 11204621 w 12248682"/>
              <a:gd name="connsiteY1658" fmla="*/ 339551 h 823468"/>
              <a:gd name="connsiteX1659" fmla="*/ 11245044 w 12248682"/>
              <a:gd name="connsiteY1659" fmla="*/ 299129 h 823468"/>
              <a:gd name="connsiteX1660" fmla="*/ 10970170 w 12248682"/>
              <a:gd name="connsiteY1660" fmla="*/ 299129 h 823468"/>
              <a:gd name="connsiteX1661" fmla="*/ 11010592 w 12248682"/>
              <a:gd name="connsiteY1661" fmla="*/ 339551 h 823468"/>
              <a:gd name="connsiteX1662" fmla="*/ 10970170 w 12248682"/>
              <a:gd name="connsiteY1662" fmla="*/ 379974 h 823468"/>
              <a:gd name="connsiteX1663" fmla="*/ 10929746 w 12248682"/>
              <a:gd name="connsiteY1663" fmla="*/ 339551 h 823468"/>
              <a:gd name="connsiteX1664" fmla="*/ 10970170 w 12248682"/>
              <a:gd name="connsiteY1664" fmla="*/ 299129 h 823468"/>
              <a:gd name="connsiteX1665" fmla="*/ 10094730 w 12248682"/>
              <a:gd name="connsiteY1665" fmla="*/ 299129 h 823468"/>
              <a:gd name="connsiteX1666" fmla="*/ 10135152 w 12248682"/>
              <a:gd name="connsiteY1666" fmla="*/ 339551 h 823468"/>
              <a:gd name="connsiteX1667" fmla="*/ 10094730 w 12248682"/>
              <a:gd name="connsiteY1667" fmla="*/ 379974 h 823468"/>
              <a:gd name="connsiteX1668" fmla="*/ 10054306 w 12248682"/>
              <a:gd name="connsiteY1668" fmla="*/ 339551 h 823468"/>
              <a:gd name="connsiteX1669" fmla="*/ 10094730 w 12248682"/>
              <a:gd name="connsiteY1669" fmla="*/ 299129 h 823468"/>
              <a:gd name="connsiteX1670" fmla="*/ 9818700 w 12248682"/>
              <a:gd name="connsiteY1670" fmla="*/ 299129 h 823468"/>
              <a:gd name="connsiteX1671" fmla="*/ 9859123 w 12248682"/>
              <a:gd name="connsiteY1671" fmla="*/ 340706 h 823468"/>
              <a:gd name="connsiteX1672" fmla="*/ 9818700 w 12248682"/>
              <a:gd name="connsiteY1672" fmla="*/ 381128 h 823468"/>
              <a:gd name="connsiteX1673" fmla="*/ 9778278 w 12248682"/>
              <a:gd name="connsiteY1673" fmla="*/ 339551 h 823468"/>
              <a:gd name="connsiteX1674" fmla="*/ 9818700 w 12248682"/>
              <a:gd name="connsiteY1674" fmla="*/ 299129 h 823468"/>
              <a:gd name="connsiteX1675" fmla="*/ 8974994 w 12248682"/>
              <a:gd name="connsiteY1675" fmla="*/ 299129 h 823468"/>
              <a:gd name="connsiteX1676" fmla="*/ 9015416 w 12248682"/>
              <a:gd name="connsiteY1676" fmla="*/ 339551 h 823468"/>
              <a:gd name="connsiteX1677" fmla="*/ 8974994 w 12248682"/>
              <a:gd name="connsiteY1677" fmla="*/ 379974 h 823468"/>
              <a:gd name="connsiteX1678" fmla="*/ 8934571 w 12248682"/>
              <a:gd name="connsiteY1678" fmla="*/ 339551 h 823468"/>
              <a:gd name="connsiteX1679" fmla="*/ 8974994 w 12248682"/>
              <a:gd name="connsiteY1679" fmla="*/ 299129 h 823468"/>
              <a:gd name="connsiteX1680" fmla="*/ 8698965 w 12248682"/>
              <a:gd name="connsiteY1680" fmla="*/ 299129 h 823468"/>
              <a:gd name="connsiteX1681" fmla="*/ 8739388 w 12248682"/>
              <a:gd name="connsiteY1681" fmla="*/ 339551 h 823468"/>
              <a:gd name="connsiteX1682" fmla="*/ 8698965 w 12248682"/>
              <a:gd name="connsiteY1682" fmla="*/ 379974 h 823468"/>
              <a:gd name="connsiteX1683" fmla="*/ 8658542 w 12248682"/>
              <a:gd name="connsiteY1683" fmla="*/ 339551 h 823468"/>
              <a:gd name="connsiteX1684" fmla="*/ 8698965 w 12248682"/>
              <a:gd name="connsiteY1684" fmla="*/ 299129 h 823468"/>
              <a:gd name="connsiteX1685" fmla="*/ 6639717 w 12248682"/>
              <a:gd name="connsiteY1685" fmla="*/ 299129 h 823468"/>
              <a:gd name="connsiteX1686" fmla="*/ 6680139 w 12248682"/>
              <a:gd name="connsiteY1686" fmla="*/ 339551 h 823468"/>
              <a:gd name="connsiteX1687" fmla="*/ 6639717 w 12248682"/>
              <a:gd name="connsiteY1687" fmla="*/ 379974 h 823468"/>
              <a:gd name="connsiteX1688" fmla="*/ 6599295 w 12248682"/>
              <a:gd name="connsiteY1688" fmla="*/ 339551 h 823468"/>
              <a:gd name="connsiteX1689" fmla="*/ 6639717 w 12248682"/>
              <a:gd name="connsiteY1689" fmla="*/ 299129 h 823468"/>
              <a:gd name="connsiteX1690" fmla="*/ 6364844 w 12248682"/>
              <a:gd name="connsiteY1690" fmla="*/ 299129 h 823468"/>
              <a:gd name="connsiteX1691" fmla="*/ 6405265 w 12248682"/>
              <a:gd name="connsiteY1691" fmla="*/ 339551 h 823468"/>
              <a:gd name="connsiteX1692" fmla="*/ 6364844 w 12248682"/>
              <a:gd name="connsiteY1692" fmla="*/ 379974 h 823468"/>
              <a:gd name="connsiteX1693" fmla="*/ 6324420 w 12248682"/>
              <a:gd name="connsiteY1693" fmla="*/ 339551 h 823468"/>
              <a:gd name="connsiteX1694" fmla="*/ 6364844 w 12248682"/>
              <a:gd name="connsiteY1694" fmla="*/ 299129 h 823468"/>
              <a:gd name="connsiteX1695" fmla="*/ 5489404 w 12248682"/>
              <a:gd name="connsiteY1695" fmla="*/ 299129 h 823468"/>
              <a:gd name="connsiteX1696" fmla="*/ 5529826 w 12248682"/>
              <a:gd name="connsiteY1696" fmla="*/ 339551 h 823468"/>
              <a:gd name="connsiteX1697" fmla="*/ 5489404 w 12248682"/>
              <a:gd name="connsiteY1697" fmla="*/ 379974 h 823468"/>
              <a:gd name="connsiteX1698" fmla="*/ 5448980 w 12248682"/>
              <a:gd name="connsiteY1698" fmla="*/ 339551 h 823468"/>
              <a:gd name="connsiteX1699" fmla="*/ 5489404 w 12248682"/>
              <a:gd name="connsiteY1699" fmla="*/ 299129 h 823468"/>
              <a:gd name="connsiteX1700" fmla="*/ 5213373 w 12248682"/>
              <a:gd name="connsiteY1700" fmla="*/ 299129 h 823468"/>
              <a:gd name="connsiteX1701" fmla="*/ 5253797 w 12248682"/>
              <a:gd name="connsiteY1701" fmla="*/ 339551 h 823468"/>
              <a:gd name="connsiteX1702" fmla="*/ 5213373 w 12248682"/>
              <a:gd name="connsiteY1702" fmla="*/ 379974 h 823468"/>
              <a:gd name="connsiteX1703" fmla="*/ 5172952 w 12248682"/>
              <a:gd name="connsiteY1703" fmla="*/ 339551 h 823468"/>
              <a:gd name="connsiteX1704" fmla="*/ 5213373 w 12248682"/>
              <a:gd name="connsiteY1704" fmla="*/ 299129 h 823468"/>
              <a:gd name="connsiteX1705" fmla="*/ 4361031 w 12248682"/>
              <a:gd name="connsiteY1705" fmla="*/ 299129 h 823468"/>
              <a:gd name="connsiteX1706" fmla="*/ 4401455 w 12248682"/>
              <a:gd name="connsiteY1706" fmla="*/ 339551 h 823468"/>
              <a:gd name="connsiteX1707" fmla="*/ 4361031 w 12248682"/>
              <a:gd name="connsiteY1707" fmla="*/ 379974 h 823468"/>
              <a:gd name="connsiteX1708" fmla="*/ 4320610 w 12248682"/>
              <a:gd name="connsiteY1708" fmla="*/ 339551 h 823468"/>
              <a:gd name="connsiteX1709" fmla="*/ 4361031 w 12248682"/>
              <a:gd name="connsiteY1709" fmla="*/ 299129 h 823468"/>
              <a:gd name="connsiteX1710" fmla="*/ 4086158 w 12248682"/>
              <a:gd name="connsiteY1710" fmla="*/ 299129 h 823468"/>
              <a:gd name="connsiteX1711" fmla="*/ 4126582 w 12248682"/>
              <a:gd name="connsiteY1711" fmla="*/ 339551 h 823468"/>
              <a:gd name="connsiteX1712" fmla="*/ 4086158 w 12248682"/>
              <a:gd name="connsiteY1712" fmla="*/ 379974 h 823468"/>
              <a:gd name="connsiteX1713" fmla="*/ 4045735 w 12248682"/>
              <a:gd name="connsiteY1713" fmla="*/ 339551 h 823468"/>
              <a:gd name="connsiteX1714" fmla="*/ 4086158 w 12248682"/>
              <a:gd name="connsiteY1714" fmla="*/ 299129 h 823468"/>
              <a:gd name="connsiteX1715" fmla="*/ 2026910 w 12248682"/>
              <a:gd name="connsiteY1715" fmla="*/ 299129 h 823468"/>
              <a:gd name="connsiteX1716" fmla="*/ 2067332 w 12248682"/>
              <a:gd name="connsiteY1716" fmla="*/ 339551 h 823468"/>
              <a:gd name="connsiteX1717" fmla="*/ 2026910 w 12248682"/>
              <a:gd name="connsiteY1717" fmla="*/ 379974 h 823468"/>
              <a:gd name="connsiteX1718" fmla="*/ 1986487 w 12248682"/>
              <a:gd name="connsiteY1718" fmla="*/ 339551 h 823468"/>
              <a:gd name="connsiteX1719" fmla="*/ 2026910 w 12248682"/>
              <a:gd name="connsiteY1719" fmla="*/ 299129 h 823468"/>
              <a:gd name="connsiteX1720" fmla="*/ 1752036 w 12248682"/>
              <a:gd name="connsiteY1720" fmla="*/ 299129 h 823468"/>
              <a:gd name="connsiteX1721" fmla="*/ 1792458 w 12248682"/>
              <a:gd name="connsiteY1721" fmla="*/ 339551 h 823468"/>
              <a:gd name="connsiteX1722" fmla="*/ 1752036 w 12248682"/>
              <a:gd name="connsiteY1722" fmla="*/ 379974 h 823468"/>
              <a:gd name="connsiteX1723" fmla="*/ 1711613 w 12248682"/>
              <a:gd name="connsiteY1723" fmla="*/ 339551 h 823468"/>
              <a:gd name="connsiteX1724" fmla="*/ 1752036 w 12248682"/>
              <a:gd name="connsiteY1724" fmla="*/ 299129 h 823468"/>
              <a:gd name="connsiteX1725" fmla="*/ 876596 w 12248682"/>
              <a:gd name="connsiteY1725" fmla="*/ 299129 h 823468"/>
              <a:gd name="connsiteX1726" fmla="*/ 917018 w 12248682"/>
              <a:gd name="connsiteY1726" fmla="*/ 339551 h 823468"/>
              <a:gd name="connsiteX1727" fmla="*/ 876596 w 12248682"/>
              <a:gd name="connsiteY1727" fmla="*/ 379974 h 823468"/>
              <a:gd name="connsiteX1728" fmla="*/ 836172 w 12248682"/>
              <a:gd name="connsiteY1728" fmla="*/ 339551 h 823468"/>
              <a:gd name="connsiteX1729" fmla="*/ 876596 w 12248682"/>
              <a:gd name="connsiteY1729" fmla="*/ 299129 h 823468"/>
              <a:gd name="connsiteX1730" fmla="*/ 600566 w 12248682"/>
              <a:gd name="connsiteY1730" fmla="*/ 299129 h 823468"/>
              <a:gd name="connsiteX1731" fmla="*/ 640989 w 12248682"/>
              <a:gd name="connsiteY1731" fmla="*/ 340706 h 823468"/>
              <a:gd name="connsiteX1732" fmla="*/ 600566 w 12248682"/>
              <a:gd name="connsiteY1732" fmla="*/ 381128 h 823468"/>
              <a:gd name="connsiteX1733" fmla="*/ 560144 w 12248682"/>
              <a:gd name="connsiteY1733" fmla="*/ 339551 h 823468"/>
              <a:gd name="connsiteX1734" fmla="*/ 600566 w 12248682"/>
              <a:gd name="connsiteY1734" fmla="*/ 299129 h 823468"/>
              <a:gd name="connsiteX1735" fmla="*/ 11107606 w 12248682"/>
              <a:gd name="connsiteY1735" fmla="*/ 288734 h 823468"/>
              <a:gd name="connsiteX1736" fmla="*/ 11158424 w 12248682"/>
              <a:gd name="connsiteY1736" fmla="*/ 339551 h 823468"/>
              <a:gd name="connsiteX1737" fmla="*/ 11107606 w 12248682"/>
              <a:gd name="connsiteY1737" fmla="*/ 390368 h 823468"/>
              <a:gd name="connsiteX1738" fmla="*/ 11056789 w 12248682"/>
              <a:gd name="connsiteY1738" fmla="*/ 339551 h 823468"/>
              <a:gd name="connsiteX1739" fmla="*/ 11107606 w 12248682"/>
              <a:gd name="connsiteY1739" fmla="*/ 288734 h 823468"/>
              <a:gd name="connsiteX1740" fmla="*/ 9957292 w 12248682"/>
              <a:gd name="connsiteY1740" fmla="*/ 288734 h 823468"/>
              <a:gd name="connsiteX1741" fmla="*/ 10008109 w 12248682"/>
              <a:gd name="connsiteY1741" fmla="*/ 339551 h 823468"/>
              <a:gd name="connsiteX1742" fmla="*/ 9957292 w 12248682"/>
              <a:gd name="connsiteY1742" fmla="*/ 390368 h 823468"/>
              <a:gd name="connsiteX1743" fmla="*/ 9906475 w 12248682"/>
              <a:gd name="connsiteY1743" fmla="*/ 339551 h 823468"/>
              <a:gd name="connsiteX1744" fmla="*/ 9957292 w 12248682"/>
              <a:gd name="connsiteY1744" fmla="*/ 288734 h 823468"/>
              <a:gd name="connsiteX1745" fmla="*/ 8836402 w 12248682"/>
              <a:gd name="connsiteY1745" fmla="*/ 288734 h 823468"/>
              <a:gd name="connsiteX1746" fmla="*/ 8887219 w 12248682"/>
              <a:gd name="connsiteY1746" fmla="*/ 339551 h 823468"/>
              <a:gd name="connsiteX1747" fmla="*/ 8836402 w 12248682"/>
              <a:gd name="connsiteY1747" fmla="*/ 390368 h 823468"/>
              <a:gd name="connsiteX1748" fmla="*/ 8785585 w 12248682"/>
              <a:gd name="connsiteY1748" fmla="*/ 339551 h 823468"/>
              <a:gd name="connsiteX1749" fmla="*/ 8836402 w 12248682"/>
              <a:gd name="connsiteY1749" fmla="*/ 288734 h 823468"/>
              <a:gd name="connsiteX1750" fmla="*/ 6502281 w 12248682"/>
              <a:gd name="connsiteY1750" fmla="*/ 288734 h 823468"/>
              <a:gd name="connsiteX1751" fmla="*/ 6553098 w 12248682"/>
              <a:gd name="connsiteY1751" fmla="*/ 339551 h 823468"/>
              <a:gd name="connsiteX1752" fmla="*/ 6502281 w 12248682"/>
              <a:gd name="connsiteY1752" fmla="*/ 390368 h 823468"/>
              <a:gd name="connsiteX1753" fmla="*/ 6451462 w 12248682"/>
              <a:gd name="connsiteY1753" fmla="*/ 339551 h 823468"/>
              <a:gd name="connsiteX1754" fmla="*/ 6502281 w 12248682"/>
              <a:gd name="connsiteY1754" fmla="*/ 288734 h 823468"/>
              <a:gd name="connsiteX1755" fmla="*/ 5351966 w 12248682"/>
              <a:gd name="connsiteY1755" fmla="*/ 288734 h 823468"/>
              <a:gd name="connsiteX1756" fmla="*/ 5402784 w 12248682"/>
              <a:gd name="connsiteY1756" fmla="*/ 339551 h 823468"/>
              <a:gd name="connsiteX1757" fmla="*/ 5351966 w 12248682"/>
              <a:gd name="connsiteY1757" fmla="*/ 390368 h 823468"/>
              <a:gd name="connsiteX1758" fmla="*/ 5301149 w 12248682"/>
              <a:gd name="connsiteY1758" fmla="*/ 339551 h 823468"/>
              <a:gd name="connsiteX1759" fmla="*/ 5351966 w 12248682"/>
              <a:gd name="connsiteY1759" fmla="*/ 288734 h 823468"/>
              <a:gd name="connsiteX1760" fmla="*/ 4223596 w 12248682"/>
              <a:gd name="connsiteY1760" fmla="*/ 288734 h 823468"/>
              <a:gd name="connsiteX1761" fmla="*/ 4274413 w 12248682"/>
              <a:gd name="connsiteY1761" fmla="*/ 339551 h 823468"/>
              <a:gd name="connsiteX1762" fmla="*/ 4223596 w 12248682"/>
              <a:gd name="connsiteY1762" fmla="*/ 390368 h 823468"/>
              <a:gd name="connsiteX1763" fmla="*/ 4172779 w 12248682"/>
              <a:gd name="connsiteY1763" fmla="*/ 339551 h 823468"/>
              <a:gd name="connsiteX1764" fmla="*/ 4223596 w 12248682"/>
              <a:gd name="connsiteY1764" fmla="*/ 288734 h 823468"/>
              <a:gd name="connsiteX1765" fmla="*/ 1889473 w 12248682"/>
              <a:gd name="connsiteY1765" fmla="*/ 288734 h 823468"/>
              <a:gd name="connsiteX1766" fmla="*/ 1940290 w 12248682"/>
              <a:gd name="connsiteY1766" fmla="*/ 339551 h 823468"/>
              <a:gd name="connsiteX1767" fmla="*/ 1889473 w 12248682"/>
              <a:gd name="connsiteY1767" fmla="*/ 390368 h 823468"/>
              <a:gd name="connsiteX1768" fmla="*/ 1838656 w 12248682"/>
              <a:gd name="connsiteY1768" fmla="*/ 339551 h 823468"/>
              <a:gd name="connsiteX1769" fmla="*/ 1889473 w 12248682"/>
              <a:gd name="connsiteY1769" fmla="*/ 288734 h 823468"/>
              <a:gd name="connsiteX1770" fmla="*/ 739158 w 12248682"/>
              <a:gd name="connsiteY1770" fmla="*/ 288734 h 823468"/>
              <a:gd name="connsiteX1771" fmla="*/ 789975 w 12248682"/>
              <a:gd name="connsiteY1771" fmla="*/ 339551 h 823468"/>
              <a:gd name="connsiteX1772" fmla="*/ 739158 w 12248682"/>
              <a:gd name="connsiteY1772" fmla="*/ 390368 h 823468"/>
              <a:gd name="connsiteX1773" fmla="*/ 688341 w 12248682"/>
              <a:gd name="connsiteY1773" fmla="*/ 339551 h 823468"/>
              <a:gd name="connsiteX1774" fmla="*/ 739158 w 12248682"/>
              <a:gd name="connsiteY1774" fmla="*/ 288734 h 823468"/>
              <a:gd name="connsiteX1775" fmla="*/ 12227892 w 12248682"/>
              <a:gd name="connsiteY1775" fmla="*/ 175550 h 823468"/>
              <a:gd name="connsiteX1776" fmla="*/ 12248682 w 12248682"/>
              <a:gd name="connsiteY1776" fmla="*/ 196339 h 823468"/>
              <a:gd name="connsiteX1777" fmla="*/ 12227892 w 12248682"/>
              <a:gd name="connsiteY1777" fmla="*/ 217128 h 823468"/>
              <a:gd name="connsiteX1778" fmla="*/ 12207104 w 12248682"/>
              <a:gd name="connsiteY1778" fmla="*/ 196339 h 823468"/>
              <a:gd name="connsiteX1779" fmla="*/ 12227892 w 12248682"/>
              <a:gd name="connsiteY1779" fmla="*/ 175550 h 823468"/>
              <a:gd name="connsiteX1780" fmla="*/ 12091610 w 12248682"/>
              <a:gd name="connsiteY1780" fmla="*/ 175550 h 823468"/>
              <a:gd name="connsiteX1781" fmla="*/ 12112399 w 12248682"/>
              <a:gd name="connsiteY1781" fmla="*/ 196339 h 823468"/>
              <a:gd name="connsiteX1782" fmla="*/ 12091610 w 12248682"/>
              <a:gd name="connsiteY1782" fmla="*/ 217128 h 823468"/>
              <a:gd name="connsiteX1783" fmla="*/ 12070822 w 12248682"/>
              <a:gd name="connsiteY1783" fmla="*/ 196339 h 823468"/>
              <a:gd name="connsiteX1784" fmla="*/ 12091610 w 12248682"/>
              <a:gd name="connsiteY1784" fmla="*/ 175550 h 823468"/>
              <a:gd name="connsiteX1785" fmla="*/ 11956484 w 12248682"/>
              <a:gd name="connsiteY1785" fmla="*/ 175550 h 823468"/>
              <a:gd name="connsiteX1786" fmla="*/ 11977272 w 12248682"/>
              <a:gd name="connsiteY1786" fmla="*/ 196339 h 823468"/>
              <a:gd name="connsiteX1787" fmla="*/ 11956484 w 12248682"/>
              <a:gd name="connsiteY1787" fmla="*/ 217128 h 823468"/>
              <a:gd name="connsiteX1788" fmla="*/ 11935695 w 12248682"/>
              <a:gd name="connsiteY1788" fmla="*/ 196339 h 823468"/>
              <a:gd name="connsiteX1789" fmla="*/ 11956484 w 12248682"/>
              <a:gd name="connsiteY1789" fmla="*/ 175550 h 823468"/>
              <a:gd name="connsiteX1790" fmla="*/ 11821356 w 12248682"/>
              <a:gd name="connsiteY1790" fmla="*/ 175550 h 823468"/>
              <a:gd name="connsiteX1791" fmla="*/ 11842144 w 12248682"/>
              <a:gd name="connsiteY1791" fmla="*/ 196339 h 823468"/>
              <a:gd name="connsiteX1792" fmla="*/ 11821356 w 12248682"/>
              <a:gd name="connsiteY1792" fmla="*/ 217128 h 823468"/>
              <a:gd name="connsiteX1793" fmla="*/ 11800567 w 12248682"/>
              <a:gd name="connsiteY1793" fmla="*/ 196339 h 823468"/>
              <a:gd name="connsiteX1794" fmla="*/ 11821356 w 12248682"/>
              <a:gd name="connsiteY1794" fmla="*/ 175550 h 823468"/>
              <a:gd name="connsiteX1795" fmla="*/ 11685074 w 12248682"/>
              <a:gd name="connsiteY1795" fmla="*/ 175550 h 823468"/>
              <a:gd name="connsiteX1796" fmla="*/ 11705862 w 12248682"/>
              <a:gd name="connsiteY1796" fmla="*/ 196339 h 823468"/>
              <a:gd name="connsiteX1797" fmla="*/ 11685074 w 12248682"/>
              <a:gd name="connsiteY1797" fmla="*/ 217128 h 823468"/>
              <a:gd name="connsiteX1798" fmla="*/ 11664285 w 12248682"/>
              <a:gd name="connsiteY1798" fmla="*/ 196339 h 823468"/>
              <a:gd name="connsiteX1799" fmla="*/ 11685074 w 12248682"/>
              <a:gd name="connsiteY1799" fmla="*/ 175550 h 823468"/>
              <a:gd name="connsiteX1800" fmla="*/ 10736873 w 12248682"/>
              <a:gd name="connsiteY1800" fmla="*/ 175550 h 823468"/>
              <a:gd name="connsiteX1801" fmla="*/ 10757662 w 12248682"/>
              <a:gd name="connsiteY1801" fmla="*/ 196339 h 823468"/>
              <a:gd name="connsiteX1802" fmla="*/ 10736873 w 12248682"/>
              <a:gd name="connsiteY1802" fmla="*/ 217128 h 823468"/>
              <a:gd name="connsiteX1803" fmla="*/ 10716084 w 12248682"/>
              <a:gd name="connsiteY1803" fmla="*/ 196339 h 823468"/>
              <a:gd name="connsiteX1804" fmla="*/ 10736873 w 12248682"/>
              <a:gd name="connsiteY1804" fmla="*/ 175550 h 823468"/>
              <a:gd name="connsiteX1805" fmla="*/ 10601745 w 12248682"/>
              <a:gd name="connsiteY1805" fmla="*/ 175550 h 823468"/>
              <a:gd name="connsiteX1806" fmla="*/ 10622534 w 12248682"/>
              <a:gd name="connsiteY1806" fmla="*/ 196339 h 823468"/>
              <a:gd name="connsiteX1807" fmla="*/ 10601745 w 12248682"/>
              <a:gd name="connsiteY1807" fmla="*/ 217128 h 823468"/>
              <a:gd name="connsiteX1808" fmla="*/ 10580956 w 12248682"/>
              <a:gd name="connsiteY1808" fmla="*/ 196339 h 823468"/>
              <a:gd name="connsiteX1809" fmla="*/ 10601745 w 12248682"/>
              <a:gd name="connsiteY1809" fmla="*/ 175550 h 823468"/>
              <a:gd name="connsiteX1810" fmla="*/ 8027949 w 12248682"/>
              <a:gd name="connsiteY1810" fmla="*/ 175550 h 823468"/>
              <a:gd name="connsiteX1811" fmla="*/ 8048737 w 12248682"/>
              <a:gd name="connsiteY1811" fmla="*/ 196339 h 823468"/>
              <a:gd name="connsiteX1812" fmla="*/ 8027949 w 12248682"/>
              <a:gd name="connsiteY1812" fmla="*/ 217128 h 823468"/>
              <a:gd name="connsiteX1813" fmla="*/ 8007160 w 12248682"/>
              <a:gd name="connsiteY1813" fmla="*/ 196339 h 823468"/>
              <a:gd name="connsiteX1814" fmla="*/ 8027949 w 12248682"/>
              <a:gd name="connsiteY1814" fmla="*/ 175550 h 823468"/>
              <a:gd name="connsiteX1815" fmla="*/ 7892822 w 12248682"/>
              <a:gd name="connsiteY1815" fmla="*/ 175550 h 823468"/>
              <a:gd name="connsiteX1816" fmla="*/ 7913611 w 12248682"/>
              <a:gd name="connsiteY1816" fmla="*/ 196339 h 823468"/>
              <a:gd name="connsiteX1817" fmla="*/ 7892822 w 12248682"/>
              <a:gd name="connsiteY1817" fmla="*/ 217128 h 823468"/>
              <a:gd name="connsiteX1818" fmla="*/ 7872031 w 12248682"/>
              <a:gd name="connsiteY1818" fmla="*/ 196339 h 823468"/>
              <a:gd name="connsiteX1819" fmla="*/ 7892822 w 12248682"/>
              <a:gd name="connsiteY1819" fmla="*/ 175550 h 823468"/>
              <a:gd name="connsiteX1820" fmla="*/ 7757693 w 12248682"/>
              <a:gd name="connsiteY1820" fmla="*/ 175550 h 823468"/>
              <a:gd name="connsiteX1821" fmla="*/ 7778483 w 12248682"/>
              <a:gd name="connsiteY1821" fmla="*/ 196339 h 823468"/>
              <a:gd name="connsiteX1822" fmla="*/ 7757693 w 12248682"/>
              <a:gd name="connsiteY1822" fmla="*/ 217128 h 823468"/>
              <a:gd name="connsiteX1823" fmla="*/ 7736906 w 12248682"/>
              <a:gd name="connsiteY1823" fmla="*/ 196339 h 823468"/>
              <a:gd name="connsiteX1824" fmla="*/ 7757693 w 12248682"/>
              <a:gd name="connsiteY1824" fmla="*/ 175550 h 823468"/>
              <a:gd name="connsiteX1825" fmla="*/ 7622566 w 12248682"/>
              <a:gd name="connsiteY1825" fmla="*/ 175550 h 823468"/>
              <a:gd name="connsiteX1826" fmla="*/ 7643355 w 12248682"/>
              <a:gd name="connsiteY1826" fmla="*/ 196339 h 823468"/>
              <a:gd name="connsiteX1827" fmla="*/ 7622566 w 12248682"/>
              <a:gd name="connsiteY1827" fmla="*/ 217128 h 823468"/>
              <a:gd name="connsiteX1828" fmla="*/ 7601778 w 12248682"/>
              <a:gd name="connsiteY1828" fmla="*/ 196339 h 823468"/>
              <a:gd name="connsiteX1829" fmla="*/ 7622566 w 12248682"/>
              <a:gd name="connsiteY1829" fmla="*/ 175550 h 823468"/>
              <a:gd name="connsiteX1830" fmla="*/ 7486284 w 12248682"/>
              <a:gd name="connsiteY1830" fmla="*/ 175550 h 823468"/>
              <a:gd name="connsiteX1831" fmla="*/ 7507074 w 12248682"/>
              <a:gd name="connsiteY1831" fmla="*/ 196339 h 823468"/>
              <a:gd name="connsiteX1832" fmla="*/ 7486284 w 12248682"/>
              <a:gd name="connsiteY1832" fmla="*/ 217128 h 823468"/>
              <a:gd name="connsiteX1833" fmla="*/ 7465495 w 12248682"/>
              <a:gd name="connsiteY1833" fmla="*/ 196339 h 823468"/>
              <a:gd name="connsiteX1834" fmla="*/ 7486284 w 12248682"/>
              <a:gd name="connsiteY1834" fmla="*/ 175550 h 823468"/>
              <a:gd name="connsiteX1835" fmla="*/ 7351157 w 12248682"/>
              <a:gd name="connsiteY1835" fmla="*/ 175550 h 823468"/>
              <a:gd name="connsiteX1836" fmla="*/ 7371946 w 12248682"/>
              <a:gd name="connsiteY1836" fmla="*/ 196339 h 823468"/>
              <a:gd name="connsiteX1837" fmla="*/ 7351157 w 12248682"/>
              <a:gd name="connsiteY1837" fmla="*/ 217128 h 823468"/>
              <a:gd name="connsiteX1838" fmla="*/ 7330369 w 12248682"/>
              <a:gd name="connsiteY1838" fmla="*/ 196339 h 823468"/>
              <a:gd name="connsiteX1839" fmla="*/ 7351157 w 12248682"/>
              <a:gd name="connsiteY1839" fmla="*/ 175550 h 823468"/>
              <a:gd name="connsiteX1840" fmla="*/ 7216030 w 12248682"/>
              <a:gd name="connsiteY1840" fmla="*/ 175550 h 823468"/>
              <a:gd name="connsiteX1841" fmla="*/ 7236819 w 12248682"/>
              <a:gd name="connsiteY1841" fmla="*/ 196339 h 823468"/>
              <a:gd name="connsiteX1842" fmla="*/ 7216030 w 12248682"/>
              <a:gd name="connsiteY1842" fmla="*/ 217128 h 823468"/>
              <a:gd name="connsiteX1843" fmla="*/ 7195241 w 12248682"/>
              <a:gd name="connsiteY1843" fmla="*/ 196339 h 823468"/>
              <a:gd name="connsiteX1844" fmla="*/ 7216030 w 12248682"/>
              <a:gd name="connsiteY1844" fmla="*/ 175550 h 823468"/>
              <a:gd name="connsiteX1845" fmla="*/ 7079748 w 12248682"/>
              <a:gd name="connsiteY1845" fmla="*/ 175550 h 823468"/>
              <a:gd name="connsiteX1846" fmla="*/ 7100537 w 12248682"/>
              <a:gd name="connsiteY1846" fmla="*/ 196339 h 823468"/>
              <a:gd name="connsiteX1847" fmla="*/ 7079748 w 12248682"/>
              <a:gd name="connsiteY1847" fmla="*/ 217128 h 823468"/>
              <a:gd name="connsiteX1848" fmla="*/ 7058959 w 12248682"/>
              <a:gd name="connsiteY1848" fmla="*/ 196339 h 823468"/>
              <a:gd name="connsiteX1849" fmla="*/ 7079748 w 12248682"/>
              <a:gd name="connsiteY1849" fmla="*/ 175550 h 823468"/>
              <a:gd name="connsiteX1850" fmla="*/ 6131548 w 12248682"/>
              <a:gd name="connsiteY1850" fmla="*/ 175550 h 823468"/>
              <a:gd name="connsiteX1851" fmla="*/ 6152336 w 12248682"/>
              <a:gd name="connsiteY1851" fmla="*/ 196339 h 823468"/>
              <a:gd name="connsiteX1852" fmla="*/ 6131548 w 12248682"/>
              <a:gd name="connsiteY1852" fmla="*/ 217128 h 823468"/>
              <a:gd name="connsiteX1853" fmla="*/ 6110759 w 12248682"/>
              <a:gd name="connsiteY1853" fmla="*/ 196339 h 823468"/>
              <a:gd name="connsiteX1854" fmla="*/ 6131548 w 12248682"/>
              <a:gd name="connsiteY1854" fmla="*/ 175550 h 823468"/>
              <a:gd name="connsiteX1855" fmla="*/ 5996418 w 12248682"/>
              <a:gd name="connsiteY1855" fmla="*/ 175550 h 823468"/>
              <a:gd name="connsiteX1856" fmla="*/ 6017209 w 12248682"/>
              <a:gd name="connsiteY1856" fmla="*/ 196339 h 823468"/>
              <a:gd name="connsiteX1857" fmla="*/ 5996418 w 12248682"/>
              <a:gd name="connsiteY1857" fmla="*/ 217128 h 823468"/>
              <a:gd name="connsiteX1858" fmla="*/ 5975630 w 12248682"/>
              <a:gd name="connsiteY1858" fmla="*/ 196339 h 823468"/>
              <a:gd name="connsiteX1859" fmla="*/ 5996418 w 12248682"/>
              <a:gd name="connsiteY1859" fmla="*/ 175550 h 823468"/>
              <a:gd name="connsiteX1860" fmla="*/ 3415142 w 12248682"/>
              <a:gd name="connsiteY1860" fmla="*/ 175550 h 823468"/>
              <a:gd name="connsiteX1861" fmla="*/ 3435930 w 12248682"/>
              <a:gd name="connsiteY1861" fmla="*/ 196339 h 823468"/>
              <a:gd name="connsiteX1862" fmla="*/ 3415142 w 12248682"/>
              <a:gd name="connsiteY1862" fmla="*/ 217128 h 823468"/>
              <a:gd name="connsiteX1863" fmla="*/ 3394352 w 12248682"/>
              <a:gd name="connsiteY1863" fmla="*/ 196339 h 823468"/>
              <a:gd name="connsiteX1864" fmla="*/ 3415142 w 12248682"/>
              <a:gd name="connsiteY1864" fmla="*/ 175550 h 823468"/>
              <a:gd name="connsiteX1865" fmla="*/ 3280013 w 12248682"/>
              <a:gd name="connsiteY1865" fmla="*/ 175550 h 823468"/>
              <a:gd name="connsiteX1866" fmla="*/ 3300802 w 12248682"/>
              <a:gd name="connsiteY1866" fmla="*/ 196339 h 823468"/>
              <a:gd name="connsiteX1867" fmla="*/ 3280013 w 12248682"/>
              <a:gd name="connsiteY1867" fmla="*/ 217128 h 823468"/>
              <a:gd name="connsiteX1868" fmla="*/ 3259224 w 12248682"/>
              <a:gd name="connsiteY1868" fmla="*/ 196339 h 823468"/>
              <a:gd name="connsiteX1869" fmla="*/ 3280013 w 12248682"/>
              <a:gd name="connsiteY1869" fmla="*/ 175550 h 823468"/>
              <a:gd name="connsiteX1870" fmla="*/ 3144887 w 12248682"/>
              <a:gd name="connsiteY1870" fmla="*/ 175550 h 823468"/>
              <a:gd name="connsiteX1871" fmla="*/ 3165675 w 12248682"/>
              <a:gd name="connsiteY1871" fmla="*/ 196339 h 823468"/>
              <a:gd name="connsiteX1872" fmla="*/ 3144887 w 12248682"/>
              <a:gd name="connsiteY1872" fmla="*/ 217128 h 823468"/>
              <a:gd name="connsiteX1873" fmla="*/ 3124098 w 12248682"/>
              <a:gd name="connsiteY1873" fmla="*/ 196339 h 823468"/>
              <a:gd name="connsiteX1874" fmla="*/ 3144887 w 12248682"/>
              <a:gd name="connsiteY1874" fmla="*/ 175550 h 823468"/>
              <a:gd name="connsiteX1875" fmla="*/ 3009759 w 12248682"/>
              <a:gd name="connsiteY1875" fmla="*/ 175550 h 823468"/>
              <a:gd name="connsiteX1876" fmla="*/ 3030548 w 12248682"/>
              <a:gd name="connsiteY1876" fmla="*/ 196339 h 823468"/>
              <a:gd name="connsiteX1877" fmla="*/ 3009759 w 12248682"/>
              <a:gd name="connsiteY1877" fmla="*/ 217128 h 823468"/>
              <a:gd name="connsiteX1878" fmla="*/ 2988971 w 12248682"/>
              <a:gd name="connsiteY1878" fmla="*/ 196339 h 823468"/>
              <a:gd name="connsiteX1879" fmla="*/ 3009759 w 12248682"/>
              <a:gd name="connsiteY1879" fmla="*/ 175550 h 823468"/>
              <a:gd name="connsiteX1880" fmla="*/ 2873476 w 12248682"/>
              <a:gd name="connsiteY1880" fmla="*/ 175550 h 823468"/>
              <a:gd name="connsiteX1881" fmla="*/ 2894265 w 12248682"/>
              <a:gd name="connsiteY1881" fmla="*/ 196339 h 823468"/>
              <a:gd name="connsiteX1882" fmla="*/ 2873476 w 12248682"/>
              <a:gd name="connsiteY1882" fmla="*/ 217128 h 823468"/>
              <a:gd name="connsiteX1883" fmla="*/ 2852688 w 12248682"/>
              <a:gd name="connsiteY1883" fmla="*/ 196339 h 823468"/>
              <a:gd name="connsiteX1884" fmla="*/ 2873476 w 12248682"/>
              <a:gd name="connsiteY1884" fmla="*/ 175550 h 823468"/>
              <a:gd name="connsiteX1885" fmla="*/ 2738350 w 12248682"/>
              <a:gd name="connsiteY1885" fmla="*/ 175550 h 823468"/>
              <a:gd name="connsiteX1886" fmla="*/ 2759139 w 12248682"/>
              <a:gd name="connsiteY1886" fmla="*/ 196339 h 823468"/>
              <a:gd name="connsiteX1887" fmla="*/ 2738350 w 12248682"/>
              <a:gd name="connsiteY1887" fmla="*/ 217128 h 823468"/>
              <a:gd name="connsiteX1888" fmla="*/ 2717562 w 12248682"/>
              <a:gd name="connsiteY1888" fmla="*/ 196339 h 823468"/>
              <a:gd name="connsiteX1889" fmla="*/ 2738350 w 12248682"/>
              <a:gd name="connsiteY1889" fmla="*/ 175550 h 823468"/>
              <a:gd name="connsiteX1890" fmla="*/ 2603222 w 12248682"/>
              <a:gd name="connsiteY1890" fmla="*/ 175550 h 823468"/>
              <a:gd name="connsiteX1891" fmla="*/ 2624011 w 12248682"/>
              <a:gd name="connsiteY1891" fmla="*/ 196339 h 823468"/>
              <a:gd name="connsiteX1892" fmla="*/ 2603222 w 12248682"/>
              <a:gd name="connsiteY1892" fmla="*/ 217128 h 823468"/>
              <a:gd name="connsiteX1893" fmla="*/ 2582433 w 12248682"/>
              <a:gd name="connsiteY1893" fmla="*/ 196339 h 823468"/>
              <a:gd name="connsiteX1894" fmla="*/ 2603222 w 12248682"/>
              <a:gd name="connsiteY1894" fmla="*/ 175550 h 823468"/>
              <a:gd name="connsiteX1895" fmla="*/ 2466940 w 12248682"/>
              <a:gd name="connsiteY1895" fmla="*/ 175550 h 823468"/>
              <a:gd name="connsiteX1896" fmla="*/ 2487729 w 12248682"/>
              <a:gd name="connsiteY1896" fmla="*/ 196339 h 823468"/>
              <a:gd name="connsiteX1897" fmla="*/ 2466940 w 12248682"/>
              <a:gd name="connsiteY1897" fmla="*/ 217128 h 823468"/>
              <a:gd name="connsiteX1898" fmla="*/ 2446151 w 12248682"/>
              <a:gd name="connsiteY1898" fmla="*/ 196339 h 823468"/>
              <a:gd name="connsiteX1899" fmla="*/ 2466940 w 12248682"/>
              <a:gd name="connsiteY1899" fmla="*/ 175550 h 823468"/>
              <a:gd name="connsiteX1900" fmla="*/ 1518739 w 12248682"/>
              <a:gd name="connsiteY1900" fmla="*/ 175550 h 823468"/>
              <a:gd name="connsiteX1901" fmla="*/ 1539528 w 12248682"/>
              <a:gd name="connsiteY1901" fmla="*/ 196339 h 823468"/>
              <a:gd name="connsiteX1902" fmla="*/ 1518739 w 12248682"/>
              <a:gd name="connsiteY1902" fmla="*/ 217128 h 823468"/>
              <a:gd name="connsiteX1903" fmla="*/ 1497951 w 12248682"/>
              <a:gd name="connsiteY1903" fmla="*/ 196339 h 823468"/>
              <a:gd name="connsiteX1904" fmla="*/ 1518739 w 12248682"/>
              <a:gd name="connsiteY1904" fmla="*/ 175550 h 823468"/>
              <a:gd name="connsiteX1905" fmla="*/ 1383611 w 12248682"/>
              <a:gd name="connsiteY1905" fmla="*/ 175550 h 823468"/>
              <a:gd name="connsiteX1906" fmla="*/ 1404400 w 12248682"/>
              <a:gd name="connsiteY1906" fmla="*/ 196339 h 823468"/>
              <a:gd name="connsiteX1907" fmla="*/ 1383611 w 12248682"/>
              <a:gd name="connsiteY1907" fmla="*/ 217128 h 823468"/>
              <a:gd name="connsiteX1908" fmla="*/ 1362823 w 12248682"/>
              <a:gd name="connsiteY1908" fmla="*/ 196339 h 823468"/>
              <a:gd name="connsiteX1909" fmla="*/ 1383611 w 12248682"/>
              <a:gd name="connsiteY1909" fmla="*/ 175550 h 823468"/>
              <a:gd name="connsiteX1910" fmla="*/ 11549947 w 12248682"/>
              <a:gd name="connsiteY1910" fmla="*/ 172086 h 823468"/>
              <a:gd name="connsiteX1911" fmla="*/ 11573046 w 12248682"/>
              <a:gd name="connsiteY1911" fmla="*/ 195185 h 823468"/>
              <a:gd name="connsiteX1912" fmla="*/ 11549947 w 12248682"/>
              <a:gd name="connsiteY1912" fmla="*/ 218283 h 823468"/>
              <a:gd name="connsiteX1913" fmla="*/ 11526848 w 12248682"/>
              <a:gd name="connsiteY1913" fmla="*/ 195185 h 823468"/>
              <a:gd name="connsiteX1914" fmla="*/ 11549947 w 12248682"/>
              <a:gd name="connsiteY1914" fmla="*/ 172086 h 823468"/>
              <a:gd name="connsiteX1915" fmla="*/ 10466618 w 12248682"/>
              <a:gd name="connsiteY1915" fmla="*/ 172086 h 823468"/>
              <a:gd name="connsiteX1916" fmla="*/ 10489717 w 12248682"/>
              <a:gd name="connsiteY1916" fmla="*/ 195185 h 823468"/>
              <a:gd name="connsiteX1917" fmla="*/ 10466618 w 12248682"/>
              <a:gd name="connsiteY1917" fmla="*/ 218283 h 823468"/>
              <a:gd name="connsiteX1918" fmla="*/ 10443520 w 12248682"/>
              <a:gd name="connsiteY1918" fmla="*/ 195185 h 823468"/>
              <a:gd name="connsiteX1919" fmla="*/ 10466618 w 12248682"/>
              <a:gd name="connsiteY1919" fmla="*/ 172086 h 823468"/>
              <a:gd name="connsiteX1920" fmla="*/ 9244698 w 12248682"/>
              <a:gd name="connsiteY1920" fmla="*/ 172086 h 823468"/>
              <a:gd name="connsiteX1921" fmla="*/ 9270107 w 12248682"/>
              <a:gd name="connsiteY1921" fmla="*/ 194029 h 823468"/>
              <a:gd name="connsiteX1922" fmla="*/ 9249318 w 12248682"/>
              <a:gd name="connsiteY1922" fmla="*/ 219438 h 823468"/>
              <a:gd name="connsiteX1923" fmla="*/ 9223909 w 12248682"/>
              <a:gd name="connsiteY1923" fmla="*/ 197494 h 823468"/>
              <a:gd name="connsiteX1924" fmla="*/ 9244698 w 12248682"/>
              <a:gd name="connsiteY1924" fmla="*/ 172086 h 823468"/>
              <a:gd name="connsiteX1925" fmla="*/ 8164231 w 12248682"/>
              <a:gd name="connsiteY1925" fmla="*/ 172086 h 823468"/>
              <a:gd name="connsiteX1926" fmla="*/ 8187331 w 12248682"/>
              <a:gd name="connsiteY1926" fmla="*/ 195185 h 823468"/>
              <a:gd name="connsiteX1927" fmla="*/ 8164231 w 12248682"/>
              <a:gd name="connsiteY1927" fmla="*/ 218283 h 823468"/>
              <a:gd name="connsiteX1928" fmla="*/ 8141133 w 12248682"/>
              <a:gd name="connsiteY1928" fmla="*/ 195185 h 823468"/>
              <a:gd name="connsiteX1929" fmla="*/ 8164231 w 12248682"/>
              <a:gd name="connsiteY1929" fmla="*/ 172086 h 823468"/>
              <a:gd name="connsiteX1930" fmla="*/ 6944621 w 12248682"/>
              <a:gd name="connsiteY1930" fmla="*/ 172086 h 823468"/>
              <a:gd name="connsiteX1931" fmla="*/ 6967719 w 12248682"/>
              <a:gd name="connsiteY1931" fmla="*/ 195185 h 823468"/>
              <a:gd name="connsiteX1932" fmla="*/ 6944621 w 12248682"/>
              <a:gd name="connsiteY1932" fmla="*/ 218283 h 823468"/>
              <a:gd name="connsiteX1933" fmla="*/ 6921522 w 12248682"/>
              <a:gd name="connsiteY1933" fmla="*/ 195185 h 823468"/>
              <a:gd name="connsiteX1934" fmla="*/ 6944621 w 12248682"/>
              <a:gd name="connsiteY1934" fmla="*/ 172086 h 823468"/>
              <a:gd name="connsiteX1935" fmla="*/ 5861292 w 12248682"/>
              <a:gd name="connsiteY1935" fmla="*/ 172086 h 823468"/>
              <a:gd name="connsiteX1936" fmla="*/ 5884392 w 12248682"/>
              <a:gd name="connsiteY1936" fmla="*/ 195185 h 823468"/>
              <a:gd name="connsiteX1937" fmla="*/ 5861292 w 12248682"/>
              <a:gd name="connsiteY1937" fmla="*/ 218283 h 823468"/>
              <a:gd name="connsiteX1938" fmla="*/ 5838194 w 12248682"/>
              <a:gd name="connsiteY1938" fmla="*/ 195185 h 823468"/>
              <a:gd name="connsiteX1939" fmla="*/ 5861292 w 12248682"/>
              <a:gd name="connsiteY1939" fmla="*/ 172086 h 823468"/>
              <a:gd name="connsiteX1940" fmla="*/ 4639373 w 12248682"/>
              <a:gd name="connsiteY1940" fmla="*/ 172086 h 823468"/>
              <a:gd name="connsiteX1941" fmla="*/ 4664780 w 12248682"/>
              <a:gd name="connsiteY1941" fmla="*/ 192875 h 823468"/>
              <a:gd name="connsiteX1942" fmla="*/ 4643991 w 12248682"/>
              <a:gd name="connsiteY1942" fmla="*/ 218283 h 823468"/>
              <a:gd name="connsiteX1943" fmla="*/ 4618583 w 12248682"/>
              <a:gd name="connsiteY1943" fmla="*/ 197494 h 823468"/>
              <a:gd name="connsiteX1944" fmla="*/ 4639373 w 12248682"/>
              <a:gd name="connsiteY1944" fmla="*/ 172086 h 823468"/>
              <a:gd name="connsiteX1945" fmla="*/ 3551423 w 12248682"/>
              <a:gd name="connsiteY1945" fmla="*/ 172086 h 823468"/>
              <a:gd name="connsiteX1946" fmla="*/ 3574522 w 12248682"/>
              <a:gd name="connsiteY1946" fmla="*/ 195185 h 823468"/>
              <a:gd name="connsiteX1947" fmla="*/ 3551423 w 12248682"/>
              <a:gd name="connsiteY1947" fmla="*/ 218283 h 823468"/>
              <a:gd name="connsiteX1948" fmla="*/ 3528325 w 12248682"/>
              <a:gd name="connsiteY1948" fmla="*/ 195185 h 823468"/>
              <a:gd name="connsiteX1949" fmla="*/ 3551423 w 12248682"/>
              <a:gd name="connsiteY1949" fmla="*/ 172086 h 823468"/>
              <a:gd name="connsiteX1950" fmla="*/ 2331813 w 12248682"/>
              <a:gd name="connsiteY1950" fmla="*/ 172086 h 823468"/>
              <a:gd name="connsiteX1951" fmla="*/ 2354912 w 12248682"/>
              <a:gd name="connsiteY1951" fmla="*/ 195185 h 823468"/>
              <a:gd name="connsiteX1952" fmla="*/ 2331813 w 12248682"/>
              <a:gd name="connsiteY1952" fmla="*/ 218283 h 823468"/>
              <a:gd name="connsiteX1953" fmla="*/ 2308714 w 12248682"/>
              <a:gd name="connsiteY1953" fmla="*/ 195185 h 823468"/>
              <a:gd name="connsiteX1954" fmla="*/ 2331813 w 12248682"/>
              <a:gd name="connsiteY1954" fmla="*/ 172086 h 823468"/>
              <a:gd name="connsiteX1955" fmla="*/ 1248485 w 12248682"/>
              <a:gd name="connsiteY1955" fmla="*/ 172086 h 823468"/>
              <a:gd name="connsiteX1956" fmla="*/ 1271583 w 12248682"/>
              <a:gd name="connsiteY1956" fmla="*/ 195185 h 823468"/>
              <a:gd name="connsiteX1957" fmla="*/ 1248485 w 12248682"/>
              <a:gd name="connsiteY1957" fmla="*/ 218283 h 823468"/>
              <a:gd name="connsiteX1958" fmla="*/ 1225386 w 12248682"/>
              <a:gd name="connsiteY1958" fmla="*/ 195185 h 823468"/>
              <a:gd name="connsiteX1959" fmla="*/ 1248485 w 12248682"/>
              <a:gd name="connsiteY1959" fmla="*/ 172086 h 823468"/>
              <a:gd name="connsiteX1960" fmla="*/ 26564 w 12248682"/>
              <a:gd name="connsiteY1960" fmla="*/ 172086 h 823468"/>
              <a:gd name="connsiteX1961" fmla="*/ 51973 w 12248682"/>
              <a:gd name="connsiteY1961" fmla="*/ 194029 h 823468"/>
              <a:gd name="connsiteX1962" fmla="*/ 31184 w 12248682"/>
              <a:gd name="connsiteY1962" fmla="*/ 219438 h 823468"/>
              <a:gd name="connsiteX1963" fmla="*/ 5776 w 12248682"/>
              <a:gd name="connsiteY1963" fmla="*/ 197494 h 823468"/>
              <a:gd name="connsiteX1964" fmla="*/ 26564 w 12248682"/>
              <a:gd name="connsiteY1964" fmla="*/ 172086 h 823468"/>
              <a:gd name="connsiteX1965" fmla="*/ 11414819 w 12248682"/>
              <a:gd name="connsiteY1965" fmla="*/ 166311 h 823468"/>
              <a:gd name="connsiteX1966" fmla="*/ 11443693 w 12248682"/>
              <a:gd name="connsiteY1966" fmla="*/ 195185 h 823468"/>
              <a:gd name="connsiteX1967" fmla="*/ 11414819 w 12248682"/>
              <a:gd name="connsiteY1967" fmla="*/ 224057 h 823468"/>
              <a:gd name="connsiteX1968" fmla="*/ 11385946 w 12248682"/>
              <a:gd name="connsiteY1968" fmla="*/ 195185 h 823468"/>
              <a:gd name="connsiteX1969" fmla="*/ 11414819 w 12248682"/>
              <a:gd name="connsiteY1969" fmla="*/ 166311 h 823468"/>
              <a:gd name="connsiteX1970" fmla="*/ 10330336 w 12248682"/>
              <a:gd name="connsiteY1970" fmla="*/ 166311 h 823468"/>
              <a:gd name="connsiteX1971" fmla="*/ 10359209 w 12248682"/>
              <a:gd name="connsiteY1971" fmla="*/ 195185 h 823468"/>
              <a:gd name="connsiteX1972" fmla="*/ 10330336 w 12248682"/>
              <a:gd name="connsiteY1972" fmla="*/ 224057 h 823468"/>
              <a:gd name="connsiteX1973" fmla="*/ 10301462 w 12248682"/>
              <a:gd name="connsiteY1973" fmla="*/ 195185 h 823468"/>
              <a:gd name="connsiteX1974" fmla="*/ 10330336 w 12248682"/>
              <a:gd name="connsiteY1974" fmla="*/ 166311 h 823468"/>
              <a:gd name="connsiteX1975" fmla="*/ 9382135 w 12248682"/>
              <a:gd name="connsiteY1975" fmla="*/ 166311 h 823468"/>
              <a:gd name="connsiteX1976" fmla="*/ 9411009 w 12248682"/>
              <a:gd name="connsiteY1976" fmla="*/ 195185 h 823468"/>
              <a:gd name="connsiteX1977" fmla="*/ 9382135 w 12248682"/>
              <a:gd name="connsiteY1977" fmla="*/ 224057 h 823468"/>
              <a:gd name="connsiteX1978" fmla="*/ 9353262 w 12248682"/>
              <a:gd name="connsiteY1978" fmla="*/ 195185 h 823468"/>
              <a:gd name="connsiteX1979" fmla="*/ 9382135 w 12248682"/>
              <a:gd name="connsiteY1979" fmla="*/ 166311 h 823468"/>
              <a:gd name="connsiteX1980" fmla="*/ 9112431 w 12248682"/>
              <a:gd name="connsiteY1980" fmla="*/ 166311 h 823468"/>
              <a:gd name="connsiteX1981" fmla="*/ 9141305 w 12248682"/>
              <a:gd name="connsiteY1981" fmla="*/ 195185 h 823468"/>
              <a:gd name="connsiteX1982" fmla="*/ 9112431 w 12248682"/>
              <a:gd name="connsiteY1982" fmla="*/ 224057 h 823468"/>
              <a:gd name="connsiteX1983" fmla="*/ 9083558 w 12248682"/>
              <a:gd name="connsiteY1983" fmla="*/ 195185 h 823468"/>
              <a:gd name="connsiteX1984" fmla="*/ 9112431 w 12248682"/>
              <a:gd name="connsiteY1984" fmla="*/ 166311 h 823468"/>
              <a:gd name="connsiteX1985" fmla="*/ 8299358 w 12248682"/>
              <a:gd name="connsiteY1985" fmla="*/ 166311 h 823468"/>
              <a:gd name="connsiteX1986" fmla="*/ 8328231 w 12248682"/>
              <a:gd name="connsiteY1986" fmla="*/ 195185 h 823468"/>
              <a:gd name="connsiteX1987" fmla="*/ 8299358 w 12248682"/>
              <a:gd name="connsiteY1987" fmla="*/ 224057 h 823468"/>
              <a:gd name="connsiteX1988" fmla="*/ 8270485 w 12248682"/>
              <a:gd name="connsiteY1988" fmla="*/ 195185 h 823468"/>
              <a:gd name="connsiteX1989" fmla="*/ 8299358 w 12248682"/>
              <a:gd name="connsiteY1989" fmla="*/ 166311 h 823468"/>
              <a:gd name="connsiteX1990" fmla="*/ 6809492 w 12248682"/>
              <a:gd name="connsiteY1990" fmla="*/ 166311 h 823468"/>
              <a:gd name="connsiteX1991" fmla="*/ 6838367 w 12248682"/>
              <a:gd name="connsiteY1991" fmla="*/ 195185 h 823468"/>
              <a:gd name="connsiteX1992" fmla="*/ 6809492 w 12248682"/>
              <a:gd name="connsiteY1992" fmla="*/ 224057 h 823468"/>
              <a:gd name="connsiteX1993" fmla="*/ 6780620 w 12248682"/>
              <a:gd name="connsiteY1993" fmla="*/ 195185 h 823468"/>
              <a:gd name="connsiteX1994" fmla="*/ 6809492 w 12248682"/>
              <a:gd name="connsiteY1994" fmla="*/ 166311 h 823468"/>
              <a:gd name="connsiteX1995" fmla="*/ 5726165 w 12248682"/>
              <a:gd name="connsiteY1995" fmla="*/ 166311 h 823468"/>
              <a:gd name="connsiteX1996" fmla="*/ 5755038 w 12248682"/>
              <a:gd name="connsiteY1996" fmla="*/ 195185 h 823468"/>
              <a:gd name="connsiteX1997" fmla="*/ 5726165 w 12248682"/>
              <a:gd name="connsiteY1997" fmla="*/ 224057 h 823468"/>
              <a:gd name="connsiteX1998" fmla="*/ 5697292 w 12248682"/>
              <a:gd name="connsiteY1998" fmla="*/ 195185 h 823468"/>
              <a:gd name="connsiteX1999" fmla="*/ 5726165 w 12248682"/>
              <a:gd name="connsiteY1999" fmla="*/ 166311 h 823468"/>
              <a:gd name="connsiteX2000" fmla="*/ 4776809 w 12248682"/>
              <a:gd name="connsiteY2000" fmla="*/ 166311 h 823468"/>
              <a:gd name="connsiteX2001" fmla="*/ 4805682 w 12248682"/>
              <a:gd name="connsiteY2001" fmla="*/ 195185 h 823468"/>
              <a:gd name="connsiteX2002" fmla="*/ 4776809 w 12248682"/>
              <a:gd name="connsiteY2002" fmla="*/ 224057 h 823468"/>
              <a:gd name="connsiteX2003" fmla="*/ 4747936 w 12248682"/>
              <a:gd name="connsiteY2003" fmla="*/ 195185 h 823468"/>
              <a:gd name="connsiteX2004" fmla="*/ 4776809 w 12248682"/>
              <a:gd name="connsiteY2004" fmla="*/ 166311 h 823468"/>
              <a:gd name="connsiteX2005" fmla="*/ 4499625 w 12248682"/>
              <a:gd name="connsiteY2005" fmla="*/ 166311 h 823468"/>
              <a:gd name="connsiteX2006" fmla="*/ 4528499 w 12248682"/>
              <a:gd name="connsiteY2006" fmla="*/ 195185 h 823468"/>
              <a:gd name="connsiteX2007" fmla="*/ 4499625 w 12248682"/>
              <a:gd name="connsiteY2007" fmla="*/ 224057 h 823468"/>
              <a:gd name="connsiteX2008" fmla="*/ 4470752 w 12248682"/>
              <a:gd name="connsiteY2008" fmla="*/ 195185 h 823468"/>
              <a:gd name="connsiteX2009" fmla="*/ 4499625 w 12248682"/>
              <a:gd name="connsiteY2009" fmla="*/ 166311 h 823468"/>
              <a:gd name="connsiteX2010" fmla="*/ 3686551 w 12248682"/>
              <a:gd name="connsiteY2010" fmla="*/ 166311 h 823468"/>
              <a:gd name="connsiteX2011" fmla="*/ 3715424 w 12248682"/>
              <a:gd name="connsiteY2011" fmla="*/ 195185 h 823468"/>
              <a:gd name="connsiteX2012" fmla="*/ 3686551 w 12248682"/>
              <a:gd name="connsiteY2012" fmla="*/ 224057 h 823468"/>
              <a:gd name="connsiteX2013" fmla="*/ 3657677 w 12248682"/>
              <a:gd name="connsiteY2013" fmla="*/ 195185 h 823468"/>
              <a:gd name="connsiteX2014" fmla="*/ 3686551 w 12248682"/>
              <a:gd name="connsiteY2014" fmla="*/ 166311 h 823468"/>
              <a:gd name="connsiteX2015" fmla="*/ 2196685 w 12248682"/>
              <a:gd name="connsiteY2015" fmla="*/ 166311 h 823468"/>
              <a:gd name="connsiteX2016" fmla="*/ 2225559 w 12248682"/>
              <a:gd name="connsiteY2016" fmla="*/ 195185 h 823468"/>
              <a:gd name="connsiteX2017" fmla="*/ 2196685 w 12248682"/>
              <a:gd name="connsiteY2017" fmla="*/ 224057 h 823468"/>
              <a:gd name="connsiteX2018" fmla="*/ 2167813 w 12248682"/>
              <a:gd name="connsiteY2018" fmla="*/ 195185 h 823468"/>
              <a:gd name="connsiteX2019" fmla="*/ 2196685 w 12248682"/>
              <a:gd name="connsiteY2019" fmla="*/ 166311 h 823468"/>
              <a:gd name="connsiteX2020" fmla="*/ 1112202 w 12248682"/>
              <a:gd name="connsiteY2020" fmla="*/ 166311 h 823468"/>
              <a:gd name="connsiteX2021" fmla="*/ 1141075 w 12248682"/>
              <a:gd name="connsiteY2021" fmla="*/ 195185 h 823468"/>
              <a:gd name="connsiteX2022" fmla="*/ 1112202 w 12248682"/>
              <a:gd name="connsiteY2022" fmla="*/ 224057 h 823468"/>
              <a:gd name="connsiteX2023" fmla="*/ 1083328 w 12248682"/>
              <a:gd name="connsiteY2023" fmla="*/ 195185 h 823468"/>
              <a:gd name="connsiteX2024" fmla="*/ 1112202 w 12248682"/>
              <a:gd name="connsiteY2024" fmla="*/ 166311 h 823468"/>
              <a:gd name="connsiteX2025" fmla="*/ 164001 w 12248682"/>
              <a:gd name="connsiteY2025" fmla="*/ 166311 h 823468"/>
              <a:gd name="connsiteX2026" fmla="*/ 192875 w 12248682"/>
              <a:gd name="connsiteY2026" fmla="*/ 195185 h 823468"/>
              <a:gd name="connsiteX2027" fmla="*/ 164001 w 12248682"/>
              <a:gd name="connsiteY2027" fmla="*/ 224057 h 823468"/>
              <a:gd name="connsiteX2028" fmla="*/ 135128 w 12248682"/>
              <a:gd name="connsiteY2028" fmla="*/ 195185 h 823468"/>
              <a:gd name="connsiteX2029" fmla="*/ 164001 w 12248682"/>
              <a:gd name="connsiteY2029" fmla="*/ 166311 h 823468"/>
              <a:gd name="connsiteX2030" fmla="*/ 11279692 w 12248682"/>
              <a:gd name="connsiteY2030" fmla="*/ 160537 h 823468"/>
              <a:gd name="connsiteX2031" fmla="*/ 11314340 w 12248682"/>
              <a:gd name="connsiteY2031" fmla="*/ 195185 h 823468"/>
              <a:gd name="connsiteX2032" fmla="*/ 11279692 w 12248682"/>
              <a:gd name="connsiteY2032" fmla="*/ 229833 h 823468"/>
              <a:gd name="connsiteX2033" fmla="*/ 11245044 w 12248682"/>
              <a:gd name="connsiteY2033" fmla="*/ 195185 h 823468"/>
              <a:gd name="connsiteX2034" fmla="*/ 11279692 w 12248682"/>
              <a:gd name="connsiteY2034" fmla="*/ 160537 h 823468"/>
              <a:gd name="connsiteX2035" fmla="*/ 10195208 w 12248682"/>
              <a:gd name="connsiteY2035" fmla="*/ 160537 h 823468"/>
              <a:gd name="connsiteX2036" fmla="*/ 10229856 w 12248682"/>
              <a:gd name="connsiteY2036" fmla="*/ 195185 h 823468"/>
              <a:gd name="connsiteX2037" fmla="*/ 10195208 w 12248682"/>
              <a:gd name="connsiteY2037" fmla="*/ 229833 h 823468"/>
              <a:gd name="connsiteX2038" fmla="*/ 10160560 w 12248682"/>
              <a:gd name="connsiteY2038" fmla="*/ 195185 h 823468"/>
              <a:gd name="connsiteX2039" fmla="*/ 10195208 w 12248682"/>
              <a:gd name="connsiteY2039" fmla="*/ 160537 h 823468"/>
              <a:gd name="connsiteX2040" fmla="*/ 9518417 w 12248682"/>
              <a:gd name="connsiteY2040" fmla="*/ 160537 h 823468"/>
              <a:gd name="connsiteX2041" fmla="*/ 9553065 w 12248682"/>
              <a:gd name="connsiteY2041" fmla="*/ 195185 h 823468"/>
              <a:gd name="connsiteX2042" fmla="*/ 9518417 w 12248682"/>
              <a:gd name="connsiteY2042" fmla="*/ 229833 h 823468"/>
              <a:gd name="connsiteX2043" fmla="*/ 9483769 w 12248682"/>
              <a:gd name="connsiteY2043" fmla="*/ 195185 h 823468"/>
              <a:gd name="connsiteX2044" fmla="*/ 9518417 w 12248682"/>
              <a:gd name="connsiteY2044" fmla="*/ 160537 h 823468"/>
              <a:gd name="connsiteX2045" fmla="*/ 8977304 w 12248682"/>
              <a:gd name="connsiteY2045" fmla="*/ 160537 h 823468"/>
              <a:gd name="connsiteX2046" fmla="*/ 9011952 w 12248682"/>
              <a:gd name="connsiteY2046" fmla="*/ 195185 h 823468"/>
              <a:gd name="connsiteX2047" fmla="*/ 8977304 w 12248682"/>
              <a:gd name="connsiteY2047" fmla="*/ 229833 h 823468"/>
              <a:gd name="connsiteX2048" fmla="*/ 8942656 w 12248682"/>
              <a:gd name="connsiteY2048" fmla="*/ 195185 h 823468"/>
              <a:gd name="connsiteX2049" fmla="*/ 8977304 w 12248682"/>
              <a:gd name="connsiteY2049" fmla="*/ 160537 h 823468"/>
              <a:gd name="connsiteX2050" fmla="*/ 8434485 w 12248682"/>
              <a:gd name="connsiteY2050" fmla="*/ 160537 h 823468"/>
              <a:gd name="connsiteX2051" fmla="*/ 8469133 w 12248682"/>
              <a:gd name="connsiteY2051" fmla="*/ 195185 h 823468"/>
              <a:gd name="connsiteX2052" fmla="*/ 8434485 w 12248682"/>
              <a:gd name="connsiteY2052" fmla="*/ 229833 h 823468"/>
              <a:gd name="connsiteX2053" fmla="*/ 8399837 w 12248682"/>
              <a:gd name="connsiteY2053" fmla="*/ 195185 h 823468"/>
              <a:gd name="connsiteX2054" fmla="*/ 8434485 w 12248682"/>
              <a:gd name="connsiteY2054" fmla="*/ 160537 h 823468"/>
              <a:gd name="connsiteX2055" fmla="*/ 6674366 w 12248682"/>
              <a:gd name="connsiteY2055" fmla="*/ 160537 h 823468"/>
              <a:gd name="connsiteX2056" fmla="*/ 6709014 w 12248682"/>
              <a:gd name="connsiteY2056" fmla="*/ 195185 h 823468"/>
              <a:gd name="connsiteX2057" fmla="*/ 6674366 w 12248682"/>
              <a:gd name="connsiteY2057" fmla="*/ 229833 h 823468"/>
              <a:gd name="connsiteX2058" fmla="*/ 6639717 w 12248682"/>
              <a:gd name="connsiteY2058" fmla="*/ 195185 h 823468"/>
              <a:gd name="connsiteX2059" fmla="*/ 6674366 w 12248682"/>
              <a:gd name="connsiteY2059" fmla="*/ 160537 h 823468"/>
              <a:gd name="connsiteX2060" fmla="*/ 5589882 w 12248682"/>
              <a:gd name="connsiteY2060" fmla="*/ 160537 h 823468"/>
              <a:gd name="connsiteX2061" fmla="*/ 5624531 w 12248682"/>
              <a:gd name="connsiteY2061" fmla="*/ 195185 h 823468"/>
              <a:gd name="connsiteX2062" fmla="*/ 5589882 w 12248682"/>
              <a:gd name="connsiteY2062" fmla="*/ 229833 h 823468"/>
              <a:gd name="connsiteX2063" fmla="*/ 5555234 w 12248682"/>
              <a:gd name="connsiteY2063" fmla="*/ 195185 h 823468"/>
              <a:gd name="connsiteX2064" fmla="*/ 5589882 w 12248682"/>
              <a:gd name="connsiteY2064" fmla="*/ 160537 h 823468"/>
              <a:gd name="connsiteX2065" fmla="*/ 4913091 w 12248682"/>
              <a:gd name="connsiteY2065" fmla="*/ 160537 h 823468"/>
              <a:gd name="connsiteX2066" fmla="*/ 4947739 w 12248682"/>
              <a:gd name="connsiteY2066" fmla="*/ 195185 h 823468"/>
              <a:gd name="connsiteX2067" fmla="*/ 4913091 w 12248682"/>
              <a:gd name="connsiteY2067" fmla="*/ 229833 h 823468"/>
              <a:gd name="connsiteX2068" fmla="*/ 4878443 w 12248682"/>
              <a:gd name="connsiteY2068" fmla="*/ 195185 h 823468"/>
              <a:gd name="connsiteX2069" fmla="*/ 4913091 w 12248682"/>
              <a:gd name="connsiteY2069" fmla="*/ 160537 h 823468"/>
              <a:gd name="connsiteX2070" fmla="*/ 4364498 w 12248682"/>
              <a:gd name="connsiteY2070" fmla="*/ 160537 h 823468"/>
              <a:gd name="connsiteX2071" fmla="*/ 4399146 w 12248682"/>
              <a:gd name="connsiteY2071" fmla="*/ 195185 h 823468"/>
              <a:gd name="connsiteX2072" fmla="*/ 4364498 w 12248682"/>
              <a:gd name="connsiteY2072" fmla="*/ 229833 h 823468"/>
              <a:gd name="connsiteX2073" fmla="*/ 4329850 w 12248682"/>
              <a:gd name="connsiteY2073" fmla="*/ 195185 h 823468"/>
              <a:gd name="connsiteX2074" fmla="*/ 4364498 w 12248682"/>
              <a:gd name="connsiteY2074" fmla="*/ 160537 h 823468"/>
              <a:gd name="connsiteX2075" fmla="*/ 3821678 w 12248682"/>
              <a:gd name="connsiteY2075" fmla="*/ 160537 h 823468"/>
              <a:gd name="connsiteX2076" fmla="*/ 3856326 w 12248682"/>
              <a:gd name="connsiteY2076" fmla="*/ 195185 h 823468"/>
              <a:gd name="connsiteX2077" fmla="*/ 3821678 w 12248682"/>
              <a:gd name="connsiteY2077" fmla="*/ 229833 h 823468"/>
              <a:gd name="connsiteX2078" fmla="*/ 3787030 w 12248682"/>
              <a:gd name="connsiteY2078" fmla="*/ 195185 h 823468"/>
              <a:gd name="connsiteX2079" fmla="*/ 3821678 w 12248682"/>
              <a:gd name="connsiteY2079" fmla="*/ 160537 h 823468"/>
              <a:gd name="connsiteX2080" fmla="*/ 2061558 w 12248682"/>
              <a:gd name="connsiteY2080" fmla="*/ 160537 h 823468"/>
              <a:gd name="connsiteX2081" fmla="*/ 2096206 w 12248682"/>
              <a:gd name="connsiteY2081" fmla="*/ 195185 h 823468"/>
              <a:gd name="connsiteX2082" fmla="*/ 2061558 w 12248682"/>
              <a:gd name="connsiteY2082" fmla="*/ 229833 h 823468"/>
              <a:gd name="connsiteX2083" fmla="*/ 2026910 w 12248682"/>
              <a:gd name="connsiteY2083" fmla="*/ 195185 h 823468"/>
              <a:gd name="connsiteX2084" fmla="*/ 2061558 w 12248682"/>
              <a:gd name="connsiteY2084" fmla="*/ 160537 h 823468"/>
              <a:gd name="connsiteX2085" fmla="*/ 977075 w 12248682"/>
              <a:gd name="connsiteY2085" fmla="*/ 160537 h 823468"/>
              <a:gd name="connsiteX2086" fmla="*/ 1011723 w 12248682"/>
              <a:gd name="connsiteY2086" fmla="*/ 195185 h 823468"/>
              <a:gd name="connsiteX2087" fmla="*/ 977075 w 12248682"/>
              <a:gd name="connsiteY2087" fmla="*/ 229833 h 823468"/>
              <a:gd name="connsiteX2088" fmla="*/ 942427 w 12248682"/>
              <a:gd name="connsiteY2088" fmla="*/ 195185 h 823468"/>
              <a:gd name="connsiteX2089" fmla="*/ 977075 w 12248682"/>
              <a:gd name="connsiteY2089" fmla="*/ 160537 h 823468"/>
              <a:gd name="connsiteX2090" fmla="*/ 300283 w 12248682"/>
              <a:gd name="connsiteY2090" fmla="*/ 160537 h 823468"/>
              <a:gd name="connsiteX2091" fmla="*/ 334931 w 12248682"/>
              <a:gd name="connsiteY2091" fmla="*/ 195185 h 823468"/>
              <a:gd name="connsiteX2092" fmla="*/ 300283 w 12248682"/>
              <a:gd name="connsiteY2092" fmla="*/ 229833 h 823468"/>
              <a:gd name="connsiteX2093" fmla="*/ 265635 w 12248682"/>
              <a:gd name="connsiteY2093" fmla="*/ 195185 h 823468"/>
              <a:gd name="connsiteX2094" fmla="*/ 300283 w 12248682"/>
              <a:gd name="connsiteY2094" fmla="*/ 160537 h 823468"/>
              <a:gd name="connsiteX2095" fmla="*/ 11143410 w 12248682"/>
              <a:gd name="connsiteY2095" fmla="*/ 154761 h 823468"/>
              <a:gd name="connsiteX2096" fmla="*/ 11183832 w 12248682"/>
              <a:gd name="connsiteY2096" fmla="*/ 195185 h 823468"/>
              <a:gd name="connsiteX2097" fmla="*/ 11143410 w 12248682"/>
              <a:gd name="connsiteY2097" fmla="*/ 235607 h 823468"/>
              <a:gd name="connsiteX2098" fmla="*/ 11102987 w 12248682"/>
              <a:gd name="connsiteY2098" fmla="*/ 195185 h 823468"/>
              <a:gd name="connsiteX2099" fmla="*/ 11143410 w 12248682"/>
              <a:gd name="connsiteY2099" fmla="*/ 154761 h 823468"/>
              <a:gd name="connsiteX2100" fmla="*/ 10873155 w 12248682"/>
              <a:gd name="connsiteY2100" fmla="*/ 154761 h 823468"/>
              <a:gd name="connsiteX2101" fmla="*/ 10913577 w 12248682"/>
              <a:gd name="connsiteY2101" fmla="*/ 195185 h 823468"/>
              <a:gd name="connsiteX2102" fmla="*/ 10873155 w 12248682"/>
              <a:gd name="connsiteY2102" fmla="*/ 235607 h 823468"/>
              <a:gd name="connsiteX2103" fmla="*/ 10832732 w 12248682"/>
              <a:gd name="connsiteY2103" fmla="*/ 195185 h 823468"/>
              <a:gd name="connsiteX2104" fmla="*/ 10873155 w 12248682"/>
              <a:gd name="connsiteY2104" fmla="*/ 154761 h 823468"/>
              <a:gd name="connsiteX2105" fmla="*/ 10060082 w 12248682"/>
              <a:gd name="connsiteY2105" fmla="*/ 154761 h 823468"/>
              <a:gd name="connsiteX2106" fmla="*/ 10100504 w 12248682"/>
              <a:gd name="connsiteY2106" fmla="*/ 195185 h 823468"/>
              <a:gd name="connsiteX2107" fmla="*/ 10060082 w 12248682"/>
              <a:gd name="connsiteY2107" fmla="*/ 235607 h 823468"/>
              <a:gd name="connsiteX2108" fmla="*/ 10019658 w 12248682"/>
              <a:gd name="connsiteY2108" fmla="*/ 195185 h 823468"/>
              <a:gd name="connsiteX2109" fmla="*/ 10060082 w 12248682"/>
              <a:gd name="connsiteY2109" fmla="*/ 154761 h 823468"/>
              <a:gd name="connsiteX2110" fmla="*/ 9653545 w 12248682"/>
              <a:gd name="connsiteY2110" fmla="*/ 154761 h 823468"/>
              <a:gd name="connsiteX2111" fmla="*/ 9693967 w 12248682"/>
              <a:gd name="connsiteY2111" fmla="*/ 195185 h 823468"/>
              <a:gd name="connsiteX2112" fmla="*/ 9653545 w 12248682"/>
              <a:gd name="connsiteY2112" fmla="*/ 235607 h 823468"/>
              <a:gd name="connsiteX2113" fmla="*/ 9613122 w 12248682"/>
              <a:gd name="connsiteY2113" fmla="*/ 195185 h 823468"/>
              <a:gd name="connsiteX2114" fmla="*/ 9653545 w 12248682"/>
              <a:gd name="connsiteY2114" fmla="*/ 154761 h 823468"/>
              <a:gd name="connsiteX2115" fmla="*/ 8841022 w 12248682"/>
              <a:gd name="connsiteY2115" fmla="*/ 154761 h 823468"/>
              <a:gd name="connsiteX2116" fmla="*/ 8881444 w 12248682"/>
              <a:gd name="connsiteY2116" fmla="*/ 195185 h 823468"/>
              <a:gd name="connsiteX2117" fmla="*/ 8841022 w 12248682"/>
              <a:gd name="connsiteY2117" fmla="*/ 235607 h 823468"/>
              <a:gd name="connsiteX2118" fmla="*/ 8800599 w 12248682"/>
              <a:gd name="connsiteY2118" fmla="*/ 195185 h 823468"/>
              <a:gd name="connsiteX2119" fmla="*/ 8841022 w 12248682"/>
              <a:gd name="connsiteY2119" fmla="*/ 154761 h 823468"/>
              <a:gd name="connsiteX2120" fmla="*/ 8570767 w 12248682"/>
              <a:gd name="connsiteY2120" fmla="*/ 154761 h 823468"/>
              <a:gd name="connsiteX2121" fmla="*/ 8611190 w 12248682"/>
              <a:gd name="connsiteY2121" fmla="*/ 195185 h 823468"/>
              <a:gd name="connsiteX2122" fmla="*/ 8570767 w 12248682"/>
              <a:gd name="connsiteY2122" fmla="*/ 235607 h 823468"/>
              <a:gd name="connsiteX2123" fmla="*/ 8530344 w 12248682"/>
              <a:gd name="connsiteY2123" fmla="*/ 195185 h 823468"/>
              <a:gd name="connsiteX2124" fmla="*/ 8570767 w 12248682"/>
              <a:gd name="connsiteY2124" fmla="*/ 154761 h 823468"/>
              <a:gd name="connsiteX2125" fmla="*/ 6538083 w 12248682"/>
              <a:gd name="connsiteY2125" fmla="*/ 154761 h 823468"/>
              <a:gd name="connsiteX2126" fmla="*/ 6578507 w 12248682"/>
              <a:gd name="connsiteY2126" fmla="*/ 195185 h 823468"/>
              <a:gd name="connsiteX2127" fmla="*/ 6538083 w 12248682"/>
              <a:gd name="connsiteY2127" fmla="*/ 235607 h 823468"/>
              <a:gd name="connsiteX2128" fmla="*/ 6497661 w 12248682"/>
              <a:gd name="connsiteY2128" fmla="*/ 195185 h 823468"/>
              <a:gd name="connsiteX2129" fmla="*/ 6538083 w 12248682"/>
              <a:gd name="connsiteY2129" fmla="*/ 154761 h 823468"/>
              <a:gd name="connsiteX2130" fmla="*/ 6267830 w 12248682"/>
              <a:gd name="connsiteY2130" fmla="*/ 154761 h 823468"/>
              <a:gd name="connsiteX2131" fmla="*/ 6308251 w 12248682"/>
              <a:gd name="connsiteY2131" fmla="*/ 195185 h 823468"/>
              <a:gd name="connsiteX2132" fmla="*/ 6267830 w 12248682"/>
              <a:gd name="connsiteY2132" fmla="*/ 235607 h 823468"/>
              <a:gd name="connsiteX2133" fmla="*/ 6227406 w 12248682"/>
              <a:gd name="connsiteY2133" fmla="*/ 195185 h 823468"/>
              <a:gd name="connsiteX2134" fmla="*/ 6267830 w 12248682"/>
              <a:gd name="connsiteY2134" fmla="*/ 154761 h 823468"/>
              <a:gd name="connsiteX2135" fmla="*/ 5454756 w 12248682"/>
              <a:gd name="connsiteY2135" fmla="*/ 154761 h 823468"/>
              <a:gd name="connsiteX2136" fmla="*/ 5495178 w 12248682"/>
              <a:gd name="connsiteY2136" fmla="*/ 195185 h 823468"/>
              <a:gd name="connsiteX2137" fmla="*/ 5454756 w 12248682"/>
              <a:gd name="connsiteY2137" fmla="*/ 235607 h 823468"/>
              <a:gd name="connsiteX2138" fmla="*/ 5414332 w 12248682"/>
              <a:gd name="connsiteY2138" fmla="*/ 195185 h 823468"/>
              <a:gd name="connsiteX2139" fmla="*/ 5454756 w 12248682"/>
              <a:gd name="connsiteY2139" fmla="*/ 154761 h 823468"/>
              <a:gd name="connsiteX2140" fmla="*/ 5048218 w 12248682"/>
              <a:gd name="connsiteY2140" fmla="*/ 154761 h 823468"/>
              <a:gd name="connsiteX2141" fmla="*/ 5088641 w 12248682"/>
              <a:gd name="connsiteY2141" fmla="*/ 195185 h 823468"/>
              <a:gd name="connsiteX2142" fmla="*/ 5048218 w 12248682"/>
              <a:gd name="connsiteY2142" fmla="*/ 235607 h 823468"/>
              <a:gd name="connsiteX2143" fmla="*/ 5007796 w 12248682"/>
              <a:gd name="connsiteY2143" fmla="*/ 195185 h 823468"/>
              <a:gd name="connsiteX2144" fmla="*/ 5048218 w 12248682"/>
              <a:gd name="connsiteY2144" fmla="*/ 154761 h 823468"/>
              <a:gd name="connsiteX2145" fmla="*/ 4228216 w 12248682"/>
              <a:gd name="connsiteY2145" fmla="*/ 154761 h 823468"/>
              <a:gd name="connsiteX2146" fmla="*/ 4268637 w 12248682"/>
              <a:gd name="connsiteY2146" fmla="*/ 195185 h 823468"/>
              <a:gd name="connsiteX2147" fmla="*/ 4228216 w 12248682"/>
              <a:gd name="connsiteY2147" fmla="*/ 235607 h 823468"/>
              <a:gd name="connsiteX2148" fmla="*/ 4187792 w 12248682"/>
              <a:gd name="connsiteY2148" fmla="*/ 195185 h 823468"/>
              <a:gd name="connsiteX2149" fmla="*/ 4228216 w 12248682"/>
              <a:gd name="connsiteY2149" fmla="*/ 154761 h 823468"/>
              <a:gd name="connsiteX2150" fmla="*/ 3957960 w 12248682"/>
              <a:gd name="connsiteY2150" fmla="*/ 154761 h 823468"/>
              <a:gd name="connsiteX2151" fmla="*/ 3998382 w 12248682"/>
              <a:gd name="connsiteY2151" fmla="*/ 195185 h 823468"/>
              <a:gd name="connsiteX2152" fmla="*/ 3957960 w 12248682"/>
              <a:gd name="connsiteY2152" fmla="*/ 235607 h 823468"/>
              <a:gd name="connsiteX2153" fmla="*/ 3917537 w 12248682"/>
              <a:gd name="connsiteY2153" fmla="*/ 195185 h 823468"/>
              <a:gd name="connsiteX2154" fmla="*/ 3957960 w 12248682"/>
              <a:gd name="connsiteY2154" fmla="*/ 154761 h 823468"/>
              <a:gd name="connsiteX2155" fmla="*/ 1925276 w 12248682"/>
              <a:gd name="connsiteY2155" fmla="*/ 154761 h 823468"/>
              <a:gd name="connsiteX2156" fmla="*/ 1965698 w 12248682"/>
              <a:gd name="connsiteY2156" fmla="*/ 195185 h 823468"/>
              <a:gd name="connsiteX2157" fmla="*/ 1925276 w 12248682"/>
              <a:gd name="connsiteY2157" fmla="*/ 235607 h 823468"/>
              <a:gd name="connsiteX2158" fmla="*/ 1884853 w 12248682"/>
              <a:gd name="connsiteY2158" fmla="*/ 195185 h 823468"/>
              <a:gd name="connsiteX2159" fmla="*/ 1925276 w 12248682"/>
              <a:gd name="connsiteY2159" fmla="*/ 154761 h 823468"/>
              <a:gd name="connsiteX2160" fmla="*/ 1655022 w 12248682"/>
              <a:gd name="connsiteY2160" fmla="*/ 154761 h 823468"/>
              <a:gd name="connsiteX2161" fmla="*/ 1695444 w 12248682"/>
              <a:gd name="connsiteY2161" fmla="*/ 195185 h 823468"/>
              <a:gd name="connsiteX2162" fmla="*/ 1655022 w 12248682"/>
              <a:gd name="connsiteY2162" fmla="*/ 235607 h 823468"/>
              <a:gd name="connsiteX2163" fmla="*/ 1614598 w 12248682"/>
              <a:gd name="connsiteY2163" fmla="*/ 195185 h 823468"/>
              <a:gd name="connsiteX2164" fmla="*/ 1655022 w 12248682"/>
              <a:gd name="connsiteY2164" fmla="*/ 154761 h 823468"/>
              <a:gd name="connsiteX2165" fmla="*/ 841948 w 12248682"/>
              <a:gd name="connsiteY2165" fmla="*/ 154761 h 823468"/>
              <a:gd name="connsiteX2166" fmla="*/ 882370 w 12248682"/>
              <a:gd name="connsiteY2166" fmla="*/ 195185 h 823468"/>
              <a:gd name="connsiteX2167" fmla="*/ 841948 w 12248682"/>
              <a:gd name="connsiteY2167" fmla="*/ 235607 h 823468"/>
              <a:gd name="connsiteX2168" fmla="*/ 801525 w 12248682"/>
              <a:gd name="connsiteY2168" fmla="*/ 195185 h 823468"/>
              <a:gd name="connsiteX2169" fmla="*/ 841948 w 12248682"/>
              <a:gd name="connsiteY2169" fmla="*/ 154761 h 823468"/>
              <a:gd name="connsiteX2170" fmla="*/ 435411 w 12248682"/>
              <a:gd name="connsiteY2170" fmla="*/ 154761 h 823468"/>
              <a:gd name="connsiteX2171" fmla="*/ 475833 w 12248682"/>
              <a:gd name="connsiteY2171" fmla="*/ 195185 h 823468"/>
              <a:gd name="connsiteX2172" fmla="*/ 435411 w 12248682"/>
              <a:gd name="connsiteY2172" fmla="*/ 235607 h 823468"/>
              <a:gd name="connsiteX2173" fmla="*/ 394988 w 12248682"/>
              <a:gd name="connsiteY2173" fmla="*/ 195185 h 823468"/>
              <a:gd name="connsiteX2174" fmla="*/ 435411 w 12248682"/>
              <a:gd name="connsiteY2174" fmla="*/ 154761 h 823468"/>
              <a:gd name="connsiteX2175" fmla="*/ 11008282 w 12248682"/>
              <a:gd name="connsiteY2175" fmla="*/ 144368 h 823468"/>
              <a:gd name="connsiteX2176" fmla="*/ 11059099 w 12248682"/>
              <a:gd name="connsiteY2176" fmla="*/ 195185 h 823468"/>
              <a:gd name="connsiteX2177" fmla="*/ 11008282 w 12248682"/>
              <a:gd name="connsiteY2177" fmla="*/ 246002 h 823468"/>
              <a:gd name="connsiteX2178" fmla="*/ 10957465 w 12248682"/>
              <a:gd name="connsiteY2178" fmla="*/ 195185 h 823468"/>
              <a:gd name="connsiteX2179" fmla="*/ 11008282 w 12248682"/>
              <a:gd name="connsiteY2179" fmla="*/ 144368 h 823468"/>
              <a:gd name="connsiteX2180" fmla="*/ 9924954 w 12248682"/>
              <a:gd name="connsiteY2180" fmla="*/ 144368 h 823468"/>
              <a:gd name="connsiteX2181" fmla="*/ 9975771 w 12248682"/>
              <a:gd name="connsiteY2181" fmla="*/ 195185 h 823468"/>
              <a:gd name="connsiteX2182" fmla="*/ 9924954 w 12248682"/>
              <a:gd name="connsiteY2182" fmla="*/ 246002 h 823468"/>
              <a:gd name="connsiteX2183" fmla="*/ 9874137 w 12248682"/>
              <a:gd name="connsiteY2183" fmla="*/ 195185 h 823468"/>
              <a:gd name="connsiteX2184" fmla="*/ 9924954 w 12248682"/>
              <a:gd name="connsiteY2184" fmla="*/ 144368 h 823468"/>
              <a:gd name="connsiteX2185" fmla="*/ 9788672 w 12248682"/>
              <a:gd name="connsiteY2185" fmla="*/ 144368 h 823468"/>
              <a:gd name="connsiteX2186" fmla="*/ 9839489 w 12248682"/>
              <a:gd name="connsiteY2186" fmla="*/ 195185 h 823468"/>
              <a:gd name="connsiteX2187" fmla="*/ 9788672 w 12248682"/>
              <a:gd name="connsiteY2187" fmla="*/ 246002 h 823468"/>
              <a:gd name="connsiteX2188" fmla="*/ 9737854 w 12248682"/>
              <a:gd name="connsiteY2188" fmla="*/ 195185 h 823468"/>
              <a:gd name="connsiteX2189" fmla="*/ 9788672 w 12248682"/>
              <a:gd name="connsiteY2189" fmla="*/ 144368 h 823468"/>
              <a:gd name="connsiteX2190" fmla="*/ 8705894 w 12248682"/>
              <a:gd name="connsiteY2190" fmla="*/ 144368 h 823468"/>
              <a:gd name="connsiteX2191" fmla="*/ 8756711 w 12248682"/>
              <a:gd name="connsiteY2191" fmla="*/ 195185 h 823468"/>
              <a:gd name="connsiteX2192" fmla="*/ 8705894 w 12248682"/>
              <a:gd name="connsiteY2192" fmla="*/ 246002 h 823468"/>
              <a:gd name="connsiteX2193" fmla="*/ 8655077 w 12248682"/>
              <a:gd name="connsiteY2193" fmla="*/ 195185 h 823468"/>
              <a:gd name="connsiteX2194" fmla="*/ 8705894 w 12248682"/>
              <a:gd name="connsiteY2194" fmla="*/ 144368 h 823468"/>
              <a:gd name="connsiteX2195" fmla="*/ 6402956 w 12248682"/>
              <a:gd name="connsiteY2195" fmla="*/ 144368 h 823468"/>
              <a:gd name="connsiteX2196" fmla="*/ 6453773 w 12248682"/>
              <a:gd name="connsiteY2196" fmla="*/ 195185 h 823468"/>
              <a:gd name="connsiteX2197" fmla="*/ 6402956 w 12248682"/>
              <a:gd name="connsiteY2197" fmla="*/ 246002 h 823468"/>
              <a:gd name="connsiteX2198" fmla="*/ 6352139 w 12248682"/>
              <a:gd name="connsiteY2198" fmla="*/ 195185 h 823468"/>
              <a:gd name="connsiteX2199" fmla="*/ 6402956 w 12248682"/>
              <a:gd name="connsiteY2199" fmla="*/ 144368 h 823468"/>
              <a:gd name="connsiteX2200" fmla="*/ 5319627 w 12248682"/>
              <a:gd name="connsiteY2200" fmla="*/ 144368 h 823468"/>
              <a:gd name="connsiteX2201" fmla="*/ 5370444 w 12248682"/>
              <a:gd name="connsiteY2201" fmla="*/ 195185 h 823468"/>
              <a:gd name="connsiteX2202" fmla="*/ 5319627 w 12248682"/>
              <a:gd name="connsiteY2202" fmla="*/ 246002 h 823468"/>
              <a:gd name="connsiteX2203" fmla="*/ 5268810 w 12248682"/>
              <a:gd name="connsiteY2203" fmla="*/ 195185 h 823468"/>
              <a:gd name="connsiteX2204" fmla="*/ 5319627 w 12248682"/>
              <a:gd name="connsiteY2204" fmla="*/ 144368 h 823468"/>
              <a:gd name="connsiteX2205" fmla="*/ 5183345 w 12248682"/>
              <a:gd name="connsiteY2205" fmla="*/ 144368 h 823468"/>
              <a:gd name="connsiteX2206" fmla="*/ 5234162 w 12248682"/>
              <a:gd name="connsiteY2206" fmla="*/ 195185 h 823468"/>
              <a:gd name="connsiteX2207" fmla="*/ 5183345 w 12248682"/>
              <a:gd name="connsiteY2207" fmla="*/ 246002 h 823468"/>
              <a:gd name="connsiteX2208" fmla="*/ 5132528 w 12248682"/>
              <a:gd name="connsiteY2208" fmla="*/ 195185 h 823468"/>
              <a:gd name="connsiteX2209" fmla="*/ 5183345 w 12248682"/>
              <a:gd name="connsiteY2209" fmla="*/ 144368 h 823468"/>
              <a:gd name="connsiteX2210" fmla="*/ 4093087 w 12248682"/>
              <a:gd name="connsiteY2210" fmla="*/ 144368 h 823468"/>
              <a:gd name="connsiteX2211" fmla="*/ 4143904 w 12248682"/>
              <a:gd name="connsiteY2211" fmla="*/ 195185 h 823468"/>
              <a:gd name="connsiteX2212" fmla="*/ 4093087 w 12248682"/>
              <a:gd name="connsiteY2212" fmla="*/ 246002 h 823468"/>
              <a:gd name="connsiteX2213" fmla="*/ 4042270 w 12248682"/>
              <a:gd name="connsiteY2213" fmla="*/ 195185 h 823468"/>
              <a:gd name="connsiteX2214" fmla="*/ 4093087 w 12248682"/>
              <a:gd name="connsiteY2214" fmla="*/ 144368 h 823468"/>
              <a:gd name="connsiteX2215" fmla="*/ 1790148 w 12248682"/>
              <a:gd name="connsiteY2215" fmla="*/ 144368 h 823468"/>
              <a:gd name="connsiteX2216" fmla="*/ 1840965 w 12248682"/>
              <a:gd name="connsiteY2216" fmla="*/ 195185 h 823468"/>
              <a:gd name="connsiteX2217" fmla="*/ 1790148 w 12248682"/>
              <a:gd name="connsiteY2217" fmla="*/ 246002 h 823468"/>
              <a:gd name="connsiteX2218" fmla="*/ 1739331 w 12248682"/>
              <a:gd name="connsiteY2218" fmla="*/ 195185 h 823468"/>
              <a:gd name="connsiteX2219" fmla="*/ 1790148 w 12248682"/>
              <a:gd name="connsiteY2219" fmla="*/ 144368 h 823468"/>
              <a:gd name="connsiteX2220" fmla="*/ 706820 w 12248682"/>
              <a:gd name="connsiteY2220" fmla="*/ 144368 h 823468"/>
              <a:gd name="connsiteX2221" fmla="*/ 757637 w 12248682"/>
              <a:gd name="connsiteY2221" fmla="*/ 195185 h 823468"/>
              <a:gd name="connsiteX2222" fmla="*/ 706820 w 12248682"/>
              <a:gd name="connsiteY2222" fmla="*/ 246002 h 823468"/>
              <a:gd name="connsiteX2223" fmla="*/ 656003 w 12248682"/>
              <a:gd name="connsiteY2223" fmla="*/ 195185 h 823468"/>
              <a:gd name="connsiteX2224" fmla="*/ 706820 w 12248682"/>
              <a:gd name="connsiteY2224" fmla="*/ 144368 h 823468"/>
              <a:gd name="connsiteX2225" fmla="*/ 570538 w 12248682"/>
              <a:gd name="connsiteY2225" fmla="*/ 144368 h 823468"/>
              <a:gd name="connsiteX2226" fmla="*/ 621355 w 12248682"/>
              <a:gd name="connsiteY2226" fmla="*/ 195185 h 823468"/>
              <a:gd name="connsiteX2227" fmla="*/ 570538 w 12248682"/>
              <a:gd name="connsiteY2227" fmla="*/ 246002 h 823468"/>
              <a:gd name="connsiteX2228" fmla="*/ 519721 w 12248682"/>
              <a:gd name="connsiteY2228" fmla="*/ 195185 h 823468"/>
              <a:gd name="connsiteX2229" fmla="*/ 570538 w 12248682"/>
              <a:gd name="connsiteY2229" fmla="*/ 144368 h 823468"/>
              <a:gd name="connsiteX2230" fmla="*/ 12180541 w 12248682"/>
              <a:gd name="connsiteY2230" fmla="*/ 31184 h 823468"/>
              <a:gd name="connsiteX2231" fmla="*/ 12201330 w 12248682"/>
              <a:gd name="connsiteY2231" fmla="*/ 51973 h 823468"/>
              <a:gd name="connsiteX2232" fmla="*/ 12180541 w 12248682"/>
              <a:gd name="connsiteY2232" fmla="*/ 72762 h 823468"/>
              <a:gd name="connsiteX2233" fmla="*/ 12159752 w 12248682"/>
              <a:gd name="connsiteY2233" fmla="*/ 51973 h 823468"/>
              <a:gd name="connsiteX2234" fmla="*/ 12180541 w 12248682"/>
              <a:gd name="connsiteY2234" fmla="*/ 31184 h 823468"/>
              <a:gd name="connsiteX2235" fmla="*/ 12040793 w 12248682"/>
              <a:gd name="connsiteY2235" fmla="*/ 31184 h 823468"/>
              <a:gd name="connsiteX2236" fmla="*/ 12061582 w 12248682"/>
              <a:gd name="connsiteY2236" fmla="*/ 51973 h 823468"/>
              <a:gd name="connsiteX2237" fmla="*/ 12040793 w 12248682"/>
              <a:gd name="connsiteY2237" fmla="*/ 72762 h 823468"/>
              <a:gd name="connsiteX2238" fmla="*/ 12020004 w 12248682"/>
              <a:gd name="connsiteY2238" fmla="*/ 51973 h 823468"/>
              <a:gd name="connsiteX2239" fmla="*/ 12040793 w 12248682"/>
              <a:gd name="connsiteY2239" fmla="*/ 31184 h 823468"/>
              <a:gd name="connsiteX2240" fmla="*/ 11901047 w 12248682"/>
              <a:gd name="connsiteY2240" fmla="*/ 31184 h 823468"/>
              <a:gd name="connsiteX2241" fmla="*/ 11921836 w 12248682"/>
              <a:gd name="connsiteY2241" fmla="*/ 51973 h 823468"/>
              <a:gd name="connsiteX2242" fmla="*/ 11901047 w 12248682"/>
              <a:gd name="connsiteY2242" fmla="*/ 72762 h 823468"/>
              <a:gd name="connsiteX2243" fmla="*/ 11880258 w 12248682"/>
              <a:gd name="connsiteY2243" fmla="*/ 51973 h 823468"/>
              <a:gd name="connsiteX2244" fmla="*/ 11901047 w 12248682"/>
              <a:gd name="connsiteY2244" fmla="*/ 31184 h 823468"/>
              <a:gd name="connsiteX2245" fmla="*/ 11761299 w 12248682"/>
              <a:gd name="connsiteY2245" fmla="*/ 31184 h 823468"/>
              <a:gd name="connsiteX2246" fmla="*/ 11782088 w 12248682"/>
              <a:gd name="connsiteY2246" fmla="*/ 51973 h 823468"/>
              <a:gd name="connsiteX2247" fmla="*/ 11761299 w 12248682"/>
              <a:gd name="connsiteY2247" fmla="*/ 72762 h 823468"/>
              <a:gd name="connsiteX2248" fmla="*/ 11740510 w 12248682"/>
              <a:gd name="connsiteY2248" fmla="*/ 51973 h 823468"/>
              <a:gd name="connsiteX2249" fmla="*/ 11761299 w 12248682"/>
              <a:gd name="connsiteY2249" fmla="*/ 31184 h 823468"/>
              <a:gd name="connsiteX2250" fmla="*/ 11621553 w 12248682"/>
              <a:gd name="connsiteY2250" fmla="*/ 31184 h 823468"/>
              <a:gd name="connsiteX2251" fmla="*/ 11642342 w 12248682"/>
              <a:gd name="connsiteY2251" fmla="*/ 51973 h 823468"/>
              <a:gd name="connsiteX2252" fmla="*/ 11621553 w 12248682"/>
              <a:gd name="connsiteY2252" fmla="*/ 72762 h 823468"/>
              <a:gd name="connsiteX2253" fmla="*/ 11600764 w 12248682"/>
              <a:gd name="connsiteY2253" fmla="*/ 51973 h 823468"/>
              <a:gd name="connsiteX2254" fmla="*/ 11621553 w 12248682"/>
              <a:gd name="connsiteY2254" fmla="*/ 31184 h 823468"/>
              <a:gd name="connsiteX2255" fmla="*/ 11481805 w 12248682"/>
              <a:gd name="connsiteY2255" fmla="*/ 31184 h 823468"/>
              <a:gd name="connsiteX2256" fmla="*/ 11502594 w 12248682"/>
              <a:gd name="connsiteY2256" fmla="*/ 51973 h 823468"/>
              <a:gd name="connsiteX2257" fmla="*/ 11481805 w 12248682"/>
              <a:gd name="connsiteY2257" fmla="*/ 72762 h 823468"/>
              <a:gd name="connsiteX2258" fmla="*/ 11461016 w 12248682"/>
              <a:gd name="connsiteY2258" fmla="*/ 51973 h 823468"/>
              <a:gd name="connsiteX2259" fmla="*/ 11481805 w 12248682"/>
              <a:gd name="connsiteY2259" fmla="*/ 31184 h 823468"/>
              <a:gd name="connsiteX2260" fmla="*/ 10644478 w 12248682"/>
              <a:gd name="connsiteY2260" fmla="*/ 31184 h 823468"/>
              <a:gd name="connsiteX2261" fmla="*/ 10665267 w 12248682"/>
              <a:gd name="connsiteY2261" fmla="*/ 51973 h 823468"/>
              <a:gd name="connsiteX2262" fmla="*/ 10644478 w 12248682"/>
              <a:gd name="connsiteY2262" fmla="*/ 72762 h 823468"/>
              <a:gd name="connsiteX2263" fmla="*/ 10623690 w 12248682"/>
              <a:gd name="connsiteY2263" fmla="*/ 51973 h 823468"/>
              <a:gd name="connsiteX2264" fmla="*/ 10644478 w 12248682"/>
              <a:gd name="connsiteY2264" fmla="*/ 31184 h 823468"/>
              <a:gd name="connsiteX2265" fmla="*/ 10504731 w 12248682"/>
              <a:gd name="connsiteY2265" fmla="*/ 31184 h 823468"/>
              <a:gd name="connsiteX2266" fmla="*/ 10525520 w 12248682"/>
              <a:gd name="connsiteY2266" fmla="*/ 51973 h 823468"/>
              <a:gd name="connsiteX2267" fmla="*/ 10504731 w 12248682"/>
              <a:gd name="connsiteY2267" fmla="*/ 72762 h 823468"/>
              <a:gd name="connsiteX2268" fmla="*/ 10483942 w 12248682"/>
              <a:gd name="connsiteY2268" fmla="*/ 51973 h 823468"/>
              <a:gd name="connsiteX2269" fmla="*/ 10504731 w 12248682"/>
              <a:gd name="connsiteY2269" fmla="*/ 31184 h 823468"/>
              <a:gd name="connsiteX2270" fmla="*/ 10364984 w 12248682"/>
              <a:gd name="connsiteY2270" fmla="*/ 31184 h 823468"/>
              <a:gd name="connsiteX2271" fmla="*/ 10385773 w 12248682"/>
              <a:gd name="connsiteY2271" fmla="*/ 51973 h 823468"/>
              <a:gd name="connsiteX2272" fmla="*/ 10364984 w 12248682"/>
              <a:gd name="connsiteY2272" fmla="*/ 72762 h 823468"/>
              <a:gd name="connsiteX2273" fmla="*/ 10344196 w 12248682"/>
              <a:gd name="connsiteY2273" fmla="*/ 51973 h 823468"/>
              <a:gd name="connsiteX2274" fmla="*/ 10364984 w 12248682"/>
              <a:gd name="connsiteY2274" fmla="*/ 31184 h 823468"/>
              <a:gd name="connsiteX2275" fmla="*/ 7854709 w 12248682"/>
              <a:gd name="connsiteY2275" fmla="*/ 31184 h 823468"/>
              <a:gd name="connsiteX2276" fmla="*/ 7875498 w 12248682"/>
              <a:gd name="connsiteY2276" fmla="*/ 51973 h 823468"/>
              <a:gd name="connsiteX2277" fmla="*/ 7854709 w 12248682"/>
              <a:gd name="connsiteY2277" fmla="*/ 72762 h 823468"/>
              <a:gd name="connsiteX2278" fmla="*/ 7833921 w 12248682"/>
              <a:gd name="connsiteY2278" fmla="*/ 51973 h 823468"/>
              <a:gd name="connsiteX2279" fmla="*/ 7854709 w 12248682"/>
              <a:gd name="connsiteY2279" fmla="*/ 31184 h 823468"/>
              <a:gd name="connsiteX2280" fmla="*/ 7714960 w 12248682"/>
              <a:gd name="connsiteY2280" fmla="*/ 31184 h 823468"/>
              <a:gd name="connsiteX2281" fmla="*/ 7735749 w 12248682"/>
              <a:gd name="connsiteY2281" fmla="*/ 51973 h 823468"/>
              <a:gd name="connsiteX2282" fmla="*/ 7714960 w 12248682"/>
              <a:gd name="connsiteY2282" fmla="*/ 72762 h 823468"/>
              <a:gd name="connsiteX2283" fmla="*/ 7694172 w 12248682"/>
              <a:gd name="connsiteY2283" fmla="*/ 51973 h 823468"/>
              <a:gd name="connsiteX2284" fmla="*/ 7714960 w 12248682"/>
              <a:gd name="connsiteY2284" fmla="*/ 31184 h 823468"/>
              <a:gd name="connsiteX2285" fmla="*/ 7575214 w 12248682"/>
              <a:gd name="connsiteY2285" fmla="*/ 31184 h 823468"/>
              <a:gd name="connsiteX2286" fmla="*/ 7596004 w 12248682"/>
              <a:gd name="connsiteY2286" fmla="*/ 51973 h 823468"/>
              <a:gd name="connsiteX2287" fmla="*/ 7575214 w 12248682"/>
              <a:gd name="connsiteY2287" fmla="*/ 72762 h 823468"/>
              <a:gd name="connsiteX2288" fmla="*/ 7554427 w 12248682"/>
              <a:gd name="connsiteY2288" fmla="*/ 51973 h 823468"/>
              <a:gd name="connsiteX2289" fmla="*/ 7575214 w 12248682"/>
              <a:gd name="connsiteY2289" fmla="*/ 31184 h 823468"/>
              <a:gd name="connsiteX2290" fmla="*/ 7435467 w 12248682"/>
              <a:gd name="connsiteY2290" fmla="*/ 31184 h 823468"/>
              <a:gd name="connsiteX2291" fmla="*/ 7456257 w 12248682"/>
              <a:gd name="connsiteY2291" fmla="*/ 51973 h 823468"/>
              <a:gd name="connsiteX2292" fmla="*/ 7435467 w 12248682"/>
              <a:gd name="connsiteY2292" fmla="*/ 72762 h 823468"/>
              <a:gd name="connsiteX2293" fmla="*/ 7414678 w 12248682"/>
              <a:gd name="connsiteY2293" fmla="*/ 51973 h 823468"/>
              <a:gd name="connsiteX2294" fmla="*/ 7435467 w 12248682"/>
              <a:gd name="connsiteY2294" fmla="*/ 31184 h 823468"/>
              <a:gd name="connsiteX2295" fmla="*/ 7295720 w 12248682"/>
              <a:gd name="connsiteY2295" fmla="*/ 31184 h 823468"/>
              <a:gd name="connsiteX2296" fmla="*/ 7316509 w 12248682"/>
              <a:gd name="connsiteY2296" fmla="*/ 51973 h 823468"/>
              <a:gd name="connsiteX2297" fmla="*/ 7295720 w 12248682"/>
              <a:gd name="connsiteY2297" fmla="*/ 72762 h 823468"/>
              <a:gd name="connsiteX2298" fmla="*/ 7274932 w 12248682"/>
              <a:gd name="connsiteY2298" fmla="*/ 51973 h 823468"/>
              <a:gd name="connsiteX2299" fmla="*/ 7295720 w 12248682"/>
              <a:gd name="connsiteY2299" fmla="*/ 31184 h 823468"/>
              <a:gd name="connsiteX2300" fmla="*/ 7155974 w 12248682"/>
              <a:gd name="connsiteY2300" fmla="*/ 31184 h 823468"/>
              <a:gd name="connsiteX2301" fmla="*/ 7176762 w 12248682"/>
              <a:gd name="connsiteY2301" fmla="*/ 51973 h 823468"/>
              <a:gd name="connsiteX2302" fmla="*/ 7155974 w 12248682"/>
              <a:gd name="connsiteY2302" fmla="*/ 72762 h 823468"/>
              <a:gd name="connsiteX2303" fmla="*/ 7135183 w 12248682"/>
              <a:gd name="connsiteY2303" fmla="*/ 51973 h 823468"/>
              <a:gd name="connsiteX2304" fmla="*/ 7155974 w 12248682"/>
              <a:gd name="connsiteY2304" fmla="*/ 31184 h 823468"/>
              <a:gd name="connsiteX2305" fmla="*/ 7016227 w 12248682"/>
              <a:gd name="connsiteY2305" fmla="*/ 31184 h 823468"/>
              <a:gd name="connsiteX2306" fmla="*/ 7037016 w 12248682"/>
              <a:gd name="connsiteY2306" fmla="*/ 51973 h 823468"/>
              <a:gd name="connsiteX2307" fmla="*/ 7016227 w 12248682"/>
              <a:gd name="connsiteY2307" fmla="*/ 72762 h 823468"/>
              <a:gd name="connsiteX2308" fmla="*/ 6995438 w 12248682"/>
              <a:gd name="connsiteY2308" fmla="*/ 51973 h 823468"/>
              <a:gd name="connsiteX2309" fmla="*/ 7016227 w 12248682"/>
              <a:gd name="connsiteY2309" fmla="*/ 31184 h 823468"/>
              <a:gd name="connsiteX2310" fmla="*/ 6877634 w 12248682"/>
              <a:gd name="connsiteY2310" fmla="*/ 31184 h 823468"/>
              <a:gd name="connsiteX2311" fmla="*/ 6898424 w 12248682"/>
              <a:gd name="connsiteY2311" fmla="*/ 51973 h 823468"/>
              <a:gd name="connsiteX2312" fmla="*/ 6877634 w 12248682"/>
              <a:gd name="connsiteY2312" fmla="*/ 72762 h 823468"/>
              <a:gd name="connsiteX2313" fmla="*/ 6856845 w 12248682"/>
              <a:gd name="connsiteY2313" fmla="*/ 51973 h 823468"/>
              <a:gd name="connsiteX2314" fmla="*/ 6877634 w 12248682"/>
              <a:gd name="connsiteY2314" fmla="*/ 31184 h 823468"/>
              <a:gd name="connsiteX2315" fmla="*/ 6039151 w 12248682"/>
              <a:gd name="connsiteY2315" fmla="*/ 31184 h 823468"/>
              <a:gd name="connsiteX2316" fmla="*/ 6059942 w 12248682"/>
              <a:gd name="connsiteY2316" fmla="*/ 51973 h 823468"/>
              <a:gd name="connsiteX2317" fmla="*/ 6039151 w 12248682"/>
              <a:gd name="connsiteY2317" fmla="*/ 72762 h 823468"/>
              <a:gd name="connsiteX2318" fmla="*/ 6018363 w 12248682"/>
              <a:gd name="connsiteY2318" fmla="*/ 51973 h 823468"/>
              <a:gd name="connsiteX2319" fmla="*/ 6039151 w 12248682"/>
              <a:gd name="connsiteY2319" fmla="*/ 31184 h 823468"/>
              <a:gd name="connsiteX2320" fmla="*/ 5899405 w 12248682"/>
              <a:gd name="connsiteY2320" fmla="*/ 31184 h 823468"/>
              <a:gd name="connsiteX2321" fmla="*/ 5920193 w 12248682"/>
              <a:gd name="connsiteY2321" fmla="*/ 51973 h 823468"/>
              <a:gd name="connsiteX2322" fmla="*/ 5899405 w 12248682"/>
              <a:gd name="connsiteY2322" fmla="*/ 72762 h 823468"/>
              <a:gd name="connsiteX2323" fmla="*/ 5878616 w 12248682"/>
              <a:gd name="connsiteY2323" fmla="*/ 51973 h 823468"/>
              <a:gd name="connsiteX2324" fmla="*/ 5899405 w 12248682"/>
              <a:gd name="connsiteY2324" fmla="*/ 31184 h 823468"/>
              <a:gd name="connsiteX2325" fmla="*/ 5759658 w 12248682"/>
              <a:gd name="connsiteY2325" fmla="*/ 31184 h 823468"/>
              <a:gd name="connsiteX2326" fmla="*/ 5780447 w 12248682"/>
              <a:gd name="connsiteY2326" fmla="*/ 51973 h 823468"/>
              <a:gd name="connsiteX2327" fmla="*/ 5759658 w 12248682"/>
              <a:gd name="connsiteY2327" fmla="*/ 72762 h 823468"/>
              <a:gd name="connsiteX2328" fmla="*/ 5738869 w 12248682"/>
              <a:gd name="connsiteY2328" fmla="*/ 51973 h 823468"/>
              <a:gd name="connsiteX2329" fmla="*/ 5759658 w 12248682"/>
              <a:gd name="connsiteY2329" fmla="*/ 31184 h 823468"/>
              <a:gd name="connsiteX2330" fmla="*/ 3241901 w 12248682"/>
              <a:gd name="connsiteY2330" fmla="*/ 31184 h 823468"/>
              <a:gd name="connsiteX2331" fmla="*/ 3262690 w 12248682"/>
              <a:gd name="connsiteY2331" fmla="*/ 51973 h 823468"/>
              <a:gd name="connsiteX2332" fmla="*/ 3241901 w 12248682"/>
              <a:gd name="connsiteY2332" fmla="*/ 72762 h 823468"/>
              <a:gd name="connsiteX2333" fmla="*/ 3221112 w 12248682"/>
              <a:gd name="connsiteY2333" fmla="*/ 51973 h 823468"/>
              <a:gd name="connsiteX2334" fmla="*/ 3241901 w 12248682"/>
              <a:gd name="connsiteY2334" fmla="*/ 31184 h 823468"/>
              <a:gd name="connsiteX2335" fmla="*/ 3102153 w 12248682"/>
              <a:gd name="connsiteY2335" fmla="*/ 31184 h 823468"/>
              <a:gd name="connsiteX2336" fmla="*/ 3122942 w 12248682"/>
              <a:gd name="connsiteY2336" fmla="*/ 51973 h 823468"/>
              <a:gd name="connsiteX2337" fmla="*/ 3102153 w 12248682"/>
              <a:gd name="connsiteY2337" fmla="*/ 72762 h 823468"/>
              <a:gd name="connsiteX2338" fmla="*/ 3081365 w 12248682"/>
              <a:gd name="connsiteY2338" fmla="*/ 51973 h 823468"/>
              <a:gd name="connsiteX2339" fmla="*/ 3102153 w 12248682"/>
              <a:gd name="connsiteY2339" fmla="*/ 31184 h 823468"/>
              <a:gd name="connsiteX2340" fmla="*/ 2962407 w 12248682"/>
              <a:gd name="connsiteY2340" fmla="*/ 31184 h 823468"/>
              <a:gd name="connsiteX2341" fmla="*/ 2983196 w 12248682"/>
              <a:gd name="connsiteY2341" fmla="*/ 51973 h 823468"/>
              <a:gd name="connsiteX2342" fmla="*/ 2962407 w 12248682"/>
              <a:gd name="connsiteY2342" fmla="*/ 72762 h 823468"/>
              <a:gd name="connsiteX2343" fmla="*/ 2941618 w 12248682"/>
              <a:gd name="connsiteY2343" fmla="*/ 51973 h 823468"/>
              <a:gd name="connsiteX2344" fmla="*/ 2962407 w 12248682"/>
              <a:gd name="connsiteY2344" fmla="*/ 31184 h 823468"/>
              <a:gd name="connsiteX2345" fmla="*/ 2822659 w 12248682"/>
              <a:gd name="connsiteY2345" fmla="*/ 31184 h 823468"/>
              <a:gd name="connsiteX2346" fmla="*/ 2843448 w 12248682"/>
              <a:gd name="connsiteY2346" fmla="*/ 51973 h 823468"/>
              <a:gd name="connsiteX2347" fmla="*/ 2822659 w 12248682"/>
              <a:gd name="connsiteY2347" fmla="*/ 72762 h 823468"/>
              <a:gd name="connsiteX2348" fmla="*/ 2801871 w 12248682"/>
              <a:gd name="connsiteY2348" fmla="*/ 51973 h 823468"/>
              <a:gd name="connsiteX2349" fmla="*/ 2822659 w 12248682"/>
              <a:gd name="connsiteY2349" fmla="*/ 31184 h 823468"/>
              <a:gd name="connsiteX2350" fmla="*/ 2682913 w 12248682"/>
              <a:gd name="connsiteY2350" fmla="*/ 31184 h 823468"/>
              <a:gd name="connsiteX2351" fmla="*/ 2703702 w 12248682"/>
              <a:gd name="connsiteY2351" fmla="*/ 51973 h 823468"/>
              <a:gd name="connsiteX2352" fmla="*/ 2682913 w 12248682"/>
              <a:gd name="connsiteY2352" fmla="*/ 72762 h 823468"/>
              <a:gd name="connsiteX2353" fmla="*/ 2662124 w 12248682"/>
              <a:gd name="connsiteY2353" fmla="*/ 51973 h 823468"/>
              <a:gd name="connsiteX2354" fmla="*/ 2682913 w 12248682"/>
              <a:gd name="connsiteY2354" fmla="*/ 31184 h 823468"/>
              <a:gd name="connsiteX2355" fmla="*/ 2543167 w 12248682"/>
              <a:gd name="connsiteY2355" fmla="*/ 31184 h 823468"/>
              <a:gd name="connsiteX2356" fmla="*/ 2563954 w 12248682"/>
              <a:gd name="connsiteY2356" fmla="*/ 51973 h 823468"/>
              <a:gd name="connsiteX2357" fmla="*/ 2543167 w 12248682"/>
              <a:gd name="connsiteY2357" fmla="*/ 72762 h 823468"/>
              <a:gd name="connsiteX2358" fmla="*/ 2522376 w 12248682"/>
              <a:gd name="connsiteY2358" fmla="*/ 51973 h 823468"/>
              <a:gd name="connsiteX2359" fmla="*/ 2543167 w 12248682"/>
              <a:gd name="connsiteY2359" fmla="*/ 31184 h 823468"/>
              <a:gd name="connsiteX2360" fmla="*/ 2403419 w 12248682"/>
              <a:gd name="connsiteY2360" fmla="*/ 31184 h 823468"/>
              <a:gd name="connsiteX2361" fmla="*/ 2424209 w 12248682"/>
              <a:gd name="connsiteY2361" fmla="*/ 51973 h 823468"/>
              <a:gd name="connsiteX2362" fmla="*/ 2403419 w 12248682"/>
              <a:gd name="connsiteY2362" fmla="*/ 72762 h 823468"/>
              <a:gd name="connsiteX2363" fmla="*/ 2382630 w 12248682"/>
              <a:gd name="connsiteY2363" fmla="*/ 51973 h 823468"/>
              <a:gd name="connsiteX2364" fmla="*/ 2403419 w 12248682"/>
              <a:gd name="connsiteY2364" fmla="*/ 31184 h 823468"/>
              <a:gd name="connsiteX2365" fmla="*/ 2263671 w 12248682"/>
              <a:gd name="connsiteY2365" fmla="*/ 31184 h 823468"/>
              <a:gd name="connsiteX2366" fmla="*/ 2284460 w 12248682"/>
              <a:gd name="connsiteY2366" fmla="*/ 51973 h 823468"/>
              <a:gd name="connsiteX2367" fmla="*/ 2263671 w 12248682"/>
              <a:gd name="connsiteY2367" fmla="*/ 72762 h 823468"/>
              <a:gd name="connsiteX2368" fmla="*/ 2242883 w 12248682"/>
              <a:gd name="connsiteY2368" fmla="*/ 51973 h 823468"/>
              <a:gd name="connsiteX2369" fmla="*/ 2263671 w 12248682"/>
              <a:gd name="connsiteY2369" fmla="*/ 31184 h 823468"/>
              <a:gd name="connsiteX2370" fmla="*/ 1426344 w 12248682"/>
              <a:gd name="connsiteY2370" fmla="*/ 31184 h 823468"/>
              <a:gd name="connsiteX2371" fmla="*/ 1447133 w 12248682"/>
              <a:gd name="connsiteY2371" fmla="*/ 51973 h 823468"/>
              <a:gd name="connsiteX2372" fmla="*/ 1426344 w 12248682"/>
              <a:gd name="connsiteY2372" fmla="*/ 72762 h 823468"/>
              <a:gd name="connsiteX2373" fmla="*/ 1405556 w 12248682"/>
              <a:gd name="connsiteY2373" fmla="*/ 51973 h 823468"/>
              <a:gd name="connsiteX2374" fmla="*/ 1426344 w 12248682"/>
              <a:gd name="connsiteY2374" fmla="*/ 31184 h 823468"/>
              <a:gd name="connsiteX2375" fmla="*/ 1286597 w 12248682"/>
              <a:gd name="connsiteY2375" fmla="*/ 31184 h 823468"/>
              <a:gd name="connsiteX2376" fmla="*/ 1307386 w 12248682"/>
              <a:gd name="connsiteY2376" fmla="*/ 51973 h 823468"/>
              <a:gd name="connsiteX2377" fmla="*/ 1286597 w 12248682"/>
              <a:gd name="connsiteY2377" fmla="*/ 72762 h 823468"/>
              <a:gd name="connsiteX2378" fmla="*/ 1265808 w 12248682"/>
              <a:gd name="connsiteY2378" fmla="*/ 51973 h 823468"/>
              <a:gd name="connsiteX2379" fmla="*/ 1286597 w 12248682"/>
              <a:gd name="connsiteY2379" fmla="*/ 31184 h 823468"/>
              <a:gd name="connsiteX2380" fmla="*/ 1146851 w 12248682"/>
              <a:gd name="connsiteY2380" fmla="*/ 31184 h 823468"/>
              <a:gd name="connsiteX2381" fmla="*/ 1167639 w 12248682"/>
              <a:gd name="connsiteY2381" fmla="*/ 51973 h 823468"/>
              <a:gd name="connsiteX2382" fmla="*/ 1146851 w 12248682"/>
              <a:gd name="connsiteY2382" fmla="*/ 72762 h 823468"/>
              <a:gd name="connsiteX2383" fmla="*/ 1126062 w 12248682"/>
              <a:gd name="connsiteY2383" fmla="*/ 51973 h 823468"/>
              <a:gd name="connsiteX2384" fmla="*/ 1146851 w 12248682"/>
              <a:gd name="connsiteY2384" fmla="*/ 31184 h 823468"/>
              <a:gd name="connsiteX2385" fmla="*/ 11343213 w 12248682"/>
              <a:gd name="connsiteY2385" fmla="*/ 27719 h 823468"/>
              <a:gd name="connsiteX2386" fmla="*/ 11366312 w 12248682"/>
              <a:gd name="connsiteY2386" fmla="*/ 50817 h 823468"/>
              <a:gd name="connsiteX2387" fmla="*/ 11343213 w 12248682"/>
              <a:gd name="connsiteY2387" fmla="*/ 73916 h 823468"/>
              <a:gd name="connsiteX2388" fmla="*/ 11320114 w 12248682"/>
              <a:gd name="connsiteY2388" fmla="*/ 50817 h 823468"/>
              <a:gd name="connsiteX2389" fmla="*/ 11343213 w 12248682"/>
              <a:gd name="connsiteY2389" fmla="*/ 27719 h 823468"/>
              <a:gd name="connsiteX2390" fmla="*/ 10225237 w 12248682"/>
              <a:gd name="connsiteY2390" fmla="*/ 27719 h 823468"/>
              <a:gd name="connsiteX2391" fmla="*/ 10248335 w 12248682"/>
              <a:gd name="connsiteY2391" fmla="*/ 50817 h 823468"/>
              <a:gd name="connsiteX2392" fmla="*/ 10225237 w 12248682"/>
              <a:gd name="connsiteY2392" fmla="*/ 73916 h 823468"/>
              <a:gd name="connsiteX2393" fmla="*/ 10202138 w 12248682"/>
              <a:gd name="connsiteY2393" fmla="*/ 50817 h 823468"/>
              <a:gd name="connsiteX2394" fmla="*/ 10225237 w 12248682"/>
              <a:gd name="connsiteY2394" fmla="*/ 27719 h 823468"/>
              <a:gd name="connsiteX2395" fmla="*/ 9112431 w 12248682"/>
              <a:gd name="connsiteY2395" fmla="*/ 27719 h 823468"/>
              <a:gd name="connsiteX2396" fmla="*/ 9135530 w 12248682"/>
              <a:gd name="connsiteY2396" fmla="*/ 50817 h 823468"/>
              <a:gd name="connsiteX2397" fmla="*/ 9112431 w 12248682"/>
              <a:gd name="connsiteY2397" fmla="*/ 73916 h 823468"/>
              <a:gd name="connsiteX2398" fmla="*/ 9089332 w 12248682"/>
              <a:gd name="connsiteY2398" fmla="*/ 50817 h 823468"/>
              <a:gd name="connsiteX2399" fmla="*/ 9112431 w 12248682"/>
              <a:gd name="connsiteY2399" fmla="*/ 27719 h 823468"/>
              <a:gd name="connsiteX2400" fmla="*/ 7994456 w 12248682"/>
              <a:gd name="connsiteY2400" fmla="*/ 27719 h 823468"/>
              <a:gd name="connsiteX2401" fmla="*/ 8017555 w 12248682"/>
              <a:gd name="connsiteY2401" fmla="*/ 50817 h 823468"/>
              <a:gd name="connsiteX2402" fmla="*/ 7994456 w 12248682"/>
              <a:gd name="connsiteY2402" fmla="*/ 73916 h 823468"/>
              <a:gd name="connsiteX2403" fmla="*/ 7971356 w 12248682"/>
              <a:gd name="connsiteY2403" fmla="*/ 50817 h 823468"/>
              <a:gd name="connsiteX2404" fmla="*/ 7994456 w 12248682"/>
              <a:gd name="connsiteY2404" fmla="*/ 27719 h 823468"/>
              <a:gd name="connsiteX2405" fmla="*/ 6737887 w 12248682"/>
              <a:gd name="connsiteY2405" fmla="*/ 27719 h 823468"/>
              <a:gd name="connsiteX2406" fmla="*/ 6760986 w 12248682"/>
              <a:gd name="connsiteY2406" fmla="*/ 50817 h 823468"/>
              <a:gd name="connsiteX2407" fmla="*/ 6737887 w 12248682"/>
              <a:gd name="connsiteY2407" fmla="*/ 73916 h 823468"/>
              <a:gd name="connsiteX2408" fmla="*/ 6714789 w 12248682"/>
              <a:gd name="connsiteY2408" fmla="*/ 50817 h 823468"/>
              <a:gd name="connsiteX2409" fmla="*/ 6737887 w 12248682"/>
              <a:gd name="connsiteY2409" fmla="*/ 27719 h 823468"/>
              <a:gd name="connsiteX2410" fmla="*/ 5619911 w 12248682"/>
              <a:gd name="connsiteY2410" fmla="*/ 27719 h 823468"/>
              <a:gd name="connsiteX2411" fmla="*/ 5643008 w 12248682"/>
              <a:gd name="connsiteY2411" fmla="*/ 50817 h 823468"/>
              <a:gd name="connsiteX2412" fmla="*/ 5619911 w 12248682"/>
              <a:gd name="connsiteY2412" fmla="*/ 73916 h 823468"/>
              <a:gd name="connsiteX2413" fmla="*/ 5596812 w 12248682"/>
              <a:gd name="connsiteY2413" fmla="*/ 50817 h 823468"/>
              <a:gd name="connsiteX2414" fmla="*/ 5619911 w 12248682"/>
              <a:gd name="connsiteY2414" fmla="*/ 27719 h 823468"/>
              <a:gd name="connsiteX2415" fmla="*/ 4499625 w 12248682"/>
              <a:gd name="connsiteY2415" fmla="*/ 27719 h 823468"/>
              <a:gd name="connsiteX2416" fmla="*/ 4522722 w 12248682"/>
              <a:gd name="connsiteY2416" fmla="*/ 50817 h 823468"/>
              <a:gd name="connsiteX2417" fmla="*/ 4499625 w 12248682"/>
              <a:gd name="connsiteY2417" fmla="*/ 73916 h 823468"/>
              <a:gd name="connsiteX2418" fmla="*/ 4476525 w 12248682"/>
              <a:gd name="connsiteY2418" fmla="*/ 50817 h 823468"/>
              <a:gd name="connsiteX2419" fmla="*/ 4499625 w 12248682"/>
              <a:gd name="connsiteY2419" fmla="*/ 27719 h 823468"/>
              <a:gd name="connsiteX2420" fmla="*/ 3381648 w 12248682"/>
              <a:gd name="connsiteY2420" fmla="*/ 27719 h 823468"/>
              <a:gd name="connsiteX2421" fmla="*/ 3404746 w 12248682"/>
              <a:gd name="connsiteY2421" fmla="*/ 50817 h 823468"/>
              <a:gd name="connsiteX2422" fmla="*/ 3381648 w 12248682"/>
              <a:gd name="connsiteY2422" fmla="*/ 73916 h 823468"/>
              <a:gd name="connsiteX2423" fmla="*/ 3358549 w 12248682"/>
              <a:gd name="connsiteY2423" fmla="*/ 50817 h 823468"/>
              <a:gd name="connsiteX2424" fmla="*/ 3381648 w 12248682"/>
              <a:gd name="connsiteY2424" fmla="*/ 27719 h 823468"/>
              <a:gd name="connsiteX2425" fmla="*/ 2125079 w 12248682"/>
              <a:gd name="connsiteY2425" fmla="*/ 27719 h 823468"/>
              <a:gd name="connsiteX2426" fmla="*/ 2148178 w 12248682"/>
              <a:gd name="connsiteY2426" fmla="*/ 50817 h 823468"/>
              <a:gd name="connsiteX2427" fmla="*/ 2125079 w 12248682"/>
              <a:gd name="connsiteY2427" fmla="*/ 73916 h 823468"/>
              <a:gd name="connsiteX2428" fmla="*/ 2101980 w 12248682"/>
              <a:gd name="connsiteY2428" fmla="*/ 50817 h 823468"/>
              <a:gd name="connsiteX2429" fmla="*/ 2125079 w 12248682"/>
              <a:gd name="connsiteY2429" fmla="*/ 27719 h 823468"/>
              <a:gd name="connsiteX2430" fmla="*/ 1007103 w 12248682"/>
              <a:gd name="connsiteY2430" fmla="*/ 27719 h 823468"/>
              <a:gd name="connsiteX2431" fmla="*/ 1030201 w 12248682"/>
              <a:gd name="connsiteY2431" fmla="*/ 50817 h 823468"/>
              <a:gd name="connsiteX2432" fmla="*/ 1007103 w 12248682"/>
              <a:gd name="connsiteY2432" fmla="*/ 73916 h 823468"/>
              <a:gd name="connsiteX2433" fmla="*/ 984004 w 12248682"/>
              <a:gd name="connsiteY2433" fmla="*/ 50817 h 823468"/>
              <a:gd name="connsiteX2434" fmla="*/ 1007103 w 12248682"/>
              <a:gd name="connsiteY2434" fmla="*/ 27719 h 823468"/>
              <a:gd name="connsiteX2435" fmla="*/ 11203466 w 12248682"/>
              <a:gd name="connsiteY2435" fmla="*/ 21945 h 823468"/>
              <a:gd name="connsiteX2436" fmla="*/ 11232339 w 12248682"/>
              <a:gd name="connsiteY2436" fmla="*/ 50817 h 823468"/>
              <a:gd name="connsiteX2437" fmla="*/ 11203466 w 12248682"/>
              <a:gd name="connsiteY2437" fmla="*/ 79691 h 823468"/>
              <a:gd name="connsiteX2438" fmla="*/ 11174593 w 12248682"/>
              <a:gd name="connsiteY2438" fmla="*/ 50817 h 823468"/>
              <a:gd name="connsiteX2439" fmla="*/ 11203466 w 12248682"/>
              <a:gd name="connsiteY2439" fmla="*/ 21945 h 823468"/>
              <a:gd name="connsiteX2440" fmla="*/ 10085490 w 12248682"/>
              <a:gd name="connsiteY2440" fmla="*/ 21945 h 823468"/>
              <a:gd name="connsiteX2441" fmla="*/ 10114363 w 12248682"/>
              <a:gd name="connsiteY2441" fmla="*/ 51973 h 823468"/>
              <a:gd name="connsiteX2442" fmla="*/ 10085490 w 12248682"/>
              <a:gd name="connsiteY2442" fmla="*/ 80846 h 823468"/>
              <a:gd name="connsiteX2443" fmla="*/ 10056616 w 12248682"/>
              <a:gd name="connsiteY2443" fmla="*/ 50817 h 823468"/>
              <a:gd name="connsiteX2444" fmla="*/ 10085490 w 12248682"/>
              <a:gd name="connsiteY2444" fmla="*/ 21945 h 823468"/>
              <a:gd name="connsiteX2445" fmla="*/ 9247008 w 12248682"/>
              <a:gd name="connsiteY2445" fmla="*/ 21945 h 823468"/>
              <a:gd name="connsiteX2446" fmla="*/ 9275881 w 12248682"/>
              <a:gd name="connsiteY2446" fmla="*/ 50817 h 823468"/>
              <a:gd name="connsiteX2447" fmla="*/ 9247008 w 12248682"/>
              <a:gd name="connsiteY2447" fmla="*/ 80846 h 823468"/>
              <a:gd name="connsiteX2448" fmla="*/ 9218134 w 12248682"/>
              <a:gd name="connsiteY2448" fmla="*/ 50817 h 823468"/>
              <a:gd name="connsiteX2449" fmla="*/ 9247008 w 12248682"/>
              <a:gd name="connsiteY2449" fmla="*/ 21945 h 823468"/>
              <a:gd name="connsiteX2450" fmla="*/ 8972685 w 12248682"/>
              <a:gd name="connsiteY2450" fmla="*/ 21945 h 823468"/>
              <a:gd name="connsiteX2451" fmla="*/ 9001557 w 12248682"/>
              <a:gd name="connsiteY2451" fmla="*/ 50817 h 823468"/>
              <a:gd name="connsiteX2452" fmla="*/ 8972685 w 12248682"/>
              <a:gd name="connsiteY2452" fmla="*/ 79691 h 823468"/>
              <a:gd name="connsiteX2453" fmla="*/ 8943811 w 12248682"/>
              <a:gd name="connsiteY2453" fmla="*/ 50817 h 823468"/>
              <a:gd name="connsiteX2454" fmla="*/ 8972685 w 12248682"/>
              <a:gd name="connsiteY2454" fmla="*/ 21945 h 823468"/>
              <a:gd name="connsiteX2455" fmla="*/ 8134203 w 12248682"/>
              <a:gd name="connsiteY2455" fmla="*/ 21945 h 823468"/>
              <a:gd name="connsiteX2456" fmla="*/ 8163075 w 12248682"/>
              <a:gd name="connsiteY2456" fmla="*/ 50817 h 823468"/>
              <a:gd name="connsiteX2457" fmla="*/ 8134203 w 12248682"/>
              <a:gd name="connsiteY2457" fmla="*/ 79691 h 823468"/>
              <a:gd name="connsiteX2458" fmla="*/ 8105330 w 12248682"/>
              <a:gd name="connsiteY2458" fmla="*/ 50817 h 823468"/>
              <a:gd name="connsiteX2459" fmla="*/ 8134203 w 12248682"/>
              <a:gd name="connsiteY2459" fmla="*/ 21945 h 823468"/>
              <a:gd name="connsiteX2460" fmla="*/ 6598140 w 12248682"/>
              <a:gd name="connsiteY2460" fmla="*/ 21945 h 823468"/>
              <a:gd name="connsiteX2461" fmla="*/ 6627013 w 12248682"/>
              <a:gd name="connsiteY2461" fmla="*/ 50817 h 823468"/>
              <a:gd name="connsiteX2462" fmla="*/ 6598140 w 12248682"/>
              <a:gd name="connsiteY2462" fmla="*/ 79691 h 823468"/>
              <a:gd name="connsiteX2463" fmla="*/ 6569267 w 12248682"/>
              <a:gd name="connsiteY2463" fmla="*/ 50817 h 823468"/>
              <a:gd name="connsiteX2464" fmla="*/ 6598140 w 12248682"/>
              <a:gd name="connsiteY2464" fmla="*/ 21945 h 823468"/>
              <a:gd name="connsiteX2465" fmla="*/ 5480165 w 12248682"/>
              <a:gd name="connsiteY2465" fmla="*/ 21945 h 823468"/>
              <a:gd name="connsiteX2466" fmla="*/ 5509037 w 12248682"/>
              <a:gd name="connsiteY2466" fmla="*/ 50817 h 823468"/>
              <a:gd name="connsiteX2467" fmla="*/ 5480165 w 12248682"/>
              <a:gd name="connsiteY2467" fmla="*/ 79691 h 823468"/>
              <a:gd name="connsiteX2468" fmla="*/ 5451289 w 12248682"/>
              <a:gd name="connsiteY2468" fmla="*/ 50817 h 823468"/>
              <a:gd name="connsiteX2469" fmla="*/ 5480165 w 12248682"/>
              <a:gd name="connsiteY2469" fmla="*/ 21945 h 823468"/>
              <a:gd name="connsiteX2470" fmla="*/ 4641682 w 12248682"/>
              <a:gd name="connsiteY2470" fmla="*/ 21945 h 823468"/>
              <a:gd name="connsiteX2471" fmla="*/ 4670555 w 12248682"/>
              <a:gd name="connsiteY2471" fmla="*/ 50817 h 823468"/>
              <a:gd name="connsiteX2472" fmla="*/ 4641682 w 12248682"/>
              <a:gd name="connsiteY2472" fmla="*/ 79691 h 823468"/>
              <a:gd name="connsiteX2473" fmla="*/ 4612809 w 12248682"/>
              <a:gd name="connsiteY2473" fmla="*/ 50817 h 823468"/>
              <a:gd name="connsiteX2474" fmla="*/ 4641682 w 12248682"/>
              <a:gd name="connsiteY2474" fmla="*/ 21945 h 823468"/>
              <a:gd name="connsiteX2475" fmla="*/ 4359878 w 12248682"/>
              <a:gd name="connsiteY2475" fmla="*/ 21945 h 823468"/>
              <a:gd name="connsiteX2476" fmla="*/ 4388751 w 12248682"/>
              <a:gd name="connsiteY2476" fmla="*/ 50817 h 823468"/>
              <a:gd name="connsiteX2477" fmla="*/ 4359878 w 12248682"/>
              <a:gd name="connsiteY2477" fmla="*/ 79691 h 823468"/>
              <a:gd name="connsiteX2478" fmla="*/ 4331003 w 12248682"/>
              <a:gd name="connsiteY2478" fmla="*/ 50817 h 823468"/>
              <a:gd name="connsiteX2479" fmla="*/ 4359878 w 12248682"/>
              <a:gd name="connsiteY2479" fmla="*/ 21945 h 823468"/>
              <a:gd name="connsiteX2480" fmla="*/ 3521396 w 12248682"/>
              <a:gd name="connsiteY2480" fmla="*/ 21945 h 823468"/>
              <a:gd name="connsiteX2481" fmla="*/ 3550268 w 12248682"/>
              <a:gd name="connsiteY2481" fmla="*/ 50817 h 823468"/>
              <a:gd name="connsiteX2482" fmla="*/ 3521396 w 12248682"/>
              <a:gd name="connsiteY2482" fmla="*/ 79691 h 823468"/>
              <a:gd name="connsiteX2483" fmla="*/ 3492521 w 12248682"/>
              <a:gd name="connsiteY2483" fmla="*/ 50817 h 823468"/>
              <a:gd name="connsiteX2484" fmla="*/ 3521396 w 12248682"/>
              <a:gd name="connsiteY2484" fmla="*/ 21945 h 823468"/>
              <a:gd name="connsiteX2485" fmla="*/ 1985333 w 12248682"/>
              <a:gd name="connsiteY2485" fmla="*/ 21945 h 823468"/>
              <a:gd name="connsiteX2486" fmla="*/ 2014205 w 12248682"/>
              <a:gd name="connsiteY2486" fmla="*/ 50817 h 823468"/>
              <a:gd name="connsiteX2487" fmla="*/ 1985333 w 12248682"/>
              <a:gd name="connsiteY2487" fmla="*/ 79691 h 823468"/>
              <a:gd name="connsiteX2488" fmla="*/ 1956459 w 12248682"/>
              <a:gd name="connsiteY2488" fmla="*/ 50817 h 823468"/>
              <a:gd name="connsiteX2489" fmla="*/ 1985333 w 12248682"/>
              <a:gd name="connsiteY2489" fmla="*/ 21945 h 823468"/>
              <a:gd name="connsiteX2490" fmla="*/ 867356 w 12248682"/>
              <a:gd name="connsiteY2490" fmla="*/ 21945 h 823468"/>
              <a:gd name="connsiteX2491" fmla="*/ 896229 w 12248682"/>
              <a:gd name="connsiteY2491" fmla="*/ 51973 h 823468"/>
              <a:gd name="connsiteX2492" fmla="*/ 867356 w 12248682"/>
              <a:gd name="connsiteY2492" fmla="*/ 80846 h 823468"/>
              <a:gd name="connsiteX2493" fmla="*/ 838482 w 12248682"/>
              <a:gd name="connsiteY2493" fmla="*/ 50817 h 823468"/>
              <a:gd name="connsiteX2494" fmla="*/ 867356 w 12248682"/>
              <a:gd name="connsiteY2494" fmla="*/ 21945 h 823468"/>
              <a:gd name="connsiteX2495" fmla="*/ 28874 w 12248682"/>
              <a:gd name="connsiteY2495" fmla="*/ 21945 h 823468"/>
              <a:gd name="connsiteX2496" fmla="*/ 57747 w 12248682"/>
              <a:gd name="connsiteY2496" fmla="*/ 50817 h 823468"/>
              <a:gd name="connsiteX2497" fmla="*/ 28874 w 12248682"/>
              <a:gd name="connsiteY2497" fmla="*/ 80846 h 823468"/>
              <a:gd name="connsiteX2498" fmla="*/ 0 w 12248682"/>
              <a:gd name="connsiteY2498" fmla="*/ 50817 h 823468"/>
              <a:gd name="connsiteX2499" fmla="*/ 28874 w 12248682"/>
              <a:gd name="connsiteY2499" fmla="*/ 21945 h 823468"/>
              <a:gd name="connsiteX2500" fmla="*/ 11063719 w 12248682"/>
              <a:gd name="connsiteY2500" fmla="*/ 16169 h 823468"/>
              <a:gd name="connsiteX2501" fmla="*/ 11098367 w 12248682"/>
              <a:gd name="connsiteY2501" fmla="*/ 50817 h 823468"/>
              <a:gd name="connsiteX2502" fmla="*/ 11063719 w 12248682"/>
              <a:gd name="connsiteY2502" fmla="*/ 85465 h 823468"/>
              <a:gd name="connsiteX2503" fmla="*/ 11029071 w 12248682"/>
              <a:gd name="connsiteY2503" fmla="*/ 50817 h 823468"/>
              <a:gd name="connsiteX2504" fmla="*/ 11063719 w 12248682"/>
              <a:gd name="connsiteY2504" fmla="*/ 16169 h 823468"/>
              <a:gd name="connsiteX2505" fmla="*/ 9945743 w 12248682"/>
              <a:gd name="connsiteY2505" fmla="*/ 16169 h 823468"/>
              <a:gd name="connsiteX2506" fmla="*/ 9980391 w 12248682"/>
              <a:gd name="connsiteY2506" fmla="*/ 50817 h 823468"/>
              <a:gd name="connsiteX2507" fmla="*/ 9945743 w 12248682"/>
              <a:gd name="connsiteY2507" fmla="*/ 85465 h 823468"/>
              <a:gd name="connsiteX2508" fmla="*/ 9911094 w 12248682"/>
              <a:gd name="connsiteY2508" fmla="*/ 50817 h 823468"/>
              <a:gd name="connsiteX2509" fmla="*/ 9945743 w 12248682"/>
              <a:gd name="connsiteY2509" fmla="*/ 16169 h 823468"/>
              <a:gd name="connsiteX2510" fmla="*/ 9386754 w 12248682"/>
              <a:gd name="connsiteY2510" fmla="*/ 16169 h 823468"/>
              <a:gd name="connsiteX2511" fmla="*/ 9421402 w 12248682"/>
              <a:gd name="connsiteY2511" fmla="*/ 50817 h 823468"/>
              <a:gd name="connsiteX2512" fmla="*/ 9386754 w 12248682"/>
              <a:gd name="connsiteY2512" fmla="*/ 85465 h 823468"/>
              <a:gd name="connsiteX2513" fmla="*/ 9352106 w 12248682"/>
              <a:gd name="connsiteY2513" fmla="*/ 50817 h 823468"/>
              <a:gd name="connsiteX2514" fmla="*/ 9386754 w 12248682"/>
              <a:gd name="connsiteY2514" fmla="*/ 16169 h 823468"/>
              <a:gd name="connsiteX2515" fmla="*/ 8832937 w 12248682"/>
              <a:gd name="connsiteY2515" fmla="*/ 16169 h 823468"/>
              <a:gd name="connsiteX2516" fmla="*/ 8867585 w 12248682"/>
              <a:gd name="connsiteY2516" fmla="*/ 50817 h 823468"/>
              <a:gd name="connsiteX2517" fmla="*/ 8832937 w 12248682"/>
              <a:gd name="connsiteY2517" fmla="*/ 85465 h 823468"/>
              <a:gd name="connsiteX2518" fmla="*/ 8798289 w 12248682"/>
              <a:gd name="connsiteY2518" fmla="*/ 50817 h 823468"/>
              <a:gd name="connsiteX2519" fmla="*/ 8832937 w 12248682"/>
              <a:gd name="connsiteY2519" fmla="*/ 16169 h 823468"/>
              <a:gd name="connsiteX2520" fmla="*/ 8273949 w 12248682"/>
              <a:gd name="connsiteY2520" fmla="*/ 16169 h 823468"/>
              <a:gd name="connsiteX2521" fmla="*/ 8308598 w 12248682"/>
              <a:gd name="connsiteY2521" fmla="*/ 50817 h 823468"/>
              <a:gd name="connsiteX2522" fmla="*/ 8273949 w 12248682"/>
              <a:gd name="connsiteY2522" fmla="*/ 85465 h 823468"/>
              <a:gd name="connsiteX2523" fmla="*/ 8239301 w 12248682"/>
              <a:gd name="connsiteY2523" fmla="*/ 50817 h 823468"/>
              <a:gd name="connsiteX2524" fmla="*/ 8273949 w 12248682"/>
              <a:gd name="connsiteY2524" fmla="*/ 16169 h 823468"/>
              <a:gd name="connsiteX2525" fmla="*/ 6458393 w 12248682"/>
              <a:gd name="connsiteY2525" fmla="*/ 16169 h 823468"/>
              <a:gd name="connsiteX2526" fmla="*/ 6493041 w 12248682"/>
              <a:gd name="connsiteY2526" fmla="*/ 50817 h 823468"/>
              <a:gd name="connsiteX2527" fmla="*/ 6458393 w 12248682"/>
              <a:gd name="connsiteY2527" fmla="*/ 85465 h 823468"/>
              <a:gd name="connsiteX2528" fmla="*/ 6423745 w 12248682"/>
              <a:gd name="connsiteY2528" fmla="*/ 50817 h 823468"/>
              <a:gd name="connsiteX2529" fmla="*/ 6458393 w 12248682"/>
              <a:gd name="connsiteY2529" fmla="*/ 16169 h 823468"/>
              <a:gd name="connsiteX2530" fmla="*/ 5340416 w 12248682"/>
              <a:gd name="connsiteY2530" fmla="*/ 16169 h 823468"/>
              <a:gd name="connsiteX2531" fmla="*/ 5375064 w 12248682"/>
              <a:gd name="connsiteY2531" fmla="*/ 50817 h 823468"/>
              <a:gd name="connsiteX2532" fmla="*/ 5340416 w 12248682"/>
              <a:gd name="connsiteY2532" fmla="*/ 85465 h 823468"/>
              <a:gd name="connsiteX2533" fmla="*/ 5305769 w 12248682"/>
              <a:gd name="connsiteY2533" fmla="*/ 50817 h 823468"/>
              <a:gd name="connsiteX2534" fmla="*/ 5340416 w 12248682"/>
              <a:gd name="connsiteY2534" fmla="*/ 16169 h 823468"/>
              <a:gd name="connsiteX2535" fmla="*/ 4781429 w 12248682"/>
              <a:gd name="connsiteY2535" fmla="*/ 16169 h 823468"/>
              <a:gd name="connsiteX2536" fmla="*/ 4816075 w 12248682"/>
              <a:gd name="connsiteY2536" fmla="*/ 50817 h 823468"/>
              <a:gd name="connsiteX2537" fmla="*/ 4781429 w 12248682"/>
              <a:gd name="connsiteY2537" fmla="*/ 85465 h 823468"/>
              <a:gd name="connsiteX2538" fmla="*/ 4746781 w 12248682"/>
              <a:gd name="connsiteY2538" fmla="*/ 50817 h 823468"/>
              <a:gd name="connsiteX2539" fmla="*/ 4781429 w 12248682"/>
              <a:gd name="connsiteY2539" fmla="*/ 16169 h 823468"/>
              <a:gd name="connsiteX2540" fmla="*/ 4220129 w 12248682"/>
              <a:gd name="connsiteY2540" fmla="*/ 16169 h 823468"/>
              <a:gd name="connsiteX2541" fmla="*/ 4254779 w 12248682"/>
              <a:gd name="connsiteY2541" fmla="*/ 50817 h 823468"/>
              <a:gd name="connsiteX2542" fmla="*/ 4220129 w 12248682"/>
              <a:gd name="connsiteY2542" fmla="*/ 85465 h 823468"/>
              <a:gd name="connsiteX2543" fmla="*/ 4185482 w 12248682"/>
              <a:gd name="connsiteY2543" fmla="*/ 50817 h 823468"/>
              <a:gd name="connsiteX2544" fmla="*/ 4220129 w 12248682"/>
              <a:gd name="connsiteY2544" fmla="*/ 16169 h 823468"/>
              <a:gd name="connsiteX2545" fmla="*/ 3661142 w 12248682"/>
              <a:gd name="connsiteY2545" fmla="*/ 16169 h 823468"/>
              <a:gd name="connsiteX2546" fmla="*/ 3695791 w 12248682"/>
              <a:gd name="connsiteY2546" fmla="*/ 50817 h 823468"/>
              <a:gd name="connsiteX2547" fmla="*/ 3661142 w 12248682"/>
              <a:gd name="connsiteY2547" fmla="*/ 85465 h 823468"/>
              <a:gd name="connsiteX2548" fmla="*/ 3626494 w 12248682"/>
              <a:gd name="connsiteY2548" fmla="*/ 50817 h 823468"/>
              <a:gd name="connsiteX2549" fmla="*/ 3661142 w 12248682"/>
              <a:gd name="connsiteY2549" fmla="*/ 16169 h 823468"/>
              <a:gd name="connsiteX2550" fmla="*/ 1845585 w 12248682"/>
              <a:gd name="connsiteY2550" fmla="*/ 16169 h 823468"/>
              <a:gd name="connsiteX2551" fmla="*/ 1880233 w 12248682"/>
              <a:gd name="connsiteY2551" fmla="*/ 50817 h 823468"/>
              <a:gd name="connsiteX2552" fmla="*/ 1845585 w 12248682"/>
              <a:gd name="connsiteY2552" fmla="*/ 85465 h 823468"/>
              <a:gd name="connsiteX2553" fmla="*/ 1810937 w 12248682"/>
              <a:gd name="connsiteY2553" fmla="*/ 50817 h 823468"/>
              <a:gd name="connsiteX2554" fmla="*/ 1845585 w 12248682"/>
              <a:gd name="connsiteY2554" fmla="*/ 16169 h 823468"/>
              <a:gd name="connsiteX2555" fmla="*/ 727609 w 12248682"/>
              <a:gd name="connsiteY2555" fmla="*/ 16169 h 823468"/>
              <a:gd name="connsiteX2556" fmla="*/ 762257 w 12248682"/>
              <a:gd name="connsiteY2556" fmla="*/ 50817 h 823468"/>
              <a:gd name="connsiteX2557" fmla="*/ 727609 w 12248682"/>
              <a:gd name="connsiteY2557" fmla="*/ 85465 h 823468"/>
              <a:gd name="connsiteX2558" fmla="*/ 692961 w 12248682"/>
              <a:gd name="connsiteY2558" fmla="*/ 50817 h 823468"/>
              <a:gd name="connsiteX2559" fmla="*/ 727609 w 12248682"/>
              <a:gd name="connsiteY2559" fmla="*/ 16169 h 823468"/>
              <a:gd name="connsiteX2560" fmla="*/ 168621 w 12248682"/>
              <a:gd name="connsiteY2560" fmla="*/ 16169 h 823468"/>
              <a:gd name="connsiteX2561" fmla="*/ 203269 w 12248682"/>
              <a:gd name="connsiteY2561" fmla="*/ 50817 h 823468"/>
              <a:gd name="connsiteX2562" fmla="*/ 168621 w 12248682"/>
              <a:gd name="connsiteY2562" fmla="*/ 85465 h 823468"/>
              <a:gd name="connsiteX2563" fmla="*/ 133973 w 12248682"/>
              <a:gd name="connsiteY2563" fmla="*/ 50817 h 823468"/>
              <a:gd name="connsiteX2564" fmla="*/ 168621 w 12248682"/>
              <a:gd name="connsiteY2564" fmla="*/ 16169 h 823468"/>
              <a:gd name="connsiteX2565" fmla="*/ 10923972 w 12248682"/>
              <a:gd name="connsiteY2565" fmla="*/ 10395 h 823468"/>
              <a:gd name="connsiteX2566" fmla="*/ 10964394 w 12248682"/>
              <a:gd name="connsiteY2566" fmla="*/ 50817 h 823468"/>
              <a:gd name="connsiteX2567" fmla="*/ 10923972 w 12248682"/>
              <a:gd name="connsiteY2567" fmla="*/ 91241 h 823468"/>
              <a:gd name="connsiteX2568" fmla="*/ 10883549 w 12248682"/>
              <a:gd name="connsiteY2568" fmla="*/ 50817 h 823468"/>
              <a:gd name="connsiteX2569" fmla="*/ 10923972 w 12248682"/>
              <a:gd name="connsiteY2569" fmla="*/ 10395 h 823468"/>
              <a:gd name="connsiteX2570" fmla="*/ 9805996 w 12248682"/>
              <a:gd name="connsiteY2570" fmla="*/ 10395 h 823468"/>
              <a:gd name="connsiteX2571" fmla="*/ 9846418 w 12248682"/>
              <a:gd name="connsiteY2571" fmla="*/ 51973 h 823468"/>
              <a:gd name="connsiteX2572" fmla="*/ 9805996 w 12248682"/>
              <a:gd name="connsiteY2572" fmla="*/ 92395 h 823468"/>
              <a:gd name="connsiteX2573" fmla="*/ 9765573 w 12248682"/>
              <a:gd name="connsiteY2573" fmla="*/ 50817 h 823468"/>
              <a:gd name="connsiteX2574" fmla="*/ 9805996 w 12248682"/>
              <a:gd name="connsiteY2574" fmla="*/ 10395 h 823468"/>
              <a:gd name="connsiteX2575" fmla="*/ 9526502 w 12248682"/>
              <a:gd name="connsiteY2575" fmla="*/ 10395 h 823468"/>
              <a:gd name="connsiteX2576" fmla="*/ 9566924 w 12248682"/>
              <a:gd name="connsiteY2576" fmla="*/ 51973 h 823468"/>
              <a:gd name="connsiteX2577" fmla="*/ 9526502 w 12248682"/>
              <a:gd name="connsiteY2577" fmla="*/ 92395 h 823468"/>
              <a:gd name="connsiteX2578" fmla="*/ 9486079 w 12248682"/>
              <a:gd name="connsiteY2578" fmla="*/ 50817 h 823468"/>
              <a:gd name="connsiteX2579" fmla="*/ 9526502 w 12248682"/>
              <a:gd name="connsiteY2579" fmla="*/ 10395 h 823468"/>
              <a:gd name="connsiteX2580" fmla="*/ 8693190 w 12248682"/>
              <a:gd name="connsiteY2580" fmla="*/ 10395 h 823468"/>
              <a:gd name="connsiteX2581" fmla="*/ 8733613 w 12248682"/>
              <a:gd name="connsiteY2581" fmla="*/ 50817 h 823468"/>
              <a:gd name="connsiteX2582" fmla="*/ 8693190 w 12248682"/>
              <a:gd name="connsiteY2582" fmla="*/ 91241 h 823468"/>
              <a:gd name="connsiteX2583" fmla="*/ 8652767 w 12248682"/>
              <a:gd name="connsiteY2583" fmla="*/ 50817 h 823468"/>
              <a:gd name="connsiteX2584" fmla="*/ 8693190 w 12248682"/>
              <a:gd name="connsiteY2584" fmla="*/ 10395 h 823468"/>
              <a:gd name="connsiteX2585" fmla="*/ 8413696 w 12248682"/>
              <a:gd name="connsiteY2585" fmla="*/ 10395 h 823468"/>
              <a:gd name="connsiteX2586" fmla="*/ 8454118 w 12248682"/>
              <a:gd name="connsiteY2586" fmla="*/ 50817 h 823468"/>
              <a:gd name="connsiteX2587" fmla="*/ 8413696 w 12248682"/>
              <a:gd name="connsiteY2587" fmla="*/ 91241 h 823468"/>
              <a:gd name="connsiteX2588" fmla="*/ 8373274 w 12248682"/>
              <a:gd name="connsiteY2588" fmla="*/ 50817 h 823468"/>
              <a:gd name="connsiteX2589" fmla="*/ 8413696 w 12248682"/>
              <a:gd name="connsiteY2589" fmla="*/ 10395 h 823468"/>
              <a:gd name="connsiteX2590" fmla="*/ 6318647 w 12248682"/>
              <a:gd name="connsiteY2590" fmla="*/ 10395 h 823468"/>
              <a:gd name="connsiteX2591" fmla="*/ 6359068 w 12248682"/>
              <a:gd name="connsiteY2591" fmla="*/ 50817 h 823468"/>
              <a:gd name="connsiteX2592" fmla="*/ 6318647 w 12248682"/>
              <a:gd name="connsiteY2592" fmla="*/ 91241 h 823468"/>
              <a:gd name="connsiteX2593" fmla="*/ 6278223 w 12248682"/>
              <a:gd name="connsiteY2593" fmla="*/ 50817 h 823468"/>
              <a:gd name="connsiteX2594" fmla="*/ 6318647 w 12248682"/>
              <a:gd name="connsiteY2594" fmla="*/ 10395 h 823468"/>
              <a:gd name="connsiteX2595" fmla="*/ 5200669 w 12248682"/>
              <a:gd name="connsiteY2595" fmla="*/ 10395 h 823468"/>
              <a:gd name="connsiteX2596" fmla="*/ 5241093 w 12248682"/>
              <a:gd name="connsiteY2596" fmla="*/ 50817 h 823468"/>
              <a:gd name="connsiteX2597" fmla="*/ 5200669 w 12248682"/>
              <a:gd name="connsiteY2597" fmla="*/ 91241 h 823468"/>
              <a:gd name="connsiteX2598" fmla="*/ 5160247 w 12248682"/>
              <a:gd name="connsiteY2598" fmla="*/ 50817 h 823468"/>
              <a:gd name="connsiteX2599" fmla="*/ 5200669 w 12248682"/>
              <a:gd name="connsiteY2599" fmla="*/ 10395 h 823468"/>
              <a:gd name="connsiteX2600" fmla="*/ 4921176 w 12248682"/>
              <a:gd name="connsiteY2600" fmla="*/ 10395 h 823468"/>
              <a:gd name="connsiteX2601" fmla="*/ 4961597 w 12248682"/>
              <a:gd name="connsiteY2601" fmla="*/ 50817 h 823468"/>
              <a:gd name="connsiteX2602" fmla="*/ 4921176 w 12248682"/>
              <a:gd name="connsiteY2602" fmla="*/ 91241 h 823468"/>
              <a:gd name="connsiteX2603" fmla="*/ 4880752 w 12248682"/>
              <a:gd name="connsiteY2603" fmla="*/ 50817 h 823468"/>
              <a:gd name="connsiteX2604" fmla="*/ 4921176 w 12248682"/>
              <a:gd name="connsiteY2604" fmla="*/ 10395 h 823468"/>
              <a:gd name="connsiteX2605" fmla="*/ 4080383 w 12248682"/>
              <a:gd name="connsiteY2605" fmla="*/ 10395 h 823468"/>
              <a:gd name="connsiteX2606" fmla="*/ 4120806 w 12248682"/>
              <a:gd name="connsiteY2606" fmla="*/ 50817 h 823468"/>
              <a:gd name="connsiteX2607" fmla="*/ 4080383 w 12248682"/>
              <a:gd name="connsiteY2607" fmla="*/ 91241 h 823468"/>
              <a:gd name="connsiteX2608" fmla="*/ 4039961 w 12248682"/>
              <a:gd name="connsiteY2608" fmla="*/ 50817 h 823468"/>
              <a:gd name="connsiteX2609" fmla="*/ 4080383 w 12248682"/>
              <a:gd name="connsiteY2609" fmla="*/ 10395 h 823468"/>
              <a:gd name="connsiteX2610" fmla="*/ 3800889 w 12248682"/>
              <a:gd name="connsiteY2610" fmla="*/ 10395 h 823468"/>
              <a:gd name="connsiteX2611" fmla="*/ 3841311 w 12248682"/>
              <a:gd name="connsiteY2611" fmla="*/ 50817 h 823468"/>
              <a:gd name="connsiteX2612" fmla="*/ 3800889 w 12248682"/>
              <a:gd name="connsiteY2612" fmla="*/ 91241 h 823468"/>
              <a:gd name="connsiteX2613" fmla="*/ 3760466 w 12248682"/>
              <a:gd name="connsiteY2613" fmla="*/ 50817 h 823468"/>
              <a:gd name="connsiteX2614" fmla="*/ 3800889 w 12248682"/>
              <a:gd name="connsiteY2614" fmla="*/ 10395 h 823468"/>
              <a:gd name="connsiteX2615" fmla="*/ 1705839 w 12248682"/>
              <a:gd name="connsiteY2615" fmla="*/ 10395 h 823468"/>
              <a:gd name="connsiteX2616" fmla="*/ 1746261 w 12248682"/>
              <a:gd name="connsiteY2616" fmla="*/ 50817 h 823468"/>
              <a:gd name="connsiteX2617" fmla="*/ 1705839 w 12248682"/>
              <a:gd name="connsiteY2617" fmla="*/ 91241 h 823468"/>
              <a:gd name="connsiteX2618" fmla="*/ 1665415 w 12248682"/>
              <a:gd name="connsiteY2618" fmla="*/ 50817 h 823468"/>
              <a:gd name="connsiteX2619" fmla="*/ 1705839 w 12248682"/>
              <a:gd name="connsiteY2619" fmla="*/ 10395 h 823468"/>
              <a:gd name="connsiteX2620" fmla="*/ 587862 w 12248682"/>
              <a:gd name="connsiteY2620" fmla="*/ 10395 h 823468"/>
              <a:gd name="connsiteX2621" fmla="*/ 628284 w 12248682"/>
              <a:gd name="connsiteY2621" fmla="*/ 51973 h 823468"/>
              <a:gd name="connsiteX2622" fmla="*/ 587862 w 12248682"/>
              <a:gd name="connsiteY2622" fmla="*/ 92395 h 823468"/>
              <a:gd name="connsiteX2623" fmla="*/ 547439 w 12248682"/>
              <a:gd name="connsiteY2623" fmla="*/ 50817 h 823468"/>
              <a:gd name="connsiteX2624" fmla="*/ 587862 w 12248682"/>
              <a:gd name="connsiteY2624" fmla="*/ 10395 h 823468"/>
              <a:gd name="connsiteX2625" fmla="*/ 308368 w 12248682"/>
              <a:gd name="connsiteY2625" fmla="*/ 10395 h 823468"/>
              <a:gd name="connsiteX2626" fmla="*/ 348790 w 12248682"/>
              <a:gd name="connsiteY2626" fmla="*/ 51973 h 823468"/>
              <a:gd name="connsiteX2627" fmla="*/ 308368 w 12248682"/>
              <a:gd name="connsiteY2627" fmla="*/ 92395 h 823468"/>
              <a:gd name="connsiteX2628" fmla="*/ 267945 w 12248682"/>
              <a:gd name="connsiteY2628" fmla="*/ 50817 h 823468"/>
              <a:gd name="connsiteX2629" fmla="*/ 308368 w 12248682"/>
              <a:gd name="connsiteY2629" fmla="*/ 10395 h 823468"/>
              <a:gd name="connsiteX2630" fmla="*/ 10784225 w 12248682"/>
              <a:gd name="connsiteY2630" fmla="*/ 0 h 823468"/>
              <a:gd name="connsiteX2631" fmla="*/ 10835042 w 12248682"/>
              <a:gd name="connsiteY2631" fmla="*/ 50817 h 823468"/>
              <a:gd name="connsiteX2632" fmla="*/ 10784225 w 12248682"/>
              <a:gd name="connsiteY2632" fmla="*/ 101634 h 823468"/>
              <a:gd name="connsiteX2633" fmla="*/ 10733408 w 12248682"/>
              <a:gd name="connsiteY2633" fmla="*/ 50817 h 823468"/>
              <a:gd name="connsiteX2634" fmla="*/ 10784225 w 12248682"/>
              <a:gd name="connsiteY2634" fmla="*/ 0 h 823468"/>
              <a:gd name="connsiteX2635" fmla="*/ 9666248 w 12248682"/>
              <a:gd name="connsiteY2635" fmla="*/ 0 h 823468"/>
              <a:gd name="connsiteX2636" fmla="*/ 9717066 w 12248682"/>
              <a:gd name="connsiteY2636" fmla="*/ 50817 h 823468"/>
              <a:gd name="connsiteX2637" fmla="*/ 9666248 w 12248682"/>
              <a:gd name="connsiteY2637" fmla="*/ 101634 h 823468"/>
              <a:gd name="connsiteX2638" fmla="*/ 9615431 w 12248682"/>
              <a:gd name="connsiteY2638" fmla="*/ 50817 h 823468"/>
              <a:gd name="connsiteX2639" fmla="*/ 9666248 w 12248682"/>
              <a:gd name="connsiteY2639" fmla="*/ 0 h 823468"/>
              <a:gd name="connsiteX2640" fmla="*/ 8553443 w 12248682"/>
              <a:gd name="connsiteY2640" fmla="*/ 0 h 823468"/>
              <a:gd name="connsiteX2641" fmla="*/ 8604260 w 12248682"/>
              <a:gd name="connsiteY2641" fmla="*/ 50817 h 823468"/>
              <a:gd name="connsiteX2642" fmla="*/ 8553443 w 12248682"/>
              <a:gd name="connsiteY2642" fmla="*/ 101634 h 823468"/>
              <a:gd name="connsiteX2643" fmla="*/ 8502626 w 12248682"/>
              <a:gd name="connsiteY2643" fmla="*/ 50817 h 823468"/>
              <a:gd name="connsiteX2644" fmla="*/ 8553443 w 12248682"/>
              <a:gd name="connsiteY2644" fmla="*/ 0 h 823468"/>
              <a:gd name="connsiteX2645" fmla="*/ 6178898 w 12248682"/>
              <a:gd name="connsiteY2645" fmla="*/ 0 h 823468"/>
              <a:gd name="connsiteX2646" fmla="*/ 6229715 w 12248682"/>
              <a:gd name="connsiteY2646" fmla="*/ 50817 h 823468"/>
              <a:gd name="connsiteX2647" fmla="*/ 6178898 w 12248682"/>
              <a:gd name="connsiteY2647" fmla="*/ 101634 h 823468"/>
              <a:gd name="connsiteX2648" fmla="*/ 6128081 w 12248682"/>
              <a:gd name="connsiteY2648" fmla="*/ 50817 h 823468"/>
              <a:gd name="connsiteX2649" fmla="*/ 6178898 w 12248682"/>
              <a:gd name="connsiteY2649" fmla="*/ 0 h 823468"/>
              <a:gd name="connsiteX2650" fmla="*/ 5060922 w 12248682"/>
              <a:gd name="connsiteY2650" fmla="*/ 0 h 823468"/>
              <a:gd name="connsiteX2651" fmla="*/ 5111739 w 12248682"/>
              <a:gd name="connsiteY2651" fmla="*/ 50817 h 823468"/>
              <a:gd name="connsiteX2652" fmla="*/ 5060922 w 12248682"/>
              <a:gd name="connsiteY2652" fmla="*/ 101634 h 823468"/>
              <a:gd name="connsiteX2653" fmla="*/ 5010105 w 12248682"/>
              <a:gd name="connsiteY2653" fmla="*/ 50817 h 823468"/>
              <a:gd name="connsiteX2654" fmla="*/ 5060922 w 12248682"/>
              <a:gd name="connsiteY2654" fmla="*/ 0 h 823468"/>
              <a:gd name="connsiteX2655" fmla="*/ 3940636 w 12248682"/>
              <a:gd name="connsiteY2655" fmla="*/ 0 h 823468"/>
              <a:gd name="connsiteX2656" fmla="*/ 3991453 w 12248682"/>
              <a:gd name="connsiteY2656" fmla="*/ 50817 h 823468"/>
              <a:gd name="connsiteX2657" fmla="*/ 3940636 w 12248682"/>
              <a:gd name="connsiteY2657" fmla="*/ 101634 h 823468"/>
              <a:gd name="connsiteX2658" fmla="*/ 3889819 w 12248682"/>
              <a:gd name="connsiteY2658" fmla="*/ 50817 h 823468"/>
              <a:gd name="connsiteX2659" fmla="*/ 3940636 w 12248682"/>
              <a:gd name="connsiteY2659" fmla="*/ 0 h 823468"/>
              <a:gd name="connsiteX2660" fmla="*/ 1566091 w 12248682"/>
              <a:gd name="connsiteY2660" fmla="*/ 0 h 823468"/>
              <a:gd name="connsiteX2661" fmla="*/ 1616908 w 12248682"/>
              <a:gd name="connsiteY2661" fmla="*/ 50817 h 823468"/>
              <a:gd name="connsiteX2662" fmla="*/ 1566091 w 12248682"/>
              <a:gd name="connsiteY2662" fmla="*/ 101634 h 823468"/>
              <a:gd name="connsiteX2663" fmla="*/ 1515274 w 12248682"/>
              <a:gd name="connsiteY2663" fmla="*/ 50817 h 823468"/>
              <a:gd name="connsiteX2664" fmla="*/ 1566091 w 12248682"/>
              <a:gd name="connsiteY2664" fmla="*/ 0 h 823468"/>
              <a:gd name="connsiteX2665" fmla="*/ 448115 w 12248682"/>
              <a:gd name="connsiteY2665" fmla="*/ 0 h 823468"/>
              <a:gd name="connsiteX2666" fmla="*/ 498932 w 12248682"/>
              <a:gd name="connsiteY2666" fmla="*/ 50817 h 823468"/>
              <a:gd name="connsiteX2667" fmla="*/ 448115 w 12248682"/>
              <a:gd name="connsiteY2667" fmla="*/ 101634 h 823468"/>
              <a:gd name="connsiteX2668" fmla="*/ 397298 w 12248682"/>
              <a:gd name="connsiteY2668" fmla="*/ 50817 h 823468"/>
              <a:gd name="connsiteX2669" fmla="*/ 448115 w 12248682"/>
              <a:gd name="connsiteY2669" fmla="*/ 0 h 823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</a:cxnLst>
            <a:rect l="l" t="t" r="r" b="b"/>
            <a:pathLst>
              <a:path w="12248682" h="823468">
                <a:moveTo>
                  <a:pt x="12210569" y="753017"/>
                </a:moveTo>
                <a:cubicBezTo>
                  <a:pt x="12220963" y="753017"/>
                  <a:pt x="12230202" y="762256"/>
                  <a:pt x="12231358" y="773806"/>
                </a:cubicBezTo>
                <a:cubicBezTo>
                  <a:pt x="12231358" y="785355"/>
                  <a:pt x="12222118" y="794594"/>
                  <a:pt x="12210569" y="794594"/>
                </a:cubicBezTo>
                <a:cubicBezTo>
                  <a:pt x="12199020" y="794594"/>
                  <a:pt x="12189780" y="785355"/>
                  <a:pt x="12189780" y="773806"/>
                </a:cubicBezTo>
                <a:cubicBezTo>
                  <a:pt x="12189780" y="762256"/>
                  <a:pt x="12199020" y="753017"/>
                  <a:pt x="12210569" y="753017"/>
                </a:cubicBezTo>
                <a:close/>
                <a:moveTo>
                  <a:pt x="12071977" y="753017"/>
                </a:moveTo>
                <a:cubicBezTo>
                  <a:pt x="12083526" y="753017"/>
                  <a:pt x="12092766" y="762256"/>
                  <a:pt x="12092766" y="773806"/>
                </a:cubicBezTo>
                <a:cubicBezTo>
                  <a:pt x="12092766" y="785355"/>
                  <a:pt x="12083526" y="794594"/>
                  <a:pt x="12071977" y="794594"/>
                </a:cubicBezTo>
                <a:cubicBezTo>
                  <a:pt x="12060428" y="794594"/>
                  <a:pt x="12051188" y="785355"/>
                  <a:pt x="12051188" y="773806"/>
                </a:cubicBezTo>
                <a:cubicBezTo>
                  <a:pt x="12051188" y="762256"/>
                  <a:pt x="12060428" y="753017"/>
                  <a:pt x="12071977" y="753017"/>
                </a:cubicBezTo>
                <a:close/>
                <a:moveTo>
                  <a:pt x="11934539" y="753017"/>
                </a:moveTo>
                <a:cubicBezTo>
                  <a:pt x="11946088" y="753017"/>
                  <a:pt x="11955328" y="762256"/>
                  <a:pt x="11955328" y="773806"/>
                </a:cubicBezTo>
                <a:cubicBezTo>
                  <a:pt x="11955328" y="785355"/>
                  <a:pt x="11946088" y="794594"/>
                  <a:pt x="11934539" y="794594"/>
                </a:cubicBezTo>
                <a:cubicBezTo>
                  <a:pt x="11922990" y="794594"/>
                  <a:pt x="11913750" y="785355"/>
                  <a:pt x="11913750" y="773806"/>
                </a:cubicBezTo>
                <a:cubicBezTo>
                  <a:pt x="11913750" y="762256"/>
                  <a:pt x="11922990" y="753017"/>
                  <a:pt x="11934539" y="753017"/>
                </a:cubicBezTo>
                <a:close/>
                <a:moveTo>
                  <a:pt x="11797103" y="753017"/>
                </a:moveTo>
                <a:cubicBezTo>
                  <a:pt x="11808652" y="753017"/>
                  <a:pt x="11816736" y="762256"/>
                  <a:pt x="11816736" y="773806"/>
                </a:cubicBezTo>
                <a:cubicBezTo>
                  <a:pt x="11816736" y="785355"/>
                  <a:pt x="11808652" y="794594"/>
                  <a:pt x="11797103" y="794594"/>
                </a:cubicBezTo>
                <a:cubicBezTo>
                  <a:pt x="11785553" y="794594"/>
                  <a:pt x="11776314" y="785355"/>
                  <a:pt x="11776314" y="773806"/>
                </a:cubicBezTo>
                <a:cubicBezTo>
                  <a:pt x="11776314" y="762256"/>
                  <a:pt x="11785553" y="753017"/>
                  <a:pt x="11797103" y="753017"/>
                </a:cubicBezTo>
                <a:close/>
                <a:moveTo>
                  <a:pt x="10645633" y="753017"/>
                </a:moveTo>
                <a:cubicBezTo>
                  <a:pt x="10657182" y="753017"/>
                  <a:pt x="10666422" y="762256"/>
                  <a:pt x="10666422" y="773806"/>
                </a:cubicBezTo>
                <a:cubicBezTo>
                  <a:pt x="10666422" y="785355"/>
                  <a:pt x="10657182" y="794594"/>
                  <a:pt x="10645633" y="794594"/>
                </a:cubicBezTo>
                <a:cubicBezTo>
                  <a:pt x="10634083" y="794594"/>
                  <a:pt x="10624844" y="785355"/>
                  <a:pt x="10624844" y="773806"/>
                </a:cubicBezTo>
                <a:cubicBezTo>
                  <a:pt x="10624844" y="762256"/>
                  <a:pt x="10634083" y="753017"/>
                  <a:pt x="10645633" y="753017"/>
                </a:cubicBezTo>
                <a:close/>
                <a:moveTo>
                  <a:pt x="9247008" y="753017"/>
                </a:moveTo>
                <a:cubicBezTo>
                  <a:pt x="9258557" y="753017"/>
                  <a:pt x="9267797" y="762256"/>
                  <a:pt x="9267797" y="773806"/>
                </a:cubicBezTo>
                <a:cubicBezTo>
                  <a:pt x="9267797" y="785355"/>
                  <a:pt x="9258557" y="794594"/>
                  <a:pt x="9247008" y="794594"/>
                </a:cubicBezTo>
                <a:cubicBezTo>
                  <a:pt x="9235459" y="794594"/>
                  <a:pt x="9226219" y="785355"/>
                  <a:pt x="9226219" y="773806"/>
                </a:cubicBezTo>
                <a:cubicBezTo>
                  <a:pt x="9226219" y="762256"/>
                  <a:pt x="9235459" y="753017"/>
                  <a:pt x="9247008" y="753017"/>
                </a:cubicBezTo>
                <a:close/>
                <a:moveTo>
                  <a:pt x="8148062" y="753017"/>
                </a:moveTo>
                <a:cubicBezTo>
                  <a:pt x="8158457" y="753017"/>
                  <a:pt x="8167695" y="762256"/>
                  <a:pt x="8168851" y="773806"/>
                </a:cubicBezTo>
                <a:cubicBezTo>
                  <a:pt x="8168851" y="785355"/>
                  <a:pt x="8159611" y="794594"/>
                  <a:pt x="8148062" y="794594"/>
                </a:cubicBezTo>
                <a:cubicBezTo>
                  <a:pt x="8136513" y="794594"/>
                  <a:pt x="8127274" y="785355"/>
                  <a:pt x="8127274" y="773806"/>
                </a:cubicBezTo>
                <a:cubicBezTo>
                  <a:pt x="8127274" y="762256"/>
                  <a:pt x="8136513" y="753017"/>
                  <a:pt x="8148062" y="753017"/>
                </a:cubicBezTo>
                <a:close/>
                <a:moveTo>
                  <a:pt x="8009471" y="753017"/>
                </a:moveTo>
                <a:cubicBezTo>
                  <a:pt x="8021020" y="753017"/>
                  <a:pt x="8030259" y="762256"/>
                  <a:pt x="8030259" y="773806"/>
                </a:cubicBezTo>
                <a:cubicBezTo>
                  <a:pt x="8030259" y="785355"/>
                  <a:pt x="8021020" y="794594"/>
                  <a:pt x="8009471" y="794594"/>
                </a:cubicBezTo>
                <a:cubicBezTo>
                  <a:pt x="7997920" y="794594"/>
                  <a:pt x="7988682" y="785355"/>
                  <a:pt x="7988682" y="773806"/>
                </a:cubicBezTo>
                <a:cubicBezTo>
                  <a:pt x="7988682" y="762256"/>
                  <a:pt x="7997920" y="753017"/>
                  <a:pt x="8009471" y="753017"/>
                </a:cubicBezTo>
                <a:close/>
                <a:moveTo>
                  <a:pt x="7872031" y="753017"/>
                </a:moveTo>
                <a:cubicBezTo>
                  <a:pt x="7883582" y="753017"/>
                  <a:pt x="7892822" y="762256"/>
                  <a:pt x="7892822" y="773806"/>
                </a:cubicBezTo>
                <a:cubicBezTo>
                  <a:pt x="7892822" y="785355"/>
                  <a:pt x="7883582" y="794594"/>
                  <a:pt x="7872031" y="794594"/>
                </a:cubicBezTo>
                <a:cubicBezTo>
                  <a:pt x="7860484" y="794594"/>
                  <a:pt x="7851244" y="785355"/>
                  <a:pt x="7851244" y="773806"/>
                </a:cubicBezTo>
                <a:cubicBezTo>
                  <a:pt x="7851244" y="762256"/>
                  <a:pt x="7860484" y="753017"/>
                  <a:pt x="7872031" y="753017"/>
                </a:cubicBezTo>
                <a:close/>
                <a:moveTo>
                  <a:pt x="7713807" y="753017"/>
                </a:moveTo>
                <a:cubicBezTo>
                  <a:pt x="7725356" y="753017"/>
                  <a:pt x="7734596" y="762256"/>
                  <a:pt x="7734596" y="773806"/>
                </a:cubicBezTo>
                <a:cubicBezTo>
                  <a:pt x="7734596" y="785355"/>
                  <a:pt x="7725356" y="794594"/>
                  <a:pt x="7713807" y="794594"/>
                </a:cubicBezTo>
                <a:cubicBezTo>
                  <a:pt x="7702258" y="794594"/>
                  <a:pt x="7693019" y="785355"/>
                  <a:pt x="7693019" y="773806"/>
                </a:cubicBezTo>
                <a:cubicBezTo>
                  <a:pt x="7693019" y="762256"/>
                  <a:pt x="7702258" y="753017"/>
                  <a:pt x="7713807" y="753017"/>
                </a:cubicBezTo>
                <a:close/>
                <a:moveTo>
                  <a:pt x="7605244" y="753017"/>
                </a:moveTo>
                <a:cubicBezTo>
                  <a:pt x="7616793" y="753017"/>
                  <a:pt x="7624875" y="762256"/>
                  <a:pt x="7626031" y="773806"/>
                </a:cubicBezTo>
                <a:cubicBezTo>
                  <a:pt x="7626031" y="785355"/>
                  <a:pt x="7616793" y="794594"/>
                  <a:pt x="7605244" y="794594"/>
                </a:cubicBezTo>
                <a:cubicBezTo>
                  <a:pt x="7593693" y="794594"/>
                  <a:pt x="7584454" y="785355"/>
                  <a:pt x="7584454" y="773806"/>
                </a:cubicBezTo>
                <a:cubicBezTo>
                  <a:pt x="7584454" y="762256"/>
                  <a:pt x="7593693" y="753017"/>
                  <a:pt x="7605244" y="753017"/>
                </a:cubicBezTo>
                <a:close/>
                <a:moveTo>
                  <a:pt x="7466651" y="753017"/>
                </a:moveTo>
                <a:cubicBezTo>
                  <a:pt x="7478200" y="753017"/>
                  <a:pt x="7487439" y="762256"/>
                  <a:pt x="7487439" y="773806"/>
                </a:cubicBezTo>
                <a:cubicBezTo>
                  <a:pt x="7487439" y="785355"/>
                  <a:pt x="7478200" y="794594"/>
                  <a:pt x="7466651" y="794594"/>
                </a:cubicBezTo>
                <a:cubicBezTo>
                  <a:pt x="7455102" y="794594"/>
                  <a:pt x="7445863" y="785355"/>
                  <a:pt x="7445863" y="773806"/>
                </a:cubicBezTo>
                <a:cubicBezTo>
                  <a:pt x="7445863" y="762256"/>
                  <a:pt x="7455102" y="753017"/>
                  <a:pt x="7466651" y="753017"/>
                </a:cubicBezTo>
                <a:close/>
                <a:moveTo>
                  <a:pt x="7329213" y="753017"/>
                </a:moveTo>
                <a:cubicBezTo>
                  <a:pt x="7340762" y="753017"/>
                  <a:pt x="7350002" y="762256"/>
                  <a:pt x="7350002" y="773806"/>
                </a:cubicBezTo>
                <a:cubicBezTo>
                  <a:pt x="7350002" y="785355"/>
                  <a:pt x="7340762" y="794594"/>
                  <a:pt x="7329213" y="794594"/>
                </a:cubicBezTo>
                <a:cubicBezTo>
                  <a:pt x="7317664" y="794594"/>
                  <a:pt x="7308425" y="785355"/>
                  <a:pt x="7308425" y="773806"/>
                </a:cubicBezTo>
                <a:cubicBezTo>
                  <a:pt x="7308425" y="762256"/>
                  <a:pt x="7317664" y="753017"/>
                  <a:pt x="7329213" y="753017"/>
                </a:cubicBezTo>
                <a:close/>
                <a:moveTo>
                  <a:pt x="7191777" y="753017"/>
                </a:moveTo>
                <a:cubicBezTo>
                  <a:pt x="7203326" y="753017"/>
                  <a:pt x="7212566" y="762256"/>
                  <a:pt x="7212566" y="773806"/>
                </a:cubicBezTo>
                <a:cubicBezTo>
                  <a:pt x="7212566" y="785355"/>
                  <a:pt x="7203326" y="794594"/>
                  <a:pt x="7191777" y="794594"/>
                </a:cubicBezTo>
                <a:cubicBezTo>
                  <a:pt x="7180226" y="794594"/>
                  <a:pt x="7170987" y="785355"/>
                  <a:pt x="7170987" y="773806"/>
                </a:cubicBezTo>
                <a:cubicBezTo>
                  <a:pt x="7170987" y="762256"/>
                  <a:pt x="7180226" y="753017"/>
                  <a:pt x="7191777" y="753017"/>
                </a:cubicBezTo>
                <a:close/>
                <a:moveTo>
                  <a:pt x="6040307" y="753017"/>
                </a:moveTo>
                <a:cubicBezTo>
                  <a:pt x="6051855" y="753017"/>
                  <a:pt x="6061095" y="762256"/>
                  <a:pt x="6061095" y="773806"/>
                </a:cubicBezTo>
                <a:cubicBezTo>
                  <a:pt x="6061095" y="785355"/>
                  <a:pt x="6051855" y="794594"/>
                  <a:pt x="6040307" y="794594"/>
                </a:cubicBezTo>
                <a:cubicBezTo>
                  <a:pt x="6028758" y="794594"/>
                  <a:pt x="6019518" y="785355"/>
                  <a:pt x="6019518" y="773806"/>
                </a:cubicBezTo>
                <a:cubicBezTo>
                  <a:pt x="6019518" y="762256"/>
                  <a:pt x="6028758" y="753017"/>
                  <a:pt x="6040307" y="753017"/>
                </a:cubicBezTo>
                <a:close/>
                <a:moveTo>
                  <a:pt x="4641682" y="753017"/>
                </a:moveTo>
                <a:cubicBezTo>
                  <a:pt x="4653231" y="753017"/>
                  <a:pt x="4662471" y="762256"/>
                  <a:pt x="4662471" y="773806"/>
                </a:cubicBezTo>
                <a:cubicBezTo>
                  <a:pt x="4662471" y="785355"/>
                  <a:pt x="4653231" y="794594"/>
                  <a:pt x="4641682" y="794594"/>
                </a:cubicBezTo>
                <a:cubicBezTo>
                  <a:pt x="4630133" y="794594"/>
                  <a:pt x="4620893" y="785355"/>
                  <a:pt x="4620893" y="773806"/>
                </a:cubicBezTo>
                <a:cubicBezTo>
                  <a:pt x="4620893" y="762256"/>
                  <a:pt x="4630133" y="753017"/>
                  <a:pt x="4641682" y="753017"/>
                </a:cubicBezTo>
                <a:close/>
                <a:moveTo>
                  <a:pt x="3535254" y="753017"/>
                </a:moveTo>
                <a:cubicBezTo>
                  <a:pt x="3545648" y="753017"/>
                  <a:pt x="3554888" y="762256"/>
                  <a:pt x="3556043" y="773806"/>
                </a:cubicBezTo>
                <a:cubicBezTo>
                  <a:pt x="3556043" y="785355"/>
                  <a:pt x="3546804" y="794594"/>
                  <a:pt x="3535254" y="794594"/>
                </a:cubicBezTo>
                <a:cubicBezTo>
                  <a:pt x="3523705" y="794594"/>
                  <a:pt x="3514466" y="785355"/>
                  <a:pt x="3514466" y="773806"/>
                </a:cubicBezTo>
                <a:cubicBezTo>
                  <a:pt x="3514466" y="762256"/>
                  <a:pt x="3523705" y="753017"/>
                  <a:pt x="3535254" y="753017"/>
                </a:cubicBezTo>
                <a:close/>
                <a:moveTo>
                  <a:pt x="3396662" y="753017"/>
                </a:moveTo>
                <a:cubicBezTo>
                  <a:pt x="3408212" y="753017"/>
                  <a:pt x="3417451" y="762256"/>
                  <a:pt x="3417451" y="773806"/>
                </a:cubicBezTo>
                <a:cubicBezTo>
                  <a:pt x="3417451" y="785355"/>
                  <a:pt x="3408212" y="794594"/>
                  <a:pt x="3396662" y="794594"/>
                </a:cubicBezTo>
                <a:cubicBezTo>
                  <a:pt x="3385113" y="794594"/>
                  <a:pt x="3375874" y="785355"/>
                  <a:pt x="3375874" y="773806"/>
                </a:cubicBezTo>
                <a:cubicBezTo>
                  <a:pt x="3375874" y="762256"/>
                  <a:pt x="3385113" y="753017"/>
                  <a:pt x="3396662" y="753017"/>
                </a:cubicBezTo>
                <a:close/>
                <a:moveTo>
                  <a:pt x="3259224" y="753017"/>
                </a:moveTo>
                <a:cubicBezTo>
                  <a:pt x="3270774" y="753017"/>
                  <a:pt x="3280013" y="762256"/>
                  <a:pt x="3280013" y="773806"/>
                </a:cubicBezTo>
                <a:cubicBezTo>
                  <a:pt x="3280013" y="785355"/>
                  <a:pt x="3270774" y="794594"/>
                  <a:pt x="3259224" y="794594"/>
                </a:cubicBezTo>
                <a:cubicBezTo>
                  <a:pt x="3247675" y="794594"/>
                  <a:pt x="3238436" y="785355"/>
                  <a:pt x="3238436" y="773806"/>
                </a:cubicBezTo>
                <a:cubicBezTo>
                  <a:pt x="3238436" y="762256"/>
                  <a:pt x="3247675" y="753017"/>
                  <a:pt x="3259224" y="753017"/>
                </a:cubicBezTo>
                <a:close/>
                <a:moveTo>
                  <a:pt x="3100999" y="753017"/>
                </a:moveTo>
                <a:cubicBezTo>
                  <a:pt x="3112549" y="753017"/>
                  <a:pt x="3121789" y="762256"/>
                  <a:pt x="3121789" y="773806"/>
                </a:cubicBezTo>
                <a:cubicBezTo>
                  <a:pt x="3121789" y="785355"/>
                  <a:pt x="3112549" y="794594"/>
                  <a:pt x="3100999" y="794594"/>
                </a:cubicBezTo>
                <a:cubicBezTo>
                  <a:pt x="3089450" y="794594"/>
                  <a:pt x="3080212" y="785355"/>
                  <a:pt x="3080212" y="773806"/>
                </a:cubicBezTo>
                <a:cubicBezTo>
                  <a:pt x="3080212" y="762256"/>
                  <a:pt x="3089450" y="753017"/>
                  <a:pt x="3100999" y="753017"/>
                </a:cubicBezTo>
                <a:close/>
                <a:moveTo>
                  <a:pt x="2992435" y="753017"/>
                </a:moveTo>
                <a:cubicBezTo>
                  <a:pt x="3002829" y="753017"/>
                  <a:pt x="3012069" y="762256"/>
                  <a:pt x="3013224" y="773806"/>
                </a:cubicBezTo>
                <a:cubicBezTo>
                  <a:pt x="3013224" y="785355"/>
                  <a:pt x="3003985" y="794594"/>
                  <a:pt x="2992435" y="794594"/>
                </a:cubicBezTo>
                <a:cubicBezTo>
                  <a:pt x="2980886" y="794594"/>
                  <a:pt x="2971647" y="785355"/>
                  <a:pt x="2971647" y="773806"/>
                </a:cubicBezTo>
                <a:cubicBezTo>
                  <a:pt x="2971647" y="762256"/>
                  <a:pt x="2980886" y="753017"/>
                  <a:pt x="2992435" y="753017"/>
                </a:cubicBezTo>
                <a:close/>
                <a:moveTo>
                  <a:pt x="2853843" y="753017"/>
                </a:moveTo>
                <a:cubicBezTo>
                  <a:pt x="2865393" y="753017"/>
                  <a:pt x="2874633" y="762256"/>
                  <a:pt x="2874633" y="773806"/>
                </a:cubicBezTo>
                <a:cubicBezTo>
                  <a:pt x="2874633" y="785355"/>
                  <a:pt x="2865393" y="794594"/>
                  <a:pt x="2853843" y="794594"/>
                </a:cubicBezTo>
                <a:cubicBezTo>
                  <a:pt x="2842294" y="794594"/>
                  <a:pt x="2833056" y="785355"/>
                  <a:pt x="2833056" y="773806"/>
                </a:cubicBezTo>
                <a:cubicBezTo>
                  <a:pt x="2833056" y="762256"/>
                  <a:pt x="2842294" y="753017"/>
                  <a:pt x="2853843" y="753017"/>
                </a:cubicBezTo>
                <a:close/>
                <a:moveTo>
                  <a:pt x="2716405" y="753017"/>
                </a:moveTo>
                <a:cubicBezTo>
                  <a:pt x="2727955" y="753017"/>
                  <a:pt x="2737195" y="762256"/>
                  <a:pt x="2737195" y="773806"/>
                </a:cubicBezTo>
                <a:cubicBezTo>
                  <a:pt x="2737195" y="785355"/>
                  <a:pt x="2727955" y="794594"/>
                  <a:pt x="2716405" y="794594"/>
                </a:cubicBezTo>
                <a:cubicBezTo>
                  <a:pt x="2704856" y="794594"/>
                  <a:pt x="2695618" y="785355"/>
                  <a:pt x="2695618" y="773806"/>
                </a:cubicBezTo>
                <a:cubicBezTo>
                  <a:pt x="2695618" y="762256"/>
                  <a:pt x="2704856" y="753017"/>
                  <a:pt x="2716405" y="753017"/>
                </a:cubicBezTo>
                <a:close/>
                <a:moveTo>
                  <a:pt x="2578969" y="753017"/>
                </a:moveTo>
                <a:cubicBezTo>
                  <a:pt x="2590518" y="753017"/>
                  <a:pt x="2598602" y="762256"/>
                  <a:pt x="2598602" y="773806"/>
                </a:cubicBezTo>
                <a:cubicBezTo>
                  <a:pt x="2598602" y="785355"/>
                  <a:pt x="2590518" y="794594"/>
                  <a:pt x="2578969" y="794594"/>
                </a:cubicBezTo>
                <a:cubicBezTo>
                  <a:pt x="2567420" y="794594"/>
                  <a:pt x="2558180" y="785355"/>
                  <a:pt x="2558180" y="773806"/>
                </a:cubicBezTo>
                <a:cubicBezTo>
                  <a:pt x="2558180" y="762256"/>
                  <a:pt x="2567420" y="753017"/>
                  <a:pt x="2578969" y="753017"/>
                </a:cubicBezTo>
                <a:close/>
                <a:moveTo>
                  <a:pt x="1427499" y="753017"/>
                </a:moveTo>
                <a:cubicBezTo>
                  <a:pt x="1439048" y="753017"/>
                  <a:pt x="1448288" y="762256"/>
                  <a:pt x="1448288" y="773806"/>
                </a:cubicBezTo>
                <a:cubicBezTo>
                  <a:pt x="1448288" y="785355"/>
                  <a:pt x="1439048" y="794594"/>
                  <a:pt x="1427499" y="794594"/>
                </a:cubicBezTo>
                <a:cubicBezTo>
                  <a:pt x="1415950" y="794594"/>
                  <a:pt x="1406710" y="785355"/>
                  <a:pt x="1406710" y="773806"/>
                </a:cubicBezTo>
                <a:cubicBezTo>
                  <a:pt x="1406710" y="762256"/>
                  <a:pt x="1415950" y="753017"/>
                  <a:pt x="1427499" y="753017"/>
                </a:cubicBezTo>
                <a:close/>
                <a:moveTo>
                  <a:pt x="28874" y="753017"/>
                </a:moveTo>
                <a:cubicBezTo>
                  <a:pt x="40424" y="753017"/>
                  <a:pt x="49663" y="762256"/>
                  <a:pt x="49663" y="773806"/>
                </a:cubicBezTo>
                <a:cubicBezTo>
                  <a:pt x="49663" y="785355"/>
                  <a:pt x="40424" y="794594"/>
                  <a:pt x="28874" y="794594"/>
                </a:cubicBezTo>
                <a:cubicBezTo>
                  <a:pt x="17325" y="794594"/>
                  <a:pt x="8085" y="785355"/>
                  <a:pt x="8085" y="773806"/>
                </a:cubicBezTo>
                <a:cubicBezTo>
                  <a:pt x="8085" y="762256"/>
                  <a:pt x="17325" y="753017"/>
                  <a:pt x="28874" y="753017"/>
                </a:cubicBezTo>
                <a:close/>
                <a:moveTo>
                  <a:pt x="11658510" y="750707"/>
                </a:moveTo>
                <a:cubicBezTo>
                  <a:pt x="11671214" y="750707"/>
                  <a:pt x="11681609" y="761102"/>
                  <a:pt x="11681609" y="773806"/>
                </a:cubicBezTo>
                <a:cubicBezTo>
                  <a:pt x="11681609" y="786511"/>
                  <a:pt x="11671214" y="796904"/>
                  <a:pt x="11658510" y="796904"/>
                </a:cubicBezTo>
                <a:cubicBezTo>
                  <a:pt x="11645806" y="796904"/>
                  <a:pt x="11635412" y="786511"/>
                  <a:pt x="11635412" y="773806"/>
                </a:cubicBezTo>
                <a:cubicBezTo>
                  <a:pt x="11635412" y="761102"/>
                  <a:pt x="11645806" y="750707"/>
                  <a:pt x="11658510" y="750707"/>
                </a:cubicBezTo>
                <a:close/>
                <a:moveTo>
                  <a:pt x="10508196" y="750707"/>
                </a:moveTo>
                <a:cubicBezTo>
                  <a:pt x="10520900" y="750707"/>
                  <a:pt x="10531295" y="761102"/>
                  <a:pt x="10531295" y="773806"/>
                </a:cubicBezTo>
                <a:cubicBezTo>
                  <a:pt x="10531295" y="786511"/>
                  <a:pt x="10520900" y="796904"/>
                  <a:pt x="10508196" y="796904"/>
                </a:cubicBezTo>
                <a:cubicBezTo>
                  <a:pt x="10495491" y="796904"/>
                  <a:pt x="10485098" y="786511"/>
                  <a:pt x="10485098" y="773806"/>
                </a:cubicBezTo>
                <a:cubicBezTo>
                  <a:pt x="10485098" y="761102"/>
                  <a:pt x="10495491" y="750707"/>
                  <a:pt x="10508196" y="750707"/>
                </a:cubicBezTo>
                <a:close/>
                <a:moveTo>
                  <a:pt x="9405233" y="750707"/>
                </a:moveTo>
                <a:cubicBezTo>
                  <a:pt x="9417938" y="750707"/>
                  <a:pt x="9428332" y="761102"/>
                  <a:pt x="9428332" y="773806"/>
                </a:cubicBezTo>
                <a:cubicBezTo>
                  <a:pt x="9428332" y="786511"/>
                  <a:pt x="9417938" y="796904"/>
                  <a:pt x="9405233" y="796904"/>
                </a:cubicBezTo>
                <a:cubicBezTo>
                  <a:pt x="9392530" y="796904"/>
                  <a:pt x="9382135" y="786511"/>
                  <a:pt x="9382135" y="773806"/>
                </a:cubicBezTo>
                <a:cubicBezTo>
                  <a:pt x="9382135" y="761102"/>
                  <a:pt x="9392530" y="750707"/>
                  <a:pt x="9405233" y="750707"/>
                </a:cubicBezTo>
                <a:close/>
                <a:moveTo>
                  <a:pt x="8285498" y="750707"/>
                </a:moveTo>
                <a:cubicBezTo>
                  <a:pt x="8298204" y="750707"/>
                  <a:pt x="8308598" y="761102"/>
                  <a:pt x="8308598" y="773806"/>
                </a:cubicBezTo>
                <a:cubicBezTo>
                  <a:pt x="8308598" y="786511"/>
                  <a:pt x="8298204" y="796904"/>
                  <a:pt x="8285498" y="796904"/>
                </a:cubicBezTo>
                <a:cubicBezTo>
                  <a:pt x="8272794" y="796904"/>
                  <a:pt x="8262401" y="786511"/>
                  <a:pt x="8262401" y="773806"/>
                </a:cubicBezTo>
                <a:cubicBezTo>
                  <a:pt x="8262401" y="761102"/>
                  <a:pt x="8272794" y="750707"/>
                  <a:pt x="8285498" y="750707"/>
                </a:cubicBezTo>
                <a:close/>
                <a:moveTo>
                  <a:pt x="7053184" y="750707"/>
                </a:moveTo>
                <a:cubicBezTo>
                  <a:pt x="7067044" y="750707"/>
                  <a:pt x="7076283" y="761102"/>
                  <a:pt x="7076283" y="773806"/>
                </a:cubicBezTo>
                <a:cubicBezTo>
                  <a:pt x="7076283" y="786511"/>
                  <a:pt x="7065888" y="796904"/>
                  <a:pt x="7053184" y="796904"/>
                </a:cubicBezTo>
                <a:cubicBezTo>
                  <a:pt x="7040480" y="796904"/>
                  <a:pt x="7030086" y="786511"/>
                  <a:pt x="7030086" y="773806"/>
                </a:cubicBezTo>
                <a:cubicBezTo>
                  <a:pt x="7030086" y="761102"/>
                  <a:pt x="7040480" y="750707"/>
                  <a:pt x="7053184" y="750707"/>
                </a:cubicBezTo>
                <a:close/>
                <a:moveTo>
                  <a:pt x="5902869" y="750707"/>
                </a:moveTo>
                <a:cubicBezTo>
                  <a:pt x="5915573" y="750707"/>
                  <a:pt x="5925969" y="761102"/>
                  <a:pt x="5925969" y="773806"/>
                </a:cubicBezTo>
                <a:cubicBezTo>
                  <a:pt x="5925969" y="786511"/>
                  <a:pt x="5915573" y="796904"/>
                  <a:pt x="5902869" y="796904"/>
                </a:cubicBezTo>
                <a:cubicBezTo>
                  <a:pt x="5890165" y="796904"/>
                  <a:pt x="5879771" y="786511"/>
                  <a:pt x="5879771" y="773806"/>
                </a:cubicBezTo>
                <a:cubicBezTo>
                  <a:pt x="5879771" y="761102"/>
                  <a:pt x="5890165" y="750707"/>
                  <a:pt x="5902869" y="750707"/>
                </a:cubicBezTo>
                <a:close/>
                <a:moveTo>
                  <a:pt x="4799906" y="750707"/>
                </a:moveTo>
                <a:cubicBezTo>
                  <a:pt x="4812611" y="750707"/>
                  <a:pt x="4823006" y="761102"/>
                  <a:pt x="4823006" y="773806"/>
                </a:cubicBezTo>
                <a:cubicBezTo>
                  <a:pt x="4823006" y="786511"/>
                  <a:pt x="4812611" y="796904"/>
                  <a:pt x="4799906" y="796904"/>
                </a:cubicBezTo>
                <a:cubicBezTo>
                  <a:pt x="4787204" y="796904"/>
                  <a:pt x="4776809" y="786511"/>
                  <a:pt x="4776809" y="773806"/>
                </a:cubicBezTo>
                <a:cubicBezTo>
                  <a:pt x="4776809" y="761102"/>
                  <a:pt x="4787204" y="750707"/>
                  <a:pt x="4799906" y="750707"/>
                </a:cubicBezTo>
                <a:close/>
                <a:moveTo>
                  <a:pt x="3672691" y="750707"/>
                </a:moveTo>
                <a:cubicBezTo>
                  <a:pt x="3685396" y="750707"/>
                  <a:pt x="3695791" y="761102"/>
                  <a:pt x="3695791" y="773806"/>
                </a:cubicBezTo>
                <a:cubicBezTo>
                  <a:pt x="3695791" y="786511"/>
                  <a:pt x="3685396" y="796904"/>
                  <a:pt x="3672691" y="796904"/>
                </a:cubicBezTo>
                <a:cubicBezTo>
                  <a:pt x="3659987" y="796904"/>
                  <a:pt x="3649592" y="786511"/>
                  <a:pt x="3649592" y="773806"/>
                </a:cubicBezTo>
                <a:cubicBezTo>
                  <a:pt x="3649592" y="761102"/>
                  <a:pt x="3659987" y="750707"/>
                  <a:pt x="3672691" y="750707"/>
                </a:cubicBezTo>
                <a:close/>
                <a:moveTo>
                  <a:pt x="2440377" y="750707"/>
                </a:moveTo>
                <a:cubicBezTo>
                  <a:pt x="2453080" y="750707"/>
                  <a:pt x="2463475" y="761102"/>
                  <a:pt x="2463475" y="773806"/>
                </a:cubicBezTo>
                <a:cubicBezTo>
                  <a:pt x="2463475" y="786511"/>
                  <a:pt x="2453080" y="796904"/>
                  <a:pt x="2440377" y="796904"/>
                </a:cubicBezTo>
                <a:cubicBezTo>
                  <a:pt x="2427672" y="796904"/>
                  <a:pt x="2417278" y="786511"/>
                  <a:pt x="2417278" y="773806"/>
                </a:cubicBezTo>
                <a:cubicBezTo>
                  <a:pt x="2417278" y="761102"/>
                  <a:pt x="2427672" y="750707"/>
                  <a:pt x="2440377" y="750707"/>
                </a:cubicBezTo>
                <a:close/>
                <a:moveTo>
                  <a:pt x="1290062" y="750707"/>
                </a:moveTo>
                <a:cubicBezTo>
                  <a:pt x="1302766" y="750707"/>
                  <a:pt x="1313161" y="761102"/>
                  <a:pt x="1313161" y="773806"/>
                </a:cubicBezTo>
                <a:cubicBezTo>
                  <a:pt x="1313161" y="786511"/>
                  <a:pt x="1302766" y="796904"/>
                  <a:pt x="1290062" y="796904"/>
                </a:cubicBezTo>
                <a:cubicBezTo>
                  <a:pt x="1277357" y="796904"/>
                  <a:pt x="1266964" y="786511"/>
                  <a:pt x="1266964" y="773806"/>
                </a:cubicBezTo>
                <a:cubicBezTo>
                  <a:pt x="1266964" y="761102"/>
                  <a:pt x="1277357" y="750707"/>
                  <a:pt x="1290062" y="750707"/>
                </a:cubicBezTo>
                <a:close/>
                <a:moveTo>
                  <a:pt x="187100" y="750707"/>
                </a:moveTo>
                <a:cubicBezTo>
                  <a:pt x="199805" y="750707"/>
                  <a:pt x="210198" y="761102"/>
                  <a:pt x="210198" y="773806"/>
                </a:cubicBezTo>
                <a:cubicBezTo>
                  <a:pt x="210198" y="786511"/>
                  <a:pt x="199805" y="796904"/>
                  <a:pt x="187100" y="796904"/>
                </a:cubicBezTo>
                <a:cubicBezTo>
                  <a:pt x="174396" y="796904"/>
                  <a:pt x="164001" y="786511"/>
                  <a:pt x="164001" y="773806"/>
                </a:cubicBezTo>
                <a:cubicBezTo>
                  <a:pt x="164001" y="761102"/>
                  <a:pt x="174396" y="750707"/>
                  <a:pt x="187100" y="750707"/>
                </a:cubicBezTo>
                <a:close/>
                <a:moveTo>
                  <a:pt x="11521073" y="744933"/>
                </a:moveTo>
                <a:cubicBezTo>
                  <a:pt x="11537242" y="744933"/>
                  <a:pt x="11549947" y="757637"/>
                  <a:pt x="11549947" y="773806"/>
                </a:cubicBezTo>
                <a:cubicBezTo>
                  <a:pt x="11549947" y="789975"/>
                  <a:pt x="11537242" y="802680"/>
                  <a:pt x="11521073" y="802680"/>
                </a:cubicBezTo>
                <a:cubicBezTo>
                  <a:pt x="11504904" y="802680"/>
                  <a:pt x="11492200" y="789975"/>
                  <a:pt x="11492200" y="773806"/>
                </a:cubicBezTo>
                <a:cubicBezTo>
                  <a:pt x="11492200" y="757637"/>
                  <a:pt x="11504904" y="744933"/>
                  <a:pt x="11521073" y="744933"/>
                </a:cubicBezTo>
                <a:close/>
                <a:moveTo>
                  <a:pt x="10369604" y="744933"/>
                </a:moveTo>
                <a:cubicBezTo>
                  <a:pt x="10385773" y="744933"/>
                  <a:pt x="10399632" y="757637"/>
                  <a:pt x="10398477" y="773806"/>
                </a:cubicBezTo>
                <a:cubicBezTo>
                  <a:pt x="10398477" y="789975"/>
                  <a:pt x="10385773" y="802680"/>
                  <a:pt x="10369604" y="802680"/>
                </a:cubicBezTo>
                <a:cubicBezTo>
                  <a:pt x="10353435" y="802680"/>
                  <a:pt x="10340730" y="789975"/>
                  <a:pt x="10340730" y="773806"/>
                </a:cubicBezTo>
                <a:cubicBezTo>
                  <a:pt x="10340730" y="757637"/>
                  <a:pt x="10353435" y="744933"/>
                  <a:pt x="10369604" y="744933"/>
                </a:cubicBezTo>
                <a:close/>
                <a:moveTo>
                  <a:pt x="9543825" y="744933"/>
                </a:moveTo>
                <a:cubicBezTo>
                  <a:pt x="9558840" y="744933"/>
                  <a:pt x="9572699" y="757637"/>
                  <a:pt x="9572699" y="773806"/>
                </a:cubicBezTo>
                <a:cubicBezTo>
                  <a:pt x="9572699" y="789975"/>
                  <a:pt x="9559995" y="802680"/>
                  <a:pt x="9543825" y="802680"/>
                </a:cubicBezTo>
                <a:cubicBezTo>
                  <a:pt x="9527656" y="802680"/>
                  <a:pt x="9514953" y="789975"/>
                  <a:pt x="9514953" y="773806"/>
                </a:cubicBezTo>
                <a:cubicBezTo>
                  <a:pt x="9514953" y="757637"/>
                  <a:pt x="9527656" y="744933"/>
                  <a:pt x="9543825" y="744933"/>
                </a:cubicBezTo>
                <a:close/>
                <a:moveTo>
                  <a:pt x="8422936" y="744933"/>
                </a:moveTo>
                <a:cubicBezTo>
                  <a:pt x="8439105" y="744933"/>
                  <a:pt x="8451809" y="757637"/>
                  <a:pt x="8451809" y="773806"/>
                </a:cubicBezTo>
                <a:cubicBezTo>
                  <a:pt x="8451809" y="789975"/>
                  <a:pt x="8439105" y="802680"/>
                  <a:pt x="8422936" y="802680"/>
                </a:cubicBezTo>
                <a:cubicBezTo>
                  <a:pt x="8406767" y="802680"/>
                  <a:pt x="8394062" y="789975"/>
                  <a:pt x="8394062" y="773806"/>
                </a:cubicBezTo>
                <a:cubicBezTo>
                  <a:pt x="8394062" y="757637"/>
                  <a:pt x="8406767" y="744933"/>
                  <a:pt x="8422936" y="744933"/>
                </a:cubicBezTo>
                <a:close/>
                <a:moveTo>
                  <a:pt x="6915746" y="744933"/>
                </a:moveTo>
                <a:cubicBezTo>
                  <a:pt x="6931915" y="744933"/>
                  <a:pt x="6944621" y="757637"/>
                  <a:pt x="6944621" y="773806"/>
                </a:cubicBezTo>
                <a:cubicBezTo>
                  <a:pt x="6944621" y="789975"/>
                  <a:pt x="6931915" y="802680"/>
                  <a:pt x="6915746" y="802680"/>
                </a:cubicBezTo>
                <a:cubicBezTo>
                  <a:pt x="6899578" y="802680"/>
                  <a:pt x="6886873" y="789975"/>
                  <a:pt x="6886873" y="773806"/>
                </a:cubicBezTo>
                <a:cubicBezTo>
                  <a:pt x="6886873" y="757637"/>
                  <a:pt x="6899578" y="744933"/>
                  <a:pt x="6915746" y="744933"/>
                </a:cubicBezTo>
                <a:close/>
                <a:moveTo>
                  <a:pt x="5764278" y="744933"/>
                </a:moveTo>
                <a:cubicBezTo>
                  <a:pt x="5780447" y="744933"/>
                  <a:pt x="5794306" y="757637"/>
                  <a:pt x="5793151" y="773806"/>
                </a:cubicBezTo>
                <a:cubicBezTo>
                  <a:pt x="5793151" y="789975"/>
                  <a:pt x="5780447" y="802680"/>
                  <a:pt x="5764278" y="802680"/>
                </a:cubicBezTo>
                <a:cubicBezTo>
                  <a:pt x="5748109" y="802680"/>
                  <a:pt x="5735405" y="789975"/>
                  <a:pt x="5735405" y="773806"/>
                </a:cubicBezTo>
                <a:cubicBezTo>
                  <a:pt x="5735405" y="757637"/>
                  <a:pt x="5748109" y="744933"/>
                  <a:pt x="5764278" y="744933"/>
                </a:cubicBezTo>
                <a:close/>
                <a:moveTo>
                  <a:pt x="4938500" y="744933"/>
                </a:moveTo>
                <a:cubicBezTo>
                  <a:pt x="4953513" y="744933"/>
                  <a:pt x="4967373" y="757637"/>
                  <a:pt x="4967373" y="773806"/>
                </a:cubicBezTo>
                <a:cubicBezTo>
                  <a:pt x="4967373" y="789975"/>
                  <a:pt x="4954668" y="802680"/>
                  <a:pt x="4938500" y="802680"/>
                </a:cubicBezTo>
                <a:cubicBezTo>
                  <a:pt x="4922331" y="802680"/>
                  <a:pt x="4909627" y="789975"/>
                  <a:pt x="4909627" y="773806"/>
                </a:cubicBezTo>
                <a:cubicBezTo>
                  <a:pt x="4909627" y="757637"/>
                  <a:pt x="4922331" y="744933"/>
                  <a:pt x="4938500" y="744933"/>
                </a:cubicBezTo>
                <a:close/>
                <a:moveTo>
                  <a:pt x="3810129" y="744933"/>
                </a:moveTo>
                <a:cubicBezTo>
                  <a:pt x="3826298" y="744933"/>
                  <a:pt x="3839002" y="757637"/>
                  <a:pt x="3839002" y="773806"/>
                </a:cubicBezTo>
                <a:cubicBezTo>
                  <a:pt x="3839002" y="789975"/>
                  <a:pt x="3826298" y="802680"/>
                  <a:pt x="3810129" y="802680"/>
                </a:cubicBezTo>
                <a:cubicBezTo>
                  <a:pt x="3793960" y="802680"/>
                  <a:pt x="3781255" y="789975"/>
                  <a:pt x="3781255" y="773806"/>
                </a:cubicBezTo>
                <a:cubicBezTo>
                  <a:pt x="3781255" y="757637"/>
                  <a:pt x="3793960" y="744933"/>
                  <a:pt x="3810129" y="744933"/>
                </a:cubicBezTo>
                <a:close/>
                <a:moveTo>
                  <a:pt x="2302939" y="744933"/>
                </a:moveTo>
                <a:cubicBezTo>
                  <a:pt x="2319108" y="744933"/>
                  <a:pt x="2331813" y="757637"/>
                  <a:pt x="2331813" y="773806"/>
                </a:cubicBezTo>
                <a:cubicBezTo>
                  <a:pt x="2331813" y="789975"/>
                  <a:pt x="2319108" y="802680"/>
                  <a:pt x="2302939" y="802680"/>
                </a:cubicBezTo>
                <a:cubicBezTo>
                  <a:pt x="2286771" y="802680"/>
                  <a:pt x="2274067" y="789975"/>
                  <a:pt x="2274067" y="773806"/>
                </a:cubicBezTo>
                <a:cubicBezTo>
                  <a:pt x="2274067" y="757637"/>
                  <a:pt x="2286771" y="744933"/>
                  <a:pt x="2302939" y="744933"/>
                </a:cubicBezTo>
                <a:close/>
                <a:moveTo>
                  <a:pt x="1151470" y="744933"/>
                </a:moveTo>
                <a:cubicBezTo>
                  <a:pt x="1167639" y="744933"/>
                  <a:pt x="1181498" y="757637"/>
                  <a:pt x="1180343" y="773806"/>
                </a:cubicBezTo>
                <a:cubicBezTo>
                  <a:pt x="1180343" y="789975"/>
                  <a:pt x="1167639" y="802680"/>
                  <a:pt x="1151470" y="802680"/>
                </a:cubicBezTo>
                <a:cubicBezTo>
                  <a:pt x="1135301" y="802680"/>
                  <a:pt x="1122596" y="789975"/>
                  <a:pt x="1122596" y="773806"/>
                </a:cubicBezTo>
                <a:cubicBezTo>
                  <a:pt x="1122596" y="757637"/>
                  <a:pt x="1135301" y="744933"/>
                  <a:pt x="1151470" y="744933"/>
                </a:cubicBezTo>
                <a:close/>
                <a:moveTo>
                  <a:pt x="325692" y="744933"/>
                </a:moveTo>
                <a:cubicBezTo>
                  <a:pt x="340706" y="744933"/>
                  <a:pt x="354566" y="757637"/>
                  <a:pt x="354566" y="773806"/>
                </a:cubicBezTo>
                <a:cubicBezTo>
                  <a:pt x="354566" y="789975"/>
                  <a:pt x="341861" y="802680"/>
                  <a:pt x="325692" y="802680"/>
                </a:cubicBezTo>
                <a:cubicBezTo>
                  <a:pt x="309523" y="802680"/>
                  <a:pt x="296819" y="789975"/>
                  <a:pt x="296819" y="773806"/>
                </a:cubicBezTo>
                <a:cubicBezTo>
                  <a:pt x="296819" y="757637"/>
                  <a:pt x="309523" y="744933"/>
                  <a:pt x="325692" y="744933"/>
                </a:cubicBezTo>
                <a:close/>
                <a:moveTo>
                  <a:pt x="11383636" y="739158"/>
                </a:moveTo>
                <a:cubicBezTo>
                  <a:pt x="11402115" y="739158"/>
                  <a:pt x="11418284" y="755327"/>
                  <a:pt x="11418284" y="773806"/>
                </a:cubicBezTo>
                <a:cubicBezTo>
                  <a:pt x="11418284" y="792285"/>
                  <a:pt x="11403270" y="808454"/>
                  <a:pt x="11383636" y="808454"/>
                </a:cubicBezTo>
                <a:cubicBezTo>
                  <a:pt x="11365157" y="808454"/>
                  <a:pt x="11348988" y="792285"/>
                  <a:pt x="11348988" y="773806"/>
                </a:cubicBezTo>
                <a:cubicBezTo>
                  <a:pt x="11348988" y="755327"/>
                  <a:pt x="11364002" y="739158"/>
                  <a:pt x="11383636" y="739158"/>
                </a:cubicBezTo>
                <a:close/>
                <a:moveTo>
                  <a:pt x="10811943" y="739158"/>
                </a:moveTo>
                <a:cubicBezTo>
                  <a:pt x="10830422" y="739158"/>
                  <a:pt x="10846591" y="755327"/>
                  <a:pt x="10846591" y="773806"/>
                </a:cubicBezTo>
                <a:cubicBezTo>
                  <a:pt x="10846591" y="792285"/>
                  <a:pt x="10831578" y="808454"/>
                  <a:pt x="10811943" y="808454"/>
                </a:cubicBezTo>
                <a:cubicBezTo>
                  <a:pt x="10793464" y="808454"/>
                  <a:pt x="10777295" y="792285"/>
                  <a:pt x="10777295" y="773806"/>
                </a:cubicBezTo>
                <a:cubicBezTo>
                  <a:pt x="10777295" y="755327"/>
                  <a:pt x="10792310" y="739158"/>
                  <a:pt x="10811943" y="739158"/>
                </a:cubicBezTo>
                <a:close/>
                <a:moveTo>
                  <a:pt x="10232166" y="739158"/>
                </a:moveTo>
                <a:cubicBezTo>
                  <a:pt x="10251801" y="739158"/>
                  <a:pt x="10266814" y="755327"/>
                  <a:pt x="10266814" y="773806"/>
                </a:cubicBezTo>
                <a:cubicBezTo>
                  <a:pt x="10266814" y="792285"/>
                  <a:pt x="10250645" y="808454"/>
                  <a:pt x="10232166" y="808454"/>
                </a:cubicBezTo>
                <a:cubicBezTo>
                  <a:pt x="10213687" y="808454"/>
                  <a:pt x="10197518" y="792285"/>
                  <a:pt x="10197518" y="773806"/>
                </a:cubicBezTo>
                <a:cubicBezTo>
                  <a:pt x="10197518" y="755327"/>
                  <a:pt x="10212533" y="739158"/>
                  <a:pt x="10232166" y="739158"/>
                </a:cubicBezTo>
                <a:close/>
                <a:moveTo>
                  <a:pt x="9681263" y="739158"/>
                </a:moveTo>
                <a:cubicBezTo>
                  <a:pt x="9700896" y="739158"/>
                  <a:pt x="9715911" y="755327"/>
                  <a:pt x="9715911" y="773806"/>
                </a:cubicBezTo>
                <a:cubicBezTo>
                  <a:pt x="9715911" y="792285"/>
                  <a:pt x="9699742" y="808454"/>
                  <a:pt x="9681263" y="808454"/>
                </a:cubicBezTo>
                <a:cubicBezTo>
                  <a:pt x="9662784" y="808454"/>
                  <a:pt x="9646615" y="792285"/>
                  <a:pt x="9646615" y="773806"/>
                </a:cubicBezTo>
                <a:cubicBezTo>
                  <a:pt x="9646615" y="755327"/>
                  <a:pt x="9661629" y="739158"/>
                  <a:pt x="9681263" y="739158"/>
                </a:cubicBezTo>
                <a:close/>
                <a:moveTo>
                  <a:pt x="9112431" y="739158"/>
                </a:moveTo>
                <a:cubicBezTo>
                  <a:pt x="9130910" y="739158"/>
                  <a:pt x="9147079" y="755327"/>
                  <a:pt x="9147079" y="773806"/>
                </a:cubicBezTo>
                <a:cubicBezTo>
                  <a:pt x="9147079" y="792285"/>
                  <a:pt x="9132065" y="808454"/>
                  <a:pt x="9112431" y="808454"/>
                </a:cubicBezTo>
                <a:cubicBezTo>
                  <a:pt x="9093952" y="808454"/>
                  <a:pt x="9077783" y="792285"/>
                  <a:pt x="9077783" y="773806"/>
                </a:cubicBezTo>
                <a:cubicBezTo>
                  <a:pt x="9077783" y="755327"/>
                  <a:pt x="9092798" y="739158"/>
                  <a:pt x="9112431" y="739158"/>
                </a:cubicBezTo>
                <a:close/>
                <a:moveTo>
                  <a:pt x="8561528" y="739158"/>
                </a:moveTo>
                <a:cubicBezTo>
                  <a:pt x="8580007" y="739158"/>
                  <a:pt x="8596176" y="755327"/>
                  <a:pt x="8596176" y="773806"/>
                </a:cubicBezTo>
                <a:cubicBezTo>
                  <a:pt x="8596176" y="792285"/>
                  <a:pt x="8581161" y="808454"/>
                  <a:pt x="8561528" y="808454"/>
                </a:cubicBezTo>
                <a:cubicBezTo>
                  <a:pt x="8543049" y="808454"/>
                  <a:pt x="8526880" y="792285"/>
                  <a:pt x="8526880" y="773806"/>
                </a:cubicBezTo>
                <a:cubicBezTo>
                  <a:pt x="8526880" y="755327"/>
                  <a:pt x="8541893" y="739158"/>
                  <a:pt x="8561528" y="739158"/>
                </a:cubicBezTo>
                <a:close/>
                <a:moveTo>
                  <a:pt x="6778310" y="739158"/>
                </a:moveTo>
                <a:cubicBezTo>
                  <a:pt x="6796790" y="739158"/>
                  <a:pt x="6812959" y="755327"/>
                  <a:pt x="6812959" y="773806"/>
                </a:cubicBezTo>
                <a:cubicBezTo>
                  <a:pt x="6812959" y="792285"/>
                  <a:pt x="6796790" y="808454"/>
                  <a:pt x="6778310" y="808454"/>
                </a:cubicBezTo>
                <a:cubicBezTo>
                  <a:pt x="6759831" y="808454"/>
                  <a:pt x="6743662" y="792285"/>
                  <a:pt x="6743662" y="773806"/>
                </a:cubicBezTo>
                <a:cubicBezTo>
                  <a:pt x="6743662" y="755327"/>
                  <a:pt x="6758675" y="739158"/>
                  <a:pt x="6778310" y="739158"/>
                </a:cubicBezTo>
                <a:close/>
                <a:moveTo>
                  <a:pt x="6206618" y="739158"/>
                </a:moveTo>
                <a:cubicBezTo>
                  <a:pt x="6225097" y="739158"/>
                  <a:pt x="6241265" y="755327"/>
                  <a:pt x="6241265" y="773806"/>
                </a:cubicBezTo>
                <a:cubicBezTo>
                  <a:pt x="6241265" y="792285"/>
                  <a:pt x="6226251" y="808454"/>
                  <a:pt x="6206618" y="808454"/>
                </a:cubicBezTo>
                <a:cubicBezTo>
                  <a:pt x="6188138" y="808454"/>
                  <a:pt x="6171969" y="792285"/>
                  <a:pt x="6171969" y="773806"/>
                </a:cubicBezTo>
                <a:cubicBezTo>
                  <a:pt x="6171969" y="755327"/>
                  <a:pt x="6186984" y="739158"/>
                  <a:pt x="6206618" y="739158"/>
                </a:cubicBezTo>
                <a:close/>
                <a:moveTo>
                  <a:pt x="5626840" y="739158"/>
                </a:moveTo>
                <a:cubicBezTo>
                  <a:pt x="5646475" y="739158"/>
                  <a:pt x="5661488" y="755327"/>
                  <a:pt x="5661488" y="773806"/>
                </a:cubicBezTo>
                <a:cubicBezTo>
                  <a:pt x="5661488" y="792285"/>
                  <a:pt x="5646475" y="808454"/>
                  <a:pt x="5626840" y="808454"/>
                </a:cubicBezTo>
                <a:cubicBezTo>
                  <a:pt x="5608360" y="808454"/>
                  <a:pt x="5592192" y="792285"/>
                  <a:pt x="5592192" y="773806"/>
                </a:cubicBezTo>
                <a:cubicBezTo>
                  <a:pt x="5592192" y="755327"/>
                  <a:pt x="5607207" y="739158"/>
                  <a:pt x="5626840" y="739158"/>
                </a:cubicBezTo>
                <a:close/>
                <a:moveTo>
                  <a:pt x="5075938" y="739158"/>
                </a:moveTo>
                <a:cubicBezTo>
                  <a:pt x="5095571" y="739158"/>
                  <a:pt x="5110584" y="755327"/>
                  <a:pt x="5110584" y="773806"/>
                </a:cubicBezTo>
                <a:cubicBezTo>
                  <a:pt x="5110584" y="792285"/>
                  <a:pt x="5095571" y="808454"/>
                  <a:pt x="5075938" y="808454"/>
                </a:cubicBezTo>
                <a:cubicBezTo>
                  <a:pt x="5057458" y="808454"/>
                  <a:pt x="5041289" y="792285"/>
                  <a:pt x="5041289" y="773806"/>
                </a:cubicBezTo>
                <a:cubicBezTo>
                  <a:pt x="5041289" y="755327"/>
                  <a:pt x="5056302" y="739158"/>
                  <a:pt x="5075938" y="739158"/>
                </a:cubicBezTo>
                <a:close/>
                <a:moveTo>
                  <a:pt x="4499625" y="739158"/>
                </a:moveTo>
                <a:cubicBezTo>
                  <a:pt x="4518102" y="739158"/>
                  <a:pt x="4534273" y="755327"/>
                  <a:pt x="4534273" y="773806"/>
                </a:cubicBezTo>
                <a:cubicBezTo>
                  <a:pt x="4534273" y="792285"/>
                  <a:pt x="4519258" y="808454"/>
                  <a:pt x="4499625" y="808454"/>
                </a:cubicBezTo>
                <a:cubicBezTo>
                  <a:pt x="4481145" y="808454"/>
                  <a:pt x="4464976" y="792285"/>
                  <a:pt x="4464976" y="773806"/>
                </a:cubicBezTo>
                <a:cubicBezTo>
                  <a:pt x="4464976" y="755327"/>
                  <a:pt x="4479992" y="739158"/>
                  <a:pt x="4499625" y="739158"/>
                </a:cubicBezTo>
                <a:close/>
                <a:moveTo>
                  <a:pt x="3948721" y="739158"/>
                </a:moveTo>
                <a:cubicBezTo>
                  <a:pt x="3967200" y="739158"/>
                  <a:pt x="3983369" y="755327"/>
                  <a:pt x="3983369" y="773806"/>
                </a:cubicBezTo>
                <a:cubicBezTo>
                  <a:pt x="3983369" y="792285"/>
                  <a:pt x="3968354" y="808454"/>
                  <a:pt x="3948721" y="808454"/>
                </a:cubicBezTo>
                <a:cubicBezTo>
                  <a:pt x="3930243" y="808454"/>
                  <a:pt x="3914073" y="792285"/>
                  <a:pt x="3914073" y="773806"/>
                </a:cubicBezTo>
                <a:cubicBezTo>
                  <a:pt x="3914073" y="755327"/>
                  <a:pt x="3929086" y="739158"/>
                  <a:pt x="3948721" y="739158"/>
                </a:cubicBezTo>
                <a:close/>
                <a:moveTo>
                  <a:pt x="2165502" y="739158"/>
                </a:moveTo>
                <a:cubicBezTo>
                  <a:pt x="2183981" y="739158"/>
                  <a:pt x="2200150" y="755327"/>
                  <a:pt x="2200150" y="773806"/>
                </a:cubicBezTo>
                <a:cubicBezTo>
                  <a:pt x="2200150" y="792285"/>
                  <a:pt x="2185137" y="808454"/>
                  <a:pt x="2165502" y="808454"/>
                </a:cubicBezTo>
                <a:cubicBezTo>
                  <a:pt x="2147023" y="808454"/>
                  <a:pt x="2130854" y="792285"/>
                  <a:pt x="2130854" y="773806"/>
                </a:cubicBezTo>
                <a:cubicBezTo>
                  <a:pt x="2130854" y="755327"/>
                  <a:pt x="2145868" y="739158"/>
                  <a:pt x="2165502" y="739158"/>
                </a:cubicBezTo>
                <a:close/>
                <a:moveTo>
                  <a:pt x="1593810" y="739158"/>
                </a:moveTo>
                <a:cubicBezTo>
                  <a:pt x="1612288" y="739158"/>
                  <a:pt x="1628457" y="755327"/>
                  <a:pt x="1628457" y="773806"/>
                </a:cubicBezTo>
                <a:cubicBezTo>
                  <a:pt x="1628457" y="792285"/>
                  <a:pt x="1613444" y="808454"/>
                  <a:pt x="1593810" y="808454"/>
                </a:cubicBezTo>
                <a:cubicBezTo>
                  <a:pt x="1575330" y="808454"/>
                  <a:pt x="1559161" y="792285"/>
                  <a:pt x="1559161" y="773806"/>
                </a:cubicBezTo>
                <a:cubicBezTo>
                  <a:pt x="1559161" y="755327"/>
                  <a:pt x="1574176" y="739158"/>
                  <a:pt x="1593810" y="739158"/>
                </a:cubicBezTo>
                <a:close/>
                <a:moveTo>
                  <a:pt x="1014032" y="739158"/>
                </a:moveTo>
                <a:cubicBezTo>
                  <a:pt x="1033667" y="739158"/>
                  <a:pt x="1048681" y="755327"/>
                  <a:pt x="1048681" y="773806"/>
                </a:cubicBezTo>
                <a:cubicBezTo>
                  <a:pt x="1048681" y="792285"/>
                  <a:pt x="1032511" y="808454"/>
                  <a:pt x="1014032" y="808454"/>
                </a:cubicBezTo>
                <a:cubicBezTo>
                  <a:pt x="995554" y="808454"/>
                  <a:pt x="979384" y="792285"/>
                  <a:pt x="979384" y="773806"/>
                </a:cubicBezTo>
                <a:cubicBezTo>
                  <a:pt x="979384" y="755327"/>
                  <a:pt x="994399" y="739158"/>
                  <a:pt x="1014032" y="739158"/>
                </a:cubicBezTo>
                <a:close/>
                <a:moveTo>
                  <a:pt x="463129" y="739158"/>
                </a:moveTo>
                <a:cubicBezTo>
                  <a:pt x="482763" y="739158"/>
                  <a:pt x="497778" y="755327"/>
                  <a:pt x="497778" y="773806"/>
                </a:cubicBezTo>
                <a:cubicBezTo>
                  <a:pt x="497778" y="792285"/>
                  <a:pt x="481608" y="808454"/>
                  <a:pt x="463129" y="808454"/>
                </a:cubicBezTo>
                <a:cubicBezTo>
                  <a:pt x="444651" y="808454"/>
                  <a:pt x="428481" y="792285"/>
                  <a:pt x="428481" y="773806"/>
                </a:cubicBezTo>
                <a:cubicBezTo>
                  <a:pt x="428481" y="755327"/>
                  <a:pt x="443495" y="739158"/>
                  <a:pt x="463129" y="739158"/>
                </a:cubicBezTo>
                <a:close/>
                <a:moveTo>
                  <a:pt x="11245044" y="733384"/>
                </a:moveTo>
                <a:cubicBezTo>
                  <a:pt x="11268143" y="733384"/>
                  <a:pt x="11286622" y="750707"/>
                  <a:pt x="11285466" y="773806"/>
                </a:cubicBezTo>
                <a:cubicBezTo>
                  <a:pt x="11285466" y="795750"/>
                  <a:pt x="11266987" y="814229"/>
                  <a:pt x="11245044" y="814229"/>
                </a:cubicBezTo>
                <a:cubicBezTo>
                  <a:pt x="11223100" y="814229"/>
                  <a:pt x="11204621" y="795750"/>
                  <a:pt x="11204621" y="773806"/>
                </a:cubicBezTo>
                <a:cubicBezTo>
                  <a:pt x="11204621" y="751863"/>
                  <a:pt x="11223100" y="733384"/>
                  <a:pt x="11245044" y="733384"/>
                </a:cubicBezTo>
                <a:close/>
                <a:moveTo>
                  <a:pt x="10970170" y="733384"/>
                </a:moveTo>
                <a:cubicBezTo>
                  <a:pt x="10992113" y="733384"/>
                  <a:pt x="11010592" y="750707"/>
                  <a:pt x="11010592" y="773806"/>
                </a:cubicBezTo>
                <a:cubicBezTo>
                  <a:pt x="11010592" y="795750"/>
                  <a:pt x="10992113" y="814229"/>
                  <a:pt x="10970170" y="814229"/>
                </a:cubicBezTo>
                <a:cubicBezTo>
                  <a:pt x="10948226" y="814229"/>
                  <a:pt x="10929746" y="795750"/>
                  <a:pt x="10929746" y="773806"/>
                </a:cubicBezTo>
                <a:cubicBezTo>
                  <a:pt x="10929746" y="751863"/>
                  <a:pt x="10948226" y="733384"/>
                  <a:pt x="10970170" y="733384"/>
                </a:cubicBezTo>
                <a:close/>
                <a:moveTo>
                  <a:pt x="10094730" y="733384"/>
                </a:moveTo>
                <a:cubicBezTo>
                  <a:pt x="10116673" y="733384"/>
                  <a:pt x="10135152" y="750707"/>
                  <a:pt x="10135152" y="773806"/>
                </a:cubicBezTo>
                <a:cubicBezTo>
                  <a:pt x="10135152" y="795750"/>
                  <a:pt x="10116673" y="814229"/>
                  <a:pt x="10094730" y="814229"/>
                </a:cubicBezTo>
                <a:cubicBezTo>
                  <a:pt x="10072785" y="814229"/>
                  <a:pt x="10054306" y="795750"/>
                  <a:pt x="10054306" y="773806"/>
                </a:cubicBezTo>
                <a:cubicBezTo>
                  <a:pt x="10054306" y="751863"/>
                  <a:pt x="10072785" y="733384"/>
                  <a:pt x="10094730" y="733384"/>
                </a:cubicBezTo>
                <a:close/>
                <a:moveTo>
                  <a:pt x="9818700" y="733384"/>
                </a:moveTo>
                <a:cubicBezTo>
                  <a:pt x="9841798" y="733384"/>
                  <a:pt x="9859123" y="750707"/>
                  <a:pt x="9859123" y="773806"/>
                </a:cubicBezTo>
                <a:cubicBezTo>
                  <a:pt x="9859123" y="795750"/>
                  <a:pt x="9840644" y="814229"/>
                  <a:pt x="9818700" y="814229"/>
                </a:cubicBezTo>
                <a:cubicBezTo>
                  <a:pt x="9796757" y="814229"/>
                  <a:pt x="9778278" y="795750"/>
                  <a:pt x="9778278" y="773806"/>
                </a:cubicBezTo>
                <a:cubicBezTo>
                  <a:pt x="9778278" y="751863"/>
                  <a:pt x="9796757" y="733384"/>
                  <a:pt x="9818700" y="733384"/>
                </a:cubicBezTo>
                <a:close/>
                <a:moveTo>
                  <a:pt x="8974994" y="733384"/>
                </a:moveTo>
                <a:cubicBezTo>
                  <a:pt x="8996938" y="733384"/>
                  <a:pt x="9015416" y="750707"/>
                  <a:pt x="9015416" y="773806"/>
                </a:cubicBezTo>
                <a:cubicBezTo>
                  <a:pt x="9015416" y="795750"/>
                  <a:pt x="8996938" y="814229"/>
                  <a:pt x="8974994" y="814229"/>
                </a:cubicBezTo>
                <a:cubicBezTo>
                  <a:pt x="8953050" y="814229"/>
                  <a:pt x="8934571" y="795750"/>
                  <a:pt x="8934571" y="773806"/>
                </a:cubicBezTo>
                <a:cubicBezTo>
                  <a:pt x="8934571" y="751863"/>
                  <a:pt x="8953050" y="733384"/>
                  <a:pt x="8974994" y="733384"/>
                </a:cubicBezTo>
                <a:close/>
                <a:moveTo>
                  <a:pt x="8698965" y="733384"/>
                </a:moveTo>
                <a:cubicBezTo>
                  <a:pt x="8720909" y="733384"/>
                  <a:pt x="8739388" y="750707"/>
                  <a:pt x="8739388" y="773806"/>
                </a:cubicBezTo>
                <a:cubicBezTo>
                  <a:pt x="8739388" y="795750"/>
                  <a:pt x="8720909" y="814229"/>
                  <a:pt x="8698965" y="814229"/>
                </a:cubicBezTo>
                <a:cubicBezTo>
                  <a:pt x="8677021" y="814229"/>
                  <a:pt x="8658542" y="795750"/>
                  <a:pt x="8658542" y="773806"/>
                </a:cubicBezTo>
                <a:cubicBezTo>
                  <a:pt x="8658542" y="751863"/>
                  <a:pt x="8677021" y="733384"/>
                  <a:pt x="8698965" y="733384"/>
                </a:cubicBezTo>
                <a:close/>
                <a:moveTo>
                  <a:pt x="6639717" y="733384"/>
                </a:moveTo>
                <a:cubicBezTo>
                  <a:pt x="6662817" y="733384"/>
                  <a:pt x="6681296" y="750707"/>
                  <a:pt x="6680139" y="773806"/>
                </a:cubicBezTo>
                <a:cubicBezTo>
                  <a:pt x="6680139" y="795750"/>
                  <a:pt x="6661661" y="814229"/>
                  <a:pt x="6639717" y="814229"/>
                </a:cubicBezTo>
                <a:cubicBezTo>
                  <a:pt x="6617773" y="814229"/>
                  <a:pt x="6599295" y="795750"/>
                  <a:pt x="6599295" y="773806"/>
                </a:cubicBezTo>
                <a:cubicBezTo>
                  <a:pt x="6599295" y="751863"/>
                  <a:pt x="6617773" y="733384"/>
                  <a:pt x="6639717" y="733384"/>
                </a:cubicBezTo>
                <a:close/>
                <a:moveTo>
                  <a:pt x="6364844" y="733384"/>
                </a:moveTo>
                <a:cubicBezTo>
                  <a:pt x="6386786" y="733384"/>
                  <a:pt x="6405265" y="750707"/>
                  <a:pt x="6405265" y="773806"/>
                </a:cubicBezTo>
                <a:cubicBezTo>
                  <a:pt x="6405265" y="795750"/>
                  <a:pt x="6386786" y="814229"/>
                  <a:pt x="6364844" y="814229"/>
                </a:cubicBezTo>
                <a:cubicBezTo>
                  <a:pt x="6342899" y="814229"/>
                  <a:pt x="6324420" y="795750"/>
                  <a:pt x="6324420" y="773806"/>
                </a:cubicBezTo>
                <a:cubicBezTo>
                  <a:pt x="6324420" y="751863"/>
                  <a:pt x="6342899" y="733384"/>
                  <a:pt x="6364844" y="733384"/>
                </a:cubicBezTo>
                <a:close/>
                <a:moveTo>
                  <a:pt x="5489404" y="733384"/>
                </a:moveTo>
                <a:cubicBezTo>
                  <a:pt x="5511346" y="733384"/>
                  <a:pt x="5529826" y="750707"/>
                  <a:pt x="5529826" y="773806"/>
                </a:cubicBezTo>
                <a:cubicBezTo>
                  <a:pt x="5529826" y="795750"/>
                  <a:pt x="5511346" y="814229"/>
                  <a:pt x="5489404" y="814229"/>
                </a:cubicBezTo>
                <a:cubicBezTo>
                  <a:pt x="5467460" y="814229"/>
                  <a:pt x="5448980" y="795750"/>
                  <a:pt x="5448980" y="773806"/>
                </a:cubicBezTo>
                <a:cubicBezTo>
                  <a:pt x="5448980" y="751863"/>
                  <a:pt x="5467460" y="733384"/>
                  <a:pt x="5489404" y="733384"/>
                </a:cubicBezTo>
                <a:close/>
                <a:moveTo>
                  <a:pt x="5213373" y="733384"/>
                </a:moveTo>
                <a:cubicBezTo>
                  <a:pt x="5236473" y="733384"/>
                  <a:pt x="5253797" y="750707"/>
                  <a:pt x="5253797" y="773806"/>
                </a:cubicBezTo>
                <a:cubicBezTo>
                  <a:pt x="5253797" y="795750"/>
                  <a:pt x="5235319" y="814229"/>
                  <a:pt x="5213373" y="814229"/>
                </a:cubicBezTo>
                <a:cubicBezTo>
                  <a:pt x="5191431" y="814229"/>
                  <a:pt x="5172952" y="795750"/>
                  <a:pt x="5172952" y="773806"/>
                </a:cubicBezTo>
                <a:cubicBezTo>
                  <a:pt x="5172952" y="751863"/>
                  <a:pt x="5191431" y="733384"/>
                  <a:pt x="5213373" y="733384"/>
                </a:cubicBezTo>
                <a:close/>
                <a:moveTo>
                  <a:pt x="4361031" y="733384"/>
                </a:moveTo>
                <a:cubicBezTo>
                  <a:pt x="4384131" y="733384"/>
                  <a:pt x="4402610" y="750707"/>
                  <a:pt x="4401455" y="773806"/>
                </a:cubicBezTo>
                <a:cubicBezTo>
                  <a:pt x="4401455" y="795750"/>
                  <a:pt x="4382977" y="814229"/>
                  <a:pt x="4361031" y="814229"/>
                </a:cubicBezTo>
                <a:cubicBezTo>
                  <a:pt x="4339089" y="814229"/>
                  <a:pt x="4320610" y="795750"/>
                  <a:pt x="4320610" y="773806"/>
                </a:cubicBezTo>
                <a:cubicBezTo>
                  <a:pt x="4320610" y="751863"/>
                  <a:pt x="4339089" y="733384"/>
                  <a:pt x="4361031" y="733384"/>
                </a:cubicBezTo>
                <a:close/>
                <a:moveTo>
                  <a:pt x="4086158" y="733384"/>
                </a:moveTo>
                <a:cubicBezTo>
                  <a:pt x="4108102" y="733384"/>
                  <a:pt x="4126582" y="750707"/>
                  <a:pt x="4126582" y="773806"/>
                </a:cubicBezTo>
                <a:cubicBezTo>
                  <a:pt x="4126582" y="795750"/>
                  <a:pt x="4108102" y="814229"/>
                  <a:pt x="4086158" y="814229"/>
                </a:cubicBezTo>
                <a:cubicBezTo>
                  <a:pt x="4064214" y="814229"/>
                  <a:pt x="4045735" y="795750"/>
                  <a:pt x="4045735" y="773806"/>
                </a:cubicBezTo>
                <a:cubicBezTo>
                  <a:pt x="4045735" y="751863"/>
                  <a:pt x="4064214" y="733384"/>
                  <a:pt x="4086158" y="733384"/>
                </a:cubicBezTo>
                <a:close/>
                <a:moveTo>
                  <a:pt x="2026910" y="733384"/>
                </a:moveTo>
                <a:cubicBezTo>
                  <a:pt x="2050009" y="733384"/>
                  <a:pt x="2068488" y="750707"/>
                  <a:pt x="2067332" y="773806"/>
                </a:cubicBezTo>
                <a:cubicBezTo>
                  <a:pt x="2067332" y="795750"/>
                  <a:pt x="2048854" y="814229"/>
                  <a:pt x="2026910" y="814229"/>
                </a:cubicBezTo>
                <a:cubicBezTo>
                  <a:pt x="2004966" y="814229"/>
                  <a:pt x="1986487" y="795750"/>
                  <a:pt x="1986487" y="773806"/>
                </a:cubicBezTo>
                <a:cubicBezTo>
                  <a:pt x="1986487" y="751863"/>
                  <a:pt x="2004966" y="733384"/>
                  <a:pt x="2026910" y="733384"/>
                </a:cubicBezTo>
                <a:close/>
                <a:moveTo>
                  <a:pt x="1752036" y="733384"/>
                </a:moveTo>
                <a:cubicBezTo>
                  <a:pt x="1773979" y="733384"/>
                  <a:pt x="1792458" y="750707"/>
                  <a:pt x="1792458" y="773806"/>
                </a:cubicBezTo>
                <a:cubicBezTo>
                  <a:pt x="1792458" y="795750"/>
                  <a:pt x="1773979" y="814229"/>
                  <a:pt x="1752036" y="814229"/>
                </a:cubicBezTo>
                <a:cubicBezTo>
                  <a:pt x="1730092" y="814229"/>
                  <a:pt x="1711613" y="795750"/>
                  <a:pt x="1711613" y="773806"/>
                </a:cubicBezTo>
                <a:cubicBezTo>
                  <a:pt x="1711613" y="751863"/>
                  <a:pt x="1730092" y="733384"/>
                  <a:pt x="1752036" y="733384"/>
                </a:cubicBezTo>
                <a:close/>
                <a:moveTo>
                  <a:pt x="876596" y="733384"/>
                </a:moveTo>
                <a:cubicBezTo>
                  <a:pt x="898539" y="733384"/>
                  <a:pt x="917018" y="750707"/>
                  <a:pt x="917018" y="773806"/>
                </a:cubicBezTo>
                <a:cubicBezTo>
                  <a:pt x="917018" y="795750"/>
                  <a:pt x="898539" y="814229"/>
                  <a:pt x="876596" y="814229"/>
                </a:cubicBezTo>
                <a:cubicBezTo>
                  <a:pt x="854652" y="814229"/>
                  <a:pt x="836172" y="795750"/>
                  <a:pt x="836172" y="773806"/>
                </a:cubicBezTo>
                <a:cubicBezTo>
                  <a:pt x="836172" y="751863"/>
                  <a:pt x="854652" y="733384"/>
                  <a:pt x="876596" y="733384"/>
                </a:cubicBezTo>
                <a:close/>
                <a:moveTo>
                  <a:pt x="600566" y="733384"/>
                </a:moveTo>
                <a:cubicBezTo>
                  <a:pt x="623665" y="733384"/>
                  <a:pt x="640989" y="750707"/>
                  <a:pt x="640989" y="773806"/>
                </a:cubicBezTo>
                <a:cubicBezTo>
                  <a:pt x="640989" y="795750"/>
                  <a:pt x="622510" y="814229"/>
                  <a:pt x="600566" y="814229"/>
                </a:cubicBezTo>
                <a:cubicBezTo>
                  <a:pt x="578623" y="814229"/>
                  <a:pt x="560144" y="795750"/>
                  <a:pt x="560144" y="773806"/>
                </a:cubicBezTo>
                <a:cubicBezTo>
                  <a:pt x="560144" y="751863"/>
                  <a:pt x="578623" y="733384"/>
                  <a:pt x="600566" y="733384"/>
                </a:cubicBezTo>
                <a:close/>
                <a:moveTo>
                  <a:pt x="11107606" y="721834"/>
                </a:moveTo>
                <a:cubicBezTo>
                  <a:pt x="11136480" y="721834"/>
                  <a:pt x="11159579" y="744933"/>
                  <a:pt x="11158424" y="772651"/>
                </a:cubicBezTo>
                <a:cubicBezTo>
                  <a:pt x="11158424" y="800370"/>
                  <a:pt x="11136480" y="823468"/>
                  <a:pt x="11107606" y="823468"/>
                </a:cubicBezTo>
                <a:cubicBezTo>
                  <a:pt x="11079888" y="823468"/>
                  <a:pt x="11056789" y="801524"/>
                  <a:pt x="11056789" y="772651"/>
                </a:cubicBezTo>
                <a:cubicBezTo>
                  <a:pt x="11056789" y="744933"/>
                  <a:pt x="11078734" y="721834"/>
                  <a:pt x="11107606" y="721834"/>
                </a:cubicBezTo>
                <a:close/>
                <a:moveTo>
                  <a:pt x="9957292" y="721834"/>
                </a:moveTo>
                <a:cubicBezTo>
                  <a:pt x="9985010" y="721834"/>
                  <a:pt x="10008109" y="744933"/>
                  <a:pt x="10008109" y="772651"/>
                </a:cubicBezTo>
                <a:cubicBezTo>
                  <a:pt x="10008109" y="800370"/>
                  <a:pt x="9985010" y="823468"/>
                  <a:pt x="9957292" y="823468"/>
                </a:cubicBezTo>
                <a:cubicBezTo>
                  <a:pt x="9929574" y="823468"/>
                  <a:pt x="9906475" y="801524"/>
                  <a:pt x="9906475" y="772651"/>
                </a:cubicBezTo>
                <a:cubicBezTo>
                  <a:pt x="9906475" y="744933"/>
                  <a:pt x="9928419" y="721834"/>
                  <a:pt x="9957292" y="721834"/>
                </a:cubicBezTo>
                <a:close/>
                <a:moveTo>
                  <a:pt x="8836402" y="721834"/>
                </a:moveTo>
                <a:cubicBezTo>
                  <a:pt x="8865275" y="721834"/>
                  <a:pt x="8888374" y="744933"/>
                  <a:pt x="8887219" y="772651"/>
                </a:cubicBezTo>
                <a:cubicBezTo>
                  <a:pt x="8887219" y="800370"/>
                  <a:pt x="8864121" y="823468"/>
                  <a:pt x="8836402" y="823468"/>
                </a:cubicBezTo>
                <a:cubicBezTo>
                  <a:pt x="8808684" y="823468"/>
                  <a:pt x="8785585" y="801524"/>
                  <a:pt x="8785585" y="772651"/>
                </a:cubicBezTo>
                <a:cubicBezTo>
                  <a:pt x="8785585" y="744933"/>
                  <a:pt x="8807528" y="721834"/>
                  <a:pt x="8836402" y="721834"/>
                </a:cubicBezTo>
                <a:close/>
                <a:moveTo>
                  <a:pt x="6502281" y="721834"/>
                </a:moveTo>
                <a:cubicBezTo>
                  <a:pt x="6531154" y="721834"/>
                  <a:pt x="6554254" y="744933"/>
                  <a:pt x="6553098" y="772651"/>
                </a:cubicBezTo>
                <a:cubicBezTo>
                  <a:pt x="6553098" y="800370"/>
                  <a:pt x="6531154" y="823468"/>
                  <a:pt x="6502281" y="823468"/>
                </a:cubicBezTo>
                <a:cubicBezTo>
                  <a:pt x="6474562" y="823468"/>
                  <a:pt x="6451462" y="801524"/>
                  <a:pt x="6451462" y="772651"/>
                </a:cubicBezTo>
                <a:cubicBezTo>
                  <a:pt x="6451462" y="744933"/>
                  <a:pt x="6473407" y="721834"/>
                  <a:pt x="6502281" y="721834"/>
                </a:cubicBezTo>
                <a:close/>
                <a:moveTo>
                  <a:pt x="5351966" y="721834"/>
                </a:moveTo>
                <a:cubicBezTo>
                  <a:pt x="5379684" y="721834"/>
                  <a:pt x="5402784" y="744933"/>
                  <a:pt x="5402784" y="772651"/>
                </a:cubicBezTo>
                <a:cubicBezTo>
                  <a:pt x="5402784" y="800370"/>
                  <a:pt x="5380840" y="823468"/>
                  <a:pt x="5351966" y="823468"/>
                </a:cubicBezTo>
                <a:cubicBezTo>
                  <a:pt x="5324247" y="823468"/>
                  <a:pt x="5301149" y="801524"/>
                  <a:pt x="5301149" y="772651"/>
                </a:cubicBezTo>
                <a:cubicBezTo>
                  <a:pt x="5301149" y="744933"/>
                  <a:pt x="5323094" y="721834"/>
                  <a:pt x="5351966" y="721834"/>
                </a:cubicBezTo>
                <a:close/>
                <a:moveTo>
                  <a:pt x="4223596" y="721834"/>
                </a:moveTo>
                <a:cubicBezTo>
                  <a:pt x="4252468" y="721834"/>
                  <a:pt x="4275566" y="744933"/>
                  <a:pt x="4274413" y="772651"/>
                </a:cubicBezTo>
                <a:cubicBezTo>
                  <a:pt x="4274413" y="800370"/>
                  <a:pt x="4251315" y="823468"/>
                  <a:pt x="4223596" y="823468"/>
                </a:cubicBezTo>
                <a:cubicBezTo>
                  <a:pt x="4195877" y="823468"/>
                  <a:pt x="4172779" y="801524"/>
                  <a:pt x="4172779" y="772651"/>
                </a:cubicBezTo>
                <a:cubicBezTo>
                  <a:pt x="4172779" y="744933"/>
                  <a:pt x="4194721" y="721834"/>
                  <a:pt x="4223596" y="721834"/>
                </a:cubicBezTo>
                <a:close/>
                <a:moveTo>
                  <a:pt x="1889473" y="721834"/>
                </a:moveTo>
                <a:cubicBezTo>
                  <a:pt x="1918346" y="721834"/>
                  <a:pt x="1941445" y="744933"/>
                  <a:pt x="1940290" y="772651"/>
                </a:cubicBezTo>
                <a:cubicBezTo>
                  <a:pt x="1940290" y="800370"/>
                  <a:pt x="1918346" y="823468"/>
                  <a:pt x="1889473" y="823468"/>
                </a:cubicBezTo>
                <a:cubicBezTo>
                  <a:pt x="1861754" y="823468"/>
                  <a:pt x="1838656" y="801524"/>
                  <a:pt x="1838656" y="772651"/>
                </a:cubicBezTo>
                <a:cubicBezTo>
                  <a:pt x="1838656" y="744933"/>
                  <a:pt x="1860600" y="721834"/>
                  <a:pt x="1889473" y="721834"/>
                </a:cubicBezTo>
                <a:close/>
                <a:moveTo>
                  <a:pt x="739158" y="721834"/>
                </a:moveTo>
                <a:cubicBezTo>
                  <a:pt x="766877" y="721834"/>
                  <a:pt x="789975" y="744933"/>
                  <a:pt x="789975" y="772651"/>
                </a:cubicBezTo>
                <a:cubicBezTo>
                  <a:pt x="789975" y="800370"/>
                  <a:pt x="766877" y="823468"/>
                  <a:pt x="739158" y="823468"/>
                </a:cubicBezTo>
                <a:cubicBezTo>
                  <a:pt x="711440" y="823468"/>
                  <a:pt x="688341" y="801524"/>
                  <a:pt x="688341" y="772651"/>
                </a:cubicBezTo>
                <a:cubicBezTo>
                  <a:pt x="688341" y="744933"/>
                  <a:pt x="710285" y="721834"/>
                  <a:pt x="739158" y="721834"/>
                </a:cubicBezTo>
                <a:close/>
                <a:moveTo>
                  <a:pt x="12227892" y="608651"/>
                </a:moveTo>
                <a:cubicBezTo>
                  <a:pt x="12238288" y="608651"/>
                  <a:pt x="12248682" y="617890"/>
                  <a:pt x="12248682" y="629440"/>
                </a:cubicBezTo>
                <a:cubicBezTo>
                  <a:pt x="12248682" y="640989"/>
                  <a:pt x="12239442" y="650228"/>
                  <a:pt x="12227892" y="650228"/>
                </a:cubicBezTo>
                <a:cubicBezTo>
                  <a:pt x="12216343" y="650228"/>
                  <a:pt x="12207104" y="640989"/>
                  <a:pt x="12207104" y="629440"/>
                </a:cubicBezTo>
                <a:cubicBezTo>
                  <a:pt x="12207104" y="617890"/>
                  <a:pt x="12216343" y="608651"/>
                  <a:pt x="12227892" y="608651"/>
                </a:cubicBezTo>
                <a:close/>
                <a:moveTo>
                  <a:pt x="12091610" y="608651"/>
                </a:moveTo>
                <a:cubicBezTo>
                  <a:pt x="12103160" y="608651"/>
                  <a:pt x="12112399" y="617890"/>
                  <a:pt x="12112399" y="629440"/>
                </a:cubicBezTo>
                <a:cubicBezTo>
                  <a:pt x="12112399" y="640989"/>
                  <a:pt x="12103160" y="650228"/>
                  <a:pt x="12091610" y="650228"/>
                </a:cubicBezTo>
                <a:cubicBezTo>
                  <a:pt x="12080061" y="650228"/>
                  <a:pt x="12070822" y="640989"/>
                  <a:pt x="12070822" y="629440"/>
                </a:cubicBezTo>
                <a:cubicBezTo>
                  <a:pt x="12070822" y="617890"/>
                  <a:pt x="12080061" y="608651"/>
                  <a:pt x="12091610" y="608651"/>
                </a:cubicBezTo>
                <a:close/>
                <a:moveTo>
                  <a:pt x="11956484" y="608651"/>
                </a:moveTo>
                <a:cubicBezTo>
                  <a:pt x="11968033" y="608651"/>
                  <a:pt x="11977272" y="617890"/>
                  <a:pt x="11977272" y="629440"/>
                </a:cubicBezTo>
                <a:cubicBezTo>
                  <a:pt x="11977272" y="640989"/>
                  <a:pt x="11968033" y="650228"/>
                  <a:pt x="11956484" y="650228"/>
                </a:cubicBezTo>
                <a:cubicBezTo>
                  <a:pt x="11944934" y="650228"/>
                  <a:pt x="11935695" y="640989"/>
                  <a:pt x="11935695" y="629440"/>
                </a:cubicBezTo>
                <a:cubicBezTo>
                  <a:pt x="11935695" y="617890"/>
                  <a:pt x="11944934" y="608651"/>
                  <a:pt x="11956484" y="608651"/>
                </a:cubicBezTo>
                <a:close/>
                <a:moveTo>
                  <a:pt x="11821356" y="608651"/>
                </a:moveTo>
                <a:cubicBezTo>
                  <a:pt x="11832905" y="608651"/>
                  <a:pt x="11842144" y="617890"/>
                  <a:pt x="11842144" y="629440"/>
                </a:cubicBezTo>
                <a:cubicBezTo>
                  <a:pt x="11842144" y="640989"/>
                  <a:pt x="11832905" y="650228"/>
                  <a:pt x="11821356" y="650228"/>
                </a:cubicBezTo>
                <a:cubicBezTo>
                  <a:pt x="11809806" y="650228"/>
                  <a:pt x="11800567" y="640989"/>
                  <a:pt x="11800567" y="629440"/>
                </a:cubicBezTo>
                <a:cubicBezTo>
                  <a:pt x="11800567" y="617890"/>
                  <a:pt x="11809806" y="608651"/>
                  <a:pt x="11821356" y="608651"/>
                </a:cubicBezTo>
                <a:close/>
                <a:moveTo>
                  <a:pt x="11685074" y="608651"/>
                </a:moveTo>
                <a:cubicBezTo>
                  <a:pt x="11696623" y="608651"/>
                  <a:pt x="11705862" y="617890"/>
                  <a:pt x="11705862" y="629440"/>
                </a:cubicBezTo>
                <a:cubicBezTo>
                  <a:pt x="11705862" y="640989"/>
                  <a:pt x="11696623" y="650228"/>
                  <a:pt x="11685074" y="650228"/>
                </a:cubicBezTo>
                <a:cubicBezTo>
                  <a:pt x="11673524" y="650228"/>
                  <a:pt x="11664285" y="640989"/>
                  <a:pt x="11664285" y="629440"/>
                </a:cubicBezTo>
                <a:cubicBezTo>
                  <a:pt x="11664285" y="617890"/>
                  <a:pt x="11673524" y="608651"/>
                  <a:pt x="11685074" y="608651"/>
                </a:cubicBezTo>
                <a:close/>
                <a:moveTo>
                  <a:pt x="10736873" y="608651"/>
                </a:moveTo>
                <a:cubicBezTo>
                  <a:pt x="10748422" y="608651"/>
                  <a:pt x="10757662" y="617890"/>
                  <a:pt x="10757662" y="629440"/>
                </a:cubicBezTo>
                <a:cubicBezTo>
                  <a:pt x="10757662" y="640989"/>
                  <a:pt x="10748422" y="650228"/>
                  <a:pt x="10736873" y="650228"/>
                </a:cubicBezTo>
                <a:cubicBezTo>
                  <a:pt x="10725324" y="650228"/>
                  <a:pt x="10716084" y="640989"/>
                  <a:pt x="10716084" y="629440"/>
                </a:cubicBezTo>
                <a:cubicBezTo>
                  <a:pt x="10716084" y="617890"/>
                  <a:pt x="10725324" y="608651"/>
                  <a:pt x="10736873" y="608651"/>
                </a:cubicBezTo>
                <a:close/>
                <a:moveTo>
                  <a:pt x="10601745" y="608651"/>
                </a:moveTo>
                <a:cubicBezTo>
                  <a:pt x="10613294" y="608651"/>
                  <a:pt x="10622534" y="617890"/>
                  <a:pt x="10622534" y="629440"/>
                </a:cubicBezTo>
                <a:cubicBezTo>
                  <a:pt x="10622534" y="640989"/>
                  <a:pt x="10613294" y="650228"/>
                  <a:pt x="10601745" y="650228"/>
                </a:cubicBezTo>
                <a:cubicBezTo>
                  <a:pt x="10590196" y="650228"/>
                  <a:pt x="10580956" y="640989"/>
                  <a:pt x="10580956" y="629440"/>
                </a:cubicBezTo>
                <a:cubicBezTo>
                  <a:pt x="10580956" y="617890"/>
                  <a:pt x="10590196" y="608651"/>
                  <a:pt x="10601745" y="608651"/>
                </a:cubicBezTo>
                <a:close/>
                <a:moveTo>
                  <a:pt x="8027949" y="608651"/>
                </a:moveTo>
                <a:cubicBezTo>
                  <a:pt x="8039499" y="608651"/>
                  <a:pt x="8048737" y="617890"/>
                  <a:pt x="8048737" y="629440"/>
                </a:cubicBezTo>
                <a:cubicBezTo>
                  <a:pt x="8048737" y="640989"/>
                  <a:pt x="8039499" y="650228"/>
                  <a:pt x="8027949" y="650228"/>
                </a:cubicBezTo>
                <a:cubicBezTo>
                  <a:pt x="8016400" y="650228"/>
                  <a:pt x="8007160" y="640989"/>
                  <a:pt x="8007160" y="629440"/>
                </a:cubicBezTo>
                <a:cubicBezTo>
                  <a:pt x="8007160" y="617890"/>
                  <a:pt x="8016400" y="608651"/>
                  <a:pt x="8027949" y="608651"/>
                </a:cubicBezTo>
                <a:close/>
                <a:moveTo>
                  <a:pt x="7892822" y="608651"/>
                </a:moveTo>
                <a:cubicBezTo>
                  <a:pt x="7904371" y="608651"/>
                  <a:pt x="7913611" y="617890"/>
                  <a:pt x="7913611" y="629440"/>
                </a:cubicBezTo>
                <a:cubicBezTo>
                  <a:pt x="7913611" y="640989"/>
                  <a:pt x="7904371" y="650228"/>
                  <a:pt x="7892822" y="650228"/>
                </a:cubicBezTo>
                <a:cubicBezTo>
                  <a:pt x="7881271" y="650228"/>
                  <a:pt x="7872031" y="640989"/>
                  <a:pt x="7872031" y="629440"/>
                </a:cubicBezTo>
                <a:cubicBezTo>
                  <a:pt x="7872031" y="617890"/>
                  <a:pt x="7881271" y="608651"/>
                  <a:pt x="7892822" y="608651"/>
                </a:cubicBezTo>
                <a:close/>
                <a:moveTo>
                  <a:pt x="7757693" y="608651"/>
                </a:moveTo>
                <a:cubicBezTo>
                  <a:pt x="7769244" y="608651"/>
                  <a:pt x="7778483" y="617890"/>
                  <a:pt x="7778483" y="629440"/>
                </a:cubicBezTo>
                <a:cubicBezTo>
                  <a:pt x="7778483" y="640989"/>
                  <a:pt x="7769244" y="650228"/>
                  <a:pt x="7757693" y="650228"/>
                </a:cubicBezTo>
                <a:cubicBezTo>
                  <a:pt x="7746146" y="650228"/>
                  <a:pt x="7736906" y="640989"/>
                  <a:pt x="7736906" y="629440"/>
                </a:cubicBezTo>
                <a:cubicBezTo>
                  <a:pt x="7736906" y="617890"/>
                  <a:pt x="7746146" y="608651"/>
                  <a:pt x="7757693" y="608651"/>
                </a:cubicBezTo>
                <a:close/>
                <a:moveTo>
                  <a:pt x="7622566" y="608651"/>
                </a:moveTo>
                <a:cubicBezTo>
                  <a:pt x="7632962" y="608651"/>
                  <a:pt x="7643355" y="617890"/>
                  <a:pt x="7643355" y="629440"/>
                </a:cubicBezTo>
                <a:cubicBezTo>
                  <a:pt x="7643355" y="640989"/>
                  <a:pt x="7634115" y="650228"/>
                  <a:pt x="7622566" y="650228"/>
                </a:cubicBezTo>
                <a:cubicBezTo>
                  <a:pt x="7611018" y="650228"/>
                  <a:pt x="7601778" y="640989"/>
                  <a:pt x="7601778" y="629440"/>
                </a:cubicBezTo>
                <a:cubicBezTo>
                  <a:pt x="7601778" y="617890"/>
                  <a:pt x="7611018" y="608651"/>
                  <a:pt x="7622566" y="608651"/>
                </a:cubicBezTo>
                <a:close/>
                <a:moveTo>
                  <a:pt x="7486284" y="608651"/>
                </a:moveTo>
                <a:cubicBezTo>
                  <a:pt x="7497834" y="608651"/>
                  <a:pt x="7507074" y="617890"/>
                  <a:pt x="7507074" y="629440"/>
                </a:cubicBezTo>
                <a:cubicBezTo>
                  <a:pt x="7507074" y="640989"/>
                  <a:pt x="7497834" y="650228"/>
                  <a:pt x="7486284" y="650228"/>
                </a:cubicBezTo>
                <a:cubicBezTo>
                  <a:pt x="7474735" y="650228"/>
                  <a:pt x="7465495" y="640989"/>
                  <a:pt x="7465495" y="629440"/>
                </a:cubicBezTo>
                <a:cubicBezTo>
                  <a:pt x="7465495" y="617890"/>
                  <a:pt x="7474735" y="608651"/>
                  <a:pt x="7486284" y="608651"/>
                </a:cubicBezTo>
                <a:close/>
                <a:moveTo>
                  <a:pt x="7351157" y="608651"/>
                </a:moveTo>
                <a:cubicBezTo>
                  <a:pt x="7362706" y="608651"/>
                  <a:pt x="7371946" y="617890"/>
                  <a:pt x="7371946" y="629440"/>
                </a:cubicBezTo>
                <a:cubicBezTo>
                  <a:pt x="7371946" y="640989"/>
                  <a:pt x="7362706" y="650228"/>
                  <a:pt x="7351157" y="650228"/>
                </a:cubicBezTo>
                <a:cubicBezTo>
                  <a:pt x="7339609" y="650228"/>
                  <a:pt x="7330369" y="640989"/>
                  <a:pt x="7330369" y="629440"/>
                </a:cubicBezTo>
                <a:cubicBezTo>
                  <a:pt x="7330369" y="617890"/>
                  <a:pt x="7339609" y="608651"/>
                  <a:pt x="7351157" y="608651"/>
                </a:cubicBezTo>
                <a:close/>
                <a:moveTo>
                  <a:pt x="7216030" y="608651"/>
                </a:moveTo>
                <a:cubicBezTo>
                  <a:pt x="7227579" y="608651"/>
                  <a:pt x="7236819" y="617890"/>
                  <a:pt x="7236819" y="629440"/>
                </a:cubicBezTo>
                <a:cubicBezTo>
                  <a:pt x="7236819" y="640989"/>
                  <a:pt x="7227579" y="650228"/>
                  <a:pt x="7216030" y="650228"/>
                </a:cubicBezTo>
                <a:cubicBezTo>
                  <a:pt x="7204481" y="650228"/>
                  <a:pt x="7195241" y="640989"/>
                  <a:pt x="7195241" y="629440"/>
                </a:cubicBezTo>
                <a:cubicBezTo>
                  <a:pt x="7195241" y="617890"/>
                  <a:pt x="7204481" y="608651"/>
                  <a:pt x="7216030" y="608651"/>
                </a:cubicBezTo>
                <a:close/>
                <a:moveTo>
                  <a:pt x="7079748" y="608651"/>
                </a:moveTo>
                <a:cubicBezTo>
                  <a:pt x="7091297" y="608651"/>
                  <a:pt x="7100537" y="617890"/>
                  <a:pt x="7100537" y="629440"/>
                </a:cubicBezTo>
                <a:cubicBezTo>
                  <a:pt x="7100537" y="640989"/>
                  <a:pt x="7091297" y="650228"/>
                  <a:pt x="7079748" y="650228"/>
                </a:cubicBezTo>
                <a:cubicBezTo>
                  <a:pt x="7068199" y="650228"/>
                  <a:pt x="7058959" y="640989"/>
                  <a:pt x="7058959" y="629440"/>
                </a:cubicBezTo>
                <a:cubicBezTo>
                  <a:pt x="7058959" y="617890"/>
                  <a:pt x="7068199" y="608651"/>
                  <a:pt x="7079748" y="608651"/>
                </a:cubicBezTo>
                <a:close/>
                <a:moveTo>
                  <a:pt x="6131548" y="608651"/>
                </a:moveTo>
                <a:cubicBezTo>
                  <a:pt x="6143096" y="608651"/>
                  <a:pt x="6152336" y="617890"/>
                  <a:pt x="6152336" y="629440"/>
                </a:cubicBezTo>
                <a:cubicBezTo>
                  <a:pt x="6152336" y="640989"/>
                  <a:pt x="6143096" y="650228"/>
                  <a:pt x="6131548" y="650228"/>
                </a:cubicBezTo>
                <a:cubicBezTo>
                  <a:pt x="6119997" y="650228"/>
                  <a:pt x="6110759" y="640989"/>
                  <a:pt x="6110759" y="629440"/>
                </a:cubicBezTo>
                <a:cubicBezTo>
                  <a:pt x="6110759" y="617890"/>
                  <a:pt x="6119997" y="608651"/>
                  <a:pt x="6131548" y="608651"/>
                </a:cubicBezTo>
                <a:close/>
                <a:moveTo>
                  <a:pt x="5996418" y="608651"/>
                </a:moveTo>
                <a:cubicBezTo>
                  <a:pt x="6007969" y="608651"/>
                  <a:pt x="6017209" y="617890"/>
                  <a:pt x="6017209" y="629440"/>
                </a:cubicBezTo>
                <a:cubicBezTo>
                  <a:pt x="6017209" y="640989"/>
                  <a:pt x="6007969" y="650228"/>
                  <a:pt x="5996418" y="650228"/>
                </a:cubicBezTo>
                <a:cubicBezTo>
                  <a:pt x="5984870" y="650228"/>
                  <a:pt x="5975630" y="640989"/>
                  <a:pt x="5975630" y="629440"/>
                </a:cubicBezTo>
                <a:cubicBezTo>
                  <a:pt x="5975630" y="617890"/>
                  <a:pt x="5984870" y="608651"/>
                  <a:pt x="5996418" y="608651"/>
                </a:cubicBezTo>
                <a:close/>
                <a:moveTo>
                  <a:pt x="3415142" y="608651"/>
                </a:moveTo>
                <a:cubicBezTo>
                  <a:pt x="3426691" y="608651"/>
                  <a:pt x="3435930" y="617890"/>
                  <a:pt x="3435930" y="629440"/>
                </a:cubicBezTo>
                <a:cubicBezTo>
                  <a:pt x="3435930" y="640989"/>
                  <a:pt x="3426691" y="650228"/>
                  <a:pt x="3415142" y="650228"/>
                </a:cubicBezTo>
                <a:cubicBezTo>
                  <a:pt x="3403592" y="650228"/>
                  <a:pt x="3394352" y="640989"/>
                  <a:pt x="3394352" y="629440"/>
                </a:cubicBezTo>
                <a:cubicBezTo>
                  <a:pt x="3394352" y="617890"/>
                  <a:pt x="3403592" y="608651"/>
                  <a:pt x="3415142" y="608651"/>
                </a:cubicBezTo>
                <a:close/>
                <a:moveTo>
                  <a:pt x="3280013" y="608651"/>
                </a:moveTo>
                <a:cubicBezTo>
                  <a:pt x="3291564" y="608651"/>
                  <a:pt x="3300802" y="617890"/>
                  <a:pt x="3300802" y="629440"/>
                </a:cubicBezTo>
                <a:cubicBezTo>
                  <a:pt x="3300802" y="640989"/>
                  <a:pt x="3291564" y="650228"/>
                  <a:pt x="3280013" y="650228"/>
                </a:cubicBezTo>
                <a:cubicBezTo>
                  <a:pt x="3268464" y="650228"/>
                  <a:pt x="3259224" y="640989"/>
                  <a:pt x="3259224" y="629440"/>
                </a:cubicBezTo>
                <a:cubicBezTo>
                  <a:pt x="3259224" y="617890"/>
                  <a:pt x="3268464" y="608651"/>
                  <a:pt x="3280013" y="608651"/>
                </a:cubicBezTo>
                <a:close/>
                <a:moveTo>
                  <a:pt x="3144887" y="608651"/>
                </a:moveTo>
                <a:cubicBezTo>
                  <a:pt x="3156436" y="608651"/>
                  <a:pt x="3165675" y="617890"/>
                  <a:pt x="3165675" y="629440"/>
                </a:cubicBezTo>
                <a:cubicBezTo>
                  <a:pt x="3165675" y="640989"/>
                  <a:pt x="3156436" y="650228"/>
                  <a:pt x="3144887" y="650228"/>
                </a:cubicBezTo>
                <a:cubicBezTo>
                  <a:pt x="3133338" y="650228"/>
                  <a:pt x="3124098" y="640989"/>
                  <a:pt x="3124098" y="629440"/>
                </a:cubicBezTo>
                <a:cubicBezTo>
                  <a:pt x="3124098" y="617890"/>
                  <a:pt x="3133338" y="608651"/>
                  <a:pt x="3144887" y="608651"/>
                </a:cubicBezTo>
                <a:close/>
                <a:moveTo>
                  <a:pt x="3009759" y="608651"/>
                </a:moveTo>
                <a:cubicBezTo>
                  <a:pt x="3020154" y="608651"/>
                  <a:pt x="3030548" y="617890"/>
                  <a:pt x="3030548" y="629440"/>
                </a:cubicBezTo>
                <a:cubicBezTo>
                  <a:pt x="3030548" y="640989"/>
                  <a:pt x="3021308" y="650228"/>
                  <a:pt x="3009759" y="650228"/>
                </a:cubicBezTo>
                <a:cubicBezTo>
                  <a:pt x="2998209" y="650228"/>
                  <a:pt x="2988971" y="640989"/>
                  <a:pt x="2988971" y="629440"/>
                </a:cubicBezTo>
                <a:cubicBezTo>
                  <a:pt x="2988971" y="617890"/>
                  <a:pt x="2998209" y="608651"/>
                  <a:pt x="3009759" y="608651"/>
                </a:cubicBezTo>
                <a:close/>
                <a:moveTo>
                  <a:pt x="2873476" y="608651"/>
                </a:moveTo>
                <a:cubicBezTo>
                  <a:pt x="2885026" y="608651"/>
                  <a:pt x="2894265" y="617890"/>
                  <a:pt x="2894265" y="629440"/>
                </a:cubicBezTo>
                <a:cubicBezTo>
                  <a:pt x="2894265" y="640989"/>
                  <a:pt x="2885026" y="650228"/>
                  <a:pt x="2873476" y="650228"/>
                </a:cubicBezTo>
                <a:cubicBezTo>
                  <a:pt x="2861927" y="650228"/>
                  <a:pt x="2852688" y="640989"/>
                  <a:pt x="2852688" y="629440"/>
                </a:cubicBezTo>
                <a:cubicBezTo>
                  <a:pt x="2852688" y="617890"/>
                  <a:pt x="2861927" y="608651"/>
                  <a:pt x="2873476" y="608651"/>
                </a:cubicBezTo>
                <a:close/>
                <a:moveTo>
                  <a:pt x="2738350" y="608651"/>
                </a:moveTo>
                <a:cubicBezTo>
                  <a:pt x="2749899" y="608651"/>
                  <a:pt x="2759139" y="617890"/>
                  <a:pt x="2759139" y="629440"/>
                </a:cubicBezTo>
                <a:cubicBezTo>
                  <a:pt x="2759139" y="640989"/>
                  <a:pt x="2749899" y="650228"/>
                  <a:pt x="2738350" y="650228"/>
                </a:cubicBezTo>
                <a:cubicBezTo>
                  <a:pt x="2726800" y="650228"/>
                  <a:pt x="2717562" y="640989"/>
                  <a:pt x="2717562" y="629440"/>
                </a:cubicBezTo>
                <a:cubicBezTo>
                  <a:pt x="2717562" y="617890"/>
                  <a:pt x="2726800" y="608651"/>
                  <a:pt x="2738350" y="608651"/>
                </a:cubicBezTo>
                <a:close/>
                <a:moveTo>
                  <a:pt x="2603222" y="608651"/>
                </a:moveTo>
                <a:cubicBezTo>
                  <a:pt x="2614771" y="608651"/>
                  <a:pt x="2624011" y="617890"/>
                  <a:pt x="2624011" y="629440"/>
                </a:cubicBezTo>
                <a:cubicBezTo>
                  <a:pt x="2624011" y="640989"/>
                  <a:pt x="2614771" y="650228"/>
                  <a:pt x="2603222" y="650228"/>
                </a:cubicBezTo>
                <a:cubicBezTo>
                  <a:pt x="2591673" y="650228"/>
                  <a:pt x="2582433" y="640989"/>
                  <a:pt x="2582433" y="629440"/>
                </a:cubicBezTo>
                <a:cubicBezTo>
                  <a:pt x="2582433" y="617890"/>
                  <a:pt x="2591673" y="608651"/>
                  <a:pt x="2603222" y="608651"/>
                </a:cubicBezTo>
                <a:close/>
                <a:moveTo>
                  <a:pt x="2466940" y="608651"/>
                </a:moveTo>
                <a:cubicBezTo>
                  <a:pt x="2478489" y="608651"/>
                  <a:pt x="2487729" y="617890"/>
                  <a:pt x="2487729" y="629440"/>
                </a:cubicBezTo>
                <a:cubicBezTo>
                  <a:pt x="2487729" y="640989"/>
                  <a:pt x="2478489" y="650228"/>
                  <a:pt x="2466940" y="650228"/>
                </a:cubicBezTo>
                <a:cubicBezTo>
                  <a:pt x="2455390" y="650228"/>
                  <a:pt x="2446151" y="640989"/>
                  <a:pt x="2446151" y="629440"/>
                </a:cubicBezTo>
                <a:cubicBezTo>
                  <a:pt x="2446151" y="617890"/>
                  <a:pt x="2455390" y="608651"/>
                  <a:pt x="2466940" y="608651"/>
                </a:cubicBezTo>
                <a:close/>
                <a:moveTo>
                  <a:pt x="1518739" y="608651"/>
                </a:moveTo>
                <a:cubicBezTo>
                  <a:pt x="1530289" y="608651"/>
                  <a:pt x="1539528" y="617890"/>
                  <a:pt x="1539528" y="629440"/>
                </a:cubicBezTo>
                <a:cubicBezTo>
                  <a:pt x="1539528" y="640989"/>
                  <a:pt x="1530289" y="650228"/>
                  <a:pt x="1518739" y="650228"/>
                </a:cubicBezTo>
                <a:cubicBezTo>
                  <a:pt x="1507190" y="650228"/>
                  <a:pt x="1497951" y="640989"/>
                  <a:pt x="1497951" y="629440"/>
                </a:cubicBezTo>
                <a:cubicBezTo>
                  <a:pt x="1497951" y="617890"/>
                  <a:pt x="1507190" y="608651"/>
                  <a:pt x="1518739" y="608651"/>
                </a:cubicBezTo>
                <a:close/>
                <a:moveTo>
                  <a:pt x="1383611" y="608651"/>
                </a:moveTo>
                <a:cubicBezTo>
                  <a:pt x="1395161" y="608651"/>
                  <a:pt x="1404400" y="617890"/>
                  <a:pt x="1404400" y="629440"/>
                </a:cubicBezTo>
                <a:cubicBezTo>
                  <a:pt x="1404400" y="640989"/>
                  <a:pt x="1395161" y="650228"/>
                  <a:pt x="1383611" y="650228"/>
                </a:cubicBezTo>
                <a:cubicBezTo>
                  <a:pt x="1372062" y="650228"/>
                  <a:pt x="1362823" y="640989"/>
                  <a:pt x="1362823" y="629440"/>
                </a:cubicBezTo>
                <a:cubicBezTo>
                  <a:pt x="1362823" y="617890"/>
                  <a:pt x="1372062" y="608651"/>
                  <a:pt x="1383611" y="608651"/>
                </a:cubicBezTo>
                <a:close/>
                <a:moveTo>
                  <a:pt x="11549947" y="606341"/>
                </a:moveTo>
                <a:cubicBezTo>
                  <a:pt x="11562650" y="606341"/>
                  <a:pt x="11573046" y="616735"/>
                  <a:pt x="11573046" y="629440"/>
                </a:cubicBezTo>
                <a:cubicBezTo>
                  <a:pt x="11573046" y="642143"/>
                  <a:pt x="11562650" y="652538"/>
                  <a:pt x="11549947" y="652538"/>
                </a:cubicBezTo>
                <a:cubicBezTo>
                  <a:pt x="11537242" y="652538"/>
                  <a:pt x="11526848" y="642143"/>
                  <a:pt x="11526848" y="629440"/>
                </a:cubicBezTo>
                <a:cubicBezTo>
                  <a:pt x="11526848" y="616735"/>
                  <a:pt x="11537242" y="606341"/>
                  <a:pt x="11549947" y="606341"/>
                </a:cubicBezTo>
                <a:close/>
                <a:moveTo>
                  <a:pt x="10466618" y="606341"/>
                </a:moveTo>
                <a:cubicBezTo>
                  <a:pt x="10479322" y="606341"/>
                  <a:pt x="10489717" y="616735"/>
                  <a:pt x="10489717" y="629440"/>
                </a:cubicBezTo>
                <a:cubicBezTo>
                  <a:pt x="10489717" y="642143"/>
                  <a:pt x="10479322" y="652538"/>
                  <a:pt x="10466618" y="652538"/>
                </a:cubicBezTo>
                <a:cubicBezTo>
                  <a:pt x="10453914" y="652538"/>
                  <a:pt x="10443520" y="642143"/>
                  <a:pt x="10443520" y="629440"/>
                </a:cubicBezTo>
                <a:cubicBezTo>
                  <a:pt x="10443520" y="616735"/>
                  <a:pt x="10453914" y="606341"/>
                  <a:pt x="10466618" y="606341"/>
                </a:cubicBezTo>
                <a:close/>
                <a:moveTo>
                  <a:pt x="9244698" y="606341"/>
                </a:moveTo>
                <a:cubicBezTo>
                  <a:pt x="9258557" y="605185"/>
                  <a:pt x="9268951" y="614425"/>
                  <a:pt x="9270107" y="627130"/>
                </a:cubicBezTo>
                <a:cubicBezTo>
                  <a:pt x="9271261" y="639833"/>
                  <a:pt x="9262022" y="651383"/>
                  <a:pt x="9249318" y="652538"/>
                </a:cubicBezTo>
                <a:cubicBezTo>
                  <a:pt x="9236613" y="653693"/>
                  <a:pt x="9225064" y="644453"/>
                  <a:pt x="9223909" y="631749"/>
                </a:cubicBezTo>
                <a:cubicBezTo>
                  <a:pt x="9222754" y="619045"/>
                  <a:pt x="9231993" y="607495"/>
                  <a:pt x="9244698" y="606341"/>
                </a:cubicBezTo>
                <a:close/>
                <a:moveTo>
                  <a:pt x="8164231" y="606341"/>
                </a:moveTo>
                <a:cubicBezTo>
                  <a:pt x="8176935" y="606341"/>
                  <a:pt x="8187331" y="616735"/>
                  <a:pt x="8187331" y="629440"/>
                </a:cubicBezTo>
                <a:cubicBezTo>
                  <a:pt x="8187331" y="642143"/>
                  <a:pt x="8176935" y="652538"/>
                  <a:pt x="8164231" y="652538"/>
                </a:cubicBezTo>
                <a:cubicBezTo>
                  <a:pt x="8151527" y="652538"/>
                  <a:pt x="8141133" y="642143"/>
                  <a:pt x="8141133" y="629440"/>
                </a:cubicBezTo>
                <a:cubicBezTo>
                  <a:pt x="8141133" y="616735"/>
                  <a:pt x="8151527" y="606341"/>
                  <a:pt x="8164231" y="606341"/>
                </a:cubicBezTo>
                <a:close/>
                <a:moveTo>
                  <a:pt x="6944621" y="606341"/>
                </a:moveTo>
                <a:cubicBezTo>
                  <a:pt x="6957325" y="606341"/>
                  <a:pt x="6967719" y="616735"/>
                  <a:pt x="6967719" y="629440"/>
                </a:cubicBezTo>
                <a:cubicBezTo>
                  <a:pt x="6967719" y="642143"/>
                  <a:pt x="6957325" y="652538"/>
                  <a:pt x="6944621" y="652538"/>
                </a:cubicBezTo>
                <a:cubicBezTo>
                  <a:pt x="6931915" y="652538"/>
                  <a:pt x="6921522" y="642143"/>
                  <a:pt x="6921522" y="629440"/>
                </a:cubicBezTo>
                <a:cubicBezTo>
                  <a:pt x="6921522" y="616735"/>
                  <a:pt x="6931915" y="606341"/>
                  <a:pt x="6944621" y="606341"/>
                </a:cubicBezTo>
                <a:close/>
                <a:moveTo>
                  <a:pt x="5861292" y="606341"/>
                </a:moveTo>
                <a:cubicBezTo>
                  <a:pt x="5873996" y="606341"/>
                  <a:pt x="5884392" y="616735"/>
                  <a:pt x="5884392" y="629440"/>
                </a:cubicBezTo>
                <a:cubicBezTo>
                  <a:pt x="5884392" y="642143"/>
                  <a:pt x="5873996" y="652538"/>
                  <a:pt x="5861292" y="652538"/>
                </a:cubicBezTo>
                <a:cubicBezTo>
                  <a:pt x="5848588" y="652538"/>
                  <a:pt x="5838194" y="642143"/>
                  <a:pt x="5838194" y="629440"/>
                </a:cubicBezTo>
                <a:cubicBezTo>
                  <a:pt x="5838194" y="616735"/>
                  <a:pt x="5848588" y="606341"/>
                  <a:pt x="5861292" y="606341"/>
                </a:cubicBezTo>
                <a:close/>
                <a:moveTo>
                  <a:pt x="4639373" y="606341"/>
                </a:moveTo>
                <a:cubicBezTo>
                  <a:pt x="4653231" y="605185"/>
                  <a:pt x="4663624" y="614425"/>
                  <a:pt x="4664780" y="627130"/>
                </a:cubicBezTo>
                <a:cubicBezTo>
                  <a:pt x="4665935" y="639833"/>
                  <a:pt x="4656695" y="651383"/>
                  <a:pt x="4643991" y="652538"/>
                </a:cubicBezTo>
                <a:cubicBezTo>
                  <a:pt x="4631287" y="653693"/>
                  <a:pt x="4619738" y="644453"/>
                  <a:pt x="4618583" y="631749"/>
                </a:cubicBezTo>
                <a:cubicBezTo>
                  <a:pt x="4617427" y="619045"/>
                  <a:pt x="4626667" y="607495"/>
                  <a:pt x="4639373" y="606341"/>
                </a:cubicBezTo>
                <a:close/>
                <a:moveTo>
                  <a:pt x="3551423" y="606341"/>
                </a:moveTo>
                <a:cubicBezTo>
                  <a:pt x="3564127" y="606341"/>
                  <a:pt x="3574522" y="616735"/>
                  <a:pt x="3574522" y="629440"/>
                </a:cubicBezTo>
                <a:cubicBezTo>
                  <a:pt x="3574522" y="642143"/>
                  <a:pt x="3564127" y="652538"/>
                  <a:pt x="3551423" y="652538"/>
                </a:cubicBezTo>
                <a:cubicBezTo>
                  <a:pt x="3538719" y="652538"/>
                  <a:pt x="3528325" y="642143"/>
                  <a:pt x="3528325" y="629440"/>
                </a:cubicBezTo>
                <a:cubicBezTo>
                  <a:pt x="3528325" y="616735"/>
                  <a:pt x="3538719" y="606341"/>
                  <a:pt x="3551423" y="606341"/>
                </a:cubicBezTo>
                <a:close/>
                <a:moveTo>
                  <a:pt x="2331813" y="606341"/>
                </a:moveTo>
                <a:cubicBezTo>
                  <a:pt x="2344517" y="606341"/>
                  <a:pt x="2354912" y="616735"/>
                  <a:pt x="2354912" y="629440"/>
                </a:cubicBezTo>
                <a:cubicBezTo>
                  <a:pt x="2354912" y="642143"/>
                  <a:pt x="2344517" y="652538"/>
                  <a:pt x="2331813" y="652538"/>
                </a:cubicBezTo>
                <a:cubicBezTo>
                  <a:pt x="2319108" y="652538"/>
                  <a:pt x="2308714" y="642143"/>
                  <a:pt x="2308714" y="629440"/>
                </a:cubicBezTo>
                <a:cubicBezTo>
                  <a:pt x="2308714" y="616735"/>
                  <a:pt x="2319108" y="606341"/>
                  <a:pt x="2331813" y="606341"/>
                </a:cubicBezTo>
                <a:close/>
                <a:moveTo>
                  <a:pt x="1248485" y="606341"/>
                </a:moveTo>
                <a:cubicBezTo>
                  <a:pt x="1261188" y="606341"/>
                  <a:pt x="1271583" y="616735"/>
                  <a:pt x="1271583" y="629440"/>
                </a:cubicBezTo>
                <a:cubicBezTo>
                  <a:pt x="1271583" y="642143"/>
                  <a:pt x="1261188" y="652538"/>
                  <a:pt x="1248485" y="652538"/>
                </a:cubicBezTo>
                <a:cubicBezTo>
                  <a:pt x="1235780" y="652538"/>
                  <a:pt x="1225386" y="642143"/>
                  <a:pt x="1225386" y="629440"/>
                </a:cubicBezTo>
                <a:cubicBezTo>
                  <a:pt x="1225386" y="616735"/>
                  <a:pt x="1235780" y="606341"/>
                  <a:pt x="1248485" y="606341"/>
                </a:cubicBezTo>
                <a:close/>
                <a:moveTo>
                  <a:pt x="26564" y="606341"/>
                </a:moveTo>
                <a:cubicBezTo>
                  <a:pt x="40424" y="605185"/>
                  <a:pt x="50817" y="614425"/>
                  <a:pt x="51973" y="627130"/>
                </a:cubicBezTo>
                <a:cubicBezTo>
                  <a:pt x="53127" y="639833"/>
                  <a:pt x="43888" y="651383"/>
                  <a:pt x="31184" y="652538"/>
                </a:cubicBezTo>
                <a:cubicBezTo>
                  <a:pt x="18479" y="653693"/>
                  <a:pt x="6930" y="644453"/>
                  <a:pt x="5776" y="631749"/>
                </a:cubicBezTo>
                <a:cubicBezTo>
                  <a:pt x="4620" y="619045"/>
                  <a:pt x="13860" y="607495"/>
                  <a:pt x="26564" y="606341"/>
                </a:cubicBezTo>
                <a:close/>
                <a:moveTo>
                  <a:pt x="11414819" y="600566"/>
                </a:moveTo>
                <a:cubicBezTo>
                  <a:pt x="11430988" y="600566"/>
                  <a:pt x="11443693" y="613271"/>
                  <a:pt x="11443693" y="629440"/>
                </a:cubicBezTo>
                <a:cubicBezTo>
                  <a:pt x="11443693" y="645609"/>
                  <a:pt x="11430988" y="658312"/>
                  <a:pt x="11414819" y="658312"/>
                </a:cubicBezTo>
                <a:cubicBezTo>
                  <a:pt x="11398650" y="658312"/>
                  <a:pt x="11385946" y="645609"/>
                  <a:pt x="11385946" y="629440"/>
                </a:cubicBezTo>
                <a:cubicBezTo>
                  <a:pt x="11385946" y="613271"/>
                  <a:pt x="11398650" y="600566"/>
                  <a:pt x="11414819" y="600566"/>
                </a:cubicBezTo>
                <a:close/>
                <a:moveTo>
                  <a:pt x="10330336" y="600566"/>
                </a:moveTo>
                <a:cubicBezTo>
                  <a:pt x="10346505" y="600566"/>
                  <a:pt x="10359209" y="613271"/>
                  <a:pt x="10359209" y="629440"/>
                </a:cubicBezTo>
                <a:cubicBezTo>
                  <a:pt x="10359209" y="645609"/>
                  <a:pt x="10346505" y="658312"/>
                  <a:pt x="10330336" y="658312"/>
                </a:cubicBezTo>
                <a:cubicBezTo>
                  <a:pt x="10315322" y="658312"/>
                  <a:pt x="10301462" y="645609"/>
                  <a:pt x="10301462" y="629440"/>
                </a:cubicBezTo>
                <a:cubicBezTo>
                  <a:pt x="10301462" y="613271"/>
                  <a:pt x="10314167" y="600566"/>
                  <a:pt x="10330336" y="600566"/>
                </a:cubicBezTo>
                <a:close/>
                <a:moveTo>
                  <a:pt x="9382135" y="600566"/>
                </a:moveTo>
                <a:cubicBezTo>
                  <a:pt x="9398304" y="600566"/>
                  <a:pt x="9411009" y="613271"/>
                  <a:pt x="9411009" y="629440"/>
                </a:cubicBezTo>
                <a:cubicBezTo>
                  <a:pt x="9411009" y="645609"/>
                  <a:pt x="9398304" y="658312"/>
                  <a:pt x="9382135" y="658312"/>
                </a:cubicBezTo>
                <a:cubicBezTo>
                  <a:pt x="9365966" y="658312"/>
                  <a:pt x="9353262" y="645609"/>
                  <a:pt x="9353262" y="629440"/>
                </a:cubicBezTo>
                <a:cubicBezTo>
                  <a:pt x="9353262" y="613271"/>
                  <a:pt x="9365966" y="600566"/>
                  <a:pt x="9382135" y="600566"/>
                </a:cubicBezTo>
                <a:close/>
                <a:moveTo>
                  <a:pt x="9112431" y="600566"/>
                </a:moveTo>
                <a:cubicBezTo>
                  <a:pt x="9128600" y="600566"/>
                  <a:pt x="9141305" y="613271"/>
                  <a:pt x="9141305" y="629440"/>
                </a:cubicBezTo>
                <a:cubicBezTo>
                  <a:pt x="9141305" y="645609"/>
                  <a:pt x="9128600" y="658312"/>
                  <a:pt x="9112431" y="658312"/>
                </a:cubicBezTo>
                <a:cubicBezTo>
                  <a:pt x="9096262" y="658312"/>
                  <a:pt x="9083558" y="645609"/>
                  <a:pt x="9083558" y="629440"/>
                </a:cubicBezTo>
                <a:cubicBezTo>
                  <a:pt x="9083558" y="613271"/>
                  <a:pt x="9096262" y="600566"/>
                  <a:pt x="9112431" y="600566"/>
                </a:cubicBezTo>
                <a:close/>
                <a:moveTo>
                  <a:pt x="8299358" y="600566"/>
                </a:moveTo>
                <a:cubicBezTo>
                  <a:pt x="8315526" y="600566"/>
                  <a:pt x="8328231" y="613271"/>
                  <a:pt x="8328231" y="629440"/>
                </a:cubicBezTo>
                <a:cubicBezTo>
                  <a:pt x="8328231" y="645609"/>
                  <a:pt x="8315526" y="658312"/>
                  <a:pt x="8299358" y="658312"/>
                </a:cubicBezTo>
                <a:cubicBezTo>
                  <a:pt x="8283189" y="658312"/>
                  <a:pt x="8270485" y="645609"/>
                  <a:pt x="8270485" y="629440"/>
                </a:cubicBezTo>
                <a:cubicBezTo>
                  <a:pt x="8270485" y="613271"/>
                  <a:pt x="8283189" y="600566"/>
                  <a:pt x="8299358" y="600566"/>
                </a:cubicBezTo>
                <a:close/>
                <a:moveTo>
                  <a:pt x="6809492" y="600566"/>
                </a:moveTo>
                <a:cubicBezTo>
                  <a:pt x="6825661" y="600566"/>
                  <a:pt x="6838367" y="613271"/>
                  <a:pt x="6838367" y="629440"/>
                </a:cubicBezTo>
                <a:cubicBezTo>
                  <a:pt x="6838367" y="645609"/>
                  <a:pt x="6825661" y="658312"/>
                  <a:pt x="6809492" y="658312"/>
                </a:cubicBezTo>
                <a:cubicBezTo>
                  <a:pt x="6793324" y="658312"/>
                  <a:pt x="6780620" y="645609"/>
                  <a:pt x="6780620" y="629440"/>
                </a:cubicBezTo>
                <a:cubicBezTo>
                  <a:pt x="6780620" y="613271"/>
                  <a:pt x="6793324" y="600566"/>
                  <a:pt x="6809492" y="600566"/>
                </a:cubicBezTo>
                <a:close/>
                <a:moveTo>
                  <a:pt x="5726165" y="600566"/>
                </a:moveTo>
                <a:cubicBezTo>
                  <a:pt x="5741178" y="600566"/>
                  <a:pt x="5755038" y="613271"/>
                  <a:pt x="5755038" y="629440"/>
                </a:cubicBezTo>
                <a:cubicBezTo>
                  <a:pt x="5755038" y="645609"/>
                  <a:pt x="5742334" y="658312"/>
                  <a:pt x="5726165" y="658312"/>
                </a:cubicBezTo>
                <a:cubicBezTo>
                  <a:pt x="5709996" y="658312"/>
                  <a:pt x="5697292" y="645609"/>
                  <a:pt x="5697292" y="629440"/>
                </a:cubicBezTo>
                <a:cubicBezTo>
                  <a:pt x="5697292" y="613271"/>
                  <a:pt x="5709996" y="600566"/>
                  <a:pt x="5726165" y="600566"/>
                </a:cubicBezTo>
                <a:close/>
                <a:moveTo>
                  <a:pt x="4776809" y="600566"/>
                </a:moveTo>
                <a:cubicBezTo>
                  <a:pt x="4792978" y="600566"/>
                  <a:pt x="4805682" y="613271"/>
                  <a:pt x="4805682" y="629440"/>
                </a:cubicBezTo>
                <a:cubicBezTo>
                  <a:pt x="4805682" y="645609"/>
                  <a:pt x="4792978" y="658312"/>
                  <a:pt x="4776809" y="658312"/>
                </a:cubicBezTo>
                <a:cubicBezTo>
                  <a:pt x="4760640" y="658312"/>
                  <a:pt x="4747936" y="645609"/>
                  <a:pt x="4747936" y="629440"/>
                </a:cubicBezTo>
                <a:cubicBezTo>
                  <a:pt x="4747936" y="613271"/>
                  <a:pt x="4760640" y="600566"/>
                  <a:pt x="4776809" y="600566"/>
                </a:cubicBezTo>
                <a:close/>
                <a:moveTo>
                  <a:pt x="4499625" y="600566"/>
                </a:moveTo>
                <a:cubicBezTo>
                  <a:pt x="4515793" y="600566"/>
                  <a:pt x="4528499" y="613271"/>
                  <a:pt x="4528499" y="629440"/>
                </a:cubicBezTo>
                <a:cubicBezTo>
                  <a:pt x="4528499" y="645609"/>
                  <a:pt x="4515793" y="658312"/>
                  <a:pt x="4499625" y="658312"/>
                </a:cubicBezTo>
                <a:cubicBezTo>
                  <a:pt x="4483456" y="658312"/>
                  <a:pt x="4470752" y="645609"/>
                  <a:pt x="4470752" y="629440"/>
                </a:cubicBezTo>
                <a:cubicBezTo>
                  <a:pt x="4470752" y="613271"/>
                  <a:pt x="4483456" y="600566"/>
                  <a:pt x="4499625" y="600566"/>
                </a:cubicBezTo>
                <a:close/>
                <a:moveTo>
                  <a:pt x="3686551" y="600566"/>
                </a:moveTo>
                <a:cubicBezTo>
                  <a:pt x="3702719" y="600566"/>
                  <a:pt x="3715424" y="613271"/>
                  <a:pt x="3715424" y="629440"/>
                </a:cubicBezTo>
                <a:cubicBezTo>
                  <a:pt x="3715424" y="645609"/>
                  <a:pt x="3702719" y="658312"/>
                  <a:pt x="3686551" y="658312"/>
                </a:cubicBezTo>
                <a:cubicBezTo>
                  <a:pt x="3670381" y="658312"/>
                  <a:pt x="3657677" y="645609"/>
                  <a:pt x="3657677" y="629440"/>
                </a:cubicBezTo>
                <a:cubicBezTo>
                  <a:pt x="3657677" y="613271"/>
                  <a:pt x="3670381" y="600566"/>
                  <a:pt x="3686551" y="600566"/>
                </a:cubicBezTo>
                <a:close/>
                <a:moveTo>
                  <a:pt x="2196685" y="600566"/>
                </a:moveTo>
                <a:cubicBezTo>
                  <a:pt x="2212854" y="600566"/>
                  <a:pt x="2225559" y="613271"/>
                  <a:pt x="2225559" y="629440"/>
                </a:cubicBezTo>
                <a:cubicBezTo>
                  <a:pt x="2225559" y="645609"/>
                  <a:pt x="2212854" y="658312"/>
                  <a:pt x="2196685" y="658312"/>
                </a:cubicBezTo>
                <a:cubicBezTo>
                  <a:pt x="2180516" y="658312"/>
                  <a:pt x="2167813" y="645609"/>
                  <a:pt x="2167813" y="629440"/>
                </a:cubicBezTo>
                <a:cubicBezTo>
                  <a:pt x="2167813" y="613271"/>
                  <a:pt x="2180516" y="600566"/>
                  <a:pt x="2196685" y="600566"/>
                </a:cubicBezTo>
                <a:close/>
                <a:moveTo>
                  <a:pt x="1112202" y="600566"/>
                </a:moveTo>
                <a:cubicBezTo>
                  <a:pt x="1128371" y="600566"/>
                  <a:pt x="1141075" y="613271"/>
                  <a:pt x="1141075" y="629440"/>
                </a:cubicBezTo>
                <a:cubicBezTo>
                  <a:pt x="1141075" y="645609"/>
                  <a:pt x="1128371" y="658312"/>
                  <a:pt x="1112202" y="658312"/>
                </a:cubicBezTo>
                <a:cubicBezTo>
                  <a:pt x="1097188" y="658312"/>
                  <a:pt x="1083328" y="645609"/>
                  <a:pt x="1083328" y="629440"/>
                </a:cubicBezTo>
                <a:cubicBezTo>
                  <a:pt x="1083328" y="613271"/>
                  <a:pt x="1096033" y="600566"/>
                  <a:pt x="1112202" y="600566"/>
                </a:cubicBezTo>
                <a:close/>
                <a:moveTo>
                  <a:pt x="164001" y="600566"/>
                </a:moveTo>
                <a:cubicBezTo>
                  <a:pt x="180170" y="600566"/>
                  <a:pt x="192875" y="613271"/>
                  <a:pt x="192875" y="629440"/>
                </a:cubicBezTo>
                <a:cubicBezTo>
                  <a:pt x="192875" y="645609"/>
                  <a:pt x="180170" y="658312"/>
                  <a:pt x="164001" y="658312"/>
                </a:cubicBezTo>
                <a:cubicBezTo>
                  <a:pt x="147832" y="658312"/>
                  <a:pt x="135128" y="645609"/>
                  <a:pt x="135128" y="629440"/>
                </a:cubicBezTo>
                <a:cubicBezTo>
                  <a:pt x="135128" y="613271"/>
                  <a:pt x="147832" y="600566"/>
                  <a:pt x="164001" y="600566"/>
                </a:cubicBezTo>
                <a:close/>
                <a:moveTo>
                  <a:pt x="11279692" y="594792"/>
                </a:moveTo>
                <a:cubicBezTo>
                  <a:pt x="11298171" y="594792"/>
                  <a:pt x="11314340" y="610961"/>
                  <a:pt x="11314340" y="629440"/>
                </a:cubicBezTo>
                <a:cubicBezTo>
                  <a:pt x="11314340" y="647919"/>
                  <a:pt x="11299326" y="664088"/>
                  <a:pt x="11279692" y="664088"/>
                </a:cubicBezTo>
                <a:cubicBezTo>
                  <a:pt x="11261213" y="664088"/>
                  <a:pt x="11245044" y="647919"/>
                  <a:pt x="11245044" y="629440"/>
                </a:cubicBezTo>
                <a:cubicBezTo>
                  <a:pt x="11245044" y="610961"/>
                  <a:pt x="11260058" y="594792"/>
                  <a:pt x="11279692" y="594792"/>
                </a:cubicBezTo>
                <a:close/>
                <a:moveTo>
                  <a:pt x="10195208" y="594792"/>
                </a:moveTo>
                <a:cubicBezTo>
                  <a:pt x="10214843" y="594792"/>
                  <a:pt x="10229856" y="610961"/>
                  <a:pt x="10229856" y="629440"/>
                </a:cubicBezTo>
                <a:cubicBezTo>
                  <a:pt x="10229856" y="647919"/>
                  <a:pt x="10213687" y="664088"/>
                  <a:pt x="10195208" y="664088"/>
                </a:cubicBezTo>
                <a:cubicBezTo>
                  <a:pt x="10176729" y="664088"/>
                  <a:pt x="10160560" y="647919"/>
                  <a:pt x="10160560" y="629440"/>
                </a:cubicBezTo>
                <a:cubicBezTo>
                  <a:pt x="10160560" y="610961"/>
                  <a:pt x="10175575" y="594792"/>
                  <a:pt x="10195208" y="594792"/>
                </a:cubicBezTo>
                <a:close/>
                <a:moveTo>
                  <a:pt x="9518417" y="594792"/>
                </a:moveTo>
                <a:cubicBezTo>
                  <a:pt x="9536896" y="594792"/>
                  <a:pt x="9553065" y="610961"/>
                  <a:pt x="9553065" y="629440"/>
                </a:cubicBezTo>
                <a:cubicBezTo>
                  <a:pt x="9553065" y="647919"/>
                  <a:pt x="9536896" y="664088"/>
                  <a:pt x="9518417" y="664088"/>
                </a:cubicBezTo>
                <a:cubicBezTo>
                  <a:pt x="9499938" y="664088"/>
                  <a:pt x="9483769" y="647919"/>
                  <a:pt x="9483769" y="629440"/>
                </a:cubicBezTo>
                <a:cubicBezTo>
                  <a:pt x="9483769" y="610961"/>
                  <a:pt x="9498784" y="594792"/>
                  <a:pt x="9518417" y="594792"/>
                </a:cubicBezTo>
                <a:close/>
                <a:moveTo>
                  <a:pt x="8977304" y="594792"/>
                </a:moveTo>
                <a:cubicBezTo>
                  <a:pt x="8995783" y="594792"/>
                  <a:pt x="9011952" y="610961"/>
                  <a:pt x="9011952" y="629440"/>
                </a:cubicBezTo>
                <a:cubicBezTo>
                  <a:pt x="9011952" y="647919"/>
                  <a:pt x="8996938" y="664088"/>
                  <a:pt x="8977304" y="664088"/>
                </a:cubicBezTo>
                <a:cubicBezTo>
                  <a:pt x="8958825" y="664088"/>
                  <a:pt x="8942656" y="647919"/>
                  <a:pt x="8942656" y="629440"/>
                </a:cubicBezTo>
                <a:cubicBezTo>
                  <a:pt x="8942656" y="610961"/>
                  <a:pt x="8957670" y="594792"/>
                  <a:pt x="8977304" y="594792"/>
                </a:cubicBezTo>
                <a:close/>
                <a:moveTo>
                  <a:pt x="8434485" y="594792"/>
                </a:moveTo>
                <a:cubicBezTo>
                  <a:pt x="8454118" y="594792"/>
                  <a:pt x="8469133" y="610961"/>
                  <a:pt x="8469133" y="629440"/>
                </a:cubicBezTo>
                <a:cubicBezTo>
                  <a:pt x="8469133" y="647919"/>
                  <a:pt x="8454118" y="664088"/>
                  <a:pt x="8434485" y="664088"/>
                </a:cubicBezTo>
                <a:cubicBezTo>
                  <a:pt x="8416006" y="664088"/>
                  <a:pt x="8399837" y="647919"/>
                  <a:pt x="8399837" y="629440"/>
                </a:cubicBezTo>
                <a:cubicBezTo>
                  <a:pt x="8399837" y="610961"/>
                  <a:pt x="8414851" y="594792"/>
                  <a:pt x="8434485" y="594792"/>
                </a:cubicBezTo>
                <a:close/>
                <a:moveTo>
                  <a:pt x="6674366" y="594792"/>
                </a:moveTo>
                <a:cubicBezTo>
                  <a:pt x="6692845" y="594792"/>
                  <a:pt x="6709014" y="610961"/>
                  <a:pt x="6709014" y="629440"/>
                </a:cubicBezTo>
                <a:cubicBezTo>
                  <a:pt x="6709014" y="647919"/>
                  <a:pt x="6692845" y="664088"/>
                  <a:pt x="6674366" y="664088"/>
                </a:cubicBezTo>
                <a:cubicBezTo>
                  <a:pt x="6655888" y="664088"/>
                  <a:pt x="6639717" y="647919"/>
                  <a:pt x="6639717" y="629440"/>
                </a:cubicBezTo>
                <a:cubicBezTo>
                  <a:pt x="6639717" y="610961"/>
                  <a:pt x="6654732" y="594792"/>
                  <a:pt x="6674366" y="594792"/>
                </a:cubicBezTo>
                <a:close/>
                <a:moveTo>
                  <a:pt x="5589882" y="594792"/>
                </a:moveTo>
                <a:cubicBezTo>
                  <a:pt x="5609516" y="594792"/>
                  <a:pt x="5624531" y="610961"/>
                  <a:pt x="5624531" y="629440"/>
                </a:cubicBezTo>
                <a:cubicBezTo>
                  <a:pt x="5624531" y="647919"/>
                  <a:pt x="5609516" y="664088"/>
                  <a:pt x="5589882" y="664088"/>
                </a:cubicBezTo>
                <a:cubicBezTo>
                  <a:pt x="5571403" y="664088"/>
                  <a:pt x="5555234" y="647919"/>
                  <a:pt x="5555234" y="629440"/>
                </a:cubicBezTo>
                <a:cubicBezTo>
                  <a:pt x="5555234" y="610961"/>
                  <a:pt x="5570250" y="594792"/>
                  <a:pt x="5589882" y="594792"/>
                </a:cubicBezTo>
                <a:close/>
                <a:moveTo>
                  <a:pt x="4913091" y="594792"/>
                </a:moveTo>
                <a:cubicBezTo>
                  <a:pt x="4931569" y="594792"/>
                  <a:pt x="4947739" y="610961"/>
                  <a:pt x="4947739" y="629440"/>
                </a:cubicBezTo>
                <a:cubicBezTo>
                  <a:pt x="4947739" y="647919"/>
                  <a:pt x="4932726" y="664088"/>
                  <a:pt x="4913091" y="664088"/>
                </a:cubicBezTo>
                <a:cubicBezTo>
                  <a:pt x="4894612" y="664088"/>
                  <a:pt x="4878443" y="647919"/>
                  <a:pt x="4878443" y="629440"/>
                </a:cubicBezTo>
                <a:cubicBezTo>
                  <a:pt x="4878443" y="610961"/>
                  <a:pt x="4893458" y="594792"/>
                  <a:pt x="4913091" y="594792"/>
                </a:cubicBezTo>
                <a:close/>
                <a:moveTo>
                  <a:pt x="4364498" y="594792"/>
                </a:moveTo>
                <a:cubicBezTo>
                  <a:pt x="4382977" y="594792"/>
                  <a:pt x="4399146" y="610961"/>
                  <a:pt x="4399146" y="629440"/>
                </a:cubicBezTo>
                <a:cubicBezTo>
                  <a:pt x="4399146" y="647919"/>
                  <a:pt x="4384131" y="664088"/>
                  <a:pt x="4364498" y="664088"/>
                </a:cubicBezTo>
                <a:cubicBezTo>
                  <a:pt x="4346018" y="664088"/>
                  <a:pt x="4329850" y="647919"/>
                  <a:pt x="4329850" y="629440"/>
                </a:cubicBezTo>
                <a:cubicBezTo>
                  <a:pt x="4329850" y="610961"/>
                  <a:pt x="4344863" y="594792"/>
                  <a:pt x="4364498" y="594792"/>
                </a:cubicBezTo>
                <a:close/>
                <a:moveTo>
                  <a:pt x="3821678" y="594792"/>
                </a:moveTo>
                <a:cubicBezTo>
                  <a:pt x="3841311" y="594792"/>
                  <a:pt x="3856326" y="610961"/>
                  <a:pt x="3856326" y="629440"/>
                </a:cubicBezTo>
                <a:cubicBezTo>
                  <a:pt x="3856326" y="647919"/>
                  <a:pt x="3841311" y="664088"/>
                  <a:pt x="3821678" y="664088"/>
                </a:cubicBezTo>
                <a:cubicBezTo>
                  <a:pt x="3803199" y="664088"/>
                  <a:pt x="3787030" y="647919"/>
                  <a:pt x="3787030" y="629440"/>
                </a:cubicBezTo>
                <a:cubicBezTo>
                  <a:pt x="3787030" y="610961"/>
                  <a:pt x="3802045" y="594792"/>
                  <a:pt x="3821678" y="594792"/>
                </a:cubicBezTo>
                <a:close/>
                <a:moveTo>
                  <a:pt x="2061558" y="594792"/>
                </a:moveTo>
                <a:cubicBezTo>
                  <a:pt x="2080037" y="594792"/>
                  <a:pt x="2096206" y="610961"/>
                  <a:pt x="2096206" y="629440"/>
                </a:cubicBezTo>
                <a:cubicBezTo>
                  <a:pt x="2096206" y="647919"/>
                  <a:pt x="2081192" y="664088"/>
                  <a:pt x="2061558" y="664088"/>
                </a:cubicBezTo>
                <a:cubicBezTo>
                  <a:pt x="2043080" y="664088"/>
                  <a:pt x="2026910" y="647919"/>
                  <a:pt x="2026910" y="629440"/>
                </a:cubicBezTo>
                <a:cubicBezTo>
                  <a:pt x="2026910" y="610961"/>
                  <a:pt x="2041924" y="594792"/>
                  <a:pt x="2061558" y="594792"/>
                </a:cubicBezTo>
                <a:close/>
                <a:moveTo>
                  <a:pt x="977075" y="594792"/>
                </a:moveTo>
                <a:cubicBezTo>
                  <a:pt x="996709" y="594792"/>
                  <a:pt x="1011723" y="610961"/>
                  <a:pt x="1011723" y="629440"/>
                </a:cubicBezTo>
                <a:cubicBezTo>
                  <a:pt x="1011723" y="647919"/>
                  <a:pt x="995554" y="664088"/>
                  <a:pt x="977075" y="664088"/>
                </a:cubicBezTo>
                <a:cubicBezTo>
                  <a:pt x="958596" y="664088"/>
                  <a:pt x="942427" y="647919"/>
                  <a:pt x="942427" y="629440"/>
                </a:cubicBezTo>
                <a:cubicBezTo>
                  <a:pt x="942427" y="610961"/>
                  <a:pt x="957441" y="594792"/>
                  <a:pt x="977075" y="594792"/>
                </a:cubicBezTo>
                <a:close/>
                <a:moveTo>
                  <a:pt x="300283" y="594792"/>
                </a:moveTo>
                <a:cubicBezTo>
                  <a:pt x="318762" y="594792"/>
                  <a:pt x="334931" y="610961"/>
                  <a:pt x="334931" y="629440"/>
                </a:cubicBezTo>
                <a:cubicBezTo>
                  <a:pt x="334931" y="647919"/>
                  <a:pt x="318762" y="664088"/>
                  <a:pt x="300283" y="664088"/>
                </a:cubicBezTo>
                <a:cubicBezTo>
                  <a:pt x="281804" y="664088"/>
                  <a:pt x="265635" y="647919"/>
                  <a:pt x="265635" y="629440"/>
                </a:cubicBezTo>
                <a:cubicBezTo>
                  <a:pt x="265635" y="610961"/>
                  <a:pt x="280650" y="594792"/>
                  <a:pt x="300283" y="594792"/>
                </a:cubicBezTo>
                <a:close/>
                <a:moveTo>
                  <a:pt x="11143410" y="589016"/>
                </a:moveTo>
                <a:cubicBezTo>
                  <a:pt x="11166509" y="589016"/>
                  <a:pt x="11183832" y="607495"/>
                  <a:pt x="11183832" y="629440"/>
                </a:cubicBezTo>
                <a:cubicBezTo>
                  <a:pt x="11183832" y="651383"/>
                  <a:pt x="11165353" y="669862"/>
                  <a:pt x="11143410" y="669862"/>
                </a:cubicBezTo>
                <a:cubicBezTo>
                  <a:pt x="11121466" y="669862"/>
                  <a:pt x="11102987" y="651383"/>
                  <a:pt x="11102987" y="629440"/>
                </a:cubicBezTo>
                <a:cubicBezTo>
                  <a:pt x="11102987" y="607495"/>
                  <a:pt x="11121466" y="589016"/>
                  <a:pt x="11143410" y="589016"/>
                </a:cubicBezTo>
                <a:close/>
                <a:moveTo>
                  <a:pt x="10873155" y="589016"/>
                </a:moveTo>
                <a:cubicBezTo>
                  <a:pt x="10895098" y="589016"/>
                  <a:pt x="10913577" y="607495"/>
                  <a:pt x="10913577" y="629440"/>
                </a:cubicBezTo>
                <a:cubicBezTo>
                  <a:pt x="10913577" y="651383"/>
                  <a:pt x="10895098" y="669862"/>
                  <a:pt x="10873155" y="669862"/>
                </a:cubicBezTo>
                <a:cubicBezTo>
                  <a:pt x="10851211" y="669862"/>
                  <a:pt x="10832732" y="651383"/>
                  <a:pt x="10832732" y="629440"/>
                </a:cubicBezTo>
                <a:cubicBezTo>
                  <a:pt x="10832732" y="607495"/>
                  <a:pt x="10851211" y="589016"/>
                  <a:pt x="10873155" y="589016"/>
                </a:cubicBezTo>
                <a:close/>
                <a:moveTo>
                  <a:pt x="10060082" y="589016"/>
                </a:moveTo>
                <a:cubicBezTo>
                  <a:pt x="10082025" y="589016"/>
                  <a:pt x="10100504" y="607495"/>
                  <a:pt x="10100504" y="629440"/>
                </a:cubicBezTo>
                <a:cubicBezTo>
                  <a:pt x="10100504" y="651383"/>
                  <a:pt x="10082025" y="669862"/>
                  <a:pt x="10060082" y="669862"/>
                </a:cubicBezTo>
                <a:cubicBezTo>
                  <a:pt x="10038137" y="669862"/>
                  <a:pt x="10019658" y="651383"/>
                  <a:pt x="10019658" y="629440"/>
                </a:cubicBezTo>
                <a:cubicBezTo>
                  <a:pt x="10019658" y="607495"/>
                  <a:pt x="10038137" y="589016"/>
                  <a:pt x="10060082" y="589016"/>
                </a:cubicBezTo>
                <a:close/>
                <a:moveTo>
                  <a:pt x="9653545" y="589016"/>
                </a:moveTo>
                <a:cubicBezTo>
                  <a:pt x="9675488" y="589016"/>
                  <a:pt x="9693967" y="607495"/>
                  <a:pt x="9693967" y="629440"/>
                </a:cubicBezTo>
                <a:cubicBezTo>
                  <a:pt x="9693967" y="651383"/>
                  <a:pt x="9675488" y="669862"/>
                  <a:pt x="9653545" y="669862"/>
                </a:cubicBezTo>
                <a:cubicBezTo>
                  <a:pt x="9631600" y="669862"/>
                  <a:pt x="9613122" y="651383"/>
                  <a:pt x="9613122" y="629440"/>
                </a:cubicBezTo>
                <a:cubicBezTo>
                  <a:pt x="9613122" y="607495"/>
                  <a:pt x="9631600" y="589016"/>
                  <a:pt x="9653545" y="589016"/>
                </a:cubicBezTo>
                <a:close/>
                <a:moveTo>
                  <a:pt x="8841022" y="589016"/>
                </a:moveTo>
                <a:cubicBezTo>
                  <a:pt x="8864121" y="589016"/>
                  <a:pt x="8881444" y="607495"/>
                  <a:pt x="8881444" y="629440"/>
                </a:cubicBezTo>
                <a:cubicBezTo>
                  <a:pt x="8881444" y="651383"/>
                  <a:pt x="8862965" y="669862"/>
                  <a:pt x="8841022" y="669862"/>
                </a:cubicBezTo>
                <a:cubicBezTo>
                  <a:pt x="8819078" y="669862"/>
                  <a:pt x="8800599" y="651383"/>
                  <a:pt x="8800599" y="629440"/>
                </a:cubicBezTo>
                <a:cubicBezTo>
                  <a:pt x="8800599" y="607495"/>
                  <a:pt x="8819078" y="589016"/>
                  <a:pt x="8841022" y="589016"/>
                </a:cubicBezTo>
                <a:close/>
                <a:moveTo>
                  <a:pt x="8570767" y="589016"/>
                </a:moveTo>
                <a:cubicBezTo>
                  <a:pt x="8592711" y="589016"/>
                  <a:pt x="8611190" y="607495"/>
                  <a:pt x="8611190" y="629440"/>
                </a:cubicBezTo>
                <a:cubicBezTo>
                  <a:pt x="8611190" y="651383"/>
                  <a:pt x="8592711" y="669862"/>
                  <a:pt x="8570767" y="669862"/>
                </a:cubicBezTo>
                <a:cubicBezTo>
                  <a:pt x="8548823" y="669862"/>
                  <a:pt x="8530344" y="651383"/>
                  <a:pt x="8530344" y="629440"/>
                </a:cubicBezTo>
                <a:cubicBezTo>
                  <a:pt x="8530344" y="607495"/>
                  <a:pt x="8548823" y="589016"/>
                  <a:pt x="8570767" y="589016"/>
                </a:cubicBezTo>
                <a:close/>
                <a:moveTo>
                  <a:pt x="6538083" y="589016"/>
                </a:moveTo>
                <a:cubicBezTo>
                  <a:pt x="6561183" y="589016"/>
                  <a:pt x="6578507" y="607495"/>
                  <a:pt x="6578507" y="629440"/>
                </a:cubicBezTo>
                <a:cubicBezTo>
                  <a:pt x="6578507" y="651383"/>
                  <a:pt x="6560028" y="669862"/>
                  <a:pt x="6538083" y="669862"/>
                </a:cubicBezTo>
                <a:cubicBezTo>
                  <a:pt x="6516139" y="669862"/>
                  <a:pt x="6497661" y="651383"/>
                  <a:pt x="6497661" y="629440"/>
                </a:cubicBezTo>
                <a:cubicBezTo>
                  <a:pt x="6497661" y="607495"/>
                  <a:pt x="6516139" y="589016"/>
                  <a:pt x="6538083" y="589016"/>
                </a:cubicBezTo>
                <a:close/>
                <a:moveTo>
                  <a:pt x="6267830" y="589016"/>
                </a:moveTo>
                <a:cubicBezTo>
                  <a:pt x="6289772" y="589016"/>
                  <a:pt x="6308251" y="607495"/>
                  <a:pt x="6308251" y="629440"/>
                </a:cubicBezTo>
                <a:cubicBezTo>
                  <a:pt x="6308251" y="651383"/>
                  <a:pt x="6289772" y="669862"/>
                  <a:pt x="6267830" y="669862"/>
                </a:cubicBezTo>
                <a:cubicBezTo>
                  <a:pt x="6245885" y="669862"/>
                  <a:pt x="6227406" y="651383"/>
                  <a:pt x="6227406" y="629440"/>
                </a:cubicBezTo>
                <a:cubicBezTo>
                  <a:pt x="6227406" y="607495"/>
                  <a:pt x="6245885" y="589016"/>
                  <a:pt x="6267830" y="589016"/>
                </a:cubicBezTo>
                <a:close/>
                <a:moveTo>
                  <a:pt x="5454756" y="589016"/>
                </a:moveTo>
                <a:cubicBezTo>
                  <a:pt x="5476698" y="589016"/>
                  <a:pt x="5495178" y="607495"/>
                  <a:pt x="5495178" y="629440"/>
                </a:cubicBezTo>
                <a:cubicBezTo>
                  <a:pt x="5495178" y="651383"/>
                  <a:pt x="5476698" y="669862"/>
                  <a:pt x="5454756" y="669862"/>
                </a:cubicBezTo>
                <a:cubicBezTo>
                  <a:pt x="5432812" y="669862"/>
                  <a:pt x="5414332" y="651383"/>
                  <a:pt x="5414332" y="629440"/>
                </a:cubicBezTo>
                <a:cubicBezTo>
                  <a:pt x="5414332" y="607495"/>
                  <a:pt x="5432812" y="589016"/>
                  <a:pt x="5454756" y="589016"/>
                </a:cubicBezTo>
                <a:close/>
                <a:moveTo>
                  <a:pt x="5048218" y="589016"/>
                </a:moveTo>
                <a:cubicBezTo>
                  <a:pt x="5070162" y="589016"/>
                  <a:pt x="5088641" y="607495"/>
                  <a:pt x="5088641" y="629440"/>
                </a:cubicBezTo>
                <a:cubicBezTo>
                  <a:pt x="5088641" y="651383"/>
                  <a:pt x="5070162" y="669862"/>
                  <a:pt x="5048218" y="669862"/>
                </a:cubicBezTo>
                <a:cubicBezTo>
                  <a:pt x="5026274" y="669862"/>
                  <a:pt x="5007796" y="651383"/>
                  <a:pt x="5007796" y="629440"/>
                </a:cubicBezTo>
                <a:cubicBezTo>
                  <a:pt x="5007796" y="607495"/>
                  <a:pt x="5026274" y="589016"/>
                  <a:pt x="5048218" y="589016"/>
                </a:cubicBezTo>
                <a:close/>
                <a:moveTo>
                  <a:pt x="4228216" y="589016"/>
                </a:moveTo>
                <a:cubicBezTo>
                  <a:pt x="4251315" y="589016"/>
                  <a:pt x="4268637" y="607495"/>
                  <a:pt x="4268637" y="629440"/>
                </a:cubicBezTo>
                <a:cubicBezTo>
                  <a:pt x="4268637" y="651383"/>
                  <a:pt x="4250159" y="669862"/>
                  <a:pt x="4228216" y="669862"/>
                </a:cubicBezTo>
                <a:cubicBezTo>
                  <a:pt x="4206271" y="669862"/>
                  <a:pt x="4187792" y="651383"/>
                  <a:pt x="4187792" y="629440"/>
                </a:cubicBezTo>
                <a:cubicBezTo>
                  <a:pt x="4187792" y="607495"/>
                  <a:pt x="4206271" y="589016"/>
                  <a:pt x="4228216" y="589016"/>
                </a:cubicBezTo>
                <a:close/>
                <a:moveTo>
                  <a:pt x="3957960" y="589016"/>
                </a:moveTo>
                <a:cubicBezTo>
                  <a:pt x="3979904" y="589016"/>
                  <a:pt x="3998382" y="607495"/>
                  <a:pt x="3998382" y="629440"/>
                </a:cubicBezTo>
                <a:cubicBezTo>
                  <a:pt x="3998382" y="651383"/>
                  <a:pt x="3979904" y="669862"/>
                  <a:pt x="3957960" y="669862"/>
                </a:cubicBezTo>
                <a:cubicBezTo>
                  <a:pt x="3936016" y="669862"/>
                  <a:pt x="3917537" y="651383"/>
                  <a:pt x="3917537" y="629440"/>
                </a:cubicBezTo>
                <a:cubicBezTo>
                  <a:pt x="3917537" y="607495"/>
                  <a:pt x="3936016" y="589016"/>
                  <a:pt x="3957960" y="589016"/>
                </a:cubicBezTo>
                <a:close/>
                <a:moveTo>
                  <a:pt x="1925276" y="589016"/>
                </a:moveTo>
                <a:cubicBezTo>
                  <a:pt x="1948375" y="589016"/>
                  <a:pt x="1965698" y="607495"/>
                  <a:pt x="1965698" y="629440"/>
                </a:cubicBezTo>
                <a:cubicBezTo>
                  <a:pt x="1965698" y="651383"/>
                  <a:pt x="1947219" y="669862"/>
                  <a:pt x="1925276" y="669862"/>
                </a:cubicBezTo>
                <a:cubicBezTo>
                  <a:pt x="1903332" y="669862"/>
                  <a:pt x="1884853" y="651383"/>
                  <a:pt x="1884853" y="629440"/>
                </a:cubicBezTo>
                <a:cubicBezTo>
                  <a:pt x="1884853" y="607495"/>
                  <a:pt x="1903332" y="589016"/>
                  <a:pt x="1925276" y="589016"/>
                </a:cubicBezTo>
                <a:close/>
                <a:moveTo>
                  <a:pt x="1655022" y="589016"/>
                </a:moveTo>
                <a:cubicBezTo>
                  <a:pt x="1676965" y="589016"/>
                  <a:pt x="1695444" y="607495"/>
                  <a:pt x="1695444" y="629440"/>
                </a:cubicBezTo>
                <a:cubicBezTo>
                  <a:pt x="1695444" y="651383"/>
                  <a:pt x="1676965" y="669862"/>
                  <a:pt x="1655022" y="669862"/>
                </a:cubicBezTo>
                <a:cubicBezTo>
                  <a:pt x="1633077" y="669862"/>
                  <a:pt x="1614598" y="651383"/>
                  <a:pt x="1614598" y="629440"/>
                </a:cubicBezTo>
                <a:cubicBezTo>
                  <a:pt x="1614598" y="607495"/>
                  <a:pt x="1633077" y="589016"/>
                  <a:pt x="1655022" y="589016"/>
                </a:cubicBezTo>
                <a:close/>
                <a:moveTo>
                  <a:pt x="841948" y="589016"/>
                </a:moveTo>
                <a:cubicBezTo>
                  <a:pt x="863891" y="589016"/>
                  <a:pt x="882370" y="607495"/>
                  <a:pt x="882370" y="629440"/>
                </a:cubicBezTo>
                <a:cubicBezTo>
                  <a:pt x="882370" y="651383"/>
                  <a:pt x="863891" y="669862"/>
                  <a:pt x="841948" y="669862"/>
                </a:cubicBezTo>
                <a:cubicBezTo>
                  <a:pt x="820004" y="669862"/>
                  <a:pt x="801525" y="651383"/>
                  <a:pt x="801525" y="629440"/>
                </a:cubicBezTo>
                <a:cubicBezTo>
                  <a:pt x="801525" y="607495"/>
                  <a:pt x="820004" y="589016"/>
                  <a:pt x="841948" y="589016"/>
                </a:cubicBezTo>
                <a:close/>
                <a:moveTo>
                  <a:pt x="435411" y="589016"/>
                </a:moveTo>
                <a:cubicBezTo>
                  <a:pt x="457354" y="589016"/>
                  <a:pt x="475833" y="607495"/>
                  <a:pt x="475833" y="629440"/>
                </a:cubicBezTo>
                <a:cubicBezTo>
                  <a:pt x="475833" y="651383"/>
                  <a:pt x="457354" y="669862"/>
                  <a:pt x="435411" y="669862"/>
                </a:cubicBezTo>
                <a:cubicBezTo>
                  <a:pt x="413467" y="669862"/>
                  <a:pt x="394988" y="651383"/>
                  <a:pt x="394988" y="629440"/>
                </a:cubicBezTo>
                <a:cubicBezTo>
                  <a:pt x="394988" y="607495"/>
                  <a:pt x="413467" y="589016"/>
                  <a:pt x="435411" y="589016"/>
                </a:cubicBezTo>
                <a:close/>
                <a:moveTo>
                  <a:pt x="11008282" y="577467"/>
                </a:moveTo>
                <a:cubicBezTo>
                  <a:pt x="11036000" y="577467"/>
                  <a:pt x="11059099" y="600566"/>
                  <a:pt x="11059099" y="628284"/>
                </a:cubicBezTo>
                <a:cubicBezTo>
                  <a:pt x="11059099" y="656002"/>
                  <a:pt x="11037156" y="679101"/>
                  <a:pt x="11008282" y="679101"/>
                </a:cubicBezTo>
                <a:cubicBezTo>
                  <a:pt x="10980564" y="679101"/>
                  <a:pt x="10957465" y="656002"/>
                  <a:pt x="10957465" y="628284"/>
                </a:cubicBezTo>
                <a:cubicBezTo>
                  <a:pt x="10957465" y="600566"/>
                  <a:pt x="10979409" y="577467"/>
                  <a:pt x="11008282" y="577467"/>
                </a:cubicBezTo>
                <a:close/>
                <a:moveTo>
                  <a:pt x="9924954" y="577467"/>
                </a:moveTo>
                <a:cubicBezTo>
                  <a:pt x="9952672" y="577467"/>
                  <a:pt x="9975771" y="600566"/>
                  <a:pt x="9975771" y="628284"/>
                </a:cubicBezTo>
                <a:cubicBezTo>
                  <a:pt x="9975771" y="656002"/>
                  <a:pt x="9953828" y="679101"/>
                  <a:pt x="9924954" y="679101"/>
                </a:cubicBezTo>
                <a:cubicBezTo>
                  <a:pt x="9897235" y="679101"/>
                  <a:pt x="9874137" y="656002"/>
                  <a:pt x="9874137" y="628284"/>
                </a:cubicBezTo>
                <a:cubicBezTo>
                  <a:pt x="9874137" y="600566"/>
                  <a:pt x="9896081" y="577467"/>
                  <a:pt x="9924954" y="577467"/>
                </a:cubicBezTo>
                <a:close/>
                <a:moveTo>
                  <a:pt x="9788672" y="577467"/>
                </a:moveTo>
                <a:cubicBezTo>
                  <a:pt x="9817545" y="577467"/>
                  <a:pt x="9839489" y="601721"/>
                  <a:pt x="9839489" y="629440"/>
                </a:cubicBezTo>
                <a:cubicBezTo>
                  <a:pt x="9839489" y="657158"/>
                  <a:pt x="9816390" y="680257"/>
                  <a:pt x="9788672" y="680257"/>
                </a:cubicBezTo>
                <a:cubicBezTo>
                  <a:pt x="9760953" y="680257"/>
                  <a:pt x="9737854" y="658312"/>
                  <a:pt x="9737854" y="629440"/>
                </a:cubicBezTo>
                <a:cubicBezTo>
                  <a:pt x="9737854" y="600566"/>
                  <a:pt x="9760953" y="577467"/>
                  <a:pt x="9788672" y="577467"/>
                </a:cubicBezTo>
                <a:close/>
                <a:moveTo>
                  <a:pt x="8705894" y="577467"/>
                </a:moveTo>
                <a:cubicBezTo>
                  <a:pt x="8733613" y="577467"/>
                  <a:pt x="8756711" y="600566"/>
                  <a:pt x="8756711" y="628284"/>
                </a:cubicBezTo>
                <a:cubicBezTo>
                  <a:pt x="8756711" y="656002"/>
                  <a:pt x="8733613" y="679101"/>
                  <a:pt x="8705894" y="679101"/>
                </a:cubicBezTo>
                <a:cubicBezTo>
                  <a:pt x="8678176" y="679101"/>
                  <a:pt x="8655077" y="656002"/>
                  <a:pt x="8655077" y="628284"/>
                </a:cubicBezTo>
                <a:cubicBezTo>
                  <a:pt x="8655077" y="600566"/>
                  <a:pt x="8677021" y="577467"/>
                  <a:pt x="8705894" y="577467"/>
                </a:cubicBezTo>
                <a:close/>
                <a:moveTo>
                  <a:pt x="6402956" y="577467"/>
                </a:moveTo>
                <a:cubicBezTo>
                  <a:pt x="6431830" y="577467"/>
                  <a:pt x="6453773" y="600566"/>
                  <a:pt x="6453773" y="628284"/>
                </a:cubicBezTo>
                <a:cubicBezTo>
                  <a:pt x="6453773" y="656002"/>
                  <a:pt x="6431830" y="679101"/>
                  <a:pt x="6402956" y="679101"/>
                </a:cubicBezTo>
                <a:cubicBezTo>
                  <a:pt x="6375237" y="679101"/>
                  <a:pt x="6352139" y="656002"/>
                  <a:pt x="6352139" y="628284"/>
                </a:cubicBezTo>
                <a:cubicBezTo>
                  <a:pt x="6352139" y="600566"/>
                  <a:pt x="6374084" y="577467"/>
                  <a:pt x="6402956" y="577467"/>
                </a:cubicBezTo>
                <a:close/>
                <a:moveTo>
                  <a:pt x="5319627" y="577467"/>
                </a:moveTo>
                <a:cubicBezTo>
                  <a:pt x="5347347" y="577467"/>
                  <a:pt x="5370444" y="600566"/>
                  <a:pt x="5370444" y="628284"/>
                </a:cubicBezTo>
                <a:cubicBezTo>
                  <a:pt x="5370444" y="656002"/>
                  <a:pt x="5347347" y="679101"/>
                  <a:pt x="5319627" y="679101"/>
                </a:cubicBezTo>
                <a:cubicBezTo>
                  <a:pt x="5291910" y="679101"/>
                  <a:pt x="5268810" y="656002"/>
                  <a:pt x="5268810" y="628284"/>
                </a:cubicBezTo>
                <a:cubicBezTo>
                  <a:pt x="5268810" y="600566"/>
                  <a:pt x="5290756" y="577467"/>
                  <a:pt x="5319627" y="577467"/>
                </a:cubicBezTo>
                <a:close/>
                <a:moveTo>
                  <a:pt x="5183345" y="577467"/>
                </a:moveTo>
                <a:cubicBezTo>
                  <a:pt x="5212220" y="577467"/>
                  <a:pt x="5234162" y="600566"/>
                  <a:pt x="5234162" y="628284"/>
                </a:cubicBezTo>
                <a:cubicBezTo>
                  <a:pt x="5234162" y="656002"/>
                  <a:pt x="5211064" y="679101"/>
                  <a:pt x="5183345" y="679101"/>
                </a:cubicBezTo>
                <a:cubicBezTo>
                  <a:pt x="5155627" y="679101"/>
                  <a:pt x="5132528" y="656002"/>
                  <a:pt x="5132528" y="628284"/>
                </a:cubicBezTo>
                <a:cubicBezTo>
                  <a:pt x="5132528" y="600566"/>
                  <a:pt x="5154472" y="577467"/>
                  <a:pt x="5183345" y="577467"/>
                </a:cubicBezTo>
                <a:close/>
                <a:moveTo>
                  <a:pt x="4093087" y="577467"/>
                </a:moveTo>
                <a:cubicBezTo>
                  <a:pt x="4120806" y="577467"/>
                  <a:pt x="4143904" y="600566"/>
                  <a:pt x="4143904" y="628284"/>
                </a:cubicBezTo>
                <a:cubicBezTo>
                  <a:pt x="4143904" y="656002"/>
                  <a:pt x="4120806" y="679101"/>
                  <a:pt x="4093087" y="679101"/>
                </a:cubicBezTo>
                <a:cubicBezTo>
                  <a:pt x="4065369" y="679101"/>
                  <a:pt x="4042270" y="656002"/>
                  <a:pt x="4042270" y="628284"/>
                </a:cubicBezTo>
                <a:cubicBezTo>
                  <a:pt x="4042270" y="600566"/>
                  <a:pt x="4064214" y="577467"/>
                  <a:pt x="4093087" y="577467"/>
                </a:cubicBezTo>
                <a:close/>
                <a:moveTo>
                  <a:pt x="1790148" y="577467"/>
                </a:moveTo>
                <a:cubicBezTo>
                  <a:pt x="1817867" y="577467"/>
                  <a:pt x="1840965" y="600566"/>
                  <a:pt x="1840965" y="628284"/>
                </a:cubicBezTo>
                <a:cubicBezTo>
                  <a:pt x="1840965" y="656002"/>
                  <a:pt x="1819022" y="679101"/>
                  <a:pt x="1790148" y="679101"/>
                </a:cubicBezTo>
                <a:cubicBezTo>
                  <a:pt x="1762430" y="679101"/>
                  <a:pt x="1739331" y="656002"/>
                  <a:pt x="1739331" y="628284"/>
                </a:cubicBezTo>
                <a:cubicBezTo>
                  <a:pt x="1739331" y="600566"/>
                  <a:pt x="1761275" y="577467"/>
                  <a:pt x="1790148" y="577467"/>
                </a:cubicBezTo>
                <a:close/>
                <a:moveTo>
                  <a:pt x="706820" y="577467"/>
                </a:moveTo>
                <a:cubicBezTo>
                  <a:pt x="734538" y="577467"/>
                  <a:pt x="757637" y="600566"/>
                  <a:pt x="757637" y="628284"/>
                </a:cubicBezTo>
                <a:cubicBezTo>
                  <a:pt x="757637" y="656002"/>
                  <a:pt x="735694" y="679101"/>
                  <a:pt x="706820" y="679101"/>
                </a:cubicBezTo>
                <a:cubicBezTo>
                  <a:pt x="679101" y="679101"/>
                  <a:pt x="656003" y="656002"/>
                  <a:pt x="656003" y="628284"/>
                </a:cubicBezTo>
                <a:cubicBezTo>
                  <a:pt x="656003" y="600566"/>
                  <a:pt x="677947" y="577467"/>
                  <a:pt x="706820" y="577467"/>
                </a:cubicBezTo>
                <a:close/>
                <a:moveTo>
                  <a:pt x="570538" y="577467"/>
                </a:moveTo>
                <a:cubicBezTo>
                  <a:pt x="599412" y="577467"/>
                  <a:pt x="621355" y="601721"/>
                  <a:pt x="621355" y="629440"/>
                </a:cubicBezTo>
                <a:cubicBezTo>
                  <a:pt x="621355" y="657158"/>
                  <a:pt x="598256" y="680257"/>
                  <a:pt x="570538" y="680257"/>
                </a:cubicBezTo>
                <a:cubicBezTo>
                  <a:pt x="542819" y="680257"/>
                  <a:pt x="519721" y="658312"/>
                  <a:pt x="519721" y="629440"/>
                </a:cubicBezTo>
                <a:cubicBezTo>
                  <a:pt x="519721" y="600566"/>
                  <a:pt x="542819" y="577467"/>
                  <a:pt x="570538" y="577467"/>
                </a:cubicBezTo>
                <a:close/>
                <a:moveTo>
                  <a:pt x="12180541" y="464284"/>
                </a:moveTo>
                <a:cubicBezTo>
                  <a:pt x="12192090" y="464284"/>
                  <a:pt x="12201330" y="473523"/>
                  <a:pt x="12201330" y="485072"/>
                </a:cubicBezTo>
                <a:cubicBezTo>
                  <a:pt x="12201330" y="496622"/>
                  <a:pt x="12192090" y="505861"/>
                  <a:pt x="12180541" y="505861"/>
                </a:cubicBezTo>
                <a:cubicBezTo>
                  <a:pt x="12168992" y="505861"/>
                  <a:pt x="12159752" y="496622"/>
                  <a:pt x="12159752" y="485072"/>
                </a:cubicBezTo>
                <a:cubicBezTo>
                  <a:pt x="12159752" y="473523"/>
                  <a:pt x="12168992" y="464284"/>
                  <a:pt x="12180541" y="464284"/>
                </a:cubicBezTo>
                <a:close/>
                <a:moveTo>
                  <a:pt x="12040793" y="464284"/>
                </a:moveTo>
                <a:cubicBezTo>
                  <a:pt x="12052342" y="464284"/>
                  <a:pt x="12061582" y="473523"/>
                  <a:pt x="12061582" y="485072"/>
                </a:cubicBezTo>
                <a:cubicBezTo>
                  <a:pt x="12061582" y="496622"/>
                  <a:pt x="12052342" y="505861"/>
                  <a:pt x="12040793" y="505861"/>
                </a:cubicBezTo>
                <a:cubicBezTo>
                  <a:pt x="12029244" y="505861"/>
                  <a:pt x="12020004" y="496622"/>
                  <a:pt x="12020004" y="485072"/>
                </a:cubicBezTo>
                <a:cubicBezTo>
                  <a:pt x="12020004" y="473523"/>
                  <a:pt x="12029244" y="464284"/>
                  <a:pt x="12040793" y="464284"/>
                </a:cubicBezTo>
                <a:close/>
                <a:moveTo>
                  <a:pt x="11901047" y="464284"/>
                </a:moveTo>
                <a:cubicBezTo>
                  <a:pt x="11912596" y="464284"/>
                  <a:pt x="11921836" y="473523"/>
                  <a:pt x="11921836" y="485072"/>
                </a:cubicBezTo>
                <a:cubicBezTo>
                  <a:pt x="11921836" y="496622"/>
                  <a:pt x="11912596" y="505861"/>
                  <a:pt x="11901047" y="505861"/>
                </a:cubicBezTo>
                <a:cubicBezTo>
                  <a:pt x="11889498" y="505861"/>
                  <a:pt x="11880258" y="496622"/>
                  <a:pt x="11880258" y="485072"/>
                </a:cubicBezTo>
                <a:cubicBezTo>
                  <a:pt x="11880258" y="473523"/>
                  <a:pt x="11889498" y="464284"/>
                  <a:pt x="11901047" y="464284"/>
                </a:cubicBezTo>
                <a:close/>
                <a:moveTo>
                  <a:pt x="11761299" y="464284"/>
                </a:moveTo>
                <a:cubicBezTo>
                  <a:pt x="11772848" y="464284"/>
                  <a:pt x="11782088" y="473523"/>
                  <a:pt x="11782088" y="485072"/>
                </a:cubicBezTo>
                <a:cubicBezTo>
                  <a:pt x="11782088" y="496622"/>
                  <a:pt x="11772848" y="505861"/>
                  <a:pt x="11761299" y="505861"/>
                </a:cubicBezTo>
                <a:cubicBezTo>
                  <a:pt x="11749750" y="505861"/>
                  <a:pt x="11740510" y="496622"/>
                  <a:pt x="11740510" y="485072"/>
                </a:cubicBezTo>
                <a:cubicBezTo>
                  <a:pt x="11740510" y="473523"/>
                  <a:pt x="11749750" y="464284"/>
                  <a:pt x="11761299" y="464284"/>
                </a:cubicBezTo>
                <a:close/>
                <a:moveTo>
                  <a:pt x="11621553" y="464284"/>
                </a:moveTo>
                <a:cubicBezTo>
                  <a:pt x="11633102" y="464284"/>
                  <a:pt x="11642342" y="473523"/>
                  <a:pt x="11642342" y="485072"/>
                </a:cubicBezTo>
                <a:cubicBezTo>
                  <a:pt x="11642342" y="496622"/>
                  <a:pt x="11633102" y="505861"/>
                  <a:pt x="11621553" y="505861"/>
                </a:cubicBezTo>
                <a:cubicBezTo>
                  <a:pt x="11610003" y="505861"/>
                  <a:pt x="11600764" y="496622"/>
                  <a:pt x="11600764" y="485072"/>
                </a:cubicBezTo>
                <a:cubicBezTo>
                  <a:pt x="11600764" y="473523"/>
                  <a:pt x="11610003" y="464284"/>
                  <a:pt x="11621553" y="464284"/>
                </a:cubicBezTo>
                <a:close/>
                <a:moveTo>
                  <a:pt x="11481805" y="464284"/>
                </a:moveTo>
                <a:cubicBezTo>
                  <a:pt x="11493354" y="464284"/>
                  <a:pt x="11502594" y="473523"/>
                  <a:pt x="11502594" y="485072"/>
                </a:cubicBezTo>
                <a:cubicBezTo>
                  <a:pt x="11502594" y="496622"/>
                  <a:pt x="11493354" y="505861"/>
                  <a:pt x="11481805" y="505861"/>
                </a:cubicBezTo>
                <a:cubicBezTo>
                  <a:pt x="11470256" y="505861"/>
                  <a:pt x="11461016" y="496622"/>
                  <a:pt x="11461016" y="485072"/>
                </a:cubicBezTo>
                <a:cubicBezTo>
                  <a:pt x="11461016" y="473523"/>
                  <a:pt x="11470256" y="464284"/>
                  <a:pt x="11481805" y="464284"/>
                </a:cubicBezTo>
                <a:close/>
                <a:moveTo>
                  <a:pt x="10644478" y="464284"/>
                </a:moveTo>
                <a:cubicBezTo>
                  <a:pt x="10656028" y="464284"/>
                  <a:pt x="10665267" y="473523"/>
                  <a:pt x="10665267" y="485072"/>
                </a:cubicBezTo>
                <a:cubicBezTo>
                  <a:pt x="10665267" y="496622"/>
                  <a:pt x="10656028" y="505861"/>
                  <a:pt x="10644478" y="505861"/>
                </a:cubicBezTo>
                <a:cubicBezTo>
                  <a:pt x="10632929" y="505861"/>
                  <a:pt x="10623690" y="496622"/>
                  <a:pt x="10623690" y="485072"/>
                </a:cubicBezTo>
                <a:cubicBezTo>
                  <a:pt x="10623690" y="473523"/>
                  <a:pt x="10632929" y="464284"/>
                  <a:pt x="10644478" y="464284"/>
                </a:cubicBezTo>
                <a:close/>
                <a:moveTo>
                  <a:pt x="10504731" y="464284"/>
                </a:moveTo>
                <a:cubicBezTo>
                  <a:pt x="10516280" y="464284"/>
                  <a:pt x="10525520" y="473523"/>
                  <a:pt x="10525520" y="485072"/>
                </a:cubicBezTo>
                <a:cubicBezTo>
                  <a:pt x="10525520" y="496622"/>
                  <a:pt x="10516280" y="505861"/>
                  <a:pt x="10504731" y="505861"/>
                </a:cubicBezTo>
                <a:cubicBezTo>
                  <a:pt x="10493181" y="505861"/>
                  <a:pt x="10483942" y="496622"/>
                  <a:pt x="10483942" y="485072"/>
                </a:cubicBezTo>
                <a:cubicBezTo>
                  <a:pt x="10483942" y="473523"/>
                  <a:pt x="10493181" y="464284"/>
                  <a:pt x="10504731" y="464284"/>
                </a:cubicBezTo>
                <a:close/>
                <a:moveTo>
                  <a:pt x="10364984" y="464284"/>
                </a:moveTo>
                <a:cubicBezTo>
                  <a:pt x="10376534" y="464284"/>
                  <a:pt x="10385773" y="473523"/>
                  <a:pt x="10385773" y="485072"/>
                </a:cubicBezTo>
                <a:cubicBezTo>
                  <a:pt x="10385773" y="496622"/>
                  <a:pt x="10376534" y="505861"/>
                  <a:pt x="10364984" y="505861"/>
                </a:cubicBezTo>
                <a:cubicBezTo>
                  <a:pt x="10353435" y="505861"/>
                  <a:pt x="10344196" y="496622"/>
                  <a:pt x="10344196" y="485072"/>
                </a:cubicBezTo>
                <a:cubicBezTo>
                  <a:pt x="10344196" y="473523"/>
                  <a:pt x="10353435" y="464284"/>
                  <a:pt x="10364984" y="464284"/>
                </a:cubicBezTo>
                <a:close/>
                <a:moveTo>
                  <a:pt x="7854709" y="464284"/>
                </a:moveTo>
                <a:cubicBezTo>
                  <a:pt x="7866258" y="464284"/>
                  <a:pt x="7875498" y="473523"/>
                  <a:pt x="7875498" y="485072"/>
                </a:cubicBezTo>
                <a:cubicBezTo>
                  <a:pt x="7875498" y="496622"/>
                  <a:pt x="7866258" y="505861"/>
                  <a:pt x="7854709" y="505861"/>
                </a:cubicBezTo>
                <a:cubicBezTo>
                  <a:pt x="7843160" y="505861"/>
                  <a:pt x="7833921" y="496622"/>
                  <a:pt x="7833921" y="485072"/>
                </a:cubicBezTo>
                <a:cubicBezTo>
                  <a:pt x="7833921" y="473523"/>
                  <a:pt x="7843160" y="464284"/>
                  <a:pt x="7854709" y="464284"/>
                </a:cubicBezTo>
                <a:close/>
                <a:moveTo>
                  <a:pt x="7714960" y="464284"/>
                </a:moveTo>
                <a:cubicBezTo>
                  <a:pt x="7726511" y="464284"/>
                  <a:pt x="7735749" y="473523"/>
                  <a:pt x="7735749" y="485072"/>
                </a:cubicBezTo>
                <a:cubicBezTo>
                  <a:pt x="7735749" y="496622"/>
                  <a:pt x="7726511" y="505861"/>
                  <a:pt x="7714960" y="505861"/>
                </a:cubicBezTo>
                <a:cubicBezTo>
                  <a:pt x="7703411" y="505861"/>
                  <a:pt x="7694172" y="496622"/>
                  <a:pt x="7694172" y="485072"/>
                </a:cubicBezTo>
                <a:cubicBezTo>
                  <a:pt x="7694172" y="473523"/>
                  <a:pt x="7703411" y="464284"/>
                  <a:pt x="7714960" y="464284"/>
                </a:cubicBezTo>
                <a:close/>
                <a:moveTo>
                  <a:pt x="7575214" y="464284"/>
                </a:moveTo>
                <a:cubicBezTo>
                  <a:pt x="7586765" y="464284"/>
                  <a:pt x="7596004" y="473523"/>
                  <a:pt x="7596004" y="485072"/>
                </a:cubicBezTo>
                <a:cubicBezTo>
                  <a:pt x="7596004" y="496622"/>
                  <a:pt x="7586765" y="505861"/>
                  <a:pt x="7575214" y="505861"/>
                </a:cubicBezTo>
                <a:cubicBezTo>
                  <a:pt x="7563665" y="505861"/>
                  <a:pt x="7554427" y="496622"/>
                  <a:pt x="7554427" y="485072"/>
                </a:cubicBezTo>
                <a:cubicBezTo>
                  <a:pt x="7554427" y="473523"/>
                  <a:pt x="7563665" y="464284"/>
                  <a:pt x="7575214" y="464284"/>
                </a:cubicBezTo>
                <a:close/>
                <a:moveTo>
                  <a:pt x="7435467" y="464284"/>
                </a:moveTo>
                <a:cubicBezTo>
                  <a:pt x="7447016" y="464284"/>
                  <a:pt x="7456257" y="473523"/>
                  <a:pt x="7456257" y="485072"/>
                </a:cubicBezTo>
                <a:cubicBezTo>
                  <a:pt x="7456257" y="496622"/>
                  <a:pt x="7447016" y="505861"/>
                  <a:pt x="7435467" y="505861"/>
                </a:cubicBezTo>
                <a:cubicBezTo>
                  <a:pt x="7423918" y="505861"/>
                  <a:pt x="7414678" y="496622"/>
                  <a:pt x="7414678" y="485072"/>
                </a:cubicBezTo>
                <a:cubicBezTo>
                  <a:pt x="7414678" y="473523"/>
                  <a:pt x="7423918" y="464284"/>
                  <a:pt x="7435467" y="464284"/>
                </a:cubicBezTo>
                <a:close/>
                <a:moveTo>
                  <a:pt x="7295720" y="464284"/>
                </a:moveTo>
                <a:cubicBezTo>
                  <a:pt x="7307271" y="464284"/>
                  <a:pt x="7316509" y="473523"/>
                  <a:pt x="7316509" y="485072"/>
                </a:cubicBezTo>
                <a:cubicBezTo>
                  <a:pt x="7316509" y="496622"/>
                  <a:pt x="7307271" y="505861"/>
                  <a:pt x="7295720" y="505861"/>
                </a:cubicBezTo>
                <a:cubicBezTo>
                  <a:pt x="7284172" y="505861"/>
                  <a:pt x="7274932" y="496622"/>
                  <a:pt x="7274932" y="485072"/>
                </a:cubicBezTo>
                <a:cubicBezTo>
                  <a:pt x="7274932" y="473523"/>
                  <a:pt x="7284172" y="464284"/>
                  <a:pt x="7295720" y="464284"/>
                </a:cubicBezTo>
                <a:close/>
                <a:moveTo>
                  <a:pt x="7155974" y="464284"/>
                </a:moveTo>
                <a:cubicBezTo>
                  <a:pt x="7167522" y="464284"/>
                  <a:pt x="7176762" y="473523"/>
                  <a:pt x="7176762" y="485072"/>
                </a:cubicBezTo>
                <a:cubicBezTo>
                  <a:pt x="7176762" y="496622"/>
                  <a:pt x="7167522" y="505861"/>
                  <a:pt x="7155974" y="505861"/>
                </a:cubicBezTo>
                <a:cubicBezTo>
                  <a:pt x="7144423" y="505861"/>
                  <a:pt x="7135183" y="496622"/>
                  <a:pt x="7135183" y="485072"/>
                </a:cubicBezTo>
                <a:cubicBezTo>
                  <a:pt x="7135183" y="473523"/>
                  <a:pt x="7144423" y="464284"/>
                  <a:pt x="7155974" y="464284"/>
                </a:cubicBezTo>
                <a:close/>
                <a:moveTo>
                  <a:pt x="7016227" y="464284"/>
                </a:moveTo>
                <a:cubicBezTo>
                  <a:pt x="7027776" y="464284"/>
                  <a:pt x="7037016" y="473523"/>
                  <a:pt x="7037016" y="485072"/>
                </a:cubicBezTo>
                <a:cubicBezTo>
                  <a:pt x="7037016" y="496622"/>
                  <a:pt x="7027776" y="505861"/>
                  <a:pt x="7016227" y="505861"/>
                </a:cubicBezTo>
                <a:cubicBezTo>
                  <a:pt x="7004678" y="505861"/>
                  <a:pt x="6995438" y="496622"/>
                  <a:pt x="6995438" y="485072"/>
                </a:cubicBezTo>
                <a:cubicBezTo>
                  <a:pt x="6995438" y="473523"/>
                  <a:pt x="7004678" y="464284"/>
                  <a:pt x="7016227" y="464284"/>
                </a:cubicBezTo>
                <a:close/>
                <a:moveTo>
                  <a:pt x="6877634" y="464284"/>
                </a:moveTo>
                <a:cubicBezTo>
                  <a:pt x="6888028" y="464284"/>
                  <a:pt x="6898424" y="473523"/>
                  <a:pt x="6898424" y="485072"/>
                </a:cubicBezTo>
                <a:cubicBezTo>
                  <a:pt x="6898424" y="496622"/>
                  <a:pt x="6889184" y="505861"/>
                  <a:pt x="6877634" y="505861"/>
                </a:cubicBezTo>
                <a:cubicBezTo>
                  <a:pt x="6866085" y="505861"/>
                  <a:pt x="6856845" y="496622"/>
                  <a:pt x="6856845" y="485072"/>
                </a:cubicBezTo>
                <a:cubicBezTo>
                  <a:pt x="6856845" y="473523"/>
                  <a:pt x="6866085" y="464284"/>
                  <a:pt x="6877634" y="464284"/>
                </a:cubicBezTo>
                <a:close/>
                <a:moveTo>
                  <a:pt x="6039151" y="464284"/>
                </a:moveTo>
                <a:cubicBezTo>
                  <a:pt x="6050702" y="464284"/>
                  <a:pt x="6059942" y="473523"/>
                  <a:pt x="6059942" y="485072"/>
                </a:cubicBezTo>
                <a:cubicBezTo>
                  <a:pt x="6059942" y="496622"/>
                  <a:pt x="6050702" y="505861"/>
                  <a:pt x="6039151" y="505861"/>
                </a:cubicBezTo>
                <a:cubicBezTo>
                  <a:pt x="6027603" y="505861"/>
                  <a:pt x="6018363" y="496622"/>
                  <a:pt x="6018363" y="485072"/>
                </a:cubicBezTo>
                <a:cubicBezTo>
                  <a:pt x="6018363" y="473523"/>
                  <a:pt x="6027603" y="464284"/>
                  <a:pt x="6039151" y="464284"/>
                </a:cubicBezTo>
                <a:close/>
                <a:moveTo>
                  <a:pt x="5899405" y="464284"/>
                </a:moveTo>
                <a:cubicBezTo>
                  <a:pt x="5910953" y="464284"/>
                  <a:pt x="5920193" y="473523"/>
                  <a:pt x="5920193" y="485072"/>
                </a:cubicBezTo>
                <a:cubicBezTo>
                  <a:pt x="5920193" y="496622"/>
                  <a:pt x="5910953" y="505861"/>
                  <a:pt x="5899405" y="505861"/>
                </a:cubicBezTo>
                <a:cubicBezTo>
                  <a:pt x="5887855" y="505861"/>
                  <a:pt x="5878616" y="496622"/>
                  <a:pt x="5878616" y="485072"/>
                </a:cubicBezTo>
                <a:cubicBezTo>
                  <a:pt x="5878616" y="473523"/>
                  <a:pt x="5887855" y="464284"/>
                  <a:pt x="5899405" y="464284"/>
                </a:cubicBezTo>
                <a:close/>
                <a:moveTo>
                  <a:pt x="5759658" y="464284"/>
                </a:moveTo>
                <a:cubicBezTo>
                  <a:pt x="5771207" y="464284"/>
                  <a:pt x="5780447" y="473523"/>
                  <a:pt x="5780447" y="485072"/>
                </a:cubicBezTo>
                <a:cubicBezTo>
                  <a:pt x="5780447" y="496622"/>
                  <a:pt x="5771207" y="505861"/>
                  <a:pt x="5759658" y="505861"/>
                </a:cubicBezTo>
                <a:cubicBezTo>
                  <a:pt x="5748109" y="505861"/>
                  <a:pt x="5738869" y="496622"/>
                  <a:pt x="5738869" y="485072"/>
                </a:cubicBezTo>
                <a:cubicBezTo>
                  <a:pt x="5738869" y="473523"/>
                  <a:pt x="5748109" y="464284"/>
                  <a:pt x="5759658" y="464284"/>
                </a:cubicBezTo>
                <a:close/>
                <a:moveTo>
                  <a:pt x="3241901" y="464284"/>
                </a:moveTo>
                <a:cubicBezTo>
                  <a:pt x="3253450" y="464284"/>
                  <a:pt x="3262690" y="473523"/>
                  <a:pt x="3262690" y="485072"/>
                </a:cubicBezTo>
                <a:cubicBezTo>
                  <a:pt x="3262690" y="496622"/>
                  <a:pt x="3253450" y="505861"/>
                  <a:pt x="3241901" y="505861"/>
                </a:cubicBezTo>
                <a:cubicBezTo>
                  <a:pt x="3230352" y="505861"/>
                  <a:pt x="3221112" y="496622"/>
                  <a:pt x="3221112" y="485072"/>
                </a:cubicBezTo>
                <a:cubicBezTo>
                  <a:pt x="3221112" y="473523"/>
                  <a:pt x="3230352" y="464284"/>
                  <a:pt x="3241901" y="464284"/>
                </a:cubicBezTo>
                <a:close/>
                <a:moveTo>
                  <a:pt x="3102153" y="464284"/>
                </a:moveTo>
                <a:cubicBezTo>
                  <a:pt x="3113703" y="464284"/>
                  <a:pt x="3122942" y="473523"/>
                  <a:pt x="3122942" y="485072"/>
                </a:cubicBezTo>
                <a:cubicBezTo>
                  <a:pt x="3122942" y="496622"/>
                  <a:pt x="3113703" y="505861"/>
                  <a:pt x="3102153" y="505861"/>
                </a:cubicBezTo>
                <a:cubicBezTo>
                  <a:pt x="3090605" y="505861"/>
                  <a:pt x="3081365" y="496622"/>
                  <a:pt x="3081365" y="485072"/>
                </a:cubicBezTo>
                <a:cubicBezTo>
                  <a:pt x="3081365" y="473523"/>
                  <a:pt x="3090605" y="464284"/>
                  <a:pt x="3102153" y="464284"/>
                </a:cubicBezTo>
                <a:close/>
                <a:moveTo>
                  <a:pt x="2962407" y="464284"/>
                </a:moveTo>
                <a:cubicBezTo>
                  <a:pt x="2973956" y="464284"/>
                  <a:pt x="2983196" y="473523"/>
                  <a:pt x="2983196" y="485072"/>
                </a:cubicBezTo>
                <a:cubicBezTo>
                  <a:pt x="2983196" y="496622"/>
                  <a:pt x="2973956" y="505861"/>
                  <a:pt x="2962407" y="505861"/>
                </a:cubicBezTo>
                <a:cubicBezTo>
                  <a:pt x="2950858" y="505861"/>
                  <a:pt x="2941618" y="496622"/>
                  <a:pt x="2941618" y="485072"/>
                </a:cubicBezTo>
                <a:cubicBezTo>
                  <a:pt x="2941618" y="473523"/>
                  <a:pt x="2950858" y="464284"/>
                  <a:pt x="2962407" y="464284"/>
                </a:cubicBezTo>
                <a:close/>
                <a:moveTo>
                  <a:pt x="2822659" y="464284"/>
                </a:moveTo>
                <a:cubicBezTo>
                  <a:pt x="2834209" y="464284"/>
                  <a:pt x="2843448" y="473523"/>
                  <a:pt x="2843448" y="485072"/>
                </a:cubicBezTo>
                <a:cubicBezTo>
                  <a:pt x="2843448" y="496622"/>
                  <a:pt x="2834209" y="505861"/>
                  <a:pt x="2822659" y="505861"/>
                </a:cubicBezTo>
                <a:cubicBezTo>
                  <a:pt x="2811110" y="505861"/>
                  <a:pt x="2801871" y="496622"/>
                  <a:pt x="2801871" y="485072"/>
                </a:cubicBezTo>
                <a:cubicBezTo>
                  <a:pt x="2801871" y="473523"/>
                  <a:pt x="2811110" y="464284"/>
                  <a:pt x="2822659" y="464284"/>
                </a:cubicBezTo>
                <a:close/>
                <a:moveTo>
                  <a:pt x="2682913" y="464284"/>
                </a:moveTo>
                <a:cubicBezTo>
                  <a:pt x="2694462" y="464284"/>
                  <a:pt x="2703702" y="473523"/>
                  <a:pt x="2703702" y="485072"/>
                </a:cubicBezTo>
                <a:cubicBezTo>
                  <a:pt x="2703702" y="496622"/>
                  <a:pt x="2694462" y="505861"/>
                  <a:pt x="2682913" y="505861"/>
                </a:cubicBezTo>
                <a:cubicBezTo>
                  <a:pt x="2671365" y="505861"/>
                  <a:pt x="2662124" y="496622"/>
                  <a:pt x="2662124" y="485072"/>
                </a:cubicBezTo>
                <a:cubicBezTo>
                  <a:pt x="2662124" y="473523"/>
                  <a:pt x="2671365" y="464284"/>
                  <a:pt x="2682913" y="464284"/>
                </a:cubicBezTo>
                <a:close/>
                <a:moveTo>
                  <a:pt x="2543167" y="464284"/>
                </a:moveTo>
                <a:cubicBezTo>
                  <a:pt x="2554715" y="464284"/>
                  <a:pt x="2563954" y="473523"/>
                  <a:pt x="2563954" y="485072"/>
                </a:cubicBezTo>
                <a:cubicBezTo>
                  <a:pt x="2563954" y="496622"/>
                  <a:pt x="2554715" y="505861"/>
                  <a:pt x="2543167" y="505861"/>
                </a:cubicBezTo>
                <a:cubicBezTo>
                  <a:pt x="2531616" y="505861"/>
                  <a:pt x="2522376" y="496622"/>
                  <a:pt x="2522376" y="485072"/>
                </a:cubicBezTo>
                <a:cubicBezTo>
                  <a:pt x="2522376" y="473523"/>
                  <a:pt x="2531616" y="464284"/>
                  <a:pt x="2543167" y="464284"/>
                </a:cubicBezTo>
                <a:close/>
                <a:moveTo>
                  <a:pt x="2403419" y="464284"/>
                </a:moveTo>
                <a:cubicBezTo>
                  <a:pt x="2414969" y="464284"/>
                  <a:pt x="2424209" y="473523"/>
                  <a:pt x="2424209" y="485072"/>
                </a:cubicBezTo>
                <a:cubicBezTo>
                  <a:pt x="2424209" y="496622"/>
                  <a:pt x="2414969" y="505861"/>
                  <a:pt x="2403419" y="505861"/>
                </a:cubicBezTo>
                <a:cubicBezTo>
                  <a:pt x="2391869" y="505861"/>
                  <a:pt x="2382630" y="496622"/>
                  <a:pt x="2382630" y="485072"/>
                </a:cubicBezTo>
                <a:cubicBezTo>
                  <a:pt x="2382630" y="473523"/>
                  <a:pt x="2391869" y="464284"/>
                  <a:pt x="2403419" y="464284"/>
                </a:cubicBezTo>
                <a:close/>
                <a:moveTo>
                  <a:pt x="2263671" y="464284"/>
                </a:moveTo>
                <a:cubicBezTo>
                  <a:pt x="2275221" y="464284"/>
                  <a:pt x="2284460" y="473523"/>
                  <a:pt x="2284460" y="485072"/>
                </a:cubicBezTo>
                <a:cubicBezTo>
                  <a:pt x="2284460" y="496622"/>
                  <a:pt x="2275221" y="505861"/>
                  <a:pt x="2263671" y="505861"/>
                </a:cubicBezTo>
                <a:cubicBezTo>
                  <a:pt x="2252122" y="505861"/>
                  <a:pt x="2242883" y="496622"/>
                  <a:pt x="2242883" y="485072"/>
                </a:cubicBezTo>
                <a:cubicBezTo>
                  <a:pt x="2242883" y="473523"/>
                  <a:pt x="2252122" y="464284"/>
                  <a:pt x="2263671" y="464284"/>
                </a:cubicBezTo>
                <a:close/>
                <a:moveTo>
                  <a:pt x="1426344" y="464284"/>
                </a:moveTo>
                <a:cubicBezTo>
                  <a:pt x="1437894" y="464284"/>
                  <a:pt x="1447133" y="473523"/>
                  <a:pt x="1447133" y="485072"/>
                </a:cubicBezTo>
                <a:cubicBezTo>
                  <a:pt x="1447133" y="496622"/>
                  <a:pt x="1437894" y="505861"/>
                  <a:pt x="1426344" y="505861"/>
                </a:cubicBezTo>
                <a:cubicBezTo>
                  <a:pt x="1414795" y="505861"/>
                  <a:pt x="1405556" y="496622"/>
                  <a:pt x="1405556" y="485072"/>
                </a:cubicBezTo>
                <a:cubicBezTo>
                  <a:pt x="1405556" y="473523"/>
                  <a:pt x="1414795" y="464284"/>
                  <a:pt x="1426344" y="464284"/>
                </a:cubicBezTo>
                <a:close/>
                <a:moveTo>
                  <a:pt x="1286597" y="464284"/>
                </a:moveTo>
                <a:cubicBezTo>
                  <a:pt x="1298146" y="464284"/>
                  <a:pt x="1307386" y="473523"/>
                  <a:pt x="1307386" y="485072"/>
                </a:cubicBezTo>
                <a:cubicBezTo>
                  <a:pt x="1307386" y="496622"/>
                  <a:pt x="1298146" y="505861"/>
                  <a:pt x="1286597" y="505861"/>
                </a:cubicBezTo>
                <a:cubicBezTo>
                  <a:pt x="1275048" y="505861"/>
                  <a:pt x="1265808" y="496622"/>
                  <a:pt x="1265808" y="485072"/>
                </a:cubicBezTo>
                <a:cubicBezTo>
                  <a:pt x="1265808" y="473523"/>
                  <a:pt x="1275048" y="464284"/>
                  <a:pt x="1286597" y="464284"/>
                </a:cubicBezTo>
                <a:close/>
                <a:moveTo>
                  <a:pt x="1146851" y="464284"/>
                </a:moveTo>
                <a:cubicBezTo>
                  <a:pt x="1158400" y="464284"/>
                  <a:pt x="1167639" y="473523"/>
                  <a:pt x="1167639" y="485072"/>
                </a:cubicBezTo>
                <a:cubicBezTo>
                  <a:pt x="1167639" y="496622"/>
                  <a:pt x="1158400" y="505861"/>
                  <a:pt x="1146851" y="505861"/>
                </a:cubicBezTo>
                <a:cubicBezTo>
                  <a:pt x="1135301" y="505861"/>
                  <a:pt x="1126062" y="496622"/>
                  <a:pt x="1126062" y="485072"/>
                </a:cubicBezTo>
                <a:cubicBezTo>
                  <a:pt x="1126062" y="473523"/>
                  <a:pt x="1135301" y="464284"/>
                  <a:pt x="1146851" y="464284"/>
                </a:cubicBezTo>
                <a:close/>
                <a:moveTo>
                  <a:pt x="11343213" y="461974"/>
                </a:moveTo>
                <a:cubicBezTo>
                  <a:pt x="11355918" y="461974"/>
                  <a:pt x="11366312" y="472369"/>
                  <a:pt x="11366312" y="485072"/>
                </a:cubicBezTo>
                <a:cubicBezTo>
                  <a:pt x="11366312" y="497777"/>
                  <a:pt x="11355918" y="508171"/>
                  <a:pt x="11343213" y="508171"/>
                </a:cubicBezTo>
                <a:cubicBezTo>
                  <a:pt x="11330509" y="508171"/>
                  <a:pt x="11320114" y="497777"/>
                  <a:pt x="11320114" y="485072"/>
                </a:cubicBezTo>
                <a:cubicBezTo>
                  <a:pt x="11320114" y="472369"/>
                  <a:pt x="11330509" y="461974"/>
                  <a:pt x="11343213" y="461974"/>
                </a:cubicBezTo>
                <a:close/>
                <a:moveTo>
                  <a:pt x="10225237" y="461974"/>
                </a:moveTo>
                <a:cubicBezTo>
                  <a:pt x="10237942" y="461974"/>
                  <a:pt x="10248335" y="472369"/>
                  <a:pt x="10248335" y="485072"/>
                </a:cubicBezTo>
                <a:cubicBezTo>
                  <a:pt x="10248335" y="497777"/>
                  <a:pt x="10237942" y="508171"/>
                  <a:pt x="10225237" y="508171"/>
                </a:cubicBezTo>
                <a:cubicBezTo>
                  <a:pt x="10212533" y="508171"/>
                  <a:pt x="10202138" y="497777"/>
                  <a:pt x="10202138" y="485072"/>
                </a:cubicBezTo>
                <a:cubicBezTo>
                  <a:pt x="10202138" y="472369"/>
                  <a:pt x="10212533" y="461974"/>
                  <a:pt x="10225237" y="461974"/>
                </a:cubicBezTo>
                <a:close/>
                <a:moveTo>
                  <a:pt x="9112431" y="461974"/>
                </a:moveTo>
                <a:cubicBezTo>
                  <a:pt x="9125136" y="461974"/>
                  <a:pt x="9135530" y="472369"/>
                  <a:pt x="9135530" y="485072"/>
                </a:cubicBezTo>
                <a:cubicBezTo>
                  <a:pt x="9135530" y="497777"/>
                  <a:pt x="9125136" y="508171"/>
                  <a:pt x="9112431" y="508171"/>
                </a:cubicBezTo>
                <a:cubicBezTo>
                  <a:pt x="9099727" y="508171"/>
                  <a:pt x="9089332" y="497777"/>
                  <a:pt x="9089332" y="485072"/>
                </a:cubicBezTo>
                <a:cubicBezTo>
                  <a:pt x="9089332" y="472369"/>
                  <a:pt x="9099727" y="461974"/>
                  <a:pt x="9112431" y="461974"/>
                </a:cubicBezTo>
                <a:close/>
                <a:moveTo>
                  <a:pt x="7994456" y="461974"/>
                </a:moveTo>
                <a:cubicBezTo>
                  <a:pt x="8007160" y="461974"/>
                  <a:pt x="8017555" y="472369"/>
                  <a:pt x="8017555" y="485072"/>
                </a:cubicBezTo>
                <a:cubicBezTo>
                  <a:pt x="8017555" y="497777"/>
                  <a:pt x="8007160" y="508171"/>
                  <a:pt x="7994456" y="508171"/>
                </a:cubicBezTo>
                <a:cubicBezTo>
                  <a:pt x="7981752" y="508171"/>
                  <a:pt x="7971356" y="497777"/>
                  <a:pt x="7971356" y="485072"/>
                </a:cubicBezTo>
                <a:cubicBezTo>
                  <a:pt x="7971356" y="472369"/>
                  <a:pt x="7981752" y="461974"/>
                  <a:pt x="7994456" y="461974"/>
                </a:cubicBezTo>
                <a:close/>
                <a:moveTo>
                  <a:pt x="6737887" y="461974"/>
                </a:moveTo>
                <a:cubicBezTo>
                  <a:pt x="6750591" y="461974"/>
                  <a:pt x="6760986" y="472369"/>
                  <a:pt x="6760986" y="485072"/>
                </a:cubicBezTo>
                <a:cubicBezTo>
                  <a:pt x="6760986" y="497777"/>
                  <a:pt x="6750591" y="508171"/>
                  <a:pt x="6737887" y="508171"/>
                </a:cubicBezTo>
                <a:cubicBezTo>
                  <a:pt x="6725183" y="508171"/>
                  <a:pt x="6714789" y="497777"/>
                  <a:pt x="6714789" y="485072"/>
                </a:cubicBezTo>
                <a:cubicBezTo>
                  <a:pt x="6714789" y="472369"/>
                  <a:pt x="6725183" y="461974"/>
                  <a:pt x="6737887" y="461974"/>
                </a:cubicBezTo>
                <a:close/>
                <a:moveTo>
                  <a:pt x="5619911" y="461974"/>
                </a:moveTo>
                <a:cubicBezTo>
                  <a:pt x="5632616" y="461974"/>
                  <a:pt x="5643008" y="472369"/>
                  <a:pt x="5643008" y="485072"/>
                </a:cubicBezTo>
                <a:cubicBezTo>
                  <a:pt x="5643008" y="497777"/>
                  <a:pt x="5632616" y="508171"/>
                  <a:pt x="5619911" y="508171"/>
                </a:cubicBezTo>
                <a:cubicBezTo>
                  <a:pt x="5607207" y="508171"/>
                  <a:pt x="5596812" y="497777"/>
                  <a:pt x="5596812" y="485072"/>
                </a:cubicBezTo>
                <a:cubicBezTo>
                  <a:pt x="5596812" y="472369"/>
                  <a:pt x="5607207" y="461974"/>
                  <a:pt x="5619911" y="461974"/>
                </a:cubicBezTo>
                <a:close/>
                <a:moveTo>
                  <a:pt x="4499625" y="461974"/>
                </a:moveTo>
                <a:cubicBezTo>
                  <a:pt x="4512329" y="461974"/>
                  <a:pt x="4522722" y="472369"/>
                  <a:pt x="4522722" y="485072"/>
                </a:cubicBezTo>
                <a:cubicBezTo>
                  <a:pt x="4522722" y="497777"/>
                  <a:pt x="4512329" y="508171"/>
                  <a:pt x="4499625" y="508171"/>
                </a:cubicBezTo>
                <a:cubicBezTo>
                  <a:pt x="4486920" y="508171"/>
                  <a:pt x="4476525" y="497777"/>
                  <a:pt x="4476525" y="485072"/>
                </a:cubicBezTo>
                <a:cubicBezTo>
                  <a:pt x="4476525" y="472369"/>
                  <a:pt x="4486920" y="461974"/>
                  <a:pt x="4499625" y="461974"/>
                </a:cubicBezTo>
                <a:close/>
                <a:moveTo>
                  <a:pt x="3381648" y="461974"/>
                </a:moveTo>
                <a:cubicBezTo>
                  <a:pt x="3394352" y="461974"/>
                  <a:pt x="3404746" y="472369"/>
                  <a:pt x="3404746" y="485072"/>
                </a:cubicBezTo>
                <a:cubicBezTo>
                  <a:pt x="3404746" y="497777"/>
                  <a:pt x="3394352" y="508171"/>
                  <a:pt x="3381648" y="508171"/>
                </a:cubicBezTo>
                <a:cubicBezTo>
                  <a:pt x="3368944" y="508171"/>
                  <a:pt x="3358549" y="497777"/>
                  <a:pt x="3358549" y="485072"/>
                </a:cubicBezTo>
                <a:cubicBezTo>
                  <a:pt x="3358549" y="472369"/>
                  <a:pt x="3368944" y="461974"/>
                  <a:pt x="3381648" y="461974"/>
                </a:cubicBezTo>
                <a:close/>
                <a:moveTo>
                  <a:pt x="2125079" y="461974"/>
                </a:moveTo>
                <a:cubicBezTo>
                  <a:pt x="2137784" y="461974"/>
                  <a:pt x="2148178" y="472369"/>
                  <a:pt x="2148178" y="485072"/>
                </a:cubicBezTo>
                <a:cubicBezTo>
                  <a:pt x="2148178" y="497777"/>
                  <a:pt x="2137784" y="508171"/>
                  <a:pt x="2125079" y="508171"/>
                </a:cubicBezTo>
                <a:cubicBezTo>
                  <a:pt x="2112376" y="508171"/>
                  <a:pt x="2101980" y="497777"/>
                  <a:pt x="2101980" y="485072"/>
                </a:cubicBezTo>
                <a:cubicBezTo>
                  <a:pt x="2101980" y="472369"/>
                  <a:pt x="2112376" y="461974"/>
                  <a:pt x="2125079" y="461974"/>
                </a:cubicBezTo>
                <a:close/>
                <a:moveTo>
                  <a:pt x="1007103" y="461974"/>
                </a:moveTo>
                <a:cubicBezTo>
                  <a:pt x="1019808" y="461974"/>
                  <a:pt x="1030201" y="472369"/>
                  <a:pt x="1030201" y="485072"/>
                </a:cubicBezTo>
                <a:cubicBezTo>
                  <a:pt x="1030201" y="497777"/>
                  <a:pt x="1019808" y="508171"/>
                  <a:pt x="1007103" y="508171"/>
                </a:cubicBezTo>
                <a:cubicBezTo>
                  <a:pt x="994399" y="508171"/>
                  <a:pt x="984004" y="497777"/>
                  <a:pt x="984004" y="485072"/>
                </a:cubicBezTo>
                <a:cubicBezTo>
                  <a:pt x="984004" y="472369"/>
                  <a:pt x="994399" y="461974"/>
                  <a:pt x="1007103" y="461974"/>
                </a:cubicBezTo>
                <a:close/>
                <a:moveTo>
                  <a:pt x="11203466" y="456200"/>
                </a:moveTo>
                <a:cubicBezTo>
                  <a:pt x="11218480" y="456200"/>
                  <a:pt x="11232339" y="468903"/>
                  <a:pt x="11232339" y="485072"/>
                </a:cubicBezTo>
                <a:cubicBezTo>
                  <a:pt x="11232339" y="501241"/>
                  <a:pt x="11219636" y="513946"/>
                  <a:pt x="11203466" y="513946"/>
                </a:cubicBezTo>
                <a:cubicBezTo>
                  <a:pt x="11187298" y="513946"/>
                  <a:pt x="11174593" y="501241"/>
                  <a:pt x="11174593" y="485072"/>
                </a:cubicBezTo>
                <a:cubicBezTo>
                  <a:pt x="11174593" y="468903"/>
                  <a:pt x="11187298" y="456200"/>
                  <a:pt x="11203466" y="456200"/>
                </a:cubicBezTo>
                <a:close/>
                <a:moveTo>
                  <a:pt x="10085490" y="456200"/>
                </a:moveTo>
                <a:cubicBezTo>
                  <a:pt x="10101659" y="456200"/>
                  <a:pt x="10114363" y="468903"/>
                  <a:pt x="10114363" y="485072"/>
                </a:cubicBezTo>
                <a:cubicBezTo>
                  <a:pt x="10114363" y="501241"/>
                  <a:pt x="10101659" y="513946"/>
                  <a:pt x="10085490" y="513946"/>
                </a:cubicBezTo>
                <a:cubicBezTo>
                  <a:pt x="10069321" y="513946"/>
                  <a:pt x="10056616" y="501241"/>
                  <a:pt x="10056616" y="485072"/>
                </a:cubicBezTo>
                <a:cubicBezTo>
                  <a:pt x="10056616" y="468903"/>
                  <a:pt x="10069321" y="456200"/>
                  <a:pt x="10085490" y="456200"/>
                </a:cubicBezTo>
                <a:close/>
                <a:moveTo>
                  <a:pt x="9247008" y="456200"/>
                </a:moveTo>
                <a:cubicBezTo>
                  <a:pt x="9263177" y="456200"/>
                  <a:pt x="9275881" y="468903"/>
                  <a:pt x="9275881" y="485072"/>
                </a:cubicBezTo>
                <a:cubicBezTo>
                  <a:pt x="9275881" y="501241"/>
                  <a:pt x="9263177" y="513946"/>
                  <a:pt x="9247008" y="513946"/>
                </a:cubicBezTo>
                <a:cubicBezTo>
                  <a:pt x="9230839" y="513946"/>
                  <a:pt x="9218134" y="501241"/>
                  <a:pt x="9218134" y="485072"/>
                </a:cubicBezTo>
                <a:cubicBezTo>
                  <a:pt x="9218134" y="468903"/>
                  <a:pt x="9230839" y="456200"/>
                  <a:pt x="9247008" y="456200"/>
                </a:cubicBezTo>
                <a:close/>
                <a:moveTo>
                  <a:pt x="8972685" y="456200"/>
                </a:moveTo>
                <a:cubicBezTo>
                  <a:pt x="8988854" y="456200"/>
                  <a:pt x="9001557" y="468903"/>
                  <a:pt x="9001557" y="485072"/>
                </a:cubicBezTo>
                <a:cubicBezTo>
                  <a:pt x="9001557" y="501241"/>
                  <a:pt x="8988854" y="513946"/>
                  <a:pt x="8972685" y="513946"/>
                </a:cubicBezTo>
                <a:cubicBezTo>
                  <a:pt x="8956515" y="513946"/>
                  <a:pt x="8943811" y="501241"/>
                  <a:pt x="8943811" y="485072"/>
                </a:cubicBezTo>
                <a:cubicBezTo>
                  <a:pt x="8943811" y="468903"/>
                  <a:pt x="8956515" y="456200"/>
                  <a:pt x="8972685" y="456200"/>
                </a:cubicBezTo>
                <a:close/>
                <a:moveTo>
                  <a:pt x="8134203" y="456200"/>
                </a:moveTo>
                <a:cubicBezTo>
                  <a:pt x="8150373" y="456200"/>
                  <a:pt x="8163075" y="468903"/>
                  <a:pt x="8163075" y="485072"/>
                </a:cubicBezTo>
                <a:cubicBezTo>
                  <a:pt x="8163075" y="501241"/>
                  <a:pt x="8150373" y="513946"/>
                  <a:pt x="8134203" y="513946"/>
                </a:cubicBezTo>
                <a:cubicBezTo>
                  <a:pt x="8118034" y="513946"/>
                  <a:pt x="8105330" y="501241"/>
                  <a:pt x="8105330" y="485072"/>
                </a:cubicBezTo>
                <a:cubicBezTo>
                  <a:pt x="8105330" y="468903"/>
                  <a:pt x="8118034" y="456200"/>
                  <a:pt x="8134203" y="456200"/>
                </a:cubicBezTo>
                <a:close/>
                <a:moveTo>
                  <a:pt x="6598140" y="456200"/>
                </a:moveTo>
                <a:cubicBezTo>
                  <a:pt x="6613155" y="456200"/>
                  <a:pt x="6627013" y="468903"/>
                  <a:pt x="6627013" y="485072"/>
                </a:cubicBezTo>
                <a:cubicBezTo>
                  <a:pt x="6627013" y="501241"/>
                  <a:pt x="6614309" y="513946"/>
                  <a:pt x="6598140" y="513946"/>
                </a:cubicBezTo>
                <a:cubicBezTo>
                  <a:pt x="6581971" y="513946"/>
                  <a:pt x="6569267" y="501241"/>
                  <a:pt x="6569267" y="485072"/>
                </a:cubicBezTo>
                <a:cubicBezTo>
                  <a:pt x="6569267" y="468903"/>
                  <a:pt x="6581971" y="456200"/>
                  <a:pt x="6598140" y="456200"/>
                </a:cubicBezTo>
                <a:close/>
                <a:moveTo>
                  <a:pt x="5480165" y="456200"/>
                </a:moveTo>
                <a:cubicBezTo>
                  <a:pt x="5496333" y="456200"/>
                  <a:pt x="5509037" y="468903"/>
                  <a:pt x="5509037" y="485072"/>
                </a:cubicBezTo>
                <a:cubicBezTo>
                  <a:pt x="5509037" y="501241"/>
                  <a:pt x="5496333" y="513946"/>
                  <a:pt x="5480165" y="513946"/>
                </a:cubicBezTo>
                <a:cubicBezTo>
                  <a:pt x="5463996" y="513946"/>
                  <a:pt x="5451289" y="501241"/>
                  <a:pt x="5451289" y="485072"/>
                </a:cubicBezTo>
                <a:cubicBezTo>
                  <a:pt x="5451289" y="468903"/>
                  <a:pt x="5463996" y="456200"/>
                  <a:pt x="5480165" y="456200"/>
                </a:cubicBezTo>
                <a:close/>
                <a:moveTo>
                  <a:pt x="4641682" y="456200"/>
                </a:moveTo>
                <a:cubicBezTo>
                  <a:pt x="4657851" y="456200"/>
                  <a:pt x="4670555" y="468903"/>
                  <a:pt x="4670555" y="485072"/>
                </a:cubicBezTo>
                <a:cubicBezTo>
                  <a:pt x="4670555" y="501241"/>
                  <a:pt x="4657851" y="513946"/>
                  <a:pt x="4641682" y="513946"/>
                </a:cubicBezTo>
                <a:cubicBezTo>
                  <a:pt x="4625513" y="513946"/>
                  <a:pt x="4612809" y="501241"/>
                  <a:pt x="4612809" y="485072"/>
                </a:cubicBezTo>
                <a:cubicBezTo>
                  <a:pt x="4612809" y="468903"/>
                  <a:pt x="4625513" y="456200"/>
                  <a:pt x="4641682" y="456200"/>
                </a:cubicBezTo>
                <a:close/>
                <a:moveTo>
                  <a:pt x="4359878" y="456200"/>
                </a:moveTo>
                <a:cubicBezTo>
                  <a:pt x="4376046" y="456200"/>
                  <a:pt x="4388751" y="468903"/>
                  <a:pt x="4388751" y="485072"/>
                </a:cubicBezTo>
                <a:cubicBezTo>
                  <a:pt x="4388751" y="501241"/>
                  <a:pt x="4376046" y="513946"/>
                  <a:pt x="4359878" y="513946"/>
                </a:cubicBezTo>
                <a:cubicBezTo>
                  <a:pt x="4343709" y="513946"/>
                  <a:pt x="4331003" y="501241"/>
                  <a:pt x="4331003" y="485072"/>
                </a:cubicBezTo>
                <a:cubicBezTo>
                  <a:pt x="4331003" y="468903"/>
                  <a:pt x="4343709" y="456200"/>
                  <a:pt x="4359878" y="456200"/>
                </a:cubicBezTo>
                <a:close/>
                <a:moveTo>
                  <a:pt x="3521396" y="456200"/>
                </a:moveTo>
                <a:cubicBezTo>
                  <a:pt x="3537564" y="456200"/>
                  <a:pt x="3550268" y="468903"/>
                  <a:pt x="3550268" y="485072"/>
                </a:cubicBezTo>
                <a:cubicBezTo>
                  <a:pt x="3550268" y="501241"/>
                  <a:pt x="3537564" y="513946"/>
                  <a:pt x="3521396" y="513946"/>
                </a:cubicBezTo>
                <a:cubicBezTo>
                  <a:pt x="3505226" y="513946"/>
                  <a:pt x="3492521" y="501241"/>
                  <a:pt x="3492521" y="485072"/>
                </a:cubicBezTo>
                <a:cubicBezTo>
                  <a:pt x="3492521" y="468903"/>
                  <a:pt x="3505226" y="456200"/>
                  <a:pt x="3521396" y="456200"/>
                </a:cubicBezTo>
                <a:close/>
                <a:moveTo>
                  <a:pt x="1985333" y="456200"/>
                </a:moveTo>
                <a:cubicBezTo>
                  <a:pt x="2000346" y="456200"/>
                  <a:pt x="2014205" y="468903"/>
                  <a:pt x="2014205" y="485072"/>
                </a:cubicBezTo>
                <a:cubicBezTo>
                  <a:pt x="2014205" y="501241"/>
                  <a:pt x="2001502" y="513946"/>
                  <a:pt x="1985333" y="513946"/>
                </a:cubicBezTo>
                <a:cubicBezTo>
                  <a:pt x="1969164" y="513946"/>
                  <a:pt x="1956459" y="501241"/>
                  <a:pt x="1956459" y="485072"/>
                </a:cubicBezTo>
                <a:cubicBezTo>
                  <a:pt x="1956459" y="468903"/>
                  <a:pt x="1969164" y="456200"/>
                  <a:pt x="1985333" y="456200"/>
                </a:cubicBezTo>
                <a:close/>
                <a:moveTo>
                  <a:pt x="867356" y="456200"/>
                </a:moveTo>
                <a:cubicBezTo>
                  <a:pt x="883525" y="456200"/>
                  <a:pt x="896229" y="468903"/>
                  <a:pt x="896229" y="485072"/>
                </a:cubicBezTo>
                <a:cubicBezTo>
                  <a:pt x="896229" y="501241"/>
                  <a:pt x="883525" y="513946"/>
                  <a:pt x="867356" y="513946"/>
                </a:cubicBezTo>
                <a:cubicBezTo>
                  <a:pt x="851187" y="513946"/>
                  <a:pt x="838482" y="501241"/>
                  <a:pt x="838482" y="485072"/>
                </a:cubicBezTo>
                <a:cubicBezTo>
                  <a:pt x="838482" y="468903"/>
                  <a:pt x="851187" y="456200"/>
                  <a:pt x="867356" y="456200"/>
                </a:cubicBezTo>
                <a:close/>
                <a:moveTo>
                  <a:pt x="28874" y="456200"/>
                </a:moveTo>
                <a:cubicBezTo>
                  <a:pt x="45043" y="456200"/>
                  <a:pt x="57747" y="468903"/>
                  <a:pt x="57747" y="485072"/>
                </a:cubicBezTo>
                <a:cubicBezTo>
                  <a:pt x="57747" y="501241"/>
                  <a:pt x="45043" y="513946"/>
                  <a:pt x="28874" y="513946"/>
                </a:cubicBezTo>
                <a:cubicBezTo>
                  <a:pt x="12705" y="513946"/>
                  <a:pt x="0" y="501241"/>
                  <a:pt x="0" y="485072"/>
                </a:cubicBezTo>
                <a:cubicBezTo>
                  <a:pt x="0" y="468903"/>
                  <a:pt x="12705" y="456200"/>
                  <a:pt x="28874" y="456200"/>
                </a:cubicBezTo>
                <a:close/>
                <a:moveTo>
                  <a:pt x="11063719" y="449270"/>
                </a:moveTo>
                <a:cubicBezTo>
                  <a:pt x="11082198" y="449270"/>
                  <a:pt x="11098367" y="465439"/>
                  <a:pt x="11098367" y="483918"/>
                </a:cubicBezTo>
                <a:cubicBezTo>
                  <a:pt x="11098367" y="502397"/>
                  <a:pt x="11083353" y="518566"/>
                  <a:pt x="11063719" y="518566"/>
                </a:cubicBezTo>
                <a:cubicBezTo>
                  <a:pt x="11045240" y="518566"/>
                  <a:pt x="11029071" y="502397"/>
                  <a:pt x="11029071" y="483918"/>
                </a:cubicBezTo>
                <a:cubicBezTo>
                  <a:pt x="11029071" y="465439"/>
                  <a:pt x="11044086" y="449270"/>
                  <a:pt x="11063719" y="449270"/>
                </a:cubicBezTo>
                <a:close/>
                <a:moveTo>
                  <a:pt x="9945743" y="449270"/>
                </a:moveTo>
                <a:cubicBezTo>
                  <a:pt x="9965377" y="449270"/>
                  <a:pt x="9980391" y="465439"/>
                  <a:pt x="9980391" y="483918"/>
                </a:cubicBezTo>
                <a:cubicBezTo>
                  <a:pt x="9980391" y="502397"/>
                  <a:pt x="9964222" y="518566"/>
                  <a:pt x="9945743" y="518566"/>
                </a:cubicBezTo>
                <a:cubicBezTo>
                  <a:pt x="9927264" y="518566"/>
                  <a:pt x="9911094" y="502397"/>
                  <a:pt x="9911094" y="483918"/>
                </a:cubicBezTo>
                <a:cubicBezTo>
                  <a:pt x="9911094" y="465439"/>
                  <a:pt x="9926109" y="449270"/>
                  <a:pt x="9945743" y="449270"/>
                </a:cubicBezTo>
                <a:close/>
                <a:moveTo>
                  <a:pt x="9386754" y="449270"/>
                </a:moveTo>
                <a:cubicBezTo>
                  <a:pt x="9406389" y="449270"/>
                  <a:pt x="9421402" y="465439"/>
                  <a:pt x="9421402" y="483918"/>
                </a:cubicBezTo>
                <a:cubicBezTo>
                  <a:pt x="9421402" y="502397"/>
                  <a:pt x="9405233" y="518566"/>
                  <a:pt x="9386754" y="518566"/>
                </a:cubicBezTo>
                <a:cubicBezTo>
                  <a:pt x="9368275" y="518566"/>
                  <a:pt x="9352106" y="502397"/>
                  <a:pt x="9352106" y="483918"/>
                </a:cubicBezTo>
                <a:cubicBezTo>
                  <a:pt x="9352106" y="465439"/>
                  <a:pt x="9367121" y="449270"/>
                  <a:pt x="9386754" y="449270"/>
                </a:cubicBezTo>
                <a:close/>
                <a:moveTo>
                  <a:pt x="8832937" y="449270"/>
                </a:moveTo>
                <a:cubicBezTo>
                  <a:pt x="8852571" y="449270"/>
                  <a:pt x="8867585" y="465439"/>
                  <a:pt x="8867585" y="483918"/>
                </a:cubicBezTo>
                <a:cubicBezTo>
                  <a:pt x="8867585" y="502397"/>
                  <a:pt x="8852571" y="518566"/>
                  <a:pt x="8832937" y="518566"/>
                </a:cubicBezTo>
                <a:cubicBezTo>
                  <a:pt x="8814458" y="518566"/>
                  <a:pt x="8798289" y="502397"/>
                  <a:pt x="8798289" y="483918"/>
                </a:cubicBezTo>
                <a:cubicBezTo>
                  <a:pt x="8798289" y="465439"/>
                  <a:pt x="8813304" y="449270"/>
                  <a:pt x="8832937" y="449270"/>
                </a:cubicBezTo>
                <a:close/>
                <a:moveTo>
                  <a:pt x="8273949" y="449270"/>
                </a:moveTo>
                <a:cubicBezTo>
                  <a:pt x="8293584" y="449270"/>
                  <a:pt x="8308598" y="465439"/>
                  <a:pt x="8308598" y="483918"/>
                </a:cubicBezTo>
                <a:cubicBezTo>
                  <a:pt x="8308598" y="502397"/>
                  <a:pt x="8293584" y="518566"/>
                  <a:pt x="8273949" y="518566"/>
                </a:cubicBezTo>
                <a:cubicBezTo>
                  <a:pt x="8255471" y="518566"/>
                  <a:pt x="8239301" y="502397"/>
                  <a:pt x="8239301" y="483918"/>
                </a:cubicBezTo>
                <a:cubicBezTo>
                  <a:pt x="8239301" y="465439"/>
                  <a:pt x="8254316" y="449270"/>
                  <a:pt x="8273949" y="449270"/>
                </a:cubicBezTo>
                <a:close/>
                <a:moveTo>
                  <a:pt x="6458393" y="449270"/>
                </a:moveTo>
                <a:cubicBezTo>
                  <a:pt x="6476871" y="449270"/>
                  <a:pt x="6493041" y="465439"/>
                  <a:pt x="6493041" y="483918"/>
                </a:cubicBezTo>
                <a:cubicBezTo>
                  <a:pt x="6493041" y="502397"/>
                  <a:pt x="6476871" y="518566"/>
                  <a:pt x="6458393" y="518566"/>
                </a:cubicBezTo>
                <a:cubicBezTo>
                  <a:pt x="6439914" y="518566"/>
                  <a:pt x="6423745" y="502397"/>
                  <a:pt x="6423745" y="483918"/>
                </a:cubicBezTo>
                <a:cubicBezTo>
                  <a:pt x="6423745" y="465439"/>
                  <a:pt x="6438760" y="449270"/>
                  <a:pt x="6458393" y="449270"/>
                </a:cubicBezTo>
                <a:close/>
                <a:moveTo>
                  <a:pt x="5340416" y="449270"/>
                </a:moveTo>
                <a:cubicBezTo>
                  <a:pt x="5360051" y="449270"/>
                  <a:pt x="5375064" y="465439"/>
                  <a:pt x="5375064" y="483918"/>
                </a:cubicBezTo>
                <a:cubicBezTo>
                  <a:pt x="5375064" y="502397"/>
                  <a:pt x="5358895" y="518566"/>
                  <a:pt x="5340416" y="518566"/>
                </a:cubicBezTo>
                <a:cubicBezTo>
                  <a:pt x="5321938" y="518566"/>
                  <a:pt x="5305769" y="502397"/>
                  <a:pt x="5305769" y="483918"/>
                </a:cubicBezTo>
                <a:cubicBezTo>
                  <a:pt x="5305769" y="465439"/>
                  <a:pt x="5320783" y="449270"/>
                  <a:pt x="5340416" y="449270"/>
                </a:cubicBezTo>
                <a:close/>
                <a:moveTo>
                  <a:pt x="4781429" y="449270"/>
                </a:moveTo>
                <a:cubicBezTo>
                  <a:pt x="4801062" y="449270"/>
                  <a:pt x="4816075" y="465439"/>
                  <a:pt x="4816075" y="483918"/>
                </a:cubicBezTo>
                <a:cubicBezTo>
                  <a:pt x="4816075" y="502397"/>
                  <a:pt x="4799906" y="518566"/>
                  <a:pt x="4781429" y="518566"/>
                </a:cubicBezTo>
                <a:cubicBezTo>
                  <a:pt x="4762949" y="518566"/>
                  <a:pt x="4746781" y="502397"/>
                  <a:pt x="4746781" y="483918"/>
                </a:cubicBezTo>
                <a:cubicBezTo>
                  <a:pt x="4746781" y="465439"/>
                  <a:pt x="4761794" y="449270"/>
                  <a:pt x="4781429" y="449270"/>
                </a:cubicBezTo>
                <a:close/>
                <a:moveTo>
                  <a:pt x="4220129" y="449270"/>
                </a:moveTo>
                <a:cubicBezTo>
                  <a:pt x="4239764" y="449270"/>
                  <a:pt x="4254779" y="465439"/>
                  <a:pt x="4254779" y="483918"/>
                </a:cubicBezTo>
                <a:cubicBezTo>
                  <a:pt x="4254779" y="502397"/>
                  <a:pt x="4239764" y="518566"/>
                  <a:pt x="4220129" y="518566"/>
                </a:cubicBezTo>
                <a:cubicBezTo>
                  <a:pt x="4201651" y="518566"/>
                  <a:pt x="4185482" y="502397"/>
                  <a:pt x="4185482" y="483918"/>
                </a:cubicBezTo>
                <a:cubicBezTo>
                  <a:pt x="4185482" y="465439"/>
                  <a:pt x="4200498" y="449270"/>
                  <a:pt x="4220129" y="449270"/>
                </a:cubicBezTo>
                <a:close/>
                <a:moveTo>
                  <a:pt x="3661142" y="449270"/>
                </a:moveTo>
                <a:cubicBezTo>
                  <a:pt x="3680776" y="449270"/>
                  <a:pt x="3695791" y="465439"/>
                  <a:pt x="3695791" y="483918"/>
                </a:cubicBezTo>
                <a:cubicBezTo>
                  <a:pt x="3695791" y="502397"/>
                  <a:pt x="3680776" y="518566"/>
                  <a:pt x="3661142" y="518566"/>
                </a:cubicBezTo>
                <a:cubicBezTo>
                  <a:pt x="3642663" y="518566"/>
                  <a:pt x="3626494" y="502397"/>
                  <a:pt x="3626494" y="483918"/>
                </a:cubicBezTo>
                <a:cubicBezTo>
                  <a:pt x="3626494" y="465439"/>
                  <a:pt x="3641508" y="449270"/>
                  <a:pt x="3661142" y="449270"/>
                </a:cubicBezTo>
                <a:close/>
                <a:moveTo>
                  <a:pt x="1845585" y="449270"/>
                </a:moveTo>
                <a:cubicBezTo>
                  <a:pt x="1864064" y="449270"/>
                  <a:pt x="1880233" y="465439"/>
                  <a:pt x="1880233" y="483918"/>
                </a:cubicBezTo>
                <a:cubicBezTo>
                  <a:pt x="1880233" y="502397"/>
                  <a:pt x="1865220" y="518566"/>
                  <a:pt x="1845585" y="518566"/>
                </a:cubicBezTo>
                <a:cubicBezTo>
                  <a:pt x="1827106" y="518566"/>
                  <a:pt x="1810937" y="502397"/>
                  <a:pt x="1810937" y="483918"/>
                </a:cubicBezTo>
                <a:cubicBezTo>
                  <a:pt x="1810937" y="465439"/>
                  <a:pt x="1825952" y="449270"/>
                  <a:pt x="1845585" y="449270"/>
                </a:cubicBezTo>
                <a:close/>
                <a:moveTo>
                  <a:pt x="727609" y="449270"/>
                </a:moveTo>
                <a:cubicBezTo>
                  <a:pt x="747243" y="449270"/>
                  <a:pt x="762257" y="465439"/>
                  <a:pt x="762257" y="483918"/>
                </a:cubicBezTo>
                <a:cubicBezTo>
                  <a:pt x="762257" y="502397"/>
                  <a:pt x="746088" y="518566"/>
                  <a:pt x="727609" y="518566"/>
                </a:cubicBezTo>
                <a:cubicBezTo>
                  <a:pt x="709130" y="518566"/>
                  <a:pt x="692961" y="502397"/>
                  <a:pt x="692961" y="483918"/>
                </a:cubicBezTo>
                <a:cubicBezTo>
                  <a:pt x="692961" y="465439"/>
                  <a:pt x="707976" y="449270"/>
                  <a:pt x="727609" y="449270"/>
                </a:cubicBezTo>
                <a:close/>
                <a:moveTo>
                  <a:pt x="168621" y="449270"/>
                </a:moveTo>
                <a:cubicBezTo>
                  <a:pt x="188255" y="449270"/>
                  <a:pt x="203269" y="465439"/>
                  <a:pt x="203269" y="483918"/>
                </a:cubicBezTo>
                <a:cubicBezTo>
                  <a:pt x="203269" y="502397"/>
                  <a:pt x="187100" y="518566"/>
                  <a:pt x="168621" y="518566"/>
                </a:cubicBezTo>
                <a:cubicBezTo>
                  <a:pt x="150142" y="518566"/>
                  <a:pt x="133973" y="502397"/>
                  <a:pt x="133973" y="483918"/>
                </a:cubicBezTo>
                <a:cubicBezTo>
                  <a:pt x="133973" y="465439"/>
                  <a:pt x="148988" y="449270"/>
                  <a:pt x="168621" y="449270"/>
                </a:cubicBezTo>
                <a:close/>
                <a:moveTo>
                  <a:pt x="10923972" y="443495"/>
                </a:moveTo>
                <a:cubicBezTo>
                  <a:pt x="10945916" y="443495"/>
                  <a:pt x="10964394" y="461974"/>
                  <a:pt x="10964394" y="483918"/>
                </a:cubicBezTo>
                <a:cubicBezTo>
                  <a:pt x="10964394" y="505861"/>
                  <a:pt x="10945916" y="524340"/>
                  <a:pt x="10923972" y="524340"/>
                </a:cubicBezTo>
                <a:cubicBezTo>
                  <a:pt x="10902028" y="524340"/>
                  <a:pt x="10883549" y="505861"/>
                  <a:pt x="10883549" y="483918"/>
                </a:cubicBezTo>
                <a:cubicBezTo>
                  <a:pt x="10883549" y="461974"/>
                  <a:pt x="10902028" y="443495"/>
                  <a:pt x="10923972" y="443495"/>
                </a:cubicBezTo>
                <a:close/>
                <a:moveTo>
                  <a:pt x="9805996" y="443495"/>
                </a:moveTo>
                <a:cubicBezTo>
                  <a:pt x="9827939" y="443495"/>
                  <a:pt x="9846418" y="461974"/>
                  <a:pt x="9846418" y="483918"/>
                </a:cubicBezTo>
                <a:cubicBezTo>
                  <a:pt x="9846418" y="505861"/>
                  <a:pt x="9827939" y="524340"/>
                  <a:pt x="9805996" y="524340"/>
                </a:cubicBezTo>
                <a:cubicBezTo>
                  <a:pt x="9784052" y="524340"/>
                  <a:pt x="9765573" y="505861"/>
                  <a:pt x="9765573" y="483918"/>
                </a:cubicBezTo>
                <a:cubicBezTo>
                  <a:pt x="9765573" y="461974"/>
                  <a:pt x="9784052" y="443495"/>
                  <a:pt x="9805996" y="443495"/>
                </a:cubicBezTo>
                <a:close/>
                <a:moveTo>
                  <a:pt x="9526502" y="443495"/>
                </a:moveTo>
                <a:cubicBezTo>
                  <a:pt x="9548445" y="443495"/>
                  <a:pt x="9566924" y="461974"/>
                  <a:pt x="9566924" y="483918"/>
                </a:cubicBezTo>
                <a:cubicBezTo>
                  <a:pt x="9566924" y="505861"/>
                  <a:pt x="9548445" y="524340"/>
                  <a:pt x="9526502" y="524340"/>
                </a:cubicBezTo>
                <a:cubicBezTo>
                  <a:pt x="9504558" y="524340"/>
                  <a:pt x="9486079" y="505861"/>
                  <a:pt x="9486079" y="483918"/>
                </a:cubicBezTo>
                <a:cubicBezTo>
                  <a:pt x="9486079" y="461974"/>
                  <a:pt x="9504558" y="443495"/>
                  <a:pt x="9526502" y="443495"/>
                </a:cubicBezTo>
                <a:close/>
                <a:moveTo>
                  <a:pt x="8693190" y="443495"/>
                </a:moveTo>
                <a:cubicBezTo>
                  <a:pt x="8715134" y="443495"/>
                  <a:pt x="8733613" y="461974"/>
                  <a:pt x="8733613" y="483918"/>
                </a:cubicBezTo>
                <a:cubicBezTo>
                  <a:pt x="8733613" y="505861"/>
                  <a:pt x="8715134" y="524340"/>
                  <a:pt x="8693190" y="524340"/>
                </a:cubicBezTo>
                <a:cubicBezTo>
                  <a:pt x="8671246" y="524340"/>
                  <a:pt x="8652767" y="505861"/>
                  <a:pt x="8652767" y="483918"/>
                </a:cubicBezTo>
                <a:cubicBezTo>
                  <a:pt x="8652767" y="461974"/>
                  <a:pt x="8671246" y="443495"/>
                  <a:pt x="8693190" y="443495"/>
                </a:cubicBezTo>
                <a:close/>
                <a:moveTo>
                  <a:pt x="8413696" y="443495"/>
                </a:moveTo>
                <a:cubicBezTo>
                  <a:pt x="8435640" y="443495"/>
                  <a:pt x="8454118" y="461974"/>
                  <a:pt x="8454118" y="483918"/>
                </a:cubicBezTo>
                <a:cubicBezTo>
                  <a:pt x="8454118" y="505861"/>
                  <a:pt x="8435640" y="524340"/>
                  <a:pt x="8413696" y="524340"/>
                </a:cubicBezTo>
                <a:cubicBezTo>
                  <a:pt x="8391752" y="524340"/>
                  <a:pt x="8373274" y="505861"/>
                  <a:pt x="8373274" y="483918"/>
                </a:cubicBezTo>
                <a:cubicBezTo>
                  <a:pt x="8373274" y="461974"/>
                  <a:pt x="8391752" y="443495"/>
                  <a:pt x="8413696" y="443495"/>
                </a:cubicBezTo>
                <a:close/>
                <a:moveTo>
                  <a:pt x="6318647" y="443495"/>
                </a:moveTo>
                <a:cubicBezTo>
                  <a:pt x="6340589" y="443495"/>
                  <a:pt x="6359068" y="461974"/>
                  <a:pt x="6359068" y="483918"/>
                </a:cubicBezTo>
                <a:cubicBezTo>
                  <a:pt x="6359068" y="505861"/>
                  <a:pt x="6340589" y="524340"/>
                  <a:pt x="6318647" y="524340"/>
                </a:cubicBezTo>
                <a:cubicBezTo>
                  <a:pt x="6296702" y="524340"/>
                  <a:pt x="6278223" y="505861"/>
                  <a:pt x="6278223" y="483918"/>
                </a:cubicBezTo>
                <a:cubicBezTo>
                  <a:pt x="6278223" y="461974"/>
                  <a:pt x="6296702" y="443495"/>
                  <a:pt x="6318647" y="443495"/>
                </a:cubicBezTo>
                <a:close/>
                <a:moveTo>
                  <a:pt x="5200669" y="443495"/>
                </a:moveTo>
                <a:cubicBezTo>
                  <a:pt x="5222613" y="443495"/>
                  <a:pt x="5241093" y="461974"/>
                  <a:pt x="5241093" y="483918"/>
                </a:cubicBezTo>
                <a:cubicBezTo>
                  <a:pt x="5241093" y="505861"/>
                  <a:pt x="5222613" y="524340"/>
                  <a:pt x="5200669" y="524340"/>
                </a:cubicBezTo>
                <a:cubicBezTo>
                  <a:pt x="5178725" y="524340"/>
                  <a:pt x="5160247" y="505861"/>
                  <a:pt x="5160247" y="483918"/>
                </a:cubicBezTo>
                <a:cubicBezTo>
                  <a:pt x="5160247" y="461974"/>
                  <a:pt x="5178725" y="443495"/>
                  <a:pt x="5200669" y="443495"/>
                </a:cubicBezTo>
                <a:close/>
                <a:moveTo>
                  <a:pt x="4921176" y="443495"/>
                </a:moveTo>
                <a:cubicBezTo>
                  <a:pt x="4944275" y="443495"/>
                  <a:pt x="4961597" y="461974"/>
                  <a:pt x="4961597" y="483918"/>
                </a:cubicBezTo>
                <a:cubicBezTo>
                  <a:pt x="4961597" y="505861"/>
                  <a:pt x="4943120" y="524340"/>
                  <a:pt x="4921176" y="524340"/>
                </a:cubicBezTo>
                <a:cubicBezTo>
                  <a:pt x="4899232" y="524340"/>
                  <a:pt x="4880752" y="505861"/>
                  <a:pt x="4880752" y="483918"/>
                </a:cubicBezTo>
                <a:cubicBezTo>
                  <a:pt x="4880752" y="461974"/>
                  <a:pt x="4899232" y="443495"/>
                  <a:pt x="4921176" y="443495"/>
                </a:cubicBezTo>
                <a:close/>
                <a:moveTo>
                  <a:pt x="4080383" y="443495"/>
                </a:moveTo>
                <a:cubicBezTo>
                  <a:pt x="4102326" y="443495"/>
                  <a:pt x="4120806" y="461974"/>
                  <a:pt x="4120806" y="483918"/>
                </a:cubicBezTo>
                <a:cubicBezTo>
                  <a:pt x="4120806" y="505861"/>
                  <a:pt x="4102326" y="524340"/>
                  <a:pt x="4080383" y="524340"/>
                </a:cubicBezTo>
                <a:cubicBezTo>
                  <a:pt x="4058439" y="524340"/>
                  <a:pt x="4039961" y="505861"/>
                  <a:pt x="4039961" y="483918"/>
                </a:cubicBezTo>
                <a:cubicBezTo>
                  <a:pt x="4039961" y="461974"/>
                  <a:pt x="4058439" y="443495"/>
                  <a:pt x="4080383" y="443495"/>
                </a:cubicBezTo>
                <a:close/>
                <a:moveTo>
                  <a:pt x="3800889" y="443495"/>
                </a:moveTo>
                <a:cubicBezTo>
                  <a:pt x="3822833" y="443495"/>
                  <a:pt x="3841311" y="461974"/>
                  <a:pt x="3841311" y="483918"/>
                </a:cubicBezTo>
                <a:cubicBezTo>
                  <a:pt x="3841311" y="505861"/>
                  <a:pt x="3822833" y="524340"/>
                  <a:pt x="3800889" y="524340"/>
                </a:cubicBezTo>
                <a:cubicBezTo>
                  <a:pt x="3778945" y="524340"/>
                  <a:pt x="3760466" y="505861"/>
                  <a:pt x="3760466" y="483918"/>
                </a:cubicBezTo>
                <a:cubicBezTo>
                  <a:pt x="3760466" y="461974"/>
                  <a:pt x="3778945" y="443495"/>
                  <a:pt x="3800889" y="443495"/>
                </a:cubicBezTo>
                <a:close/>
                <a:moveTo>
                  <a:pt x="1705839" y="443495"/>
                </a:moveTo>
                <a:cubicBezTo>
                  <a:pt x="1727782" y="443495"/>
                  <a:pt x="1746261" y="461974"/>
                  <a:pt x="1746261" y="483918"/>
                </a:cubicBezTo>
                <a:cubicBezTo>
                  <a:pt x="1746261" y="505861"/>
                  <a:pt x="1727782" y="524340"/>
                  <a:pt x="1705839" y="524340"/>
                </a:cubicBezTo>
                <a:cubicBezTo>
                  <a:pt x="1683894" y="524340"/>
                  <a:pt x="1665415" y="505861"/>
                  <a:pt x="1665415" y="483918"/>
                </a:cubicBezTo>
                <a:cubicBezTo>
                  <a:pt x="1665415" y="461974"/>
                  <a:pt x="1683894" y="443495"/>
                  <a:pt x="1705839" y="443495"/>
                </a:cubicBezTo>
                <a:close/>
                <a:moveTo>
                  <a:pt x="587862" y="443495"/>
                </a:moveTo>
                <a:cubicBezTo>
                  <a:pt x="609806" y="443495"/>
                  <a:pt x="628284" y="461974"/>
                  <a:pt x="628284" y="483918"/>
                </a:cubicBezTo>
                <a:cubicBezTo>
                  <a:pt x="628284" y="505861"/>
                  <a:pt x="609806" y="524340"/>
                  <a:pt x="587862" y="524340"/>
                </a:cubicBezTo>
                <a:cubicBezTo>
                  <a:pt x="565918" y="524340"/>
                  <a:pt x="547439" y="505861"/>
                  <a:pt x="547439" y="483918"/>
                </a:cubicBezTo>
                <a:cubicBezTo>
                  <a:pt x="547439" y="461974"/>
                  <a:pt x="565918" y="443495"/>
                  <a:pt x="587862" y="443495"/>
                </a:cubicBezTo>
                <a:close/>
                <a:moveTo>
                  <a:pt x="308368" y="443495"/>
                </a:moveTo>
                <a:cubicBezTo>
                  <a:pt x="330311" y="443495"/>
                  <a:pt x="348790" y="461974"/>
                  <a:pt x="348790" y="483918"/>
                </a:cubicBezTo>
                <a:cubicBezTo>
                  <a:pt x="348790" y="505861"/>
                  <a:pt x="330311" y="524340"/>
                  <a:pt x="308368" y="524340"/>
                </a:cubicBezTo>
                <a:cubicBezTo>
                  <a:pt x="286424" y="524340"/>
                  <a:pt x="267945" y="505861"/>
                  <a:pt x="267945" y="483918"/>
                </a:cubicBezTo>
                <a:cubicBezTo>
                  <a:pt x="267945" y="461974"/>
                  <a:pt x="286424" y="443495"/>
                  <a:pt x="308368" y="443495"/>
                </a:cubicBezTo>
                <a:close/>
                <a:moveTo>
                  <a:pt x="10784225" y="433101"/>
                </a:moveTo>
                <a:cubicBezTo>
                  <a:pt x="10811943" y="433101"/>
                  <a:pt x="10835042" y="456200"/>
                  <a:pt x="10835042" y="483918"/>
                </a:cubicBezTo>
                <a:cubicBezTo>
                  <a:pt x="10835042" y="511636"/>
                  <a:pt x="10811943" y="534735"/>
                  <a:pt x="10784225" y="534735"/>
                </a:cubicBezTo>
                <a:cubicBezTo>
                  <a:pt x="10756506" y="534735"/>
                  <a:pt x="10733408" y="511636"/>
                  <a:pt x="10733408" y="483918"/>
                </a:cubicBezTo>
                <a:cubicBezTo>
                  <a:pt x="10733408" y="456200"/>
                  <a:pt x="10755352" y="433101"/>
                  <a:pt x="10784225" y="433101"/>
                </a:cubicBezTo>
                <a:close/>
                <a:moveTo>
                  <a:pt x="9666248" y="433101"/>
                </a:moveTo>
                <a:cubicBezTo>
                  <a:pt x="9695122" y="433101"/>
                  <a:pt x="9717066" y="456200"/>
                  <a:pt x="9717066" y="483918"/>
                </a:cubicBezTo>
                <a:cubicBezTo>
                  <a:pt x="9717066" y="511636"/>
                  <a:pt x="9695122" y="534735"/>
                  <a:pt x="9666248" y="534735"/>
                </a:cubicBezTo>
                <a:cubicBezTo>
                  <a:pt x="9638530" y="534735"/>
                  <a:pt x="9615431" y="511636"/>
                  <a:pt x="9615431" y="483918"/>
                </a:cubicBezTo>
                <a:cubicBezTo>
                  <a:pt x="9615431" y="456200"/>
                  <a:pt x="9637376" y="433101"/>
                  <a:pt x="9666248" y="433101"/>
                </a:cubicBezTo>
                <a:close/>
                <a:moveTo>
                  <a:pt x="8553443" y="433101"/>
                </a:moveTo>
                <a:cubicBezTo>
                  <a:pt x="8582317" y="433101"/>
                  <a:pt x="8604260" y="456200"/>
                  <a:pt x="8604260" y="483918"/>
                </a:cubicBezTo>
                <a:cubicBezTo>
                  <a:pt x="8604260" y="511636"/>
                  <a:pt x="8582317" y="534735"/>
                  <a:pt x="8553443" y="534735"/>
                </a:cubicBezTo>
                <a:cubicBezTo>
                  <a:pt x="8525724" y="534735"/>
                  <a:pt x="8502626" y="511636"/>
                  <a:pt x="8502626" y="483918"/>
                </a:cubicBezTo>
                <a:cubicBezTo>
                  <a:pt x="8502626" y="456200"/>
                  <a:pt x="8524570" y="433101"/>
                  <a:pt x="8553443" y="433101"/>
                </a:cubicBezTo>
                <a:close/>
                <a:moveTo>
                  <a:pt x="6178898" y="433101"/>
                </a:moveTo>
                <a:cubicBezTo>
                  <a:pt x="6206618" y="433101"/>
                  <a:pt x="6229715" y="456200"/>
                  <a:pt x="6229715" y="483918"/>
                </a:cubicBezTo>
                <a:cubicBezTo>
                  <a:pt x="6229715" y="511636"/>
                  <a:pt x="6206618" y="534735"/>
                  <a:pt x="6178898" y="534735"/>
                </a:cubicBezTo>
                <a:cubicBezTo>
                  <a:pt x="6151180" y="534735"/>
                  <a:pt x="6128081" y="511636"/>
                  <a:pt x="6128081" y="483918"/>
                </a:cubicBezTo>
                <a:cubicBezTo>
                  <a:pt x="6128081" y="456200"/>
                  <a:pt x="6150025" y="433101"/>
                  <a:pt x="6178898" y="433101"/>
                </a:cubicBezTo>
                <a:close/>
                <a:moveTo>
                  <a:pt x="5060922" y="433101"/>
                </a:moveTo>
                <a:cubicBezTo>
                  <a:pt x="5089795" y="433101"/>
                  <a:pt x="5111739" y="456200"/>
                  <a:pt x="5111739" y="483918"/>
                </a:cubicBezTo>
                <a:cubicBezTo>
                  <a:pt x="5111739" y="511636"/>
                  <a:pt x="5088641" y="534735"/>
                  <a:pt x="5060922" y="534735"/>
                </a:cubicBezTo>
                <a:cubicBezTo>
                  <a:pt x="5033205" y="534735"/>
                  <a:pt x="5010105" y="511636"/>
                  <a:pt x="5010105" y="483918"/>
                </a:cubicBezTo>
                <a:cubicBezTo>
                  <a:pt x="5010105" y="456200"/>
                  <a:pt x="5032050" y="433101"/>
                  <a:pt x="5060922" y="433101"/>
                </a:cubicBezTo>
                <a:close/>
                <a:moveTo>
                  <a:pt x="3940636" y="433101"/>
                </a:moveTo>
                <a:cubicBezTo>
                  <a:pt x="3969510" y="433101"/>
                  <a:pt x="3991453" y="456200"/>
                  <a:pt x="3991453" y="483918"/>
                </a:cubicBezTo>
                <a:cubicBezTo>
                  <a:pt x="3991453" y="511636"/>
                  <a:pt x="3969510" y="534735"/>
                  <a:pt x="3940636" y="534735"/>
                </a:cubicBezTo>
                <a:cubicBezTo>
                  <a:pt x="3912917" y="534735"/>
                  <a:pt x="3889819" y="511636"/>
                  <a:pt x="3889819" y="483918"/>
                </a:cubicBezTo>
                <a:cubicBezTo>
                  <a:pt x="3889819" y="456200"/>
                  <a:pt x="3911763" y="433101"/>
                  <a:pt x="3940636" y="433101"/>
                </a:cubicBezTo>
                <a:close/>
                <a:moveTo>
                  <a:pt x="1566091" y="433101"/>
                </a:moveTo>
                <a:cubicBezTo>
                  <a:pt x="1593810" y="433101"/>
                  <a:pt x="1616908" y="456200"/>
                  <a:pt x="1616908" y="483918"/>
                </a:cubicBezTo>
                <a:cubicBezTo>
                  <a:pt x="1616908" y="511636"/>
                  <a:pt x="1593810" y="534735"/>
                  <a:pt x="1566091" y="534735"/>
                </a:cubicBezTo>
                <a:cubicBezTo>
                  <a:pt x="1538373" y="534735"/>
                  <a:pt x="1515274" y="511636"/>
                  <a:pt x="1515274" y="483918"/>
                </a:cubicBezTo>
                <a:cubicBezTo>
                  <a:pt x="1515274" y="456200"/>
                  <a:pt x="1537218" y="433101"/>
                  <a:pt x="1566091" y="433101"/>
                </a:cubicBezTo>
                <a:close/>
                <a:moveTo>
                  <a:pt x="448115" y="433101"/>
                </a:moveTo>
                <a:cubicBezTo>
                  <a:pt x="476989" y="433101"/>
                  <a:pt x="498932" y="456200"/>
                  <a:pt x="498932" y="483918"/>
                </a:cubicBezTo>
                <a:cubicBezTo>
                  <a:pt x="498932" y="511636"/>
                  <a:pt x="476989" y="534735"/>
                  <a:pt x="448115" y="534735"/>
                </a:cubicBezTo>
                <a:cubicBezTo>
                  <a:pt x="420396" y="534735"/>
                  <a:pt x="397298" y="511636"/>
                  <a:pt x="397298" y="483918"/>
                </a:cubicBezTo>
                <a:cubicBezTo>
                  <a:pt x="397298" y="456200"/>
                  <a:pt x="419242" y="433101"/>
                  <a:pt x="448115" y="433101"/>
                </a:cubicBezTo>
                <a:close/>
                <a:moveTo>
                  <a:pt x="12210569" y="319917"/>
                </a:moveTo>
                <a:cubicBezTo>
                  <a:pt x="12220963" y="319917"/>
                  <a:pt x="12231358" y="329157"/>
                  <a:pt x="12231358" y="340706"/>
                </a:cubicBezTo>
                <a:cubicBezTo>
                  <a:pt x="12231358" y="352256"/>
                  <a:pt x="12222118" y="361495"/>
                  <a:pt x="12210569" y="361495"/>
                </a:cubicBezTo>
                <a:cubicBezTo>
                  <a:pt x="12199020" y="361495"/>
                  <a:pt x="12189780" y="352256"/>
                  <a:pt x="12189780" y="340706"/>
                </a:cubicBezTo>
                <a:cubicBezTo>
                  <a:pt x="12189780" y="329157"/>
                  <a:pt x="12199020" y="319917"/>
                  <a:pt x="12210569" y="319917"/>
                </a:cubicBezTo>
                <a:close/>
                <a:moveTo>
                  <a:pt x="12071977" y="319917"/>
                </a:moveTo>
                <a:cubicBezTo>
                  <a:pt x="12083526" y="319917"/>
                  <a:pt x="12092766" y="329157"/>
                  <a:pt x="12092766" y="340706"/>
                </a:cubicBezTo>
                <a:cubicBezTo>
                  <a:pt x="12092766" y="352256"/>
                  <a:pt x="12083526" y="361495"/>
                  <a:pt x="12071977" y="361495"/>
                </a:cubicBezTo>
                <a:cubicBezTo>
                  <a:pt x="12060428" y="361495"/>
                  <a:pt x="12051188" y="352256"/>
                  <a:pt x="12051188" y="340706"/>
                </a:cubicBezTo>
                <a:cubicBezTo>
                  <a:pt x="12051188" y="329157"/>
                  <a:pt x="12060428" y="319917"/>
                  <a:pt x="12071977" y="319917"/>
                </a:cubicBezTo>
                <a:close/>
                <a:moveTo>
                  <a:pt x="11934539" y="319917"/>
                </a:moveTo>
                <a:cubicBezTo>
                  <a:pt x="11946088" y="319917"/>
                  <a:pt x="11955328" y="329157"/>
                  <a:pt x="11955328" y="340706"/>
                </a:cubicBezTo>
                <a:cubicBezTo>
                  <a:pt x="11955328" y="352256"/>
                  <a:pt x="11946088" y="361495"/>
                  <a:pt x="11934539" y="361495"/>
                </a:cubicBezTo>
                <a:cubicBezTo>
                  <a:pt x="11922990" y="361495"/>
                  <a:pt x="11913750" y="352256"/>
                  <a:pt x="11913750" y="340706"/>
                </a:cubicBezTo>
                <a:cubicBezTo>
                  <a:pt x="11913750" y="329157"/>
                  <a:pt x="11922990" y="319917"/>
                  <a:pt x="11934539" y="319917"/>
                </a:cubicBezTo>
                <a:close/>
                <a:moveTo>
                  <a:pt x="11797103" y="319917"/>
                </a:moveTo>
                <a:cubicBezTo>
                  <a:pt x="11808652" y="319917"/>
                  <a:pt x="11817892" y="329157"/>
                  <a:pt x="11817892" y="340706"/>
                </a:cubicBezTo>
                <a:cubicBezTo>
                  <a:pt x="11817892" y="352256"/>
                  <a:pt x="11808652" y="361495"/>
                  <a:pt x="11797103" y="361495"/>
                </a:cubicBezTo>
                <a:cubicBezTo>
                  <a:pt x="11785553" y="361495"/>
                  <a:pt x="11776314" y="352256"/>
                  <a:pt x="11776314" y="340706"/>
                </a:cubicBezTo>
                <a:cubicBezTo>
                  <a:pt x="11776314" y="329157"/>
                  <a:pt x="11785553" y="319917"/>
                  <a:pt x="11797103" y="319917"/>
                </a:cubicBezTo>
                <a:close/>
                <a:moveTo>
                  <a:pt x="10645633" y="319917"/>
                </a:moveTo>
                <a:cubicBezTo>
                  <a:pt x="10657182" y="319917"/>
                  <a:pt x="10666422" y="329157"/>
                  <a:pt x="10666422" y="340706"/>
                </a:cubicBezTo>
                <a:cubicBezTo>
                  <a:pt x="10666422" y="352256"/>
                  <a:pt x="10657182" y="361495"/>
                  <a:pt x="10645633" y="361495"/>
                </a:cubicBezTo>
                <a:cubicBezTo>
                  <a:pt x="10634083" y="361495"/>
                  <a:pt x="10624844" y="352256"/>
                  <a:pt x="10624844" y="340706"/>
                </a:cubicBezTo>
                <a:cubicBezTo>
                  <a:pt x="10624844" y="329157"/>
                  <a:pt x="10634083" y="319917"/>
                  <a:pt x="10645633" y="319917"/>
                </a:cubicBezTo>
                <a:close/>
                <a:moveTo>
                  <a:pt x="9247008" y="319917"/>
                </a:moveTo>
                <a:cubicBezTo>
                  <a:pt x="9258557" y="319917"/>
                  <a:pt x="9267797" y="329157"/>
                  <a:pt x="9267797" y="340706"/>
                </a:cubicBezTo>
                <a:cubicBezTo>
                  <a:pt x="9267797" y="352256"/>
                  <a:pt x="9258557" y="361495"/>
                  <a:pt x="9247008" y="361495"/>
                </a:cubicBezTo>
                <a:cubicBezTo>
                  <a:pt x="9235459" y="361495"/>
                  <a:pt x="9226219" y="352256"/>
                  <a:pt x="9226219" y="340706"/>
                </a:cubicBezTo>
                <a:cubicBezTo>
                  <a:pt x="9226219" y="329157"/>
                  <a:pt x="9235459" y="319917"/>
                  <a:pt x="9247008" y="319917"/>
                </a:cubicBezTo>
                <a:close/>
                <a:moveTo>
                  <a:pt x="8148062" y="319917"/>
                </a:moveTo>
                <a:cubicBezTo>
                  <a:pt x="8158457" y="319917"/>
                  <a:pt x="8168851" y="329157"/>
                  <a:pt x="8168851" y="340706"/>
                </a:cubicBezTo>
                <a:cubicBezTo>
                  <a:pt x="8168851" y="352256"/>
                  <a:pt x="8159611" y="361495"/>
                  <a:pt x="8148062" y="361495"/>
                </a:cubicBezTo>
                <a:cubicBezTo>
                  <a:pt x="8136513" y="361495"/>
                  <a:pt x="8127274" y="352256"/>
                  <a:pt x="8127274" y="340706"/>
                </a:cubicBezTo>
                <a:cubicBezTo>
                  <a:pt x="8127274" y="329157"/>
                  <a:pt x="8136513" y="319917"/>
                  <a:pt x="8148062" y="319917"/>
                </a:cubicBezTo>
                <a:close/>
                <a:moveTo>
                  <a:pt x="8009471" y="319917"/>
                </a:moveTo>
                <a:cubicBezTo>
                  <a:pt x="8021020" y="319917"/>
                  <a:pt x="8030259" y="329157"/>
                  <a:pt x="8030259" y="340706"/>
                </a:cubicBezTo>
                <a:cubicBezTo>
                  <a:pt x="8030259" y="352256"/>
                  <a:pt x="8021020" y="361495"/>
                  <a:pt x="8009471" y="361495"/>
                </a:cubicBezTo>
                <a:cubicBezTo>
                  <a:pt x="7997920" y="361495"/>
                  <a:pt x="7988682" y="352256"/>
                  <a:pt x="7988682" y="340706"/>
                </a:cubicBezTo>
                <a:cubicBezTo>
                  <a:pt x="7988682" y="329157"/>
                  <a:pt x="7997920" y="319917"/>
                  <a:pt x="8009471" y="319917"/>
                </a:cubicBezTo>
                <a:close/>
                <a:moveTo>
                  <a:pt x="7872031" y="319917"/>
                </a:moveTo>
                <a:cubicBezTo>
                  <a:pt x="7883582" y="319917"/>
                  <a:pt x="7892822" y="329157"/>
                  <a:pt x="7892822" y="340706"/>
                </a:cubicBezTo>
                <a:cubicBezTo>
                  <a:pt x="7892822" y="352256"/>
                  <a:pt x="7883582" y="361495"/>
                  <a:pt x="7872031" y="361495"/>
                </a:cubicBezTo>
                <a:cubicBezTo>
                  <a:pt x="7860484" y="361495"/>
                  <a:pt x="7851244" y="352256"/>
                  <a:pt x="7851244" y="340706"/>
                </a:cubicBezTo>
                <a:cubicBezTo>
                  <a:pt x="7851244" y="329157"/>
                  <a:pt x="7860484" y="319917"/>
                  <a:pt x="7872031" y="319917"/>
                </a:cubicBezTo>
                <a:close/>
                <a:moveTo>
                  <a:pt x="7713807" y="319917"/>
                </a:moveTo>
                <a:cubicBezTo>
                  <a:pt x="7725356" y="319917"/>
                  <a:pt x="7734596" y="329157"/>
                  <a:pt x="7734596" y="340706"/>
                </a:cubicBezTo>
                <a:cubicBezTo>
                  <a:pt x="7734596" y="352256"/>
                  <a:pt x="7725356" y="361495"/>
                  <a:pt x="7713807" y="361495"/>
                </a:cubicBezTo>
                <a:cubicBezTo>
                  <a:pt x="7702258" y="361495"/>
                  <a:pt x="7693019" y="352256"/>
                  <a:pt x="7693019" y="340706"/>
                </a:cubicBezTo>
                <a:cubicBezTo>
                  <a:pt x="7693019" y="329157"/>
                  <a:pt x="7702258" y="319917"/>
                  <a:pt x="7713807" y="319917"/>
                </a:cubicBezTo>
                <a:close/>
                <a:moveTo>
                  <a:pt x="7605244" y="319917"/>
                </a:moveTo>
                <a:cubicBezTo>
                  <a:pt x="7616793" y="319917"/>
                  <a:pt x="7626031" y="329157"/>
                  <a:pt x="7626031" y="340706"/>
                </a:cubicBezTo>
                <a:cubicBezTo>
                  <a:pt x="7626031" y="352256"/>
                  <a:pt x="7616793" y="361495"/>
                  <a:pt x="7605244" y="361495"/>
                </a:cubicBezTo>
                <a:cubicBezTo>
                  <a:pt x="7593693" y="361495"/>
                  <a:pt x="7584454" y="352256"/>
                  <a:pt x="7584454" y="340706"/>
                </a:cubicBezTo>
                <a:cubicBezTo>
                  <a:pt x="7584454" y="329157"/>
                  <a:pt x="7593693" y="319917"/>
                  <a:pt x="7605244" y="319917"/>
                </a:cubicBezTo>
                <a:close/>
                <a:moveTo>
                  <a:pt x="7466651" y="319917"/>
                </a:moveTo>
                <a:cubicBezTo>
                  <a:pt x="7478200" y="319917"/>
                  <a:pt x="7487439" y="329157"/>
                  <a:pt x="7487439" y="340706"/>
                </a:cubicBezTo>
                <a:cubicBezTo>
                  <a:pt x="7487439" y="352256"/>
                  <a:pt x="7478200" y="361495"/>
                  <a:pt x="7466651" y="361495"/>
                </a:cubicBezTo>
                <a:cubicBezTo>
                  <a:pt x="7455102" y="361495"/>
                  <a:pt x="7445863" y="352256"/>
                  <a:pt x="7445863" y="340706"/>
                </a:cubicBezTo>
                <a:cubicBezTo>
                  <a:pt x="7445863" y="329157"/>
                  <a:pt x="7455102" y="319917"/>
                  <a:pt x="7466651" y="319917"/>
                </a:cubicBezTo>
                <a:close/>
                <a:moveTo>
                  <a:pt x="7329213" y="319917"/>
                </a:moveTo>
                <a:cubicBezTo>
                  <a:pt x="7340762" y="319917"/>
                  <a:pt x="7350002" y="329157"/>
                  <a:pt x="7350002" y="340706"/>
                </a:cubicBezTo>
                <a:cubicBezTo>
                  <a:pt x="7350002" y="352256"/>
                  <a:pt x="7340762" y="361495"/>
                  <a:pt x="7329213" y="361495"/>
                </a:cubicBezTo>
                <a:cubicBezTo>
                  <a:pt x="7317664" y="361495"/>
                  <a:pt x="7308425" y="352256"/>
                  <a:pt x="7308425" y="340706"/>
                </a:cubicBezTo>
                <a:cubicBezTo>
                  <a:pt x="7308425" y="329157"/>
                  <a:pt x="7317664" y="319917"/>
                  <a:pt x="7329213" y="319917"/>
                </a:cubicBezTo>
                <a:close/>
                <a:moveTo>
                  <a:pt x="7191777" y="319917"/>
                </a:moveTo>
                <a:cubicBezTo>
                  <a:pt x="7203326" y="319917"/>
                  <a:pt x="7212566" y="329157"/>
                  <a:pt x="7212566" y="340706"/>
                </a:cubicBezTo>
                <a:cubicBezTo>
                  <a:pt x="7212566" y="352256"/>
                  <a:pt x="7203326" y="361495"/>
                  <a:pt x="7191777" y="361495"/>
                </a:cubicBezTo>
                <a:cubicBezTo>
                  <a:pt x="7180226" y="361495"/>
                  <a:pt x="7170987" y="352256"/>
                  <a:pt x="7170987" y="340706"/>
                </a:cubicBezTo>
                <a:cubicBezTo>
                  <a:pt x="7170987" y="329157"/>
                  <a:pt x="7180226" y="319917"/>
                  <a:pt x="7191777" y="319917"/>
                </a:cubicBezTo>
                <a:close/>
                <a:moveTo>
                  <a:pt x="6040307" y="319917"/>
                </a:moveTo>
                <a:cubicBezTo>
                  <a:pt x="6051855" y="319917"/>
                  <a:pt x="6061095" y="329157"/>
                  <a:pt x="6061095" y="340706"/>
                </a:cubicBezTo>
                <a:cubicBezTo>
                  <a:pt x="6061095" y="352256"/>
                  <a:pt x="6051855" y="361495"/>
                  <a:pt x="6040307" y="361495"/>
                </a:cubicBezTo>
                <a:cubicBezTo>
                  <a:pt x="6028758" y="361495"/>
                  <a:pt x="6019518" y="352256"/>
                  <a:pt x="6019518" y="340706"/>
                </a:cubicBezTo>
                <a:cubicBezTo>
                  <a:pt x="6019518" y="329157"/>
                  <a:pt x="6028758" y="319917"/>
                  <a:pt x="6040307" y="319917"/>
                </a:cubicBezTo>
                <a:close/>
                <a:moveTo>
                  <a:pt x="4641682" y="319917"/>
                </a:moveTo>
                <a:cubicBezTo>
                  <a:pt x="4653231" y="319917"/>
                  <a:pt x="4662471" y="329157"/>
                  <a:pt x="4662471" y="340706"/>
                </a:cubicBezTo>
                <a:cubicBezTo>
                  <a:pt x="4662471" y="352256"/>
                  <a:pt x="4653231" y="361495"/>
                  <a:pt x="4641682" y="361495"/>
                </a:cubicBezTo>
                <a:cubicBezTo>
                  <a:pt x="4630133" y="361495"/>
                  <a:pt x="4620893" y="352256"/>
                  <a:pt x="4620893" y="340706"/>
                </a:cubicBezTo>
                <a:cubicBezTo>
                  <a:pt x="4620893" y="329157"/>
                  <a:pt x="4630133" y="319917"/>
                  <a:pt x="4641682" y="319917"/>
                </a:cubicBezTo>
                <a:close/>
                <a:moveTo>
                  <a:pt x="3535254" y="319917"/>
                </a:moveTo>
                <a:cubicBezTo>
                  <a:pt x="3545648" y="319917"/>
                  <a:pt x="3556043" y="329157"/>
                  <a:pt x="3556043" y="340706"/>
                </a:cubicBezTo>
                <a:cubicBezTo>
                  <a:pt x="3556043" y="352256"/>
                  <a:pt x="3546804" y="361495"/>
                  <a:pt x="3535254" y="361495"/>
                </a:cubicBezTo>
                <a:cubicBezTo>
                  <a:pt x="3523705" y="361495"/>
                  <a:pt x="3514466" y="352256"/>
                  <a:pt x="3514466" y="340706"/>
                </a:cubicBezTo>
                <a:cubicBezTo>
                  <a:pt x="3514466" y="329157"/>
                  <a:pt x="3523705" y="319917"/>
                  <a:pt x="3535254" y="319917"/>
                </a:cubicBezTo>
                <a:close/>
                <a:moveTo>
                  <a:pt x="3396662" y="319917"/>
                </a:moveTo>
                <a:cubicBezTo>
                  <a:pt x="3408212" y="319917"/>
                  <a:pt x="3417451" y="329157"/>
                  <a:pt x="3417451" y="340706"/>
                </a:cubicBezTo>
                <a:cubicBezTo>
                  <a:pt x="3417451" y="352256"/>
                  <a:pt x="3408212" y="361495"/>
                  <a:pt x="3396662" y="361495"/>
                </a:cubicBezTo>
                <a:cubicBezTo>
                  <a:pt x="3385113" y="361495"/>
                  <a:pt x="3375874" y="352256"/>
                  <a:pt x="3375874" y="340706"/>
                </a:cubicBezTo>
                <a:cubicBezTo>
                  <a:pt x="3375874" y="329157"/>
                  <a:pt x="3385113" y="319917"/>
                  <a:pt x="3396662" y="319917"/>
                </a:cubicBezTo>
                <a:close/>
                <a:moveTo>
                  <a:pt x="3259224" y="319917"/>
                </a:moveTo>
                <a:cubicBezTo>
                  <a:pt x="3270774" y="319917"/>
                  <a:pt x="3280013" y="329157"/>
                  <a:pt x="3280013" y="340706"/>
                </a:cubicBezTo>
                <a:cubicBezTo>
                  <a:pt x="3280013" y="352256"/>
                  <a:pt x="3270774" y="361495"/>
                  <a:pt x="3259224" y="361495"/>
                </a:cubicBezTo>
                <a:cubicBezTo>
                  <a:pt x="3247675" y="361495"/>
                  <a:pt x="3238436" y="352256"/>
                  <a:pt x="3238436" y="340706"/>
                </a:cubicBezTo>
                <a:cubicBezTo>
                  <a:pt x="3238436" y="329157"/>
                  <a:pt x="3247675" y="319917"/>
                  <a:pt x="3259224" y="319917"/>
                </a:cubicBezTo>
                <a:close/>
                <a:moveTo>
                  <a:pt x="3100999" y="319917"/>
                </a:moveTo>
                <a:cubicBezTo>
                  <a:pt x="3112549" y="319917"/>
                  <a:pt x="3121789" y="329157"/>
                  <a:pt x="3121789" y="340706"/>
                </a:cubicBezTo>
                <a:cubicBezTo>
                  <a:pt x="3121789" y="352256"/>
                  <a:pt x="3112549" y="361495"/>
                  <a:pt x="3100999" y="361495"/>
                </a:cubicBezTo>
                <a:cubicBezTo>
                  <a:pt x="3089450" y="361495"/>
                  <a:pt x="3080212" y="352256"/>
                  <a:pt x="3080212" y="340706"/>
                </a:cubicBezTo>
                <a:cubicBezTo>
                  <a:pt x="3080212" y="329157"/>
                  <a:pt x="3089450" y="319917"/>
                  <a:pt x="3100999" y="319917"/>
                </a:cubicBezTo>
                <a:close/>
                <a:moveTo>
                  <a:pt x="2992435" y="319917"/>
                </a:moveTo>
                <a:cubicBezTo>
                  <a:pt x="3002829" y="319917"/>
                  <a:pt x="3013224" y="329157"/>
                  <a:pt x="3013224" y="340706"/>
                </a:cubicBezTo>
                <a:cubicBezTo>
                  <a:pt x="3013224" y="352256"/>
                  <a:pt x="3003985" y="361495"/>
                  <a:pt x="2992435" y="361495"/>
                </a:cubicBezTo>
                <a:cubicBezTo>
                  <a:pt x="2980886" y="361495"/>
                  <a:pt x="2971647" y="352256"/>
                  <a:pt x="2971647" y="340706"/>
                </a:cubicBezTo>
                <a:cubicBezTo>
                  <a:pt x="2971647" y="329157"/>
                  <a:pt x="2980886" y="319917"/>
                  <a:pt x="2992435" y="319917"/>
                </a:cubicBezTo>
                <a:close/>
                <a:moveTo>
                  <a:pt x="2853843" y="319917"/>
                </a:moveTo>
                <a:cubicBezTo>
                  <a:pt x="2865393" y="319917"/>
                  <a:pt x="2874633" y="329157"/>
                  <a:pt x="2874633" y="340706"/>
                </a:cubicBezTo>
                <a:cubicBezTo>
                  <a:pt x="2874633" y="352256"/>
                  <a:pt x="2865393" y="361495"/>
                  <a:pt x="2853843" y="361495"/>
                </a:cubicBezTo>
                <a:cubicBezTo>
                  <a:pt x="2842294" y="361495"/>
                  <a:pt x="2833056" y="352256"/>
                  <a:pt x="2833056" y="340706"/>
                </a:cubicBezTo>
                <a:cubicBezTo>
                  <a:pt x="2833056" y="329157"/>
                  <a:pt x="2842294" y="319917"/>
                  <a:pt x="2853843" y="319917"/>
                </a:cubicBezTo>
                <a:close/>
                <a:moveTo>
                  <a:pt x="2716405" y="319917"/>
                </a:moveTo>
                <a:cubicBezTo>
                  <a:pt x="2727955" y="319917"/>
                  <a:pt x="2737195" y="329157"/>
                  <a:pt x="2737195" y="340706"/>
                </a:cubicBezTo>
                <a:cubicBezTo>
                  <a:pt x="2737195" y="352256"/>
                  <a:pt x="2727955" y="361495"/>
                  <a:pt x="2716405" y="361495"/>
                </a:cubicBezTo>
                <a:cubicBezTo>
                  <a:pt x="2704856" y="361495"/>
                  <a:pt x="2695618" y="352256"/>
                  <a:pt x="2695618" y="340706"/>
                </a:cubicBezTo>
                <a:cubicBezTo>
                  <a:pt x="2695618" y="329157"/>
                  <a:pt x="2704856" y="319917"/>
                  <a:pt x="2716405" y="319917"/>
                </a:cubicBezTo>
                <a:close/>
                <a:moveTo>
                  <a:pt x="2578969" y="319917"/>
                </a:moveTo>
                <a:cubicBezTo>
                  <a:pt x="2590518" y="319917"/>
                  <a:pt x="2599758" y="329157"/>
                  <a:pt x="2599758" y="340706"/>
                </a:cubicBezTo>
                <a:cubicBezTo>
                  <a:pt x="2599758" y="352256"/>
                  <a:pt x="2590518" y="361495"/>
                  <a:pt x="2578969" y="361495"/>
                </a:cubicBezTo>
                <a:cubicBezTo>
                  <a:pt x="2567420" y="361495"/>
                  <a:pt x="2558180" y="352256"/>
                  <a:pt x="2558180" y="340706"/>
                </a:cubicBezTo>
                <a:cubicBezTo>
                  <a:pt x="2558180" y="329157"/>
                  <a:pt x="2567420" y="319917"/>
                  <a:pt x="2578969" y="319917"/>
                </a:cubicBezTo>
                <a:close/>
                <a:moveTo>
                  <a:pt x="1427499" y="319917"/>
                </a:moveTo>
                <a:cubicBezTo>
                  <a:pt x="1439048" y="319917"/>
                  <a:pt x="1448288" y="329157"/>
                  <a:pt x="1448288" y="340706"/>
                </a:cubicBezTo>
                <a:cubicBezTo>
                  <a:pt x="1448288" y="352256"/>
                  <a:pt x="1439048" y="361495"/>
                  <a:pt x="1427499" y="361495"/>
                </a:cubicBezTo>
                <a:cubicBezTo>
                  <a:pt x="1415950" y="361495"/>
                  <a:pt x="1406710" y="352256"/>
                  <a:pt x="1406710" y="340706"/>
                </a:cubicBezTo>
                <a:cubicBezTo>
                  <a:pt x="1406710" y="329157"/>
                  <a:pt x="1415950" y="319917"/>
                  <a:pt x="1427499" y="319917"/>
                </a:cubicBezTo>
                <a:close/>
                <a:moveTo>
                  <a:pt x="28874" y="319917"/>
                </a:moveTo>
                <a:cubicBezTo>
                  <a:pt x="40424" y="319917"/>
                  <a:pt x="49663" y="329157"/>
                  <a:pt x="49663" y="340706"/>
                </a:cubicBezTo>
                <a:cubicBezTo>
                  <a:pt x="49663" y="352256"/>
                  <a:pt x="40424" y="361495"/>
                  <a:pt x="28874" y="361495"/>
                </a:cubicBezTo>
                <a:cubicBezTo>
                  <a:pt x="17325" y="361495"/>
                  <a:pt x="8085" y="352256"/>
                  <a:pt x="8085" y="340706"/>
                </a:cubicBezTo>
                <a:cubicBezTo>
                  <a:pt x="8085" y="329157"/>
                  <a:pt x="17325" y="319917"/>
                  <a:pt x="28874" y="319917"/>
                </a:cubicBezTo>
                <a:close/>
                <a:moveTo>
                  <a:pt x="11658510" y="316452"/>
                </a:moveTo>
                <a:cubicBezTo>
                  <a:pt x="11671214" y="316452"/>
                  <a:pt x="11681609" y="326847"/>
                  <a:pt x="11681609" y="339551"/>
                </a:cubicBezTo>
                <a:cubicBezTo>
                  <a:pt x="11681609" y="352256"/>
                  <a:pt x="11671214" y="362649"/>
                  <a:pt x="11658510" y="362649"/>
                </a:cubicBezTo>
                <a:cubicBezTo>
                  <a:pt x="11645806" y="362649"/>
                  <a:pt x="11635412" y="352256"/>
                  <a:pt x="11635412" y="339551"/>
                </a:cubicBezTo>
                <a:cubicBezTo>
                  <a:pt x="11635412" y="326847"/>
                  <a:pt x="11645806" y="316452"/>
                  <a:pt x="11658510" y="316452"/>
                </a:cubicBezTo>
                <a:close/>
                <a:moveTo>
                  <a:pt x="10508196" y="316452"/>
                </a:moveTo>
                <a:cubicBezTo>
                  <a:pt x="10520900" y="316452"/>
                  <a:pt x="10531295" y="326847"/>
                  <a:pt x="10531295" y="339551"/>
                </a:cubicBezTo>
                <a:cubicBezTo>
                  <a:pt x="10531295" y="352256"/>
                  <a:pt x="10520900" y="362649"/>
                  <a:pt x="10508196" y="362649"/>
                </a:cubicBezTo>
                <a:cubicBezTo>
                  <a:pt x="10495491" y="362649"/>
                  <a:pt x="10485098" y="352256"/>
                  <a:pt x="10485098" y="339551"/>
                </a:cubicBezTo>
                <a:cubicBezTo>
                  <a:pt x="10485098" y="326847"/>
                  <a:pt x="10495491" y="316452"/>
                  <a:pt x="10508196" y="316452"/>
                </a:cubicBezTo>
                <a:close/>
                <a:moveTo>
                  <a:pt x="9405233" y="316452"/>
                </a:moveTo>
                <a:cubicBezTo>
                  <a:pt x="9417938" y="316452"/>
                  <a:pt x="9428332" y="326847"/>
                  <a:pt x="9428332" y="339551"/>
                </a:cubicBezTo>
                <a:cubicBezTo>
                  <a:pt x="9428332" y="352256"/>
                  <a:pt x="9417938" y="362649"/>
                  <a:pt x="9405233" y="362649"/>
                </a:cubicBezTo>
                <a:cubicBezTo>
                  <a:pt x="9392530" y="362649"/>
                  <a:pt x="9382135" y="352256"/>
                  <a:pt x="9382135" y="339551"/>
                </a:cubicBezTo>
                <a:cubicBezTo>
                  <a:pt x="9382135" y="326847"/>
                  <a:pt x="9392530" y="316452"/>
                  <a:pt x="9405233" y="316452"/>
                </a:cubicBezTo>
                <a:close/>
                <a:moveTo>
                  <a:pt x="8285498" y="316452"/>
                </a:moveTo>
                <a:cubicBezTo>
                  <a:pt x="8298204" y="316452"/>
                  <a:pt x="8308598" y="326847"/>
                  <a:pt x="8308598" y="339551"/>
                </a:cubicBezTo>
                <a:cubicBezTo>
                  <a:pt x="8308598" y="352256"/>
                  <a:pt x="8298204" y="362649"/>
                  <a:pt x="8285498" y="362649"/>
                </a:cubicBezTo>
                <a:cubicBezTo>
                  <a:pt x="8272794" y="362649"/>
                  <a:pt x="8262401" y="352256"/>
                  <a:pt x="8262401" y="339551"/>
                </a:cubicBezTo>
                <a:cubicBezTo>
                  <a:pt x="8262401" y="326847"/>
                  <a:pt x="8272794" y="316452"/>
                  <a:pt x="8285498" y="316452"/>
                </a:cubicBezTo>
                <a:close/>
                <a:moveTo>
                  <a:pt x="7053184" y="316452"/>
                </a:moveTo>
                <a:cubicBezTo>
                  <a:pt x="7067044" y="316452"/>
                  <a:pt x="7076283" y="326847"/>
                  <a:pt x="7076283" y="339551"/>
                </a:cubicBezTo>
                <a:cubicBezTo>
                  <a:pt x="7076283" y="352256"/>
                  <a:pt x="7065888" y="362649"/>
                  <a:pt x="7053184" y="362649"/>
                </a:cubicBezTo>
                <a:cubicBezTo>
                  <a:pt x="7040480" y="362649"/>
                  <a:pt x="7030086" y="352256"/>
                  <a:pt x="7030086" y="339551"/>
                </a:cubicBezTo>
                <a:cubicBezTo>
                  <a:pt x="7030086" y="326847"/>
                  <a:pt x="7040480" y="316452"/>
                  <a:pt x="7053184" y="316452"/>
                </a:cubicBezTo>
                <a:close/>
                <a:moveTo>
                  <a:pt x="5902869" y="316452"/>
                </a:moveTo>
                <a:cubicBezTo>
                  <a:pt x="5915573" y="316452"/>
                  <a:pt x="5925969" y="326847"/>
                  <a:pt x="5925969" y="339551"/>
                </a:cubicBezTo>
                <a:cubicBezTo>
                  <a:pt x="5925969" y="352256"/>
                  <a:pt x="5915573" y="362649"/>
                  <a:pt x="5902869" y="362649"/>
                </a:cubicBezTo>
                <a:cubicBezTo>
                  <a:pt x="5890165" y="362649"/>
                  <a:pt x="5879771" y="352256"/>
                  <a:pt x="5879771" y="339551"/>
                </a:cubicBezTo>
                <a:cubicBezTo>
                  <a:pt x="5879771" y="326847"/>
                  <a:pt x="5890165" y="316452"/>
                  <a:pt x="5902869" y="316452"/>
                </a:cubicBezTo>
                <a:close/>
                <a:moveTo>
                  <a:pt x="4799906" y="316452"/>
                </a:moveTo>
                <a:cubicBezTo>
                  <a:pt x="4812611" y="316452"/>
                  <a:pt x="4823006" y="326847"/>
                  <a:pt x="4823006" y="339551"/>
                </a:cubicBezTo>
                <a:cubicBezTo>
                  <a:pt x="4823006" y="352256"/>
                  <a:pt x="4812611" y="362649"/>
                  <a:pt x="4799906" y="362649"/>
                </a:cubicBezTo>
                <a:cubicBezTo>
                  <a:pt x="4787204" y="362649"/>
                  <a:pt x="4776809" y="352256"/>
                  <a:pt x="4776809" y="339551"/>
                </a:cubicBezTo>
                <a:cubicBezTo>
                  <a:pt x="4776809" y="326847"/>
                  <a:pt x="4787204" y="316452"/>
                  <a:pt x="4799906" y="316452"/>
                </a:cubicBezTo>
                <a:close/>
                <a:moveTo>
                  <a:pt x="3672691" y="316452"/>
                </a:moveTo>
                <a:cubicBezTo>
                  <a:pt x="3685396" y="316452"/>
                  <a:pt x="3695791" y="326847"/>
                  <a:pt x="3695791" y="339551"/>
                </a:cubicBezTo>
                <a:cubicBezTo>
                  <a:pt x="3695791" y="352256"/>
                  <a:pt x="3685396" y="362649"/>
                  <a:pt x="3672691" y="362649"/>
                </a:cubicBezTo>
                <a:cubicBezTo>
                  <a:pt x="3659987" y="362649"/>
                  <a:pt x="3649592" y="352256"/>
                  <a:pt x="3649592" y="339551"/>
                </a:cubicBezTo>
                <a:cubicBezTo>
                  <a:pt x="3649592" y="326847"/>
                  <a:pt x="3659987" y="316452"/>
                  <a:pt x="3672691" y="316452"/>
                </a:cubicBezTo>
                <a:close/>
                <a:moveTo>
                  <a:pt x="2440377" y="316452"/>
                </a:moveTo>
                <a:cubicBezTo>
                  <a:pt x="2453080" y="316452"/>
                  <a:pt x="2463475" y="326847"/>
                  <a:pt x="2463475" y="339551"/>
                </a:cubicBezTo>
                <a:cubicBezTo>
                  <a:pt x="2463475" y="352256"/>
                  <a:pt x="2453080" y="362649"/>
                  <a:pt x="2440377" y="362649"/>
                </a:cubicBezTo>
                <a:cubicBezTo>
                  <a:pt x="2427672" y="362649"/>
                  <a:pt x="2417278" y="352256"/>
                  <a:pt x="2417278" y="339551"/>
                </a:cubicBezTo>
                <a:cubicBezTo>
                  <a:pt x="2417278" y="326847"/>
                  <a:pt x="2427672" y="316452"/>
                  <a:pt x="2440377" y="316452"/>
                </a:cubicBezTo>
                <a:close/>
                <a:moveTo>
                  <a:pt x="1290062" y="316452"/>
                </a:moveTo>
                <a:cubicBezTo>
                  <a:pt x="1302766" y="316452"/>
                  <a:pt x="1313161" y="326847"/>
                  <a:pt x="1313161" y="339551"/>
                </a:cubicBezTo>
                <a:cubicBezTo>
                  <a:pt x="1313161" y="352256"/>
                  <a:pt x="1302766" y="362649"/>
                  <a:pt x="1290062" y="362649"/>
                </a:cubicBezTo>
                <a:cubicBezTo>
                  <a:pt x="1277357" y="362649"/>
                  <a:pt x="1266964" y="352256"/>
                  <a:pt x="1266964" y="339551"/>
                </a:cubicBezTo>
                <a:cubicBezTo>
                  <a:pt x="1266964" y="326847"/>
                  <a:pt x="1277357" y="316452"/>
                  <a:pt x="1290062" y="316452"/>
                </a:cubicBezTo>
                <a:close/>
                <a:moveTo>
                  <a:pt x="187100" y="316452"/>
                </a:moveTo>
                <a:cubicBezTo>
                  <a:pt x="199805" y="316452"/>
                  <a:pt x="210198" y="326847"/>
                  <a:pt x="210198" y="339551"/>
                </a:cubicBezTo>
                <a:cubicBezTo>
                  <a:pt x="210198" y="352256"/>
                  <a:pt x="199805" y="362649"/>
                  <a:pt x="187100" y="362649"/>
                </a:cubicBezTo>
                <a:cubicBezTo>
                  <a:pt x="174396" y="362649"/>
                  <a:pt x="164001" y="352256"/>
                  <a:pt x="164001" y="339551"/>
                </a:cubicBezTo>
                <a:cubicBezTo>
                  <a:pt x="164001" y="326847"/>
                  <a:pt x="174396" y="316452"/>
                  <a:pt x="187100" y="316452"/>
                </a:cubicBezTo>
                <a:close/>
                <a:moveTo>
                  <a:pt x="11521073" y="310678"/>
                </a:moveTo>
                <a:cubicBezTo>
                  <a:pt x="11537242" y="310678"/>
                  <a:pt x="11549947" y="323382"/>
                  <a:pt x="11549947" y="339551"/>
                </a:cubicBezTo>
                <a:cubicBezTo>
                  <a:pt x="11549947" y="355720"/>
                  <a:pt x="11537242" y="368425"/>
                  <a:pt x="11521073" y="368425"/>
                </a:cubicBezTo>
                <a:cubicBezTo>
                  <a:pt x="11504904" y="368425"/>
                  <a:pt x="11492200" y="355720"/>
                  <a:pt x="11492200" y="339551"/>
                </a:cubicBezTo>
                <a:cubicBezTo>
                  <a:pt x="11492200" y="323382"/>
                  <a:pt x="11504904" y="310678"/>
                  <a:pt x="11521073" y="310678"/>
                </a:cubicBezTo>
                <a:close/>
                <a:moveTo>
                  <a:pt x="10369604" y="310678"/>
                </a:moveTo>
                <a:cubicBezTo>
                  <a:pt x="10385773" y="310678"/>
                  <a:pt x="10398477" y="323382"/>
                  <a:pt x="10398477" y="339551"/>
                </a:cubicBezTo>
                <a:cubicBezTo>
                  <a:pt x="10398477" y="355720"/>
                  <a:pt x="10385773" y="368425"/>
                  <a:pt x="10369604" y="368425"/>
                </a:cubicBezTo>
                <a:cubicBezTo>
                  <a:pt x="10353435" y="368425"/>
                  <a:pt x="10340730" y="355720"/>
                  <a:pt x="10340730" y="339551"/>
                </a:cubicBezTo>
                <a:cubicBezTo>
                  <a:pt x="10340730" y="323382"/>
                  <a:pt x="10353435" y="310678"/>
                  <a:pt x="10369604" y="310678"/>
                </a:cubicBezTo>
                <a:close/>
                <a:moveTo>
                  <a:pt x="9543825" y="310678"/>
                </a:moveTo>
                <a:cubicBezTo>
                  <a:pt x="9558840" y="310678"/>
                  <a:pt x="9572699" y="323382"/>
                  <a:pt x="9572699" y="339551"/>
                </a:cubicBezTo>
                <a:cubicBezTo>
                  <a:pt x="9572699" y="355720"/>
                  <a:pt x="9559995" y="368425"/>
                  <a:pt x="9543825" y="368425"/>
                </a:cubicBezTo>
                <a:cubicBezTo>
                  <a:pt x="9527656" y="368425"/>
                  <a:pt x="9514953" y="355720"/>
                  <a:pt x="9514953" y="339551"/>
                </a:cubicBezTo>
                <a:cubicBezTo>
                  <a:pt x="9514953" y="323382"/>
                  <a:pt x="9527656" y="310678"/>
                  <a:pt x="9543825" y="310678"/>
                </a:cubicBezTo>
                <a:close/>
                <a:moveTo>
                  <a:pt x="8422936" y="310678"/>
                </a:moveTo>
                <a:cubicBezTo>
                  <a:pt x="8439105" y="310678"/>
                  <a:pt x="8451809" y="323382"/>
                  <a:pt x="8451809" y="339551"/>
                </a:cubicBezTo>
                <a:cubicBezTo>
                  <a:pt x="8451809" y="355720"/>
                  <a:pt x="8439105" y="368425"/>
                  <a:pt x="8422936" y="368425"/>
                </a:cubicBezTo>
                <a:cubicBezTo>
                  <a:pt x="8406767" y="368425"/>
                  <a:pt x="8394062" y="355720"/>
                  <a:pt x="8394062" y="339551"/>
                </a:cubicBezTo>
                <a:cubicBezTo>
                  <a:pt x="8394062" y="323382"/>
                  <a:pt x="8406767" y="310678"/>
                  <a:pt x="8422936" y="310678"/>
                </a:cubicBezTo>
                <a:close/>
                <a:moveTo>
                  <a:pt x="6915746" y="310678"/>
                </a:moveTo>
                <a:cubicBezTo>
                  <a:pt x="6931915" y="310678"/>
                  <a:pt x="6944621" y="323382"/>
                  <a:pt x="6944621" y="339551"/>
                </a:cubicBezTo>
                <a:cubicBezTo>
                  <a:pt x="6944621" y="355720"/>
                  <a:pt x="6931915" y="368425"/>
                  <a:pt x="6915746" y="368425"/>
                </a:cubicBezTo>
                <a:cubicBezTo>
                  <a:pt x="6899578" y="368425"/>
                  <a:pt x="6886873" y="355720"/>
                  <a:pt x="6886873" y="339551"/>
                </a:cubicBezTo>
                <a:cubicBezTo>
                  <a:pt x="6886873" y="323382"/>
                  <a:pt x="6899578" y="310678"/>
                  <a:pt x="6915746" y="310678"/>
                </a:cubicBezTo>
                <a:close/>
                <a:moveTo>
                  <a:pt x="5764278" y="310678"/>
                </a:moveTo>
                <a:cubicBezTo>
                  <a:pt x="5780447" y="310678"/>
                  <a:pt x="5793151" y="323382"/>
                  <a:pt x="5793151" y="339551"/>
                </a:cubicBezTo>
                <a:cubicBezTo>
                  <a:pt x="5793151" y="355720"/>
                  <a:pt x="5780447" y="368425"/>
                  <a:pt x="5764278" y="368425"/>
                </a:cubicBezTo>
                <a:cubicBezTo>
                  <a:pt x="5748109" y="368425"/>
                  <a:pt x="5735405" y="355720"/>
                  <a:pt x="5735405" y="339551"/>
                </a:cubicBezTo>
                <a:cubicBezTo>
                  <a:pt x="5735405" y="323382"/>
                  <a:pt x="5748109" y="310678"/>
                  <a:pt x="5764278" y="310678"/>
                </a:cubicBezTo>
                <a:close/>
                <a:moveTo>
                  <a:pt x="4938500" y="310678"/>
                </a:moveTo>
                <a:cubicBezTo>
                  <a:pt x="4953513" y="310678"/>
                  <a:pt x="4967373" y="323382"/>
                  <a:pt x="4967373" y="339551"/>
                </a:cubicBezTo>
                <a:cubicBezTo>
                  <a:pt x="4967373" y="355720"/>
                  <a:pt x="4954668" y="368425"/>
                  <a:pt x="4938500" y="368425"/>
                </a:cubicBezTo>
                <a:cubicBezTo>
                  <a:pt x="4922331" y="368425"/>
                  <a:pt x="4909627" y="355720"/>
                  <a:pt x="4909627" y="339551"/>
                </a:cubicBezTo>
                <a:cubicBezTo>
                  <a:pt x="4909627" y="323382"/>
                  <a:pt x="4922331" y="310678"/>
                  <a:pt x="4938500" y="310678"/>
                </a:cubicBezTo>
                <a:close/>
                <a:moveTo>
                  <a:pt x="3810129" y="310678"/>
                </a:moveTo>
                <a:cubicBezTo>
                  <a:pt x="3826298" y="310678"/>
                  <a:pt x="3839002" y="323382"/>
                  <a:pt x="3839002" y="339551"/>
                </a:cubicBezTo>
                <a:cubicBezTo>
                  <a:pt x="3839002" y="355720"/>
                  <a:pt x="3826298" y="368425"/>
                  <a:pt x="3810129" y="368425"/>
                </a:cubicBezTo>
                <a:cubicBezTo>
                  <a:pt x="3793960" y="368425"/>
                  <a:pt x="3781255" y="355720"/>
                  <a:pt x="3781255" y="339551"/>
                </a:cubicBezTo>
                <a:cubicBezTo>
                  <a:pt x="3781255" y="323382"/>
                  <a:pt x="3793960" y="310678"/>
                  <a:pt x="3810129" y="310678"/>
                </a:cubicBezTo>
                <a:close/>
                <a:moveTo>
                  <a:pt x="2302939" y="310678"/>
                </a:moveTo>
                <a:cubicBezTo>
                  <a:pt x="2319108" y="310678"/>
                  <a:pt x="2331813" y="323382"/>
                  <a:pt x="2331813" y="339551"/>
                </a:cubicBezTo>
                <a:cubicBezTo>
                  <a:pt x="2331813" y="355720"/>
                  <a:pt x="2319108" y="368425"/>
                  <a:pt x="2302939" y="368425"/>
                </a:cubicBezTo>
                <a:cubicBezTo>
                  <a:pt x="2286771" y="368425"/>
                  <a:pt x="2274067" y="355720"/>
                  <a:pt x="2274067" y="339551"/>
                </a:cubicBezTo>
                <a:cubicBezTo>
                  <a:pt x="2274067" y="323382"/>
                  <a:pt x="2286771" y="310678"/>
                  <a:pt x="2302939" y="310678"/>
                </a:cubicBezTo>
                <a:close/>
                <a:moveTo>
                  <a:pt x="1151470" y="310678"/>
                </a:moveTo>
                <a:cubicBezTo>
                  <a:pt x="1167639" y="310678"/>
                  <a:pt x="1180343" y="323382"/>
                  <a:pt x="1180343" y="339551"/>
                </a:cubicBezTo>
                <a:cubicBezTo>
                  <a:pt x="1180343" y="355720"/>
                  <a:pt x="1167639" y="368425"/>
                  <a:pt x="1151470" y="368425"/>
                </a:cubicBezTo>
                <a:cubicBezTo>
                  <a:pt x="1135301" y="368425"/>
                  <a:pt x="1122596" y="355720"/>
                  <a:pt x="1122596" y="339551"/>
                </a:cubicBezTo>
                <a:cubicBezTo>
                  <a:pt x="1122596" y="323382"/>
                  <a:pt x="1135301" y="310678"/>
                  <a:pt x="1151470" y="310678"/>
                </a:cubicBezTo>
                <a:close/>
                <a:moveTo>
                  <a:pt x="325692" y="310678"/>
                </a:moveTo>
                <a:cubicBezTo>
                  <a:pt x="340706" y="310678"/>
                  <a:pt x="354566" y="323382"/>
                  <a:pt x="354566" y="339551"/>
                </a:cubicBezTo>
                <a:cubicBezTo>
                  <a:pt x="354566" y="355720"/>
                  <a:pt x="341861" y="368425"/>
                  <a:pt x="325692" y="368425"/>
                </a:cubicBezTo>
                <a:cubicBezTo>
                  <a:pt x="309523" y="368425"/>
                  <a:pt x="296819" y="355720"/>
                  <a:pt x="296819" y="339551"/>
                </a:cubicBezTo>
                <a:cubicBezTo>
                  <a:pt x="296819" y="323382"/>
                  <a:pt x="309523" y="310678"/>
                  <a:pt x="325692" y="310678"/>
                </a:cubicBezTo>
                <a:close/>
                <a:moveTo>
                  <a:pt x="11383636" y="304903"/>
                </a:moveTo>
                <a:cubicBezTo>
                  <a:pt x="11402115" y="304903"/>
                  <a:pt x="11418284" y="321072"/>
                  <a:pt x="11418284" y="339551"/>
                </a:cubicBezTo>
                <a:cubicBezTo>
                  <a:pt x="11418284" y="358030"/>
                  <a:pt x="11403270" y="374199"/>
                  <a:pt x="11383636" y="374199"/>
                </a:cubicBezTo>
                <a:cubicBezTo>
                  <a:pt x="11365157" y="374199"/>
                  <a:pt x="11348988" y="358030"/>
                  <a:pt x="11348988" y="339551"/>
                </a:cubicBezTo>
                <a:cubicBezTo>
                  <a:pt x="11348988" y="321072"/>
                  <a:pt x="11364002" y="304903"/>
                  <a:pt x="11383636" y="304903"/>
                </a:cubicBezTo>
                <a:close/>
                <a:moveTo>
                  <a:pt x="10811943" y="304903"/>
                </a:moveTo>
                <a:cubicBezTo>
                  <a:pt x="10830422" y="304903"/>
                  <a:pt x="10846591" y="321072"/>
                  <a:pt x="10846591" y="339551"/>
                </a:cubicBezTo>
                <a:cubicBezTo>
                  <a:pt x="10846591" y="358030"/>
                  <a:pt x="10831578" y="374199"/>
                  <a:pt x="10811943" y="374199"/>
                </a:cubicBezTo>
                <a:cubicBezTo>
                  <a:pt x="10793464" y="374199"/>
                  <a:pt x="10777295" y="358030"/>
                  <a:pt x="10777295" y="339551"/>
                </a:cubicBezTo>
                <a:cubicBezTo>
                  <a:pt x="10777295" y="321072"/>
                  <a:pt x="10792310" y="304903"/>
                  <a:pt x="10811943" y="304903"/>
                </a:cubicBezTo>
                <a:close/>
                <a:moveTo>
                  <a:pt x="10232166" y="304903"/>
                </a:moveTo>
                <a:cubicBezTo>
                  <a:pt x="10251801" y="304903"/>
                  <a:pt x="10266814" y="321072"/>
                  <a:pt x="10266814" y="339551"/>
                </a:cubicBezTo>
                <a:cubicBezTo>
                  <a:pt x="10266814" y="358030"/>
                  <a:pt x="10250645" y="374199"/>
                  <a:pt x="10232166" y="374199"/>
                </a:cubicBezTo>
                <a:cubicBezTo>
                  <a:pt x="10213687" y="374199"/>
                  <a:pt x="10197518" y="358030"/>
                  <a:pt x="10197518" y="339551"/>
                </a:cubicBezTo>
                <a:cubicBezTo>
                  <a:pt x="10197518" y="321072"/>
                  <a:pt x="10212533" y="304903"/>
                  <a:pt x="10232166" y="304903"/>
                </a:cubicBezTo>
                <a:close/>
                <a:moveTo>
                  <a:pt x="9681263" y="304903"/>
                </a:moveTo>
                <a:cubicBezTo>
                  <a:pt x="9700896" y="304903"/>
                  <a:pt x="9715911" y="321072"/>
                  <a:pt x="9715911" y="339551"/>
                </a:cubicBezTo>
                <a:cubicBezTo>
                  <a:pt x="9715911" y="358030"/>
                  <a:pt x="9699742" y="374199"/>
                  <a:pt x="9681263" y="374199"/>
                </a:cubicBezTo>
                <a:cubicBezTo>
                  <a:pt x="9662784" y="374199"/>
                  <a:pt x="9646615" y="358030"/>
                  <a:pt x="9646615" y="339551"/>
                </a:cubicBezTo>
                <a:cubicBezTo>
                  <a:pt x="9646615" y="321072"/>
                  <a:pt x="9661629" y="304903"/>
                  <a:pt x="9681263" y="304903"/>
                </a:cubicBezTo>
                <a:close/>
                <a:moveTo>
                  <a:pt x="9112431" y="304903"/>
                </a:moveTo>
                <a:cubicBezTo>
                  <a:pt x="9130910" y="304903"/>
                  <a:pt x="9147079" y="321072"/>
                  <a:pt x="9147079" y="339551"/>
                </a:cubicBezTo>
                <a:cubicBezTo>
                  <a:pt x="9147079" y="358030"/>
                  <a:pt x="9132065" y="374199"/>
                  <a:pt x="9112431" y="374199"/>
                </a:cubicBezTo>
                <a:cubicBezTo>
                  <a:pt x="9093952" y="374199"/>
                  <a:pt x="9077783" y="358030"/>
                  <a:pt x="9077783" y="339551"/>
                </a:cubicBezTo>
                <a:cubicBezTo>
                  <a:pt x="9077783" y="321072"/>
                  <a:pt x="9092798" y="304903"/>
                  <a:pt x="9112431" y="304903"/>
                </a:cubicBezTo>
                <a:close/>
                <a:moveTo>
                  <a:pt x="8561528" y="304903"/>
                </a:moveTo>
                <a:cubicBezTo>
                  <a:pt x="8580007" y="304903"/>
                  <a:pt x="8596176" y="321072"/>
                  <a:pt x="8596176" y="339551"/>
                </a:cubicBezTo>
                <a:cubicBezTo>
                  <a:pt x="8596176" y="358030"/>
                  <a:pt x="8581161" y="374199"/>
                  <a:pt x="8561528" y="374199"/>
                </a:cubicBezTo>
                <a:cubicBezTo>
                  <a:pt x="8543049" y="374199"/>
                  <a:pt x="8526880" y="358030"/>
                  <a:pt x="8526880" y="339551"/>
                </a:cubicBezTo>
                <a:cubicBezTo>
                  <a:pt x="8526880" y="321072"/>
                  <a:pt x="8541893" y="304903"/>
                  <a:pt x="8561528" y="304903"/>
                </a:cubicBezTo>
                <a:close/>
                <a:moveTo>
                  <a:pt x="6778310" y="304903"/>
                </a:moveTo>
                <a:cubicBezTo>
                  <a:pt x="6796790" y="304903"/>
                  <a:pt x="6812959" y="321072"/>
                  <a:pt x="6812959" y="339551"/>
                </a:cubicBezTo>
                <a:cubicBezTo>
                  <a:pt x="6812959" y="358030"/>
                  <a:pt x="6796790" y="374199"/>
                  <a:pt x="6778310" y="374199"/>
                </a:cubicBezTo>
                <a:cubicBezTo>
                  <a:pt x="6759831" y="374199"/>
                  <a:pt x="6743662" y="358030"/>
                  <a:pt x="6743662" y="339551"/>
                </a:cubicBezTo>
                <a:cubicBezTo>
                  <a:pt x="6743662" y="321072"/>
                  <a:pt x="6758675" y="304903"/>
                  <a:pt x="6778310" y="304903"/>
                </a:cubicBezTo>
                <a:close/>
                <a:moveTo>
                  <a:pt x="6206618" y="304903"/>
                </a:moveTo>
                <a:cubicBezTo>
                  <a:pt x="6225097" y="304903"/>
                  <a:pt x="6241265" y="321072"/>
                  <a:pt x="6241265" y="339551"/>
                </a:cubicBezTo>
                <a:cubicBezTo>
                  <a:pt x="6241265" y="358030"/>
                  <a:pt x="6226251" y="374199"/>
                  <a:pt x="6206618" y="374199"/>
                </a:cubicBezTo>
                <a:cubicBezTo>
                  <a:pt x="6188138" y="374199"/>
                  <a:pt x="6171969" y="358030"/>
                  <a:pt x="6171969" y="339551"/>
                </a:cubicBezTo>
                <a:cubicBezTo>
                  <a:pt x="6171969" y="321072"/>
                  <a:pt x="6186984" y="304903"/>
                  <a:pt x="6206618" y="304903"/>
                </a:cubicBezTo>
                <a:close/>
                <a:moveTo>
                  <a:pt x="5626840" y="304903"/>
                </a:moveTo>
                <a:cubicBezTo>
                  <a:pt x="5646475" y="304903"/>
                  <a:pt x="5661488" y="321072"/>
                  <a:pt x="5661488" y="339551"/>
                </a:cubicBezTo>
                <a:cubicBezTo>
                  <a:pt x="5661488" y="358030"/>
                  <a:pt x="5646475" y="374199"/>
                  <a:pt x="5626840" y="374199"/>
                </a:cubicBezTo>
                <a:cubicBezTo>
                  <a:pt x="5608360" y="374199"/>
                  <a:pt x="5592192" y="358030"/>
                  <a:pt x="5592192" y="339551"/>
                </a:cubicBezTo>
                <a:cubicBezTo>
                  <a:pt x="5592192" y="321072"/>
                  <a:pt x="5607207" y="304903"/>
                  <a:pt x="5626840" y="304903"/>
                </a:cubicBezTo>
                <a:close/>
                <a:moveTo>
                  <a:pt x="5075938" y="304903"/>
                </a:moveTo>
                <a:cubicBezTo>
                  <a:pt x="5095571" y="304903"/>
                  <a:pt x="5110584" y="321072"/>
                  <a:pt x="5110584" y="339551"/>
                </a:cubicBezTo>
                <a:cubicBezTo>
                  <a:pt x="5110584" y="358030"/>
                  <a:pt x="5095571" y="374199"/>
                  <a:pt x="5075938" y="374199"/>
                </a:cubicBezTo>
                <a:cubicBezTo>
                  <a:pt x="5057458" y="374199"/>
                  <a:pt x="5041289" y="358030"/>
                  <a:pt x="5041289" y="339551"/>
                </a:cubicBezTo>
                <a:cubicBezTo>
                  <a:pt x="5041289" y="321072"/>
                  <a:pt x="5056302" y="304903"/>
                  <a:pt x="5075938" y="304903"/>
                </a:cubicBezTo>
                <a:close/>
                <a:moveTo>
                  <a:pt x="4499625" y="304903"/>
                </a:moveTo>
                <a:cubicBezTo>
                  <a:pt x="4518102" y="304903"/>
                  <a:pt x="4534273" y="321072"/>
                  <a:pt x="4534273" y="339551"/>
                </a:cubicBezTo>
                <a:cubicBezTo>
                  <a:pt x="4534273" y="358030"/>
                  <a:pt x="4519258" y="374199"/>
                  <a:pt x="4499625" y="374199"/>
                </a:cubicBezTo>
                <a:cubicBezTo>
                  <a:pt x="4481145" y="374199"/>
                  <a:pt x="4464976" y="358030"/>
                  <a:pt x="4464976" y="339551"/>
                </a:cubicBezTo>
                <a:cubicBezTo>
                  <a:pt x="4464976" y="321072"/>
                  <a:pt x="4479992" y="304903"/>
                  <a:pt x="4499625" y="304903"/>
                </a:cubicBezTo>
                <a:close/>
                <a:moveTo>
                  <a:pt x="3948721" y="304903"/>
                </a:moveTo>
                <a:cubicBezTo>
                  <a:pt x="3967200" y="304903"/>
                  <a:pt x="3983369" y="321072"/>
                  <a:pt x="3983369" y="339551"/>
                </a:cubicBezTo>
                <a:cubicBezTo>
                  <a:pt x="3983369" y="358030"/>
                  <a:pt x="3968354" y="374199"/>
                  <a:pt x="3948721" y="374199"/>
                </a:cubicBezTo>
                <a:cubicBezTo>
                  <a:pt x="3930243" y="374199"/>
                  <a:pt x="3914073" y="358030"/>
                  <a:pt x="3914073" y="339551"/>
                </a:cubicBezTo>
                <a:cubicBezTo>
                  <a:pt x="3914073" y="321072"/>
                  <a:pt x="3929086" y="304903"/>
                  <a:pt x="3948721" y="304903"/>
                </a:cubicBezTo>
                <a:close/>
                <a:moveTo>
                  <a:pt x="2165502" y="304903"/>
                </a:moveTo>
                <a:cubicBezTo>
                  <a:pt x="2183981" y="304903"/>
                  <a:pt x="2200150" y="321072"/>
                  <a:pt x="2200150" y="339551"/>
                </a:cubicBezTo>
                <a:cubicBezTo>
                  <a:pt x="2200150" y="358030"/>
                  <a:pt x="2185137" y="374199"/>
                  <a:pt x="2165502" y="374199"/>
                </a:cubicBezTo>
                <a:cubicBezTo>
                  <a:pt x="2147023" y="374199"/>
                  <a:pt x="2130854" y="358030"/>
                  <a:pt x="2130854" y="339551"/>
                </a:cubicBezTo>
                <a:cubicBezTo>
                  <a:pt x="2130854" y="321072"/>
                  <a:pt x="2145868" y="304903"/>
                  <a:pt x="2165502" y="304903"/>
                </a:cubicBezTo>
                <a:close/>
                <a:moveTo>
                  <a:pt x="1593810" y="304903"/>
                </a:moveTo>
                <a:cubicBezTo>
                  <a:pt x="1612288" y="304903"/>
                  <a:pt x="1628457" y="321072"/>
                  <a:pt x="1628457" y="339551"/>
                </a:cubicBezTo>
                <a:cubicBezTo>
                  <a:pt x="1628457" y="358030"/>
                  <a:pt x="1613444" y="374199"/>
                  <a:pt x="1593810" y="374199"/>
                </a:cubicBezTo>
                <a:cubicBezTo>
                  <a:pt x="1575330" y="374199"/>
                  <a:pt x="1559161" y="358030"/>
                  <a:pt x="1559161" y="339551"/>
                </a:cubicBezTo>
                <a:cubicBezTo>
                  <a:pt x="1559161" y="321072"/>
                  <a:pt x="1574176" y="304903"/>
                  <a:pt x="1593810" y="304903"/>
                </a:cubicBezTo>
                <a:close/>
                <a:moveTo>
                  <a:pt x="1014032" y="304903"/>
                </a:moveTo>
                <a:cubicBezTo>
                  <a:pt x="1033667" y="304903"/>
                  <a:pt x="1048681" y="321072"/>
                  <a:pt x="1048681" y="339551"/>
                </a:cubicBezTo>
                <a:cubicBezTo>
                  <a:pt x="1048681" y="358030"/>
                  <a:pt x="1032511" y="374199"/>
                  <a:pt x="1014032" y="374199"/>
                </a:cubicBezTo>
                <a:cubicBezTo>
                  <a:pt x="995554" y="374199"/>
                  <a:pt x="979384" y="358030"/>
                  <a:pt x="979384" y="339551"/>
                </a:cubicBezTo>
                <a:cubicBezTo>
                  <a:pt x="979384" y="321072"/>
                  <a:pt x="994399" y="304903"/>
                  <a:pt x="1014032" y="304903"/>
                </a:cubicBezTo>
                <a:close/>
                <a:moveTo>
                  <a:pt x="463129" y="304903"/>
                </a:moveTo>
                <a:cubicBezTo>
                  <a:pt x="482763" y="304903"/>
                  <a:pt x="497778" y="321072"/>
                  <a:pt x="497778" y="339551"/>
                </a:cubicBezTo>
                <a:cubicBezTo>
                  <a:pt x="497778" y="358030"/>
                  <a:pt x="481608" y="374199"/>
                  <a:pt x="463129" y="374199"/>
                </a:cubicBezTo>
                <a:cubicBezTo>
                  <a:pt x="444651" y="374199"/>
                  <a:pt x="428481" y="358030"/>
                  <a:pt x="428481" y="339551"/>
                </a:cubicBezTo>
                <a:cubicBezTo>
                  <a:pt x="428481" y="321072"/>
                  <a:pt x="443495" y="304903"/>
                  <a:pt x="463129" y="304903"/>
                </a:cubicBezTo>
                <a:close/>
                <a:moveTo>
                  <a:pt x="11245044" y="299129"/>
                </a:moveTo>
                <a:cubicBezTo>
                  <a:pt x="11268143" y="299129"/>
                  <a:pt x="11285466" y="317608"/>
                  <a:pt x="11285466" y="339551"/>
                </a:cubicBezTo>
                <a:cubicBezTo>
                  <a:pt x="11285466" y="361495"/>
                  <a:pt x="11266987" y="379974"/>
                  <a:pt x="11245044" y="379974"/>
                </a:cubicBezTo>
                <a:cubicBezTo>
                  <a:pt x="11223100" y="379974"/>
                  <a:pt x="11204621" y="361495"/>
                  <a:pt x="11204621" y="339551"/>
                </a:cubicBezTo>
                <a:cubicBezTo>
                  <a:pt x="11204621" y="317608"/>
                  <a:pt x="11223100" y="299129"/>
                  <a:pt x="11245044" y="299129"/>
                </a:cubicBezTo>
                <a:close/>
                <a:moveTo>
                  <a:pt x="10970170" y="299129"/>
                </a:moveTo>
                <a:cubicBezTo>
                  <a:pt x="10992113" y="299129"/>
                  <a:pt x="11010592" y="317608"/>
                  <a:pt x="11010592" y="339551"/>
                </a:cubicBezTo>
                <a:cubicBezTo>
                  <a:pt x="11010592" y="361495"/>
                  <a:pt x="10992113" y="379974"/>
                  <a:pt x="10970170" y="379974"/>
                </a:cubicBezTo>
                <a:cubicBezTo>
                  <a:pt x="10948226" y="379974"/>
                  <a:pt x="10929746" y="361495"/>
                  <a:pt x="10929746" y="339551"/>
                </a:cubicBezTo>
                <a:cubicBezTo>
                  <a:pt x="10929746" y="317608"/>
                  <a:pt x="10948226" y="299129"/>
                  <a:pt x="10970170" y="299129"/>
                </a:cubicBezTo>
                <a:close/>
                <a:moveTo>
                  <a:pt x="10094730" y="299129"/>
                </a:moveTo>
                <a:cubicBezTo>
                  <a:pt x="10116673" y="299129"/>
                  <a:pt x="10135152" y="317608"/>
                  <a:pt x="10135152" y="339551"/>
                </a:cubicBezTo>
                <a:cubicBezTo>
                  <a:pt x="10135152" y="361495"/>
                  <a:pt x="10116673" y="379974"/>
                  <a:pt x="10094730" y="379974"/>
                </a:cubicBezTo>
                <a:cubicBezTo>
                  <a:pt x="10072785" y="379974"/>
                  <a:pt x="10054306" y="361495"/>
                  <a:pt x="10054306" y="339551"/>
                </a:cubicBezTo>
                <a:cubicBezTo>
                  <a:pt x="10054306" y="317608"/>
                  <a:pt x="10072785" y="299129"/>
                  <a:pt x="10094730" y="299129"/>
                </a:cubicBezTo>
                <a:close/>
                <a:moveTo>
                  <a:pt x="9818700" y="299129"/>
                </a:moveTo>
                <a:cubicBezTo>
                  <a:pt x="9841798" y="299129"/>
                  <a:pt x="9859123" y="318762"/>
                  <a:pt x="9859123" y="340706"/>
                </a:cubicBezTo>
                <a:cubicBezTo>
                  <a:pt x="9859123" y="362649"/>
                  <a:pt x="9840644" y="381128"/>
                  <a:pt x="9818700" y="381128"/>
                </a:cubicBezTo>
                <a:cubicBezTo>
                  <a:pt x="9796757" y="381128"/>
                  <a:pt x="9778278" y="361495"/>
                  <a:pt x="9778278" y="339551"/>
                </a:cubicBezTo>
                <a:cubicBezTo>
                  <a:pt x="9778278" y="317608"/>
                  <a:pt x="9796757" y="299129"/>
                  <a:pt x="9818700" y="299129"/>
                </a:cubicBezTo>
                <a:close/>
                <a:moveTo>
                  <a:pt x="8974994" y="299129"/>
                </a:moveTo>
                <a:cubicBezTo>
                  <a:pt x="8996938" y="299129"/>
                  <a:pt x="9015416" y="317608"/>
                  <a:pt x="9015416" y="339551"/>
                </a:cubicBezTo>
                <a:cubicBezTo>
                  <a:pt x="9015416" y="361495"/>
                  <a:pt x="8996938" y="379974"/>
                  <a:pt x="8974994" y="379974"/>
                </a:cubicBezTo>
                <a:cubicBezTo>
                  <a:pt x="8953050" y="379974"/>
                  <a:pt x="8934571" y="361495"/>
                  <a:pt x="8934571" y="339551"/>
                </a:cubicBezTo>
                <a:cubicBezTo>
                  <a:pt x="8934571" y="317608"/>
                  <a:pt x="8953050" y="299129"/>
                  <a:pt x="8974994" y="299129"/>
                </a:cubicBezTo>
                <a:close/>
                <a:moveTo>
                  <a:pt x="8698965" y="299129"/>
                </a:moveTo>
                <a:cubicBezTo>
                  <a:pt x="8720909" y="299129"/>
                  <a:pt x="8739388" y="317608"/>
                  <a:pt x="8739388" y="339551"/>
                </a:cubicBezTo>
                <a:cubicBezTo>
                  <a:pt x="8739388" y="361495"/>
                  <a:pt x="8720909" y="379974"/>
                  <a:pt x="8698965" y="379974"/>
                </a:cubicBezTo>
                <a:cubicBezTo>
                  <a:pt x="8677021" y="379974"/>
                  <a:pt x="8658542" y="361495"/>
                  <a:pt x="8658542" y="339551"/>
                </a:cubicBezTo>
                <a:cubicBezTo>
                  <a:pt x="8658542" y="317608"/>
                  <a:pt x="8677021" y="299129"/>
                  <a:pt x="8698965" y="299129"/>
                </a:cubicBezTo>
                <a:close/>
                <a:moveTo>
                  <a:pt x="6639717" y="299129"/>
                </a:moveTo>
                <a:cubicBezTo>
                  <a:pt x="6662817" y="299129"/>
                  <a:pt x="6680139" y="317608"/>
                  <a:pt x="6680139" y="339551"/>
                </a:cubicBezTo>
                <a:cubicBezTo>
                  <a:pt x="6680139" y="361495"/>
                  <a:pt x="6661661" y="379974"/>
                  <a:pt x="6639717" y="379974"/>
                </a:cubicBezTo>
                <a:cubicBezTo>
                  <a:pt x="6617773" y="379974"/>
                  <a:pt x="6599295" y="361495"/>
                  <a:pt x="6599295" y="339551"/>
                </a:cubicBezTo>
                <a:cubicBezTo>
                  <a:pt x="6599295" y="317608"/>
                  <a:pt x="6617773" y="299129"/>
                  <a:pt x="6639717" y="299129"/>
                </a:cubicBezTo>
                <a:close/>
                <a:moveTo>
                  <a:pt x="6364844" y="299129"/>
                </a:moveTo>
                <a:cubicBezTo>
                  <a:pt x="6386786" y="299129"/>
                  <a:pt x="6405265" y="317608"/>
                  <a:pt x="6405265" y="339551"/>
                </a:cubicBezTo>
                <a:cubicBezTo>
                  <a:pt x="6405265" y="361495"/>
                  <a:pt x="6386786" y="379974"/>
                  <a:pt x="6364844" y="379974"/>
                </a:cubicBezTo>
                <a:cubicBezTo>
                  <a:pt x="6342899" y="379974"/>
                  <a:pt x="6324420" y="361495"/>
                  <a:pt x="6324420" y="339551"/>
                </a:cubicBezTo>
                <a:cubicBezTo>
                  <a:pt x="6324420" y="317608"/>
                  <a:pt x="6342899" y="299129"/>
                  <a:pt x="6364844" y="299129"/>
                </a:cubicBezTo>
                <a:close/>
                <a:moveTo>
                  <a:pt x="5489404" y="299129"/>
                </a:moveTo>
                <a:cubicBezTo>
                  <a:pt x="5511346" y="299129"/>
                  <a:pt x="5529826" y="317608"/>
                  <a:pt x="5529826" y="339551"/>
                </a:cubicBezTo>
                <a:cubicBezTo>
                  <a:pt x="5529826" y="361495"/>
                  <a:pt x="5511346" y="379974"/>
                  <a:pt x="5489404" y="379974"/>
                </a:cubicBezTo>
                <a:cubicBezTo>
                  <a:pt x="5467460" y="379974"/>
                  <a:pt x="5448980" y="361495"/>
                  <a:pt x="5448980" y="339551"/>
                </a:cubicBezTo>
                <a:cubicBezTo>
                  <a:pt x="5448980" y="317608"/>
                  <a:pt x="5467460" y="299129"/>
                  <a:pt x="5489404" y="299129"/>
                </a:cubicBezTo>
                <a:close/>
                <a:moveTo>
                  <a:pt x="5213373" y="299129"/>
                </a:moveTo>
                <a:cubicBezTo>
                  <a:pt x="5236473" y="299129"/>
                  <a:pt x="5253797" y="317608"/>
                  <a:pt x="5253797" y="339551"/>
                </a:cubicBezTo>
                <a:cubicBezTo>
                  <a:pt x="5253797" y="361495"/>
                  <a:pt x="5235319" y="379974"/>
                  <a:pt x="5213373" y="379974"/>
                </a:cubicBezTo>
                <a:cubicBezTo>
                  <a:pt x="5191431" y="379974"/>
                  <a:pt x="5172952" y="361495"/>
                  <a:pt x="5172952" y="339551"/>
                </a:cubicBezTo>
                <a:cubicBezTo>
                  <a:pt x="5172952" y="317608"/>
                  <a:pt x="5191431" y="299129"/>
                  <a:pt x="5213373" y="299129"/>
                </a:cubicBezTo>
                <a:close/>
                <a:moveTo>
                  <a:pt x="4361031" y="299129"/>
                </a:moveTo>
                <a:cubicBezTo>
                  <a:pt x="4384131" y="299129"/>
                  <a:pt x="4401455" y="317608"/>
                  <a:pt x="4401455" y="339551"/>
                </a:cubicBezTo>
                <a:cubicBezTo>
                  <a:pt x="4401455" y="361495"/>
                  <a:pt x="4382977" y="379974"/>
                  <a:pt x="4361031" y="379974"/>
                </a:cubicBezTo>
                <a:cubicBezTo>
                  <a:pt x="4339089" y="379974"/>
                  <a:pt x="4320610" y="361495"/>
                  <a:pt x="4320610" y="339551"/>
                </a:cubicBezTo>
                <a:cubicBezTo>
                  <a:pt x="4320610" y="317608"/>
                  <a:pt x="4339089" y="299129"/>
                  <a:pt x="4361031" y="299129"/>
                </a:cubicBezTo>
                <a:close/>
                <a:moveTo>
                  <a:pt x="4086158" y="299129"/>
                </a:moveTo>
                <a:cubicBezTo>
                  <a:pt x="4108102" y="299129"/>
                  <a:pt x="4126582" y="317608"/>
                  <a:pt x="4126582" y="339551"/>
                </a:cubicBezTo>
                <a:cubicBezTo>
                  <a:pt x="4126582" y="361495"/>
                  <a:pt x="4108102" y="379974"/>
                  <a:pt x="4086158" y="379974"/>
                </a:cubicBezTo>
                <a:cubicBezTo>
                  <a:pt x="4064214" y="379974"/>
                  <a:pt x="4045735" y="361495"/>
                  <a:pt x="4045735" y="339551"/>
                </a:cubicBezTo>
                <a:cubicBezTo>
                  <a:pt x="4045735" y="317608"/>
                  <a:pt x="4064214" y="299129"/>
                  <a:pt x="4086158" y="299129"/>
                </a:cubicBezTo>
                <a:close/>
                <a:moveTo>
                  <a:pt x="2026910" y="299129"/>
                </a:moveTo>
                <a:cubicBezTo>
                  <a:pt x="2050009" y="299129"/>
                  <a:pt x="2067332" y="317608"/>
                  <a:pt x="2067332" y="339551"/>
                </a:cubicBezTo>
                <a:cubicBezTo>
                  <a:pt x="2067332" y="361495"/>
                  <a:pt x="2048854" y="379974"/>
                  <a:pt x="2026910" y="379974"/>
                </a:cubicBezTo>
                <a:cubicBezTo>
                  <a:pt x="2004966" y="379974"/>
                  <a:pt x="1986487" y="361495"/>
                  <a:pt x="1986487" y="339551"/>
                </a:cubicBezTo>
                <a:cubicBezTo>
                  <a:pt x="1986487" y="317608"/>
                  <a:pt x="2004966" y="299129"/>
                  <a:pt x="2026910" y="299129"/>
                </a:cubicBezTo>
                <a:close/>
                <a:moveTo>
                  <a:pt x="1752036" y="299129"/>
                </a:moveTo>
                <a:cubicBezTo>
                  <a:pt x="1773979" y="299129"/>
                  <a:pt x="1792458" y="317608"/>
                  <a:pt x="1792458" y="339551"/>
                </a:cubicBezTo>
                <a:cubicBezTo>
                  <a:pt x="1792458" y="361495"/>
                  <a:pt x="1773979" y="379974"/>
                  <a:pt x="1752036" y="379974"/>
                </a:cubicBezTo>
                <a:cubicBezTo>
                  <a:pt x="1730092" y="379974"/>
                  <a:pt x="1711613" y="361495"/>
                  <a:pt x="1711613" y="339551"/>
                </a:cubicBezTo>
                <a:cubicBezTo>
                  <a:pt x="1711613" y="317608"/>
                  <a:pt x="1730092" y="299129"/>
                  <a:pt x="1752036" y="299129"/>
                </a:cubicBezTo>
                <a:close/>
                <a:moveTo>
                  <a:pt x="876596" y="299129"/>
                </a:moveTo>
                <a:cubicBezTo>
                  <a:pt x="898539" y="299129"/>
                  <a:pt x="917018" y="317608"/>
                  <a:pt x="917018" y="339551"/>
                </a:cubicBezTo>
                <a:cubicBezTo>
                  <a:pt x="917018" y="361495"/>
                  <a:pt x="898539" y="379974"/>
                  <a:pt x="876596" y="379974"/>
                </a:cubicBezTo>
                <a:cubicBezTo>
                  <a:pt x="854652" y="379974"/>
                  <a:pt x="836172" y="361495"/>
                  <a:pt x="836172" y="339551"/>
                </a:cubicBezTo>
                <a:cubicBezTo>
                  <a:pt x="836172" y="317608"/>
                  <a:pt x="854652" y="299129"/>
                  <a:pt x="876596" y="299129"/>
                </a:cubicBezTo>
                <a:close/>
                <a:moveTo>
                  <a:pt x="600566" y="299129"/>
                </a:moveTo>
                <a:cubicBezTo>
                  <a:pt x="623665" y="299129"/>
                  <a:pt x="640989" y="318762"/>
                  <a:pt x="640989" y="340706"/>
                </a:cubicBezTo>
                <a:cubicBezTo>
                  <a:pt x="640989" y="362649"/>
                  <a:pt x="622510" y="381128"/>
                  <a:pt x="600566" y="381128"/>
                </a:cubicBezTo>
                <a:cubicBezTo>
                  <a:pt x="578623" y="381128"/>
                  <a:pt x="560144" y="361495"/>
                  <a:pt x="560144" y="339551"/>
                </a:cubicBezTo>
                <a:cubicBezTo>
                  <a:pt x="560144" y="317608"/>
                  <a:pt x="578623" y="299129"/>
                  <a:pt x="600566" y="299129"/>
                </a:cubicBezTo>
                <a:close/>
                <a:moveTo>
                  <a:pt x="11107606" y="288734"/>
                </a:moveTo>
                <a:cubicBezTo>
                  <a:pt x="11136480" y="288734"/>
                  <a:pt x="11158424" y="311832"/>
                  <a:pt x="11158424" y="339551"/>
                </a:cubicBezTo>
                <a:cubicBezTo>
                  <a:pt x="11158424" y="367269"/>
                  <a:pt x="11136480" y="390368"/>
                  <a:pt x="11107606" y="390368"/>
                </a:cubicBezTo>
                <a:cubicBezTo>
                  <a:pt x="11079888" y="390368"/>
                  <a:pt x="11056789" y="367269"/>
                  <a:pt x="11056789" y="339551"/>
                </a:cubicBezTo>
                <a:cubicBezTo>
                  <a:pt x="11056789" y="311832"/>
                  <a:pt x="11078734" y="288734"/>
                  <a:pt x="11107606" y="288734"/>
                </a:cubicBezTo>
                <a:close/>
                <a:moveTo>
                  <a:pt x="9957292" y="288734"/>
                </a:moveTo>
                <a:cubicBezTo>
                  <a:pt x="9985010" y="288734"/>
                  <a:pt x="10008109" y="311832"/>
                  <a:pt x="10008109" y="339551"/>
                </a:cubicBezTo>
                <a:cubicBezTo>
                  <a:pt x="10008109" y="367269"/>
                  <a:pt x="9985010" y="390368"/>
                  <a:pt x="9957292" y="390368"/>
                </a:cubicBezTo>
                <a:cubicBezTo>
                  <a:pt x="9929574" y="390368"/>
                  <a:pt x="9906475" y="367269"/>
                  <a:pt x="9906475" y="339551"/>
                </a:cubicBezTo>
                <a:cubicBezTo>
                  <a:pt x="9906475" y="311832"/>
                  <a:pt x="9928419" y="288734"/>
                  <a:pt x="9957292" y="288734"/>
                </a:cubicBezTo>
                <a:close/>
                <a:moveTo>
                  <a:pt x="8836402" y="288734"/>
                </a:moveTo>
                <a:cubicBezTo>
                  <a:pt x="8865275" y="288734"/>
                  <a:pt x="8887219" y="311832"/>
                  <a:pt x="8887219" y="339551"/>
                </a:cubicBezTo>
                <a:cubicBezTo>
                  <a:pt x="8887219" y="367269"/>
                  <a:pt x="8864121" y="390368"/>
                  <a:pt x="8836402" y="390368"/>
                </a:cubicBezTo>
                <a:cubicBezTo>
                  <a:pt x="8808684" y="390368"/>
                  <a:pt x="8785585" y="367269"/>
                  <a:pt x="8785585" y="339551"/>
                </a:cubicBezTo>
                <a:cubicBezTo>
                  <a:pt x="8785585" y="311832"/>
                  <a:pt x="8807528" y="288734"/>
                  <a:pt x="8836402" y="288734"/>
                </a:cubicBezTo>
                <a:close/>
                <a:moveTo>
                  <a:pt x="6502281" y="288734"/>
                </a:moveTo>
                <a:cubicBezTo>
                  <a:pt x="6531154" y="288734"/>
                  <a:pt x="6553098" y="311832"/>
                  <a:pt x="6553098" y="339551"/>
                </a:cubicBezTo>
                <a:cubicBezTo>
                  <a:pt x="6553098" y="367269"/>
                  <a:pt x="6531154" y="390368"/>
                  <a:pt x="6502281" y="390368"/>
                </a:cubicBezTo>
                <a:cubicBezTo>
                  <a:pt x="6474562" y="390368"/>
                  <a:pt x="6451462" y="367269"/>
                  <a:pt x="6451462" y="339551"/>
                </a:cubicBezTo>
                <a:cubicBezTo>
                  <a:pt x="6451462" y="311832"/>
                  <a:pt x="6473407" y="288734"/>
                  <a:pt x="6502281" y="288734"/>
                </a:cubicBezTo>
                <a:close/>
                <a:moveTo>
                  <a:pt x="5351966" y="288734"/>
                </a:moveTo>
                <a:cubicBezTo>
                  <a:pt x="5379684" y="288734"/>
                  <a:pt x="5402784" y="311832"/>
                  <a:pt x="5402784" y="339551"/>
                </a:cubicBezTo>
                <a:cubicBezTo>
                  <a:pt x="5402784" y="367269"/>
                  <a:pt x="5380840" y="390368"/>
                  <a:pt x="5351966" y="390368"/>
                </a:cubicBezTo>
                <a:cubicBezTo>
                  <a:pt x="5324247" y="390368"/>
                  <a:pt x="5301149" y="367269"/>
                  <a:pt x="5301149" y="339551"/>
                </a:cubicBezTo>
                <a:cubicBezTo>
                  <a:pt x="5301149" y="311832"/>
                  <a:pt x="5323094" y="288734"/>
                  <a:pt x="5351966" y="288734"/>
                </a:cubicBezTo>
                <a:close/>
                <a:moveTo>
                  <a:pt x="4223596" y="288734"/>
                </a:moveTo>
                <a:cubicBezTo>
                  <a:pt x="4252468" y="288734"/>
                  <a:pt x="4274413" y="311832"/>
                  <a:pt x="4274413" y="339551"/>
                </a:cubicBezTo>
                <a:cubicBezTo>
                  <a:pt x="4274413" y="367269"/>
                  <a:pt x="4251315" y="390368"/>
                  <a:pt x="4223596" y="390368"/>
                </a:cubicBezTo>
                <a:cubicBezTo>
                  <a:pt x="4195877" y="390368"/>
                  <a:pt x="4172779" y="367269"/>
                  <a:pt x="4172779" y="339551"/>
                </a:cubicBezTo>
                <a:cubicBezTo>
                  <a:pt x="4172779" y="311832"/>
                  <a:pt x="4194721" y="288734"/>
                  <a:pt x="4223596" y="288734"/>
                </a:cubicBezTo>
                <a:close/>
                <a:moveTo>
                  <a:pt x="1889473" y="288734"/>
                </a:moveTo>
                <a:cubicBezTo>
                  <a:pt x="1918346" y="288734"/>
                  <a:pt x="1940290" y="311832"/>
                  <a:pt x="1940290" y="339551"/>
                </a:cubicBezTo>
                <a:cubicBezTo>
                  <a:pt x="1940290" y="367269"/>
                  <a:pt x="1918346" y="390368"/>
                  <a:pt x="1889473" y="390368"/>
                </a:cubicBezTo>
                <a:cubicBezTo>
                  <a:pt x="1861754" y="390368"/>
                  <a:pt x="1838656" y="367269"/>
                  <a:pt x="1838656" y="339551"/>
                </a:cubicBezTo>
                <a:cubicBezTo>
                  <a:pt x="1838656" y="311832"/>
                  <a:pt x="1860600" y="288734"/>
                  <a:pt x="1889473" y="288734"/>
                </a:cubicBezTo>
                <a:close/>
                <a:moveTo>
                  <a:pt x="739158" y="288734"/>
                </a:moveTo>
                <a:cubicBezTo>
                  <a:pt x="766877" y="288734"/>
                  <a:pt x="789975" y="311832"/>
                  <a:pt x="789975" y="339551"/>
                </a:cubicBezTo>
                <a:cubicBezTo>
                  <a:pt x="789975" y="367269"/>
                  <a:pt x="766877" y="390368"/>
                  <a:pt x="739158" y="390368"/>
                </a:cubicBezTo>
                <a:cubicBezTo>
                  <a:pt x="711440" y="390368"/>
                  <a:pt x="688341" y="367269"/>
                  <a:pt x="688341" y="339551"/>
                </a:cubicBezTo>
                <a:cubicBezTo>
                  <a:pt x="688341" y="311832"/>
                  <a:pt x="710285" y="288734"/>
                  <a:pt x="739158" y="288734"/>
                </a:cubicBezTo>
                <a:close/>
                <a:moveTo>
                  <a:pt x="12227892" y="175550"/>
                </a:moveTo>
                <a:cubicBezTo>
                  <a:pt x="12238288" y="175550"/>
                  <a:pt x="12248682" y="184790"/>
                  <a:pt x="12248682" y="196339"/>
                </a:cubicBezTo>
                <a:cubicBezTo>
                  <a:pt x="12248682" y="207888"/>
                  <a:pt x="12239442" y="217128"/>
                  <a:pt x="12227892" y="217128"/>
                </a:cubicBezTo>
                <a:cubicBezTo>
                  <a:pt x="12216343" y="217128"/>
                  <a:pt x="12207104" y="207888"/>
                  <a:pt x="12207104" y="196339"/>
                </a:cubicBezTo>
                <a:cubicBezTo>
                  <a:pt x="12207104" y="184790"/>
                  <a:pt x="12216343" y="175550"/>
                  <a:pt x="12227892" y="175550"/>
                </a:cubicBezTo>
                <a:close/>
                <a:moveTo>
                  <a:pt x="12091610" y="175550"/>
                </a:moveTo>
                <a:cubicBezTo>
                  <a:pt x="12103160" y="175550"/>
                  <a:pt x="12112399" y="184790"/>
                  <a:pt x="12112399" y="196339"/>
                </a:cubicBezTo>
                <a:cubicBezTo>
                  <a:pt x="12112399" y="207888"/>
                  <a:pt x="12103160" y="217128"/>
                  <a:pt x="12091610" y="217128"/>
                </a:cubicBezTo>
                <a:cubicBezTo>
                  <a:pt x="12080061" y="217128"/>
                  <a:pt x="12070822" y="207888"/>
                  <a:pt x="12070822" y="196339"/>
                </a:cubicBezTo>
                <a:cubicBezTo>
                  <a:pt x="12070822" y="184790"/>
                  <a:pt x="12080061" y="175550"/>
                  <a:pt x="12091610" y="175550"/>
                </a:cubicBezTo>
                <a:close/>
                <a:moveTo>
                  <a:pt x="11956484" y="175550"/>
                </a:moveTo>
                <a:cubicBezTo>
                  <a:pt x="11968033" y="175550"/>
                  <a:pt x="11977272" y="184790"/>
                  <a:pt x="11977272" y="196339"/>
                </a:cubicBezTo>
                <a:cubicBezTo>
                  <a:pt x="11977272" y="207888"/>
                  <a:pt x="11968033" y="217128"/>
                  <a:pt x="11956484" y="217128"/>
                </a:cubicBezTo>
                <a:cubicBezTo>
                  <a:pt x="11944934" y="217128"/>
                  <a:pt x="11935695" y="207888"/>
                  <a:pt x="11935695" y="196339"/>
                </a:cubicBezTo>
                <a:cubicBezTo>
                  <a:pt x="11935695" y="184790"/>
                  <a:pt x="11944934" y="175550"/>
                  <a:pt x="11956484" y="175550"/>
                </a:cubicBezTo>
                <a:close/>
                <a:moveTo>
                  <a:pt x="11821356" y="175550"/>
                </a:moveTo>
                <a:cubicBezTo>
                  <a:pt x="11832905" y="175550"/>
                  <a:pt x="11842144" y="184790"/>
                  <a:pt x="11842144" y="196339"/>
                </a:cubicBezTo>
                <a:cubicBezTo>
                  <a:pt x="11842144" y="207888"/>
                  <a:pt x="11832905" y="217128"/>
                  <a:pt x="11821356" y="217128"/>
                </a:cubicBezTo>
                <a:cubicBezTo>
                  <a:pt x="11809806" y="217128"/>
                  <a:pt x="11800567" y="207888"/>
                  <a:pt x="11800567" y="196339"/>
                </a:cubicBezTo>
                <a:cubicBezTo>
                  <a:pt x="11800567" y="184790"/>
                  <a:pt x="11809806" y="175550"/>
                  <a:pt x="11821356" y="175550"/>
                </a:cubicBezTo>
                <a:close/>
                <a:moveTo>
                  <a:pt x="11685074" y="175550"/>
                </a:moveTo>
                <a:cubicBezTo>
                  <a:pt x="11696623" y="175550"/>
                  <a:pt x="11705862" y="184790"/>
                  <a:pt x="11705862" y="196339"/>
                </a:cubicBezTo>
                <a:cubicBezTo>
                  <a:pt x="11705862" y="207888"/>
                  <a:pt x="11696623" y="217128"/>
                  <a:pt x="11685074" y="217128"/>
                </a:cubicBezTo>
                <a:cubicBezTo>
                  <a:pt x="11673524" y="217128"/>
                  <a:pt x="11664285" y="207888"/>
                  <a:pt x="11664285" y="196339"/>
                </a:cubicBezTo>
                <a:cubicBezTo>
                  <a:pt x="11664285" y="184790"/>
                  <a:pt x="11673524" y="175550"/>
                  <a:pt x="11685074" y="175550"/>
                </a:cubicBezTo>
                <a:close/>
                <a:moveTo>
                  <a:pt x="10736873" y="175550"/>
                </a:moveTo>
                <a:cubicBezTo>
                  <a:pt x="10748422" y="175550"/>
                  <a:pt x="10757662" y="184790"/>
                  <a:pt x="10757662" y="196339"/>
                </a:cubicBezTo>
                <a:cubicBezTo>
                  <a:pt x="10757662" y="207888"/>
                  <a:pt x="10748422" y="217128"/>
                  <a:pt x="10736873" y="217128"/>
                </a:cubicBezTo>
                <a:cubicBezTo>
                  <a:pt x="10725324" y="217128"/>
                  <a:pt x="10716084" y="207888"/>
                  <a:pt x="10716084" y="196339"/>
                </a:cubicBezTo>
                <a:cubicBezTo>
                  <a:pt x="10716084" y="184790"/>
                  <a:pt x="10725324" y="175550"/>
                  <a:pt x="10736873" y="175550"/>
                </a:cubicBezTo>
                <a:close/>
                <a:moveTo>
                  <a:pt x="10601745" y="175550"/>
                </a:moveTo>
                <a:cubicBezTo>
                  <a:pt x="10613294" y="175550"/>
                  <a:pt x="10622534" y="184790"/>
                  <a:pt x="10622534" y="196339"/>
                </a:cubicBezTo>
                <a:cubicBezTo>
                  <a:pt x="10622534" y="207888"/>
                  <a:pt x="10613294" y="217128"/>
                  <a:pt x="10601745" y="217128"/>
                </a:cubicBezTo>
                <a:cubicBezTo>
                  <a:pt x="10590196" y="217128"/>
                  <a:pt x="10580956" y="207888"/>
                  <a:pt x="10580956" y="196339"/>
                </a:cubicBezTo>
                <a:cubicBezTo>
                  <a:pt x="10580956" y="184790"/>
                  <a:pt x="10590196" y="175550"/>
                  <a:pt x="10601745" y="175550"/>
                </a:cubicBezTo>
                <a:close/>
                <a:moveTo>
                  <a:pt x="8027949" y="175550"/>
                </a:moveTo>
                <a:cubicBezTo>
                  <a:pt x="8039499" y="175550"/>
                  <a:pt x="8048737" y="184790"/>
                  <a:pt x="8048737" y="196339"/>
                </a:cubicBezTo>
                <a:cubicBezTo>
                  <a:pt x="8048737" y="207888"/>
                  <a:pt x="8039499" y="217128"/>
                  <a:pt x="8027949" y="217128"/>
                </a:cubicBezTo>
                <a:cubicBezTo>
                  <a:pt x="8016400" y="217128"/>
                  <a:pt x="8007160" y="207888"/>
                  <a:pt x="8007160" y="196339"/>
                </a:cubicBezTo>
                <a:cubicBezTo>
                  <a:pt x="8007160" y="184790"/>
                  <a:pt x="8016400" y="175550"/>
                  <a:pt x="8027949" y="175550"/>
                </a:cubicBezTo>
                <a:close/>
                <a:moveTo>
                  <a:pt x="7892822" y="175550"/>
                </a:moveTo>
                <a:cubicBezTo>
                  <a:pt x="7904371" y="175550"/>
                  <a:pt x="7913611" y="184790"/>
                  <a:pt x="7913611" y="196339"/>
                </a:cubicBezTo>
                <a:cubicBezTo>
                  <a:pt x="7913611" y="207888"/>
                  <a:pt x="7904371" y="217128"/>
                  <a:pt x="7892822" y="217128"/>
                </a:cubicBezTo>
                <a:cubicBezTo>
                  <a:pt x="7881271" y="217128"/>
                  <a:pt x="7872031" y="207888"/>
                  <a:pt x="7872031" y="196339"/>
                </a:cubicBezTo>
                <a:cubicBezTo>
                  <a:pt x="7872031" y="184790"/>
                  <a:pt x="7881271" y="175550"/>
                  <a:pt x="7892822" y="175550"/>
                </a:cubicBezTo>
                <a:close/>
                <a:moveTo>
                  <a:pt x="7757693" y="175550"/>
                </a:moveTo>
                <a:cubicBezTo>
                  <a:pt x="7769244" y="175550"/>
                  <a:pt x="7778483" y="184790"/>
                  <a:pt x="7778483" y="196339"/>
                </a:cubicBezTo>
                <a:cubicBezTo>
                  <a:pt x="7778483" y="207888"/>
                  <a:pt x="7769244" y="217128"/>
                  <a:pt x="7757693" y="217128"/>
                </a:cubicBezTo>
                <a:cubicBezTo>
                  <a:pt x="7746146" y="217128"/>
                  <a:pt x="7736906" y="207888"/>
                  <a:pt x="7736906" y="196339"/>
                </a:cubicBezTo>
                <a:cubicBezTo>
                  <a:pt x="7736906" y="184790"/>
                  <a:pt x="7746146" y="175550"/>
                  <a:pt x="7757693" y="175550"/>
                </a:cubicBezTo>
                <a:close/>
                <a:moveTo>
                  <a:pt x="7622566" y="175550"/>
                </a:moveTo>
                <a:cubicBezTo>
                  <a:pt x="7632962" y="175550"/>
                  <a:pt x="7643355" y="184790"/>
                  <a:pt x="7643355" y="196339"/>
                </a:cubicBezTo>
                <a:cubicBezTo>
                  <a:pt x="7643355" y="207888"/>
                  <a:pt x="7634115" y="217128"/>
                  <a:pt x="7622566" y="217128"/>
                </a:cubicBezTo>
                <a:cubicBezTo>
                  <a:pt x="7611018" y="217128"/>
                  <a:pt x="7601778" y="207888"/>
                  <a:pt x="7601778" y="196339"/>
                </a:cubicBezTo>
                <a:cubicBezTo>
                  <a:pt x="7601778" y="184790"/>
                  <a:pt x="7611018" y="175550"/>
                  <a:pt x="7622566" y="175550"/>
                </a:cubicBezTo>
                <a:close/>
                <a:moveTo>
                  <a:pt x="7486284" y="175550"/>
                </a:moveTo>
                <a:cubicBezTo>
                  <a:pt x="7497834" y="175550"/>
                  <a:pt x="7507074" y="184790"/>
                  <a:pt x="7507074" y="196339"/>
                </a:cubicBezTo>
                <a:cubicBezTo>
                  <a:pt x="7507074" y="207888"/>
                  <a:pt x="7497834" y="217128"/>
                  <a:pt x="7486284" y="217128"/>
                </a:cubicBezTo>
                <a:cubicBezTo>
                  <a:pt x="7474735" y="217128"/>
                  <a:pt x="7465495" y="207888"/>
                  <a:pt x="7465495" y="196339"/>
                </a:cubicBezTo>
                <a:cubicBezTo>
                  <a:pt x="7465495" y="184790"/>
                  <a:pt x="7474735" y="175550"/>
                  <a:pt x="7486284" y="175550"/>
                </a:cubicBezTo>
                <a:close/>
                <a:moveTo>
                  <a:pt x="7351157" y="175550"/>
                </a:moveTo>
                <a:cubicBezTo>
                  <a:pt x="7362706" y="175550"/>
                  <a:pt x="7371946" y="184790"/>
                  <a:pt x="7371946" y="196339"/>
                </a:cubicBezTo>
                <a:cubicBezTo>
                  <a:pt x="7371946" y="207888"/>
                  <a:pt x="7362706" y="217128"/>
                  <a:pt x="7351157" y="217128"/>
                </a:cubicBezTo>
                <a:cubicBezTo>
                  <a:pt x="7339609" y="217128"/>
                  <a:pt x="7330369" y="207888"/>
                  <a:pt x="7330369" y="196339"/>
                </a:cubicBezTo>
                <a:cubicBezTo>
                  <a:pt x="7330369" y="184790"/>
                  <a:pt x="7339609" y="175550"/>
                  <a:pt x="7351157" y="175550"/>
                </a:cubicBezTo>
                <a:close/>
                <a:moveTo>
                  <a:pt x="7216030" y="175550"/>
                </a:moveTo>
                <a:cubicBezTo>
                  <a:pt x="7227579" y="175550"/>
                  <a:pt x="7236819" y="184790"/>
                  <a:pt x="7236819" y="196339"/>
                </a:cubicBezTo>
                <a:cubicBezTo>
                  <a:pt x="7236819" y="207888"/>
                  <a:pt x="7227579" y="217128"/>
                  <a:pt x="7216030" y="217128"/>
                </a:cubicBezTo>
                <a:cubicBezTo>
                  <a:pt x="7204481" y="217128"/>
                  <a:pt x="7195241" y="207888"/>
                  <a:pt x="7195241" y="196339"/>
                </a:cubicBezTo>
                <a:cubicBezTo>
                  <a:pt x="7195241" y="184790"/>
                  <a:pt x="7204481" y="175550"/>
                  <a:pt x="7216030" y="175550"/>
                </a:cubicBezTo>
                <a:close/>
                <a:moveTo>
                  <a:pt x="7079748" y="175550"/>
                </a:moveTo>
                <a:cubicBezTo>
                  <a:pt x="7091297" y="175550"/>
                  <a:pt x="7100537" y="184790"/>
                  <a:pt x="7100537" y="196339"/>
                </a:cubicBezTo>
                <a:cubicBezTo>
                  <a:pt x="7100537" y="207888"/>
                  <a:pt x="7091297" y="217128"/>
                  <a:pt x="7079748" y="217128"/>
                </a:cubicBezTo>
                <a:cubicBezTo>
                  <a:pt x="7068199" y="217128"/>
                  <a:pt x="7058959" y="207888"/>
                  <a:pt x="7058959" y="196339"/>
                </a:cubicBezTo>
                <a:cubicBezTo>
                  <a:pt x="7058959" y="184790"/>
                  <a:pt x="7068199" y="175550"/>
                  <a:pt x="7079748" y="175550"/>
                </a:cubicBezTo>
                <a:close/>
                <a:moveTo>
                  <a:pt x="6131548" y="175550"/>
                </a:moveTo>
                <a:cubicBezTo>
                  <a:pt x="6143096" y="175550"/>
                  <a:pt x="6152336" y="184790"/>
                  <a:pt x="6152336" y="196339"/>
                </a:cubicBezTo>
                <a:cubicBezTo>
                  <a:pt x="6152336" y="207888"/>
                  <a:pt x="6143096" y="217128"/>
                  <a:pt x="6131548" y="217128"/>
                </a:cubicBezTo>
                <a:cubicBezTo>
                  <a:pt x="6119997" y="217128"/>
                  <a:pt x="6110759" y="207888"/>
                  <a:pt x="6110759" y="196339"/>
                </a:cubicBezTo>
                <a:cubicBezTo>
                  <a:pt x="6110759" y="184790"/>
                  <a:pt x="6119997" y="175550"/>
                  <a:pt x="6131548" y="175550"/>
                </a:cubicBezTo>
                <a:close/>
                <a:moveTo>
                  <a:pt x="5996418" y="175550"/>
                </a:moveTo>
                <a:cubicBezTo>
                  <a:pt x="6007969" y="175550"/>
                  <a:pt x="6017209" y="184790"/>
                  <a:pt x="6017209" y="196339"/>
                </a:cubicBezTo>
                <a:cubicBezTo>
                  <a:pt x="6017209" y="207888"/>
                  <a:pt x="6007969" y="217128"/>
                  <a:pt x="5996418" y="217128"/>
                </a:cubicBezTo>
                <a:cubicBezTo>
                  <a:pt x="5984870" y="217128"/>
                  <a:pt x="5975630" y="207888"/>
                  <a:pt x="5975630" y="196339"/>
                </a:cubicBezTo>
                <a:cubicBezTo>
                  <a:pt x="5975630" y="184790"/>
                  <a:pt x="5984870" y="175550"/>
                  <a:pt x="5996418" y="175550"/>
                </a:cubicBezTo>
                <a:close/>
                <a:moveTo>
                  <a:pt x="3415142" y="175550"/>
                </a:moveTo>
                <a:cubicBezTo>
                  <a:pt x="3426691" y="175550"/>
                  <a:pt x="3435930" y="184790"/>
                  <a:pt x="3435930" y="196339"/>
                </a:cubicBezTo>
                <a:cubicBezTo>
                  <a:pt x="3435930" y="207888"/>
                  <a:pt x="3426691" y="217128"/>
                  <a:pt x="3415142" y="217128"/>
                </a:cubicBezTo>
                <a:cubicBezTo>
                  <a:pt x="3403592" y="217128"/>
                  <a:pt x="3394352" y="207888"/>
                  <a:pt x="3394352" y="196339"/>
                </a:cubicBezTo>
                <a:cubicBezTo>
                  <a:pt x="3394352" y="184790"/>
                  <a:pt x="3403592" y="175550"/>
                  <a:pt x="3415142" y="175550"/>
                </a:cubicBezTo>
                <a:close/>
                <a:moveTo>
                  <a:pt x="3280013" y="175550"/>
                </a:moveTo>
                <a:cubicBezTo>
                  <a:pt x="3291564" y="175550"/>
                  <a:pt x="3300802" y="184790"/>
                  <a:pt x="3300802" y="196339"/>
                </a:cubicBezTo>
                <a:cubicBezTo>
                  <a:pt x="3300802" y="207888"/>
                  <a:pt x="3291564" y="217128"/>
                  <a:pt x="3280013" y="217128"/>
                </a:cubicBezTo>
                <a:cubicBezTo>
                  <a:pt x="3268464" y="217128"/>
                  <a:pt x="3259224" y="207888"/>
                  <a:pt x="3259224" y="196339"/>
                </a:cubicBezTo>
                <a:cubicBezTo>
                  <a:pt x="3259224" y="184790"/>
                  <a:pt x="3268464" y="175550"/>
                  <a:pt x="3280013" y="175550"/>
                </a:cubicBezTo>
                <a:close/>
                <a:moveTo>
                  <a:pt x="3144887" y="175550"/>
                </a:moveTo>
                <a:cubicBezTo>
                  <a:pt x="3156436" y="175550"/>
                  <a:pt x="3165675" y="184790"/>
                  <a:pt x="3165675" y="196339"/>
                </a:cubicBezTo>
                <a:cubicBezTo>
                  <a:pt x="3165675" y="207888"/>
                  <a:pt x="3156436" y="217128"/>
                  <a:pt x="3144887" y="217128"/>
                </a:cubicBezTo>
                <a:cubicBezTo>
                  <a:pt x="3133338" y="217128"/>
                  <a:pt x="3124098" y="207888"/>
                  <a:pt x="3124098" y="196339"/>
                </a:cubicBezTo>
                <a:cubicBezTo>
                  <a:pt x="3124098" y="184790"/>
                  <a:pt x="3133338" y="175550"/>
                  <a:pt x="3144887" y="175550"/>
                </a:cubicBezTo>
                <a:close/>
                <a:moveTo>
                  <a:pt x="3009759" y="175550"/>
                </a:moveTo>
                <a:cubicBezTo>
                  <a:pt x="3020154" y="175550"/>
                  <a:pt x="3030548" y="184790"/>
                  <a:pt x="3030548" y="196339"/>
                </a:cubicBezTo>
                <a:cubicBezTo>
                  <a:pt x="3030548" y="207888"/>
                  <a:pt x="3021308" y="217128"/>
                  <a:pt x="3009759" y="217128"/>
                </a:cubicBezTo>
                <a:cubicBezTo>
                  <a:pt x="2998209" y="217128"/>
                  <a:pt x="2988971" y="207888"/>
                  <a:pt x="2988971" y="196339"/>
                </a:cubicBezTo>
                <a:cubicBezTo>
                  <a:pt x="2988971" y="184790"/>
                  <a:pt x="2998209" y="175550"/>
                  <a:pt x="3009759" y="175550"/>
                </a:cubicBezTo>
                <a:close/>
                <a:moveTo>
                  <a:pt x="2873476" y="175550"/>
                </a:moveTo>
                <a:cubicBezTo>
                  <a:pt x="2885026" y="175550"/>
                  <a:pt x="2894265" y="184790"/>
                  <a:pt x="2894265" y="196339"/>
                </a:cubicBezTo>
                <a:cubicBezTo>
                  <a:pt x="2894265" y="207888"/>
                  <a:pt x="2885026" y="217128"/>
                  <a:pt x="2873476" y="217128"/>
                </a:cubicBezTo>
                <a:cubicBezTo>
                  <a:pt x="2861927" y="217128"/>
                  <a:pt x="2852688" y="207888"/>
                  <a:pt x="2852688" y="196339"/>
                </a:cubicBezTo>
                <a:cubicBezTo>
                  <a:pt x="2852688" y="184790"/>
                  <a:pt x="2861927" y="175550"/>
                  <a:pt x="2873476" y="175550"/>
                </a:cubicBezTo>
                <a:close/>
                <a:moveTo>
                  <a:pt x="2738350" y="175550"/>
                </a:moveTo>
                <a:cubicBezTo>
                  <a:pt x="2749899" y="175550"/>
                  <a:pt x="2759139" y="184790"/>
                  <a:pt x="2759139" y="196339"/>
                </a:cubicBezTo>
                <a:cubicBezTo>
                  <a:pt x="2759139" y="207888"/>
                  <a:pt x="2749899" y="217128"/>
                  <a:pt x="2738350" y="217128"/>
                </a:cubicBezTo>
                <a:cubicBezTo>
                  <a:pt x="2726800" y="217128"/>
                  <a:pt x="2717562" y="207888"/>
                  <a:pt x="2717562" y="196339"/>
                </a:cubicBezTo>
                <a:cubicBezTo>
                  <a:pt x="2717562" y="184790"/>
                  <a:pt x="2726800" y="175550"/>
                  <a:pt x="2738350" y="175550"/>
                </a:cubicBezTo>
                <a:close/>
                <a:moveTo>
                  <a:pt x="2603222" y="175550"/>
                </a:moveTo>
                <a:cubicBezTo>
                  <a:pt x="2614771" y="175550"/>
                  <a:pt x="2624011" y="184790"/>
                  <a:pt x="2624011" y="196339"/>
                </a:cubicBezTo>
                <a:cubicBezTo>
                  <a:pt x="2624011" y="207888"/>
                  <a:pt x="2614771" y="217128"/>
                  <a:pt x="2603222" y="217128"/>
                </a:cubicBezTo>
                <a:cubicBezTo>
                  <a:pt x="2591673" y="217128"/>
                  <a:pt x="2582433" y="207888"/>
                  <a:pt x="2582433" y="196339"/>
                </a:cubicBezTo>
                <a:cubicBezTo>
                  <a:pt x="2582433" y="184790"/>
                  <a:pt x="2591673" y="175550"/>
                  <a:pt x="2603222" y="175550"/>
                </a:cubicBezTo>
                <a:close/>
                <a:moveTo>
                  <a:pt x="2466940" y="175550"/>
                </a:moveTo>
                <a:cubicBezTo>
                  <a:pt x="2478489" y="175550"/>
                  <a:pt x="2487729" y="184790"/>
                  <a:pt x="2487729" y="196339"/>
                </a:cubicBezTo>
                <a:cubicBezTo>
                  <a:pt x="2487729" y="207888"/>
                  <a:pt x="2478489" y="217128"/>
                  <a:pt x="2466940" y="217128"/>
                </a:cubicBezTo>
                <a:cubicBezTo>
                  <a:pt x="2455390" y="217128"/>
                  <a:pt x="2446151" y="207888"/>
                  <a:pt x="2446151" y="196339"/>
                </a:cubicBezTo>
                <a:cubicBezTo>
                  <a:pt x="2446151" y="184790"/>
                  <a:pt x="2455390" y="175550"/>
                  <a:pt x="2466940" y="175550"/>
                </a:cubicBezTo>
                <a:close/>
                <a:moveTo>
                  <a:pt x="1518739" y="175550"/>
                </a:moveTo>
                <a:cubicBezTo>
                  <a:pt x="1530289" y="175550"/>
                  <a:pt x="1539528" y="184790"/>
                  <a:pt x="1539528" y="196339"/>
                </a:cubicBezTo>
                <a:cubicBezTo>
                  <a:pt x="1539528" y="207888"/>
                  <a:pt x="1530289" y="217128"/>
                  <a:pt x="1518739" y="217128"/>
                </a:cubicBezTo>
                <a:cubicBezTo>
                  <a:pt x="1507190" y="217128"/>
                  <a:pt x="1497951" y="207888"/>
                  <a:pt x="1497951" y="196339"/>
                </a:cubicBezTo>
                <a:cubicBezTo>
                  <a:pt x="1497951" y="184790"/>
                  <a:pt x="1507190" y="175550"/>
                  <a:pt x="1518739" y="175550"/>
                </a:cubicBezTo>
                <a:close/>
                <a:moveTo>
                  <a:pt x="1383611" y="175550"/>
                </a:moveTo>
                <a:cubicBezTo>
                  <a:pt x="1395161" y="175550"/>
                  <a:pt x="1404400" y="184790"/>
                  <a:pt x="1404400" y="196339"/>
                </a:cubicBezTo>
                <a:cubicBezTo>
                  <a:pt x="1404400" y="207888"/>
                  <a:pt x="1395161" y="217128"/>
                  <a:pt x="1383611" y="217128"/>
                </a:cubicBezTo>
                <a:cubicBezTo>
                  <a:pt x="1372062" y="217128"/>
                  <a:pt x="1362823" y="207888"/>
                  <a:pt x="1362823" y="196339"/>
                </a:cubicBezTo>
                <a:cubicBezTo>
                  <a:pt x="1362823" y="184790"/>
                  <a:pt x="1372062" y="175550"/>
                  <a:pt x="1383611" y="175550"/>
                </a:cubicBezTo>
                <a:close/>
                <a:moveTo>
                  <a:pt x="11549947" y="172086"/>
                </a:moveTo>
                <a:cubicBezTo>
                  <a:pt x="11562650" y="172086"/>
                  <a:pt x="11573046" y="182480"/>
                  <a:pt x="11573046" y="195185"/>
                </a:cubicBezTo>
                <a:cubicBezTo>
                  <a:pt x="11573046" y="207888"/>
                  <a:pt x="11562650" y="218283"/>
                  <a:pt x="11549947" y="218283"/>
                </a:cubicBezTo>
                <a:cubicBezTo>
                  <a:pt x="11537242" y="218283"/>
                  <a:pt x="11526848" y="207888"/>
                  <a:pt x="11526848" y="195185"/>
                </a:cubicBezTo>
                <a:cubicBezTo>
                  <a:pt x="11526848" y="182480"/>
                  <a:pt x="11537242" y="172086"/>
                  <a:pt x="11549947" y="172086"/>
                </a:cubicBezTo>
                <a:close/>
                <a:moveTo>
                  <a:pt x="10466618" y="172086"/>
                </a:moveTo>
                <a:cubicBezTo>
                  <a:pt x="10479322" y="172086"/>
                  <a:pt x="10489717" y="182480"/>
                  <a:pt x="10489717" y="195185"/>
                </a:cubicBezTo>
                <a:cubicBezTo>
                  <a:pt x="10489717" y="207888"/>
                  <a:pt x="10479322" y="218283"/>
                  <a:pt x="10466618" y="218283"/>
                </a:cubicBezTo>
                <a:cubicBezTo>
                  <a:pt x="10453914" y="218283"/>
                  <a:pt x="10443520" y="207888"/>
                  <a:pt x="10443520" y="195185"/>
                </a:cubicBezTo>
                <a:cubicBezTo>
                  <a:pt x="10443520" y="182480"/>
                  <a:pt x="10453914" y="172086"/>
                  <a:pt x="10466618" y="172086"/>
                </a:cubicBezTo>
                <a:close/>
                <a:moveTo>
                  <a:pt x="9244698" y="172086"/>
                </a:moveTo>
                <a:cubicBezTo>
                  <a:pt x="9258557" y="172086"/>
                  <a:pt x="9268951" y="181325"/>
                  <a:pt x="9270107" y="194029"/>
                </a:cubicBezTo>
                <a:cubicBezTo>
                  <a:pt x="9271261" y="206734"/>
                  <a:pt x="9262022" y="219438"/>
                  <a:pt x="9249318" y="219438"/>
                </a:cubicBezTo>
                <a:cubicBezTo>
                  <a:pt x="9236613" y="219438"/>
                  <a:pt x="9225064" y="210198"/>
                  <a:pt x="9223909" y="197494"/>
                </a:cubicBezTo>
                <a:cubicBezTo>
                  <a:pt x="9222754" y="184790"/>
                  <a:pt x="9231993" y="173240"/>
                  <a:pt x="9244698" y="172086"/>
                </a:cubicBezTo>
                <a:close/>
                <a:moveTo>
                  <a:pt x="8164231" y="172086"/>
                </a:moveTo>
                <a:cubicBezTo>
                  <a:pt x="8176935" y="172086"/>
                  <a:pt x="8187331" y="182480"/>
                  <a:pt x="8187331" y="195185"/>
                </a:cubicBezTo>
                <a:cubicBezTo>
                  <a:pt x="8187331" y="207888"/>
                  <a:pt x="8176935" y="218283"/>
                  <a:pt x="8164231" y="218283"/>
                </a:cubicBezTo>
                <a:cubicBezTo>
                  <a:pt x="8151527" y="218283"/>
                  <a:pt x="8141133" y="207888"/>
                  <a:pt x="8141133" y="195185"/>
                </a:cubicBezTo>
                <a:cubicBezTo>
                  <a:pt x="8141133" y="182480"/>
                  <a:pt x="8151527" y="172086"/>
                  <a:pt x="8164231" y="172086"/>
                </a:cubicBezTo>
                <a:close/>
                <a:moveTo>
                  <a:pt x="6944621" y="172086"/>
                </a:moveTo>
                <a:cubicBezTo>
                  <a:pt x="6957325" y="172086"/>
                  <a:pt x="6967719" y="182480"/>
                  <a:pt x="6967719" y="195185"/>
                </a:cubicBezTo>
                <a:cubicBezTo>
                  <a:pt x="6967719" y="207888"/>
                  <a:pt x="6957325" y="218283"/>
                  <a:pt x="6944621" y="218283"/>
                </a:cubicBezTo>
                <a:cubicBezTo>
                  <a:pt x="6931915" y="218283"/>
                  <a:pt x="6921522" y="207888"/>
                  <a:pt x="6921522" y="195185"/>
                </a:cubicBezTo>
                <a:cubicBezTo>
                  <a:pt x="6921522" y="182480"/>
                  <a:pt x="6931915" y="172086"/>
                  <a:pt x="6944621" y="172086"/>
                </a:cubicBezTo>
                <a:close/>
                <a:moveTo>
                  <a:pt x="5861292" y="172086"/>
                </a:moveTo>
                <a:cubicBezTo>
                  <a:pt x="5873996" y="172086"/>
                  <a:pt x="5884392" y="182480"/>
                  <a:pt x="5884392" y="195185"/>
                </a:cubicBezTo>
                <a:cubicBezTo>
                  <a:pt x="5884392" y="207888"/>
                  <a:pt x="5873996" y="218283"/>
                  <a:pt x="5861292" y="218283"/>
                </a:cubicBezTo>
                <a:cubicBezTo>
                  <a:pt x="5848588" y="218283"/>
                  <a:pt x="5838194" y="207888"/>
                  <a:pt x="5838194" y="195185"/>
                </a:cubicBezTo>
                <a:cubicBezTo>
                  <a:pt x="5838194" y="182480"/>
                  <a:pt x="5848588" y="172086"/>
                  <a:pt x="5861292" y="172086"/>
                </a:cubicBezTo>
                <a:close/>
                <a:moveTo>
                  <a:pt x="4639373" y="172086"/>
                </a:moveTo>
                <a:cubicBezTo>
                  <a:pt x="4653231" y="172086"/>
                  <a:pt x="4663624" y="181325"/>
                  <a:pt x="4664780" y="192875"/>
                </a:cubicBezTo>
                <a:cubicBezTo>
                  <a:pt x="4665935" y="205578"/>
                  <a:pt x="4656695" y="217128"/>
                  <a:pt x="4643991" y="218283"/>
                </a:cubicBezTo>
                <a:cubicBezTo>
                  <a:pt x="4631287" y="219438"/>
                  <a:pt x="4619738" y="210198"/>
                  <a:pt x="4618583" y="197494"/>
                </a:cubicBezTo>
                <a:cubicBezTo>
                  <a:pt x="4617427" y="184790"/>
                  <a:pt x="4626667" y="173240"/>
                  <a:pt x="4639373" y="172086"/>
                </a:cubicBezTo>
                <a:close/>
                <a:moveTo>
                  <a:pt x="3551423" y="172086"/>
                </a:moveTo>
                <a:cubicBezTo>
                  <a:pt x="3564127" y="172086"/>
                  <a:pt x="3574522" y="182480"/>
                  <a:pt x="3574522" y="195185"/>
                </a:cubicBezTo>
                <a:cubicBezTo>
                  <a:pt x="3574522" y="207888"/>
                  <a:pt x="3564127" y="218283"/>
                  <a:pt x="3551423" y="218283"/>
                </a:cubicBezTo>
                <a:cubicBezTo>
                  <a:pt x="3538719" y="218283"/>
                  <a:pt x="3528325" y="207888"/>
                  <a:pt x="3528325" y="195185"/>
                </a:cubicBezTo>
                <a:cubicBezTo>
                  <a:pt x="3528325" y="182480"/>
                  <a:pt x="3538719" y="172086"/>
                  <a:pt x="3551423" y="172086"/>
                </a:cubicBezTo>
                <a:close/>
                <a:moveTo>
                  <a:pt x="2331813" y="172086"/>
                </a:moveTo>
                <a:cubicBezTo>
                  <a:pt x="2344517" y="172086"/>
                  <a:pt x="2354912" y="182480"/>
                  <a:pt x="2354912" y="195185"/>
                </a:cubicBezTo>
                <a:cubicBezTo>
                  <a:pt x="2354912" y="207888"/>
                  <a:pt x="2344517" y="218283"/>
                  <a:pt x="2331813" y="218283"/>
                </a:cubicBezTo>
                <a:cubicBezTo>
                  <a:pt x="2319108" y="218283"/>
                  <a:pt x="2308714" y="207888"/>
                  <a:pt x="2308714" y="195185"/>
                </a:cubicBezTo>
                <a:cubicBezTo>
                  <a:pt x="2308714" y="182480"/>
                  <a:pt x="2319108" y="172086"/>
                  <a:pt x="2331813" y="172086"/>
                </a:cubicBezTo>
                <a:close/>
                <a:moveTo>
                  <a:pt x="1248485" y="172086"/>
                </a:moveTo>
                <a:cubicBezTo>
                  <a:pt x="1261188" y="172086"/>
                  <a:pt x="1271583" y="182480"/>
                  <a:pt x="1271583" y="195185"/>
                </a:cubicBezTo>
                <a:cubicBezTo>
                  <a:pt x="1271583" y="207888"/>
                  <a:pt x="1261188" y="218283"/>
                  <a:pt x="1248485" y="218283"/>
                </a:cubicBezTo>
                <a:cubicBezTo>
                  <a:pt x="1235780" y="218283"/>
                  <a:pt x="1225386" y="207888"/>
                  <a:pt x="1225386" y="195185"/>
                </a:cubicBezTo>
                <a:cubicBezTo>
                  <a:pt x="1225386" y="182480"/>
                  <a:pt x="1235780" y="172086"/>
                  <a:pt x="1248485" y="172086"/>
                </a:cubicBezTo>
                <a:close/>
                <a:moveTo>
                  <a:pt x="26564" y="172086"/>
                </a:moveTo>
                <a:cubicBezTo>
                  <a:pt x="40424" y="172086"/>
                  <a:pt x="50817" y="181325"/>
                  <a:pt x="51973" y="194029"/>
                </a:cubicBezTo>
                <a:cubicBezTo>
                  <a:pt x="53127" y="206734"/>
                  <a:pt x="43888" y="219438"/>
                  <a:pt x="31184" y="219438"/>
                </a:cubicBezTo>
                <a:cubicBezTo>
                  <a:pt x="18479" y="219438"/>
                  <a:pt x="6930" y="210198"/>
                  <a:pt x="5776" y="197494"/>
                </a:cubicBezTo>
                <a:cubicBezTo>
                  <a:pt x="4620" y="184790"/>
                  <a:pt x="13860" y="173240"/>
                  <a:pt x="26564" y="172086"/>
                </a:cubicBezTo>
                <a:close/>
                <a:moveTo>
                  <a:pt x="11414819" y="166311"/>
                </a:moveTo>
                <a:cubicBezTo>
                  <a:pt x="11430988" y="166311"/>
                  <a:pt x="11443693" y="179016"/>
                  <a:pt x="11443693" y="195185"/>
                </a:cubicBezTo>
                <a:cubicBezTo>
                  <a:pt x="11443693" y="211354"/>
                  <a:pt x="11430988" y="224057"/>
                  <a:pt x="11414819" y="224057"/>
                </a:cubicBezTo>
                <a:cubicBezTo>
                  <a:pt x="11398650" y="224057"/>
                  <a:pt x="11385946" y="211354"/>
                  <a:pt x="11385946" y="195185"/>
                </a:cubicBezTo>
                <a:cubicBezTo>
                  <a:pt x="11385946" y="179016"/>
                  <a:pt x="11398650" y="166311"/>
                  <a:pt x="11414819" y="166311"/>
                </a:cubicBezTo>
                <a:close/>
                <a:moveTo>
                  <a:pt x="10330336" y="166311"/>
                </a:moveTo>
                <a:cubicBezTo>
                  <a:pt x="10346505" y="166311"/>
                  <a:pt x="10359209" y="179016"/>
                  <a:pt x="10359209" y="195185"/>
                </a:cubicBezTo>
                <a:cubicBezTo>
                  <a:pt x="10359209" y="211354"/>
                  <a:pt x="10346505" y="224057"/>
                  <a:pt x="10330336" y="224057"/>
                </a:cubicBezTo>
                <a:cubicBezTo>
                  <a:pt x="10314167" y="224057"/>
                  <a:pt x="10301462" y="211354"/>
                  <a:pt x="10301462" y="195185"/>
                </a:cubicBezTo>
                <a:cubicBezTo>
                  <a:pt x="10301462" y="179016"/>
                  <a:pt x="10314167" y="166311"/>
                  <a:pt x="10330336" y="166311"/>
                </a:cubicBezTo>
                <a:close/>
                <a:moveTo>
                  <a:pt x="9382135" y="166311"/>
                </a:moveTo>
                <a:cubicBezTo>
                  <a:pt x="9398304" y="166311"/>
                  <a:pt x="9411009" y="179016"/>
                  <a:pt x="9411009" y="195185"/>
                </a:cubicBezTo>
                <a:cubicBezTo>
                  <a:pt x="9411009" y="211354"/>
                  <a:pt x="9398304" y="224057"/>
                  <a:pt x="9382135" y="224057"/>
                </a:cubicBezTo>
                <a:cubicBezTo>
                  <a:pt x="9365966" y="224057"/>
                  <a:pt x="9353262" y="211354"/>
                  <a:pt x="9353262" y="195185"/>
                </a:cubicBezTo>
                <a:cubicBezTo>
                  <a:pt x="9353262" y="179016"/>
                  <a:pt x="9365966" y="166311"/>
                  <a:pt x="9382135" y="166311"/>
                </a:cubicBezTo>
                <a:close/>
                <a:moveTo>
                  <a:pt x="9112431" y="166311"/>
                </a:moveTo>
                <a:cubicBezTo>
                  <a:pt x="9128600" y="166311"/>
                  <a:pt x="9141305" y="179016"/>
                  <a:pt x="9141305" y="195185"/>
                </a:cubicBezTo>
                <a:cubicBezTo>
                  <a:pt x="9141305" y="211354"/>
                  <a:pt x="9128600" y="224057"/>
                  <a:pt x="9112431" y="224057"/>
                </a:cubicBezTo>
                <a:cubicBezTo>
                  <a:pt x="9096262" y="224057"/>
                  <a:pt x="9083558" y="211354"/>
                  <a:pt x="9083558" y="195185"/>
                </a:cubicBezTo>
                <a:cubicBezTo>
                  <a:pt x="9083558" y="179016"/>
                  <a:pt x="9096262" y="166311"/>
                  <a:pt x="9112431" y="166311"/>
                </a:cubicBezTo>
                <a:close/>
                <a:moveTo>
                  <a:pt x="8299358" y="166311"/>
                </a:moveTo>
                <a:cubicBezTo>
                  <a:pt x="8315526" y="166311"/>
                  <a:pt x="8328231" y="179016"/>
                  <a:pt x="8328231" y="195185"/>
                </a:cubicBezTo>
                <a:cubicBezTo>
                  <a:pt x="8328231" y="211354"/>
                  <a:pt x="8315526" y="224057"/>
                  <a:pt x="8299358" y="224057"/>
                </a:cubicBezTo>
                <a:cubicBezTo>
                  <a:pt x="8283189" y="224057"/>
                  <a:pt x="8270485" y="211354"/>
                  <a:pt x="8270485" y="195185"/>
                </a:cubicBezTo>
                <a:cubicBezTo>
                  <a:pt x="8270485" y="179016"/>
                  <a:pt x="8283189" y="166311"/>
                  <a:pt x="8299358" y="166311"/>
                </a:cubicBezTo>
                <a:close/>
                <a:moveTo>
                  <a:pt x="6809492" y="166311"/>
                </a:moveTo>
                <a:cubicBezTo>
                  <a:pt x="6825661" y="166311"/>
                  <a:pt x="6838367" y="179016"/>
                  <a:pt x="6838367" y="195185"/>
                </a:cubicBezTo>
                <a:cubicBezTo>
                  <a:pt x="6838367" y="211354"/>
                  <a:pt x="6825661" y="224057"/>
                  <a:pt x="6809492" y="224057"/>
                </a:cubicBezTo>
                <a:cubicBezTo>
                  <a:pt x="6793324" y="224057"/>
                  <a:pt x="6780620" y="211354"/>
                  <a:pt x="6780620" y="195185"/>
                </a:cubicBezTo>
                <a:cubicBezTo>
                  <a:pt x="6780620" y="179016"/>
                  <a:pt x="6793324" y="166311"/>
                  <a:pt x="6809492" y="166311"/>
                </a:cubicBezTo>
                <a:close/>
                <a:moveTo>
                  <a:pt x="5726165" y="166311"/>
                </a:moveTo>
                <a:cubicBezTo>
                  <a:pt x="5741178" y="166311"/>
                  <a:pt x="5755038" y="179016"/>
                  <a:pt x="5755038" y="195185"/>
                </a:cubicBezTo>
                <a:cubicBezTo>
                  <a:pt x="5755038" y="211354"/>
                  <a:pt x="5742334" y="224057"/>
                  <a:pt x="5726165" y="224057"/>
                </a:cubicBezTo>
                <a:cubicBezTo>
                  <a:pt x="5709996" y="224057"/>
                  <a:pt x="5697292" y="211354"/>
                  <a:pt x="5697292" y="195185"/>
                </a:cubicBezTo>
                <a:cubicBezTo>
                  <a:pt x="5697292" y="179016"/>
                  <a:pt x="5709996" y="166311"/>
                  <a:pt x="5726165" y="166311"/>
                </a:cubicBezTo>
                <a:close/>
                <a:moveTo>
                  <a:pt x="4776809" y="166311"/>
                </a:moveTo>
                <a:cubicBezTo>
                  <a:pt x="4792978" y="166311"/>
                  <a:pt x="4805682" y="179016"/>
                  <a:pt x="4805682" y="195185"/>
                </a:cubicBezTo>
                <a:cubicBezTo>
                  <a:pt x="4805682" y="211354"/>
                  <a:pt x="4792978" y="224057"/>
                  <a:pt x="4776809" y="224057"/>
                </a:cubicBezTo>
                <a:cubicBezTo>
                  <a:pt x="4760640" y="224057"/>
                  <a:pt x="4747936" y="211354"/>
                  <a:pt x="4747936" y="195185"/>
                </a:cubicBezTo>
                <a:cubicBezTo>
                  <a:pt x="4747936" y="179016"/>
                  <a:pt x="4760640" y="166311"/>
                  <a:pt x="4776809" y="166311"/>
                </a:cubicBezTo>
                <a:close/>
                <a:moveTo>
                  <a:pt x="4499625" y="166311"/>
                </a:moveTo>
                <a:cubicBezTo>
                  <a:pt x="4515793" y="166311"/>
                  <a:pt x="4528499" y="179016"/>
                  <a:pt x="4528499" y="195185"/>
                </a:cubicBezTo>
                <a:cubicBezTo>
                  <a:pt x="4528499" y="211354"/>
                  <a:pt x="4515793" y="224057"/>
                  <a:pt x="4499625" y="224057"/>
                </a:cubicBezTo>
                <a:cubicBezTo>
                  <a:pt x="4483456" y="224057"/>
                  <a:pt x="4470752" y="211354"/>
                  <a:pt x="4470752" y="195185"/>
                </a:cubicBezTo>
                <a:cubicBezTo>
                  <a:pt x="4470752" y="179016"/>
                  <a:pt x="4483456" y="166311"/>
                  <a:pt x="4499625" y="166311"/>
                </a:cubicBezTo>
                <a:close/>
                <a:moveTo>
                  <a:pt x="3686551" y="166311"/>
                </a:moveTo>
                <a:cubicBezTo>
                  <a:pt x="3702719" y="166311"/>
                  <a:pt x="3715424" y="179016"/>
                  <a:pt x="3715424" y="195185"/>
                </a:cubicBezTo>
                <a:cubicBezTo>
                  <a:pt x="3715424" y="211354"/>
                  <a:pt x="3702719" y="224057"/>
                  <a:pt x="3686551" y="224057"/>
                </a:cubicBezTo>
                <a:cubicBezTo>
                  <a:pt x="3670381" y="224057"/>
                  <a:pt x="3657677" y="211354"/>
                  <a:pt x="3657677" y="195185"/>
                </a:cubicBezTo>
                <a:cubicBezTo>
                  <a:pt x="3657677" y="179016"/>
                  <a:pt x="3670381" y="166311"/>
                  <a:pt x="3686551" y="166311"/>
                </a:cubicBezTo>
                <a:close/>
                <a:moveTo>
                  <a:pt x="2196685" y="166311"/>
                </a:moveTo>
                <a:cubicBezTo>
                  <a:pt x="2212854" y="166311"/>
                  <a:pt x="2225559" y="179016"/>
                  <a:pt x="2225559" y="195185"/>
                </a:cubicBezTo>
                <a:cubicBezTo>
                  <a:pt x="2225559" y="211354"/>
                  <a:pt x="2212854" y="224057"/>
                  <a:pt x="2196685" y="224057"/>
                </a:cubicBezTo>
                <a:cubicBezTo>
                  <a:pt x="2180516" y="224057"/>
                  <a:pt x="2167813" y="211354"/>
                  <a:pt x="2167813" y="195185"/>
                </a:cubicBezTo>
                <a:cubicBezTo>
                  <a:pt x="2167813" y="179016"/>
                  <a:pt x="2180516" y="166311"/>
                  <a:pt x="2196685" y="166311"/>
                </a:cubicBezTo>
                <a:close/>
                <a:moveTo>
                  <a:pt x="1112202" y="166311"/>
                </a:moveTo>
                <a:cubicBezTo>
                  <a:pt x="1128371" y="166311"/>
                  <a:pt x="1141075" y="179016"/>
                  <a:pt x="1141075" y="195185"/>
                </a:cubicBezTo>
                <a:cubicBezTo>
                  <a:pt x="1141075" y="211354"/>
                  <a:pt x="1128371" y="224057"/>
                  <a:pt x="1112202" y="224057"/>
                </a:cubicBezTo>
                <a:cubicBezTo>
                  <a:pt x="1096033" y="224057"/>
                  <a:pt x="1083328" y="211354"/>
                  <a:pt x="1083328" y="195185"/>
                </a:cubicBezTo>
                <a:cubicBezTo>
                  <a:pt x="1083328" y="179016"/>
                  <a:pt x="1096033" y="166311"/>
                  <a:pt x="1112202" y="166311"/>
                </a:cubicBezTo>
                <a:close/>
                <a:moveTo>
                  <a:pt x="164001" y="166311"/>
                </a:moveTo>
                <a:cubicBezTo>
                  <a:pt x="180170" y="166311"/>
                  <a:pt x="192875" y="179016"/>
                  <a:pt x="192875" y="195185"/>
                </a:cubicBezTo>
                <a:cubicBezTo>
                  <a:pt x="192875" y="211354"/>
                  <a:pt x="180170" y="224057"/>
                  <a:pt x="164001" y="224057"/>
                </a:cubicBezTo>
                <a:cubicBezTo>
                  <a:pt x="147832" y="224057"/>
                  <a:pt x="135128" y="211354"/>
                  <a:pt x="135128" y="195185"/>
                </a:cubicBezTo>
                <a:cubicBezTo>
                  <a:pt x="135128" y="179016"/>
                  <a:pt x="147832" y="166311"/>
                  <a:pt x="164001" y="166311"/>
                </a:cubicBezTo>
                <a:close/>
                <a:moveTo>
                  <a:pt x="11279692" y="160537"/>
                </a:moveTo>
                <a:cubicBezTo>
                  <a:pt x="11298171" y="160537"/>
                  <a:pt x="11314340" y="176706"/>
                  <a:pt x="11314340" y="195185"/>
                </a:cubicBezTo>
                <a:cubicBezTo>
                  <a:pt x="11314340" y="213664"/>
                  <a:pt x="11299326" y="229833"/>
                  <a:pt x="11279692" y="229833"/>
                </a:cubicBezTo>
                <a:cubicBezTo>
                  <a:pt x="11261213" y="229833"/>
                  <a:pt x="11245044" y="213664"/>
                  <a:pt x="11245044" y="195185"/>
                </a:cubicBezTo>
                <a:cubicBezTo>
                  <a:pt x="11245044" y="176706"/>
                  <a:pt x="11260058" y="160537"/>
                  <a:pt x="11279692" y="160537"/>
                </a:cubicBezTo>
                <a:close/>
                <a:moveTo>
                  <a:pt x="10195208" y="160537"/>
                </a:moveTo>
                <a:cubicBezTo>
                  <a:pt x="10214843" y="160537"/>
                  <a:pt x="10229856" y="176706"/>
                  <a:pt x="10229856" y="195185"/>
                </a:cubicBezTo>
                <a:cubicBezTo>
                  <a:pt x="10229856" y="213664"/>
                  <a:pt x="10213687" y="229833"/>
                  <a:pt x="10195208" y="229833"/>
                </a:cubicBezTo>
                <a:cubicBezTo>
                  <a:pt x="10176729" y="229833"/>
                  <a:pt x="10160560" y="213664"/>
                  <a:pt x="10160560" y="195185"/>
                </a:cubicBezTo>
                <a:cubicBezTo>
                  <a:pt x="10160560" y="176706"/>
                  <a:pt x="10175575" y="160537"/>
                  <a:pt x="10195208" y="160537"/>
                </a:cubicBezTo>
                <a:close/>
                <a:moveTo>
                  <a:pt x="9518417" y="160537"/>
                </a:moveTo>
                <a:cubicBezTo>
                  <a:pt x="9536896" y="160537"/>
                  <a:pt x="9553065" y="176706"/>
                  <a:pt x="9553065" y="195185"/>
                </a:cubicBezTo>
                <a:cubicBezTo>
                  <a:pt x="9553065" y="213664"/>
                  <a:pt x="9536896" y="229833"/>
                  <a:pt x="9518417" y="229833"/>
                </a:cubicBezTo>
                <a:cubicBezTo>
                  <a:pt x="9499938" y="229833"/>
                  <a:pt x="9483769" y="213664"/>
                  <a:pt x="9483769" y="195185"/>
                </a:cubicBezTo>
                <a:cubicBezTo>
                  <a:pt x="9483769" y="176706"/>
                  <a:pt x="9498784" y="160537"/>
                  <a:pt x="9518417" y="160537"/>
                </a:cubicBezTo>
                <a:close/>
                <a:moveTo>
                  <a:pt x="8977304" y="160537"/>
                </a:moveTo>
                <a:cubicBezTo>
                  <a:pt x="8995783" y="160537"/>
                  <a:pt x="9011952" y="176706"/>
                  <a:pt x="9011952" y="195185"/>
                </a:cubicBezTo>
                <a:cubicBezTo>
                  <a:pt x="9011952" y="213664"/>
                  <a:pt x="8996938" y="229833"/>
                  <a:pt x="8977304" y="229833"/>
                </a:cubicBezTo>
                <a:cubicBezTo>
                  <a:pt x="8958825" y="229833"/>
                  <a:pt x="8942656" y="213664"/>
                  <a:pt x="8942656" y="195185"/>
                </a:cubicBezTo>
                <a:cubicBezTo>
                  <a:pt x="8942656" y="176706"/>
                  <a:pt x="8957670" y="160537"/>
                  <a:pt x="8977304" y="160537"/>
                </a:cubicBezTo>
                <a:close/>
                <a:moveTo>
                  <a:pt x="8434485" y="160537"/>
                </a:moveTo>
                <a:cubicBezTo>
                  <a:pt x="8454118" y="160537"/>
                  <a:pt x="8469133" y="176706"/>
                  <a:pt x="8469133" y="195185"/>
                </a:cubicBezTo>
                <a:cubicBezTo>
                  <a:pt x="8469133" y="213664"/>
                  <a:pt x="8454118" y="229833"/>
                  <a:pt x="8434485" y="229833"/>
                </a:cubicBezTo>
                <a:cubicBezTo>
                  <a:pt x="8416006" y="229833"/>
                  <a:pt x="8399837" y="213664"/>
                  <a:pt x="8399837" y="195185"/>
                </a:cubicBezTo>
                <a:cubicBezTo>
                  <a:pt x="8399837" y="176706"/>
                  <a:pt x="8414851" y="160537"/>
                  <a:pt x="8434485" y="160537"/>
                </a:cubicBezTo>
                <a:close/>
                <a:moveTo>
                  <a:pt x="6674366" y="160537"/>
                </a:moveTo>
                <a:cubicBezTo>
                  <a:pt x="6692845" y="160537"/>
                  <a:pt x="6709014" y="176706"/>
                  <a:pt x="6709014" y="195185"/>
                </a:cubicBezTo>
                <a:cubicBezTo>
                  <a:pt x="6709014" y="213664"/>
                  <a:pt x="6692845" y="229833"/>
                  <a:pt x="6674366" y="229833"/>
                </a:cubicBezTo>
                <a:cubicBezTo>
                  <a:pt x="6655888" y="229833"/>
                  <a:pt x="6639717" y="213664"/>
                  <a:pt x="6639717" y="195185"/>
                </a:cubicBezTo>
                <a:cubicBezTo>
                  <a:pt x="6639717" y="176706"/>
                  <a:pt x="6654732" y="160537"/>
                  <a:pt x="6674366" y="160537"/>
                </a:cubicBezTo>
                <a:close/>
                <a:moveTo>
                  <a:pt x="5589882" y="160537"/>
                </a:moveTo>
                <a:cubicBezTo>
                  <a:pt x="5609516" y="160537"/>
                  <a:pt x="5624531" y="176706"/>
                  <a:pt x="5624531" y="195185"/>
                </a:cubicBezTo>
                <a:cubicBezTo>
                  <a:pt x="5624531" y="213664"/>
                  <a:pt x="5609516" y="229833"/>
                  <a:pt x="5589882" y="229833"/>
                </a:cubicBezTo>
                <a:cubicBezTo>
                  <a:pt x="5571403" y="229833"/>
                  <a:pt x="5555234" y="213664"/>
                  <a:pt x="5555234" y="195185"/>
                </a:cubicBezTo>
                <a:cubicBezTo>
                  <a:pt x="5555234" y="176706"/>
                  <a:pt x="5570250" y="160537"/>
                  <a:pt x="5589882" y="160537"/>
                </a:cubicBezTo>
                <a:close/>
                <a:moveTo>
                  <a:pt x="4913091" y="160537"/>
                </a:moveTo>
                <a:cubicBezTo>
                  <a:pt x="4931569" y="160537"/>
                  <a:pt x="4947739" y="176706"/>
                  <a:pt x="4947739" y="195185"/>
                </a:cubicBezTo>
                <a:cubicBezTo>
                  <a:pt x="4947739" y="213664"/>
                  <a:pt x="4932726" y="229833"/>
                  <a:pt x="4913091" y="229833"/>
                </a:cubicBezTo>
                <a:cubicBezTo>
                  <a:pt x="4894612" y="229833"/>
                  <a:pt x="4878443" y="213664"/>
                  <a:pt x="4878443" y="195185"/>
                </a:cubicBezTo>
                <a:cubicBezTo>
                  <a:pt x="4878443" y="176706"/>
                  <a:pt x="4893458" y="160537"/>
                  <a:pt x="4913091" y="160537"/>
                </a:cubicBezTo>
                <a:close/>
                <a:moveTo>
                  <a:pt x="4364498" y="160537"/>
                </a:moveTo>
                <a:cubicBezTo>
                  <a:pt x="4382977" y="160537"/>
                  <a:pt x="4399146" y="176706"/>
                  <a:pt x="4399146" y="195185"/>
                </a:cubicBezTo>
                <a:cubicBezTo>
                  <a:pt x="4399146" y="213664"/>
                  <a:pt x="4384131" y="229833"/>
                  <a:pt x="4364498" y="229833"/>
                </a:cubicBezTo>
                <a:cubicBezTo>
                  <a:pt x="4346018" y="229833"/>
                  <a:pt x="4329850" y="213664"/>
                  <a:pt x="4329850" y="195185"/>
                </a:cubicBezTo>
                <a:cubicBezTo>
                  <a:pt x="4329850" y="176706"/>
                  <a:pt x="4344863" y="160537"/>
                  <a:pt x="4364498" y="160537"/>
                </a:cubicBezTo>
                <a:close/>
                <a:moveTo>
                  <a:pt x="3821678" y="160537"/>
                </a:moveTo>
                <a:cubicBezTo>
                  <a:pt x="3841311" y="160537"/>
                  <a:pt x="3856326" y="176706"/>
                  <a:pt x="3856326" y="195185"/>
                </a:cubicBezTo>
                <a:cubicBezTo>
                  <a:pt x="3856326" y="213664"/>
                  <a:pt x="3841311" y="229833"/>
                  <a:pt x="3821678" y="229833"/>
                </a:cubicBezTo>
                <a:cubicBezTo>
                  <a:pt x="3803199" y="229833"/>
                  <a:pt x="3787030" y="213664"/>
                  <a:pt x="3787030" y="195185"/>
                </a:cubicBezTo>
                <a:cubicBezTo>
                  <a:pt x="3787030" y="176706"/>
                  <a:pt x="3802045" y="160537"/>
                  <a:pt x="3821678" y="160537"/>
                </a:cubicBezTo>
                <a:close/>
                <a:moveTo>
                  <a:pt x="2061558" y="160537"/>
                </a:moveTo>
                <a:cubicBezTo>
                  <a:pt x="2080037" y="160537"/>
                  <a:pt x="2096206" y="176706"/>
                  <a:pt x="2096206" y="195185"/>
                </a:cubicBezTo>
                <a:cubicBezTo>
                  <a:pt x="2096206" y="213664"/>
                  <a:pt x="2081192" y="229833"/>
                  <a:pt x="2061558" y="229833"/>
                </a:cubicBezTo>
                <a:cubicBezTo>
                  <a:pt x="2043080" y="229833"/>
                  <a:pt x="2026910" y="213664"/>
                  <a:pt x="2026910" y="195185"/>
                </a:cubicBezTo>
                <a:cubicBezTo>
                  <a:pt x="2026910" y="176706"/>
                  <a:pt x="2041924" y="160537"/>
                  <a:pt x="2061558" y="160537"/>
                </a:cubicBezTo>
                <a:close/>
                <a:moveTo>
                  <a:pt x="977075" y="160537"/>
                </a:moveTo>
                <a:cubicBezTo>
                  <a:pt x="996709" y="160537"/>
                  <a:pt x="1011723" y="176706"/>
                  <a:pt x="1011723" y="195185"/>
                </a:cubicBezTo>
                <a:cubicBezTo>
                  <a:pt x="1011723" y="213664"/>
                  <a:pt x="995554" y="229833"/>
                  <a:pt x="977075" y="229833"/>
                </a:cubicBezTo>
                <a:cubicBezTo>
                  <a:pt x="958596" y="229833"/>
                  <a:pt x="942427" y="213664"/>
                  <a:pt x="942427" y="195185"/>
                </a:cubicBezTo>
                <a:cubicBezTo>
                  <a:pt x="942427" y="176706"/>
                  <a:pt x="957441" y="160537"/>
                  <a:pt x="977075" y="160537"/>
                </a:cubicBezTo>
                <a:close/>
                <a:moveTo>
                  <a:pt x="300283" y="160537"/>
                </a:moveTo>
                <a:cubicBezTo>
                  <a:pt x="318762" y="160537"/>
                  <a:pt x="334931" y="176706"/>
                  <a:pt x="334931" y="195185"/>
                </a:cubicBezTo>
                <a:cubicBezTo>
                  <a:pt x="334931" y="213664"/>
                  <a:pt x="318762" y="229833"/>
                  <a:pt x="300283" y="229833"/>
                </a:cubicBezTo>
                <a:cubicBezTo>
                  <a:pt x="281804" y="229833"/>
                  <a:pt x="265635" y="213664"/>
                  <a:pt x="265635" y="195185"/>
                </a:cubicBezTo>
                <a:cubicBezTo>
                  <a:pt x="265635" y="176706"/>
                  <a:pt x="280650" y="160537"/>
                  <a:pt x="300283" y="160537"/>
                </a:cubicBezTo>
                <a:close/>
                <a:moveTo>
                  <a:pt x="11143410" y="154761"/>
                </a:moveTo>
                <a:cubicBezTo>
                  <a:pt x="11166509" y="154761"/>
                  <a:pt x="11183832" y="173240"/>
                  <a:pt x="11183832" y="195185"/>
                </a:cubicBezTo>
                <a:cubicBezTo>
                  <a:pt x="11183832" y="217128"/>
                  <a:pt x="11165353" y="235607"/>
                  <a:pt x="11143410" y="235607"/>
                </a:cubicBezTo>
                <a:cubicBezTo>
                  <a:pt x="11121466" y="235607"/>
                  <a:pt x="11102987" y="217128"/>
                  <a:pt x="11102987" y="195185"/>
                </a:cubicBezTo>
                <a:cubicBezTo>
                  <a:pt x="11102987" y="173240"/>
                  <a:pt x="11121466" y="154761"/>
                  <a:pt x="11143410" y="154761"/>
                </a:cubicBezTo>
                <a:close/>
                <a:moveTo>
                  <a:pt x="10873155" y="154761"/>
                </a:moveTo>
                <a:cubicBezTo>
                  <a:pt x="10895098" y="154761"/>
                  <a:pt x="10913577" y="173240"/>
                  <a:pt x="10913577" y="195185"/>
                </a:cubicBezTo>
                <a:cubicBezTo>
                  <a:pt x="10913577" y="217128"/>
                  <a:pt x="10895098" y="235607"/>
                  <a:pt x="10873155" y="235607"/>
                </a:cubicBezTo>
                <a:cubicBezTo>
                  <a:pt x="10851211" y="235607"/>
                  <a:pt x="10832732" y="217128"/>
                  <a:pt x="10832732" y="195185"/>
                </a:cubicBezTo>
                <a:cubicBezTo>
                  <a:pt x="10832732" y="173240"/>
                  <a:pt x="10851211" y="154761"/>
                  <a:pt x="10873155" y="154761"/>
                </a:cubicBezTo>
                <a:close/>
                <a:moveTo>
                  <a:pt x="10060082" y="154761"/>
                </a:moveTo>
                <a:cubicBezTo>
                  <a:pt x="10082025" y="154761"/>
                  <a:pt x="10100504" y="173240"/>
                  <a:pt x="10100504" y="195185"/>
                </a:cubicBezTo>
                <a:cubicBezTo>
                  <a:pt x="10100504" y="217128"/>
                  <a:pt x="10082025" y="235607"/>
                  <a:pt x="10060082" y="235607"/>
                </a:cubicBezTo>
                <a:cubicBezTo>
                  <a:pt x="10038137" y="235607"/>
                  <a:pt x="10019658" y="217128"/>
                  <a:pt x="10019658" y="195185"/>
                </a:cubicBezTo>
                <a:cubicBezTo>
                  <a:pt x="10019658" y="173240"/>
                  <a:pt x="10038137" y="154761"/>
                  <a:pt x="10060082" y="154761"/>
                </a:cubicBezTo>
                <a:close/>
                <a:moveTo>
                  <a:pt x="9653545" y="154761"/>
                </a:moveTo>
                <a:cubicBezTo>
                  <a:pt x="9675488" y="154761"/>
                  <a:pt x="9693967" y="173240"/>
                  <a:pt x="9693967" y="195185"/>
                </a:cubicBezTo>
                <a:cubicBezTo>
                  <a:pt x="9693967" y="217128"/>
                  <a:pt x="9675488" y="235607"/>
                  <a:pt x="9653545" y="235607"/>
                </a:cubicBezTo>
                <a:cubicBezTo>
                  <a:pt x="9631600" y="235607"/>
                  <a:pt x="9613122" y="217128"/>
                  <a:pt x="9613122" y="195185"/>
                </a:cubicBezTo>
                <a:cubicBezTo>
                  <a:pt x="9613122" y="173240"/>
                  <a:pt x="9631600" y="154761"/>
                  <a:pt x="9653545" y="154761"/>
                </a:cubicBezTo>
                <a:close/>
                <a:moveTo>
                  <a:pt x="8841022" y="154761"/>
                </a:moveTo>
                <a:cubicBezTo>
                  <a:pt x="8864121" y="154761"/>
                  <a:pt x="8881444" y="173240"/>
                  <a:pt x="8881444" y="195185"/>
                </a:cubicBezTo>
                <a:cubicBezTo>
                  <a:pt x="8881444" y="217128"/>
                  <a:pt x="8862965" y="235607"/>
                  <a:pt x="8841022" y="235607"/>
                </a:cubicBezTo>
                <a:cubicBezTo>
                  <a:pt x="8819078" y="235607"/>
                  <a:pt x="8800599" y="217128"/>
                  <a:pt x="8800599" y="195185"/>
                </a:cubicBezTo>
                <a:cubicBezTo>
                  <a:pt x="8800599" y="173240"/>
                  <a:pt x="8819078" y="154761"/>
                  <a:pt x="8841022" y="154761"/>
                </a:cubicBezTo>
                <a:close/>
                <a:moveTo>
                  <a:pt x="8570767" y="154761"/>
                </a:moveTo>
                <a:cubicBezTo>
                  <a:pt x="8592711" y="154761"/>
                  <a:pt x="8611190" y="173240"/>
                  <a:pt x="8611190" y="195185"/>
                </a:cubicBezTo>
                <a:cubicBezTo>
                  <a:pt x="8611190" y="217128"/>
                  <a:pt x="8592711" y="235607"/>
                  <a:pt x="8570767" y="235607"/>
                </a:cubicBezTo>
                <a:cubicBezTo>
                  <a:pt x="8548823" y="235607"/>
                  <a:pt x="8530344" y="217128"/>
                  <a:pt x="8530344" y="195185"/>
                </a:cubicBezTo>
                <a:cubicBezTo>
                  <a:pt x="8530344" y="173240"/>
                  <a:pt x="8548823" y="154761"/>
                  <a:pt x="8570767" y="154761"/>
                </a:cubicBezTo>
                <a:close/>
                <a:moveTo>
                  <a:pt x="6538083" y="154761"/>
                </a:moveTo>
                <a:cubicBezTo>
                  <a:pt x="6561183" y="154761"/>
                  <a:pt x="6578507" y="173240"/>
                  <a:pt x="6578507" y="195185"/>
                </a:cubicBezTo>
                <a:cubicBezTo>
                  <a:pt x="6578507" y="217128"/>
                  <a:pt x="6560028" y="235607"/>
                  <a:pt x="6538083" y="235607"/>
                </a:cubicBezTo>
                <a:cubicBezTo>
                  <a:pt x="6516139" y="235607"/>
                  <a:pt x="6497661" y="217128"/>
                  <a:pt x="6497661" y="195185"/>
                </a:cubicBezTo>
                <a:cubicBezTo>
                  <a:pt x="6497661" y="173240"/>
                  <a:pt x="6516139" y="154761"/>
                  <a:pt x="6538083" y="154761"/>
                </a:cubicBezTo>
                <a:close/>
                <a:moveTo>
                  <a:pt x="6267830" y="154761"/>
                </a:moveTo>
                <a:cubicBezTo>
                  <a:pt x="6289772" y="154761"/>
                  <a:pt x="6308251" y="173240"/>
                  <a:pt x="6308251" y="195185"/>
                </a:cubicBezTo>
                <a:cubicBezTo>
                  <a:pt x="6308251" y="217128"/>
                  <a:pt x="6289772" y="235607"/>
                  <a:pt x="6267830" y="235607"/>
                </a:cubicBezTo>
                <a:cubicBezTo>
                  <a:pt x="6245885" y="235607"/>
                  <a:pt x="6227406" y="217128"/>
                  <a:pt x="6227406" y="195185"/>
                </a:cubicBezTo>
                <a:cubicBezTo>
                  <a:pt x="6227406" y="173240"/>
                  <a:pt x="6245885" y="154761"/>
                  <a:pt x="6267830" y="154761"/>
                </a:cubicBezTo>
                <a:close/>
                <a:moveTo>
                  <a:pt x="5454756" y="154761"/>
                </a:moveTo>
                <a:cubicBezTo>
                  <a:pt x="5476698" y="154761"/>
                  <a:pt x="5495178" y="173240"/>
                  <a:pt x="5495178" y="195185"/>
                </a:cubicBezTo>
                <a:cubicBezTo>
                  <a:pt x="5495178" y="217128"/>
                  <a:pt x="5476698" y="235607"/>
                  <a:pt x="5454756" y="235607"/>
                </a:cubicBezTo>
                <a:cubicBezTo>
                  <a:pt x="5432812" y="235607"/>
                  <a:pt x="5414332" y="217128"/>
                  <a:pt x="5414332" y="195185"/>
                </a:cubicBezTo>
                <a:cubicBezTo>
                  <a:pt x="5414332" y="173240"/>
                  <a:pt x="5432812" y="154761"/>
                  <a:pt x="5454756" y="154761"/>
                </a:cubicBezTo>
                <a:close/>
                <a:moveTo>
                  <a:pt x="5048218" y="154761"/>
                </a:moveTo>
                <a:cubicBezTo>
                  <a:pt x="5070162" y="154761"/>
                  <a:pt x="5088641" y="173240"/>
                  <a:pt x="5088641" y="195185"/>
                </a:cubicBezTo>
                <a:cubicBezTo>
                  <a:pt x="5088641" y="217128"/>
                  <a:pt x="5070162" y="235607"/>
                  <a:pt x="5048218" y="235607"/>
                </a:cubicBezTo>
                <a:cubicBezTo>
                  <a:pt x="5026274" y="235607"/>
                  <a:pt x="5007796" y="217128"/>
                  <a:pt x="5007796" y="195185"/>
                </a:cubicBezTo>
                <a:cubicBezTo>
                  <a:pt x="5007796" y="173240"/>
                  <a:pt x="5026274" y="154761"/>
                  <a:pt x="5048218" y="154761"/>
                </a:cubicBezTo>
                <a:close/>
                <a:moveTo>
                  <a:pt x="4228216" y="154761"/>
                </a:moveTo>
                <a:cubicBezTo>
                  <a:pt x="4251315" y="154761"/>
                  <a:pt x="4268637" y="173240"/>
                  <a:pt x="4268637" y="195185"/>
                </a:cubicBezTo>
                <a:cubicBezTo>
                  <a:pt x="4268637" y="217128"/>
                  <a:pt x="4250159" y="235607"/>
                  <a:pt x="4228216" y="235607"/>
                </a:cubicBezTo>
                <a:cubicBezTo>
                  <a:pt x="4206271" y="235607"/>
                  <a:pt x="4187792" y="217128"/>
                  <a:pt x="4187792" y="195185"/>
                </a:cubicBezTo>
                <a:cubicBezTo>
                  <a:pt x="4187792" y="173240"/>
                  <a:pt x="4206271" y="154761"/>
                  <a:pt x="4228216" y="154761"/>
                </a:cubicBezTo>
                <a:close/>
                <a:moveTo>
                  <a:pt x="3957960" y="154761"/>
                </a:moveTo>
                <a:cubicBezTo>
                  <a:pt x="3979904" y="154761"/>
                  <a:pt x="3998382" y="173240"/>
                  <a:pt x="3998382" y="195185"/>
                </a:cubicBezTo>
                <a:cubicBezTo>
                  <a:pt x="3998382" y="217128"/>
                  <a:pt x="3979904" y="235607"/>
                  <a:pt x="3957960" y="235607"/>
                </a:cubicBezTo>
                <a:cubicBezTo>
                  <a:pt x="3936016" y="235607"/>
                  <a:pt x="3917537" y="217128"/>
                  <a:pt x="3917537" y="195185"/>
                </a:cubicBezTo>
                <a:cubicBezTo>
                  <a:pt x="3917537" y="173240"/>
                  <a:pt x="3936016" y="154761"/>
                  <a:pt x="3957960" y="154761"/>
                </a:cubicBezTo>
                <a:close/>
                <a:moveTo>
                  <a:pt x="1925276" y="154761"/>
                </a:moveTo>
                <a:cubicBezTo>
                  <a:pt x="1948375" y="154761"/>
                  <a:pt x="1965698" y="173240"/>
                  <a:pt x="1965698" y="195185"/>
                </a:cubicBezTo>
                <a:cubicBezTo>
                  <a:pt x="1965698" y="217128"/>
                  <a:pt x="1947219" y="235607"/>
                  <a:pt x="1925276" y="235607"/>
                </a:cubicBezTo>
                <a:cubicBezTo>
                  <a:pt x="1903332" y="235607"/>
                  <a:pt x="1884853" y="217128"/>
                  <a:pt x="1884853" y="195185"/>
                </a:cubicBezTo>
                <a:cubicBezTo>
                  <a:pt x="1884853" y="173240"/>
                  <a:pt x="1903332" y="154761"/>
                  <a:pt x="1925276" y="154761"/>
                </a:cubicBezTo>
                <a:close/>
                <a:moveTo>
                  <a:pt x="1655022" y="154761"/>
                </a:moveTo>
                <a:cubicBezTo>
                  <a:pt x="1676965" y="154761"/>
                  <a:pt x="1695444" y="173240"/>
                  <a:pt x="1695444" y="195185"/>
                </a:cubicBezTo>
                <a:cubicBezTo>
                  <a:pt x="1695444" y="217128"/>
                  <a:pt x="1676965" y="235607"/>
                  <a:pt x="1655022" y="235607"/>
                </a:cubicBezTo>
                <a:cubicBezTo>
                  <a:pt x="1633077" y="235607"/>
                  <a:pt x="1614598" y="217128"/>
                  <a:pt x="1614598" y="195185"/>
                </a:cubicBezTo>
                <a:cubicBezTo>
                  <a:pt x="1614598" y="173240"/>
                  <a:pt x="1633077" y="154761"/>
                  <a:pt x="1655022" y="154761"/>
                </a:cubicBezTo>
                <a:close/>
                <a:moveTo>
                  <a:pt x="841948" y="154761"/>
                </a:moveTo>
                <a:cubicBezTo>
                  <a:pt x="863891" y="154761"/>
                  <a:pt x="882370" y="173240"/>
                  <a:pt x="882370" y="195185"/>
                </a:cubicBezTo>
                <a:cubicBezTo>
                  <a:pt x="882370" y="217128"/>
                  <a:pt x="863891" y="235607"/>
                  <a:pt x="841948" y="235607"/>
                </a:cubicBezTo>
                <a:cubicBezTo>
                  <a:pt x="820004" y="235607"/>
                  <a:pt x="801525" y="217128"/>
                  <a:pt x="801525" y="195185"/>
                </a:cubicBezTo>
                <a:cubicBezTo>
                  <a:pt x="801525" y="173240"/>
                  <a:pt x="820004" y="154761"/>
                  <a:pt x="841948" y="154761"/>
                </a:cubicBezTo>
                <a:close/>
                <a:moveTo>
                  <a:pt x="435411" y="154761"/>
                </a:moveTo>
                <a:cubicBezTo>
                  <a:pt x="457354" y="154761"/>
                  <a:pt x="475833" y="173240"/>
                  <a:pt x="475833" y="195185"/>
                </a:cubicBezTo>
                <a:cubicBezTo>
                  <a:pt x="475833" y="217128"/>
                  <a:pt x="457354" y="235607"/>
                  <a:pt x="435411" y="235607"/>
                </a:cubicBezTo>
                <a:cubicBezTo>
                  <a:pt x="413467" y="235607"/>
                  <a:pt x="394988" y="217128"/>
                  <a:pt x="394988" y="195185"/>
                </a:cubicBezTo>
                <a:cubicBezTo>
                  <a:pt x="394988" y="173240"/>
                  <a:pt x="413467" y="154761"/>
                  <a:pt x="435411" y="154761"/>
                </a:cubicBezTo>
                <a:close/>
                <a:moveTo>
                  <a:pt x="11008282" y="144368"/>
                </a:moveTo>
                <a:cubicBezTo>
                  <a:pt x="11036000" y="144368"/>
                  <a:pt x="11059099" y="167466"/>
                  <a:pt x="11059099" y="195185"/>
                </a:cubicBezTo>
                <a:cubicBezTo>
                  <a:pt x="11059099" y="222903"/>
                  <a:pt x="11037156" y="246002"/>
                  <a:pt x="11008282" y="246002"/>
                </a:cubicBezTo>
                <a:cubicBezTo>
                  <a:pt x="10980564" y="246002"/>
                  <a:pt x="10957465" y="222903"/>
                  <a:pt x="10957465" y="195185"/>
                </a:cubicBezTo>
                <a:cubicBezTo>
                  <a:pt x="10957465" y="167466"/>
                  <a:pt x="10979409" y="144368"/>
                  <a:pt x="11008282" y="144368"/>
                </a:cubicBezTo>
                <a:close/>
                <a:moveTo>
                  <a:pt x="9924954" y="144368"/>
                </a:moveTo>
                <a:cubicBezTo>
                  <a:pt x="9952672" y="144368"/>
                  <a:pt x="9975771" y="167466"/>
                  <a:pt x="9975771" y="195185"/>
                </a:cubicBezTo>
                <a:cubicBezTo>
                  <a:pt x="9975771" y="222903"/>
                  <a:pt x="9953828" y="246002"/>
                  <a:pt x="9924954" y="246002"/>
                </a:cubicBezTo>
                <a:cubicBezTo>
                  <a:pt x="9897235" y="246002"/>
                  <a:pt x="9874137" y="222903"/>
                  <a:pt x="9874137" y="195185"/>
                </a:cubicBezTo>
                <a:cubicBezTo>
                  <a:pt x="9874137" y="167466"/>
                  <a:pt x="9896081" y="144368"/>
                  <a:pt x="9924954" y="144368"/>
                </a:cubicBezTo>
                <a:close/>
                <a:moveTo>
                  <a:pt x="9788672" y="144368"/>
                </a:moveTo>
                <a:cubicBezTo>
                  <a:pt x="9817545" y="144368"/>
                  <a:pt x="9839489" y="167466"/>
                  <a:pt x="9839489" y="195185"/>
                </a:cubicBezTo>
                <a:cubicBezTo>
                  <a:pt x="9839489" y="222903"/>
                  <a:pt x="9816390" y="246002"/>
                  <a:pt x="9788672" y="246002"/>
                </a:cubicBezTo>
                <a:cubicBezTo>
                  <a:pt x="9760953" y="246002"/>
                  <a:pt x="9737854" y="222903"/>
                  <a:pt x="9737854" y="195185"/>
                </a:cubicBezTo>
                <a:cubicBezTo>
                  <a:pt x="9737854" y="167466"/>
                  <a:pt x="9759799" y="144368"/>
                  <a:pt x="9788672" y="144368"/>
                </a:cubicBezTo>
                <a:close/>
                <a:moveTo>
                  <a:pt x="8705894" y="144368"/>
                </a:moveTo>
                <a:cubicBezTo>
                  <a:pt x="8733613" y="144368"/>
                  <a:pt x="8756711" y="167466"/>
                  <a:pt x="8756711" y="195185"/>
                </a:cubicBezTo>
                <a:cubicBezTo>
                  <a:pt x="8756711" y="222903"/>
                  <a:pt x="8733613" y="246002"/>
                  <a:pt x="8705894" y="246002"/>
                </a:cubicBezTo>
                <a:cubicBezTo>
                  <a:pt x="8678176" y="246002"/>
                  <a:pt x="8655077" y="222903"/>
                  <a:pt x="8655077" y="195185"/>
                </a:cubicBezTo>
                <a:cubicBezTo>
                  <a:pt x="8655077" y="167466"/>
                  <a:pt x="8677021" y="144368"/>
                  <a:pt x="8705894" y="144368"/>
                </a:cubicBezTo>
                <a:close/>
                <a:moveTo>
                  <a:pt x="6402956" y="144368"/>
                </a:moveTo>
                <a:cubicBezTo>
                  <a:pt x="6431830" y="144368"/>
                  <a:pt x="6453773" y="167466"/>
                  <a:pt x="6453773" y="195185"/>
                </a:cubicBezTo>
                <a:cubicBezTo>
                  <a:pt x="6453773" y="222903"/>
                  <a:pt x="6431830" y="246002"/>
                  <a:pt x="6402956" y="246002"/>
                </a:cubicBezTo>
                <a:cubicBezTo>
                  <a:pt x="6375237" y="246002"/>
                  <a:pt x="6352139" y="222903"/>
                  <a:pt x="6352139" y="195185"/>
                </a:cubicBezTo>
                <a:cubicBezTo>
                  <a:pt x="6352139" y="167466"/>
                  <a:pt x="6374084" y="144368"/>
                  <a:pt x="6402956" y="144368"/>
                </a:cubicBezTo>
                <a:close/>
                <a:moveTo>
                  <a:pt x="5319627" y="144368"/>
                </a:moveTo>
                <a:cubicBezTo>
                  <a:pt x="5347347" y="144368"/>
                  <a:pt x="5370444" y="167466"/>
                  <a:pt x="5370444" y="195185"/>
                </a:cubicBezTo>
                <a:cubicBezTo>
                  <a:pt x="5370444" y="222903"/>
                  <a:pt x="5347347" y="246002"/>
                  <a:pt x="5319627" y="246002"/>
                </a:cubicBezTo>
                <a:cubicBezTo>
                  <a:pt x="5291910" y="246002"/>
                  <a:pt x="5268810" y="222903"/>
                  <a:pt x="5268810" y="195185"/>
                </a:cubicBezTo>
                <a:cubicBezTo>
                  <a:pt x="5268810" y="167466"/>
                  <a:pt x="5290756" y="144368"/>
                  <a:pt x="5319627" y="144368"/>
                </a:cubicBezTo>
                <a:close/>
                <a:moveTo>
                  <a:pt x="5183345" y="144368"/>
                </a:moveTo>
                <a:cubicBezTo>
                  <a:pt x="5212220" y="144368"/>
                  <a:pt x="5234162" y="167466"/>
                  <a:pt x="5234162" y="195185"/>
                </a:cubicBezTo>
                <a:cubicBezTo>
                  <a:pt x="5234162" y="222903"/>
                  <a:pt x="5211064" y="246002"/>
                  <a:pt x="5183345" y="246002"/>
                </a:cubicBezTo>
                <a:cubicBezTo>
                  <a:pt x="5155627" y="246002"/>
                  <a:pt x="5132528" y="222903"/>
                  <a:pt x="5132528" y="195185"/>
                </a:cubicBezTo>
                <a:cubicBezTo>
                  <a:pt x="5132528" y="167466"/>
                  <a:pt x="5154472" y="144368"/>
                  <a:pt x="5183345" y="144368"/>
                </a:cubicBezTo>
                <a:close/>
                <a:moveTo>
                  <a:pt x="4093087" y="144368"/>
                </a:moveTo>
                <a:cubicBezTo>
                  <a:pt x="4120806" y="144368"/>
                  <a:pt x="4143904" y="167466"/>
                  <a:pt x="4143904" y="195185"/>
                </a:cubicBezTo>
                <a:cubicBezTo>
                  <a:pt x="4143904" y="222903"/>
                  <a:pt x="4120806" y="246002"/>
                  <a:pt x="4093087" y="246002"/>
                </a:cubicBezTo>
                <a:cubicBezTo>
                  <a:pt x="4065369" y="246002"/>
                  <a:pt x="4042270" y="222903"/>
                  <a:pt x="4042270" y="195185"/>
                </a:cubicBezTo>
                <a:cubicBezTo>
                  <a:pt x="4042270" y="167466"/>
                  <a:pt x="4064214" y="144368"/>
                  <a:pt x="4093087" y="144368"/>
                </a:cubicBezTo>
                <a:close/>
                <a:moveTo>
                  <a:pt x="1790148" y="144368"/>
                </a:moveTo>
                <a:cubicBezTo>
                  <a:pt x="1817867" y="144368"/>
                  <a:pt x="1840965" y="167466"/>
                  <a:pt x="1840965" y="195185"/>
                </a:cubicBezTo>
                <a:cubicBezTo>
                  <a:pt x="1840965" y="222903"/>
                  <a:pt x="1819022" y="246002"/>
                  <a:pt x="1790148" y="246002"/>
                </a:cubicBezTo>
                <a:cubicBezTo>
                  <a:pt x="1762430" y="246002"/>
                  <a:pt x="1739331" y="222903"/>
                  <a:pt x="1739331" y="195185"/>
                </a:cubicBezTo>
                <a:cubicBezTo>
                  <a:pt x="1739331" y="167466"/>
                  <a:pt x="1761275" y="144368"/>
                  <a:pt x="1790148" y="144368"/>
                </a:cubicBezTo>
                <a:close/>
                <a:moveTo>
                  <a:pt x="706820" y="144368"/>
                </a:moveTo>
                <a:cubicBezTo>
                  <a:pt x="734538" y="144368"/>
                  <a:pt x="757637" y="167466"/>
                  <a:pt x="757637" y="195185"/>
                </a:cubicBezTo>
                <a:cubicBezTo>
                  <a:pt x="757637" y="222903"/>
                  <a:pt x="735694" y="246002"/>
                  <a:pt x="706820" y="246002"/>
                </a:cubicBezTo>
                <a:cubicBezTo>
                  <a:pt x="679101" y="246002"/>
                  <a:pt x="656003" y="222903"/>
                  <a:pt x="656003" y="195185"/>
                </a:cubicBezTo>
                <a:cubicBezTo>
                  <a:pt x="656003" y="167466"/>
                  <a:pt x="677947" y="144368"/>
                  <a:pt x="706820" y="144368"/>
                </a:cubicBezTo>
                <a:close/>
                <a:moveTo>
                  <a:pt x="570538" y="144368"/>
                </a:moveTo>
                <a:cubicBezTo>
                  <a:pt x="599412" y="144368"/>
                  <a:pt x="621355" y="167466"/>
                  <a:pt x="621355" y="195185"/>
                </a:cubicBezTo>
                <a:cubicBezTo>
                  <a:pt x="621355" y="222903"/>
                  <a:pt x="598256" y="246002"/>
                  <a:pt x="570538" y="246002"/>
                </a:cubicBezTo>
                <a:cubicBezTo>
                  <a:pt x="542819" y="246002"/>
                  <a:pt x="519721" y="222903"/>
                  <a:pt x="519721" y="195185"/>
                </a:cubicBezTo>
                <a:cubicBezTo>
                  <a:pt x="519721" y="167466"/>
                  <a:pt x="541665" y="144368"/>
                  <a:pt x="570538" y="144368"/>
                </a:cubicBezTo>
                <a:close/>
                <a:moveTo>
                  <a:pt x="12180541" y="31184"/>
                </a:moveTo>
                <a:cubicBezTo>
                  <a:pt x="12192090" y="31184"/>
                  <a:pt x="12201330" y="40424"/>
                  <a:pt x="12201330" y="51973"/>
                </a:cubicBezTo>
                <a:cubicBezTo>
                  <a:pt x="12201330" y="63522"/>
                  <a:pt x="12192090" y="72762"/>
                  <a:pt x="12180541" y="72762"/>
                </a:cubicBezTo>
                <a:cubicBezTo>
                  <a:pt x="12168992" y="72762"/>
                  <a:pt x="12159752" y="63522"/>
                  <a:pt x="12159752" y="51973"/>
                </a:cubicBezTo>
                <a:cubicBezTo>
                  <a:pt x="12159752" y="40424"/>
                  <a:pt x="12168992" y="31184"/>
                  <a:pt x="12180541" y="31184"/>
                </a:cubicBezTo>
                <a:close/>
                <a:moveTo>
                  <a:pt x="12040793" y="31184"/>
                </a:moveTo>
                <a:cubicBezTo>
                  <a:pt x="12052342" y="31184"/>
                  <a:pt x="12061582" y="40424"/>
                  <a:pt x="12061582" y="51973"/>
                </a:cubicBezTo>
                <a:cubicBezTo>
                  <a:pt x="12061582" y="63522"/>
                  <a:pt x="12052342" y="72762"/>
                  <a:pt x="12040793" y="72762"/>
                </a:cubicBezTo>
                <a:cubicBezTo>
                  <a:pt x="12029244" y="72762"/>
                  <a:pt x="12020004" y="63522"/>
                  <a:pt x="12020004" y="51973"/>
                </a:cubicBezTo>
                <a:cubicBezTo>
                  <a:pt x="12020004" y="40424"/>
                  <a:pt x="12029244" y="31184"/>
                  <a:pt x="12040793" y="31184"/>
                </a:cubicBezTo>
                <a:close/>
                <a:moveTo>
                  <a:pt x="11901047" y="31184"/>
                </a:moveTo>
                <a:cubicBezTo>
                  <a:pt x="11912596" y="31184"/>
                  <a:pt x="11921836" y="40424"/>
                  <a:pt x="11921836" y="51973"/>
                </a:cubicBezTo>
                <a:cubicBezTo>
                  <a:pt x="11921836" y="63522"/>
                  <a:pt x="11912596" y="72762"/>
                  <a:pt x="11901047" y="72762"/>
                </a:cubicBezTo>
                <a:cubicBezTo>
                  <a:pt x="11889498" y="72762"/>
                  <a:pt x="11880258" y="63522"/>
                  <a:pt x="11880258" y="51973"/>
                </a:cubicBezTo>
                <a:cubicBezTo>
                  <a:pt x="11880258" y="40424"/>
                  <a:pt x="11889498" y="31184"/>
                  <a:pt x="11901047" y="31184"/>
                </a:cubicBezTo>
                <a:close/>
                <a:moveTo>
                  <a:pt x="11761299" y="31184"/>
                </a:moveTo>
                <a:cubicBezTo>
                  <a:pt x="11772848" y="31184"/>
                  <a:pt x="11782088" y="40424"/>
                  <a:pt x="11782088" y="51973"/>
                </a:cubicBezTo>
                <a:cubicBezTo>
                  <a:pt x="11782088" y="63522"/>
                  <a:pt x="11772848" y="72762"/>
                  <a:pt x="11761299" y="72762"/>
                </a:cubicBezTo>
                <a:cubicBezTo>
                  <a:pt x="11749750" y="72762"/>
                  <a:pt x="11740510" y="63522"/>
                  <a:pt x="11740510" y="51973"/>
                </a:cubicBezTo>
                <a:cubicBezTo>
                  <a:pt x="11740510" y="40424"/>
                  <a:pt x="11749750" y="31184"/>
                  <a:pt x="11761299" y="31184"/>
                </a:cubicBezTo>
                <a:close/>
                <a:moveTo>
                  <a:pt x="11621553" y="31184"/>
                </a:moveTo>
                <a:cubicBezTo>
                  <a:pt x="11633102" y="31184"/>
                  <a:pt x="11642342" y="40424"/>
                  <a:pt x="11642342" y="51973"/>
                </a:cubicBezTo>
                <a:cubicBezTo>
                  <a:pt x="11642342" y="63522"/>
                  <a:pt x="11633102" y="72762"/>
                  <a:pt x="11621553" y="72762"/>
                </a:cubicBezTo>
                <a:cubicBezTo>
                  <a:pt x="11610003" y="72762"/>
                  <a:pt x="11600764" y="63522"/>
                  <a:pt x="11600764" y="51973"/>
                </a:cubicBezTo>
                <a:cubicBezTo>
                  <a:pt x="11600764" y="40424"/>
                  <a:pt x="11610003" y="31184"/>
                  <a:pt x="11621553" y="31184"/>
                </a:cubicBezTo>
                <a:close/>
                <a:moveTo>
                  <a:pt x="11481805" y="31184"/>
                </a:moveTo>
                <a:cubicBezTo>
                  <a:pt x="11493354" y="31184"/>
                  <a:pt x="11502594" y="40424"/>
                  <a:pt x="11502594" y="51973"/>
                </a:cubicBezTo>
                <a:cubicBezTo>
                  <a:pt x="11502594" y="63522"/>
                  <a:pt x="11493354" y="72762"/>
                  <a:pt x="11481805" y="72762"/>
                </a:cubicBezTo>
                <a:cubicBezTo>
                  <a:pt x="11470256" y="72762"/>
                  <a:pt x="11461016" y="63522"/>
                  <a:pt x="11461016" y="51973"/>
                </a:cubicBezTo>
                <a:cubicBezTo>
                  <a:pt x="11461016" y="40424"/>
                  <a:pt x="11470256" y="31184"/>
                  <a:pt x="11481805" y="31184"/>
                </a:cubicBezTo>
                <a:close/>
                <a:moveTo>
                  <a:pt x="10644478" y="31184"/>
                </a:moveTo>
                <a:cubicBezTo>
                  <a:pt x="10656028" y="31184"/>
                  <a:pt x="10665267" y="40424"/>
                  <a:pt x="10665267" y="51973"/>
                </a:cubicBezTo>
                <a:cubicBezTo>
                  <a:pt x="10665267" y="63522"/>
                  <a:pt x="10656028" y="72762"/>
                  <a:pt x="10644478" y="72762"/>
                </a:cubicBezTo>
                <a:cubicBezTo>
                  <a:pt x="10632929" y="72762"/>
                  <a:pt x="10623690" y="63522"/>
                  <a:pt x="10623690" y="51973"/>
                </a:cubicBezTo>
                <a:cubicBezTo>
                  <a:pt x="10623690" y="40424"/>
                  <a:pt x="10632929" y="31184"/>
                  <a:pt x="10644478" y="31184"/>
                </a:cubicBezTo>
                <a:close/>
                <a:moveTo>
                  <a:pt x="10504731" y="31184"/>
                </a:moveTo>
                <a:cubicBezTo>
                  <a:pt x="10516280" y="31184"/>
                  <a:pt x="10525520" y="40424"/>
                  <a:pt x="10525520" y="51973"/>
                </a:cubicBezTo>
                <a:cubicBezTo>
                  <a:pt x="10525520" y="63522"/>
                  <a:pt x="10516280" y="72762"/>
                  <a:pt x="10504731" y="72762"/>
                </a:cubicBezTo>
                <a:cubicBezTo>
                  <a:pt x="10493181" y="72762"/>
                  <a:pt x="10483942" y="63522"/>
                  <a:pt x="10483942" y="51973"/>
                </a:cubicBezTo>
                <a:cubicBezTo>
                  <a:pt x="10483942" y="40424"/>
                  <a:pt x="10493181" y="31184"/>
                  <a:pt x="10504731" y="31184"/>
                </a:cubicBezTo>
                <a:close/>
                <a:moveTo>
                  <a:pt x="10364984" y="31184"/>
                </a:moveTo>
                <a:cubicBezTo>
                  <a:pt x="10376534" y="31184"/>
                  <a:pt x="10385773" y="40424"/>
                  <a:pt x="10385773" y="51973"/>
                </a:cubicBezTo>
                <a:cubicBezTo>
                  <a:pt x="10385773" y="63522"/>
                  <a:pt x="10376534" y="72762"/>
                  <a:pt x="10364984" y="72762"/>
                </a:cubicBezTo>
                <a:cubicBezTo>
                  <a:pt x="10353435" y="72762"/>
                  <a:pt x="10344196" y="63522"/>
                  <a:pt x="10344196" y="51973"/>
                </a:cubicBezTo>
                <a:cubicBezTo>
                  <a:pt x="10344196" y="40424"/>
                  <a:pt x="10353435" y="31184"/>
                  <a:pt x="10364984" y="31184"/>
                </a:cubicBezTo>
                <a:close/>
                <a:moveTo>
                  <a:pt x="7854709" y="31184"/>
                </a:moveTo>
                <a:cubicBezTo>
                  <a:pt x="7866258" y="31184"/>
                  <a:pt x="7875498" y="40424"/>
                  <a:pt x="7875498" y="51973"/>
                </a:cubicBezTo>
                <a:cubicBezTo>
                  <a:pt x="7875498" y="63522"/>
                  <a:pt x="7866258" y="72762"/>
                  <a:pt x="7854709" y="72762"/>
                </a:cubicBezTo>
                <a:cubicBezTo>
                  <a:pt x="7843160" y="72762"/>
                  <a:pt x="7833921" y="63522"/>
                  <a:pt x="7833921" y="51973"/>
                </a:cubicBezTo>
                <a:cubicBezTo>
                  <a:pt x="7833921" y="40424"/>
                  <a:pt x="7843160" y="31184"/>
                  <a:pt x="7854709" y="31184"/>
                </a:cubicBezTo>
                <a:close/>
                <a:moveTo>
                  <a:pt x="7714960" y="31184"/>
                </a:moveTo>
                <a:cubicBezTo>
                  <a:pt x="7726511" y="31184"/>
                  <a:pt x="7735749" y="40424"/>
                  <a:pt x="7735749" y="51973"/>
                </a:cubicBezTo>
                <a:cubicBezTo>
                  <a:pt x="7735749" y="63522"/>
                  <a:pt x="7726511" y="72762"/>
                  <a:pt x="7714960" y="72762"/>
                </a:cubicBezTo>
                <a:cubicBezTo>
                  <a:pt x="7703411" y="72762"/>
                  <a:pt x="7694172" y="63522"/>
                  <a:pt x="7694172" y="51973"/>
                </a:cubicBezTo>
                <a:cubicBezTo>
                  <a:pt x="7694172" y="40424"/>
                  <a:pt x="7703411" y="31184"/>
                  <a:pt x="7714960" y="31184"/>
                </a:cubicBezTo>
                <a:close/>
                <a:moveTo>
                  <a:pt x="7575214" y="31184"/>
                </a:moveTo>
                <a:cubicBezTo>
                  <a:pt x="7586765" y="31184"/>
                  <a:pt x="7596004" y="40424"/>
                  <a:pt x="7596004" y="51973"/>
                </a:cubicBezTo>
                <a:cubicBezTo>
                  <a:pt x="7596004" y="63522"/>
                  <a:pt x="7586765" y="72762"/>
                  <a:pt x="7575214" y="72762"/>
                </a:cubicBezTo>
                <a:cubicBezTo>
                  <a:pt x="7563665" y="72762"/>
                  <a:pt x="7554427" y="63522"/>
                  <a:pt x="7554427" y="51973"/>
                </a:cubicBezTo>
                <a:cubicBezTo>
                  <a:pt x="7554427" y="40424"/>
                  <a:pt x="7563665" y="31184"/>
                  <a:pt x="7575214" y="31184"/>
                </a:cubicBezTo>
                <a:close/>
                <a:moveTo>
                  <a:pt x="7435467" y="31184"/>
                </a:moveTo>
                <a:cubicBezTo>
                  <a:pt x="7447016" y="31184"/>
                  <a:pt x="7456257" y="40424"/>
                  <a:pt x="7456257" y="51973"/>
                </a:cubicBezTo>
                <a:cubicBezTo>
                  <a:pt x="7456257" y="63522"/>
                  <a:pt x="7447016" y="72762"/>
                  <a:pt x="7435467" y="72762"/>
                </a:cubicBezTo>
                <a:cubicBezTo>
                  <a:pt x="7423918" y="72762"/>
                  <a:pt x="7414678" y="63522"/>
                  <a:pt x="7414678" y="51973"/>
                </a:cubicBezTo>
                <a:cubicBezTo>
                  <a:pt x="7414678" y="40424"/>
                  <a:pt x="7423918" y="31184"/>
                  <a:pt x="7435467" y="31184"/>
                </a:cubicBezTo>
                <a:close/>
                <a:moveTo>
                  <a:pt x="7295720" y="31184"/>
                </a:moveTo>
                <a:cubicBezTo>
                  <a:pt x="7307271" y="31184"/>
                  <a:pt x="7316509" y="40424"/>
                  <a:pt x="7316509" y="51973"/>
                </a:cubicBezTo>
                <a:cubicBezTo>
                  <a:pt x="7316509" y="63522"/>
                  <a:pt x="7307271" y="72762"/>
                  <a:pt x="7295720" y="72762"/>
                </a:cubicBezTo>
                <a:cubicBezTo>
                  <a:pt x="7284172" y="72762"/>
                  <a:pt x="7274932" y="63522"/>
                  <a:pt x="7274932" y="51973"/>
                </a:cubicBezTo>
                <a:cubicBezTo>
                  <a:pt x="7274932" y="40424"/>
                  <a:pt x="7284172" y="31184"/>
                  <a:pt x="7295720" y="31184"/>
                </a:cubicBezTo>
                <a:close/>
                <a:moveTo>
                  <a:pt x="7155974" y="31184"/>
                </a:moveTo>
                <a:cubicBezTo>
                  <a:pt x="7167522" y="31184"/>
                  <a:pt x="7176762" y="40424"/>
                  <a:pt x="7176762" y="51973"/>
                </a:cubicBezTo>
                <a:cubicBezTo>
                  <a:pt x="7176762" y="63522"/>
                  <a:pt x="7167522" y="72762"/>
                  <a:pt x="7155974" y="72762"/>
                </a:cubicBezTo>
                <a:cubicBezTo>
                  <a:pt x="7144423" y="72762"/>
                  <a:pt x="7135183" y="63522"/>
                  <a:pt x="7135183" y="51973"/>
                </a:cubicBezTo>
                <a:cubicBezTo>
                  <a:pt x="7135183" y="40424"/>
                  <a:pt x="7144423" y="31184"/>
                  <a:pt x="7155974" y="31184"/>
                </a:cubicBezTo>
                <a:close/>
                <a:moveTo>
                  <a:pt x="7016227" y="31184"/>
                </a:moveTo>
                <a:cubicBezTo>
                  <a:pt x="7027776" y="31184"/>
                  <a:pt x="7037016" y="40424"/>
                  <a:pt x="7037016" y="51973"/>
                </a:cubicBezTo>
                <a:cubicBezTo>
                  <a:pt x="7037016" y="63522"/>
                  <a:pt x="7027776" y="72762"/>
                  <a:pt x="7016227" y="72762"/>
                </a:cubicBezTo>
                <a:cubicBezTo>
                  <a:pt x="7004678" y="72762"/>
                  <a:pt x="6995438" y="63522"/>
                  <a:pt x="6995438" y="51973"/>
                </a:cubicBezTo>
                <a:cubicBezTo>
                  <a:pt x="6995438" y="40424"/>
                  <a:pt x="7004678" y="31184"/>
                  <a:pt x="7016227" y="31184"/>
                </a:cubicBezTo>
                <a:close/>
                <a:moveTo>
                  <a:pt x="6877634" y="31184"/>
                </a:moveTo>
                <a:cubicBezTo>
                  <a:pt x="6888028" y="31184"/>
                  <a:pt x="6898424" y="40424"/>
                  <a:pt x="6898424" y="51973"/>
                </a:cubicBezTo>
                <a:cubicBezTo>
                  <a:pt x="6898424" y="63522"/>
                  <a:pt x="6889184" y="72762"/>
                  <a:pt x="6877634" y="72762"/>
                </a:cubicBezTo>
                <a:cubicBezTo>
                  <a:pt x="6866085" y="72762"/>
                  <a:pt x="6856845" y="63522"/>
                  <a:pt x="6856845" y="51973"/>
                </a:cubicBezTo>
                <a:cubicBezTo>
                  <a:pt x="6856845" y="40424"/>
                  <a:pt x="6866085" y="31184"/>
                  <a:pt x="6877634" y="31184"/>
                </a:cubicBezTo>
                <a:close/>
                <a:moveTo>
                  <a:pt x="6039151" y="31184"/>
                </a:moveTo>
                <a:cubicBezTo>
                  <a:pt x="6050702" y="31184"/>
                  <a:pt x="6059942" y="40424"/>
                  <a:pt x="6059942" y="51973"/>
                </a:cubicBezTo>
                <a:cubicBezTo>
                  <a:pt x="6059942" y="63522"/>
                  <a:pt x="6050702" y="72762"/>
                  <a:pt x="6039151" y="72762"/>
                </a:cubicBezTo>
                <a:cubicBezTo>
                  <a:pt x="6027603" y="72762"/>
                  <a:pt x="6018363" y="63522"/>
                  <a:pt x="6018363" y="51973"/>
                </a:cubicBezTo>
                <a:cubicBezTo>
                  <a:pt x="6018363" y="40424"/>
                  <a:pt x="6027603" y="31184"/>
                  <a:pt x="6039151" y="31184"/>
                </a:cubicBezTo>
                <a:close/>
                <a:moveTo>
                  <a:pt x="5899405" y="31184"/>
                </a:moveTo>
                <a:cubicBezTo>
                  <a:pt x="5910953" y="31184"/>
                  <a:pt x="5920193" y="40424"/>
                  <a:pt x="5920193" y="51973"/>
                </a:cubicBezTo>
                <a:cubicBezTo>
                  <a:pt x="5920193" y="63522"/>
                  <a:pt x="5910953" y="72762"/>
                  <a:pt x="5899405" y="72762"/>
                </a:cubicBezTo>
                <a:cubicBezTo>
                  <a:pt x="5887855" y="72762"/>
                  <a:pt x="5878616" y="63522"/>
                  <a:pt x="5878616" y="51973"/>
                </a:cubicBezTo>
                <a:cubicBezTo>
                  <a:pt x="5878616" y="40424"/>
                  <a:pt x="5887855" y="31184"/>
                  <a:pt x="5899405" y="31184"/>
                </a:cubicBezTo>
                <a:close/>
                <a:moveTo>
                  <a:pt x="5759658" y="31184"/>
                </a:moveTo>
                <a:cubicBezTo>
                  <a:pt x="5771207" y="31184"/>
                  <a:pt x="5780447" y="40424"/>
                  <a:pt x="5780447" y="51973"/>
                </a:cubicBezTo>
                <a:cubicBezTo>
                  <a:pt x="5780447" y="63522"/>
                  <a:pt x="5771207" y="72762"/>
                  <a:pt x="5759658" y="72762"/>
                </a:cubicBezTo>
                <a:cubicBezTo>
                  <a:pt x="5748109" y="72762"/>
                  <a:pt x="5738869" y="63522"/>
                  <a:pt x="5738869" y="51973"/>
                </a:cubicBezTo>
                <a:cubicBezTo>
                  <a:pt x="5738869" y="40424"/>
                  <a:pt x="5748109" y="31184"/>
                  <a:pt x="5759658" y="31184"/>
                </a:cubicBezTo>
                <a:close/>
                <a:moveTo>
                  <a:pt x="3241901" y="31184"/>
                </a:moveTo>
                <a:cubicBezTo>
                  <a:pt x="3253450" y="31184"/>
                  <a:pt x="3262690" y="40424"/>
                  <a:pt x="3262690" y="51973"/>
                </a:cubicBezTo>
                <a:cubicBezTo>
                  <a:pt x="3262690" y="63522"/>
                  <a:pt x="3253450" y="72762"/>
                  <a:pt x="3241901" y="72762"/>
                </a:cubicBezTo>
                <a:cubicBezTo>
                  <a:pt x="3230352" y="72762"/>
                  <a:pt x="3221112" y="63522"/>
                  <a:pt x="3221112" y="51973"/>
                </a:cubicBezTo>
                <a:cubicBezTo>
                  <a:pt x="3221112" y="40424"/>
                  <a:pt x="3230352" y="31184"/>
                  <a:pt x="3241901" y="31184"/>
                </a:cubicBezTo>
                <a:close/>
                <a:moveTo>
                  <a:pt x="3102153" y="31184"/>
                </a:moveTo>
                <a:cubicBezTo>
                  <a:pt x="3113703" y="31184"/>
                  <a:pt x="3122942" y="40424"/>
                  <a:pt x="3122942" y="51973"/>
                </a:cubicBezTo>
                <a:cubicBezTo>
                  <a:pt x="3122942" y="63522"/>
                  <a:pt x="3113703" y="72762"/>
                  <a:pt x="3102153" y="72762"/>
                </a:cubicBezTo>
                <a:cubicBezTo>
                  <a:pt x="3090605" y="72762"/>
                  <a:pt x="3081365" y="63522"/>
                  <a:pt x="3081365" y="51973"/>
                </a:cubicBezTo>
                <a:cubicBezTo>
                  <a:pt x="3081365" y="40424"/>
                  <a:pt x="3090605" y="31184"/>
                  <a:pt x="3102153" y="31184"/>
                </a:cubicBezTo>
                <a:close/>
                <a:moveTo>
                  <a:pt x="2962407" y="31184"/>
                </a:moveTo>
                <a:cubicBezTo>
                  <a:pt x="2973956" y="31184"/>
                  <a:pt x="2983196" y="40424"/>
                  <a:pt x="2983196" y="51973"/>
                </a:cubicBezTo>
                <a:cubicBezTo>
                  <a:pt x="2983196" y="63522"/>
                  <a:pt x="2973956" y="72762"/>
                  <a:pt x="2962407" y="72762"/>
                </a:cubicBezTo>
                <a:cubicBezTo>
                  <a:pt x="2950858" y="72762"/>
                  <a:pt x="2941618" y="63522"/>
                  <a:pt x="2941618" y="51973"/>
                </a:cubicBezTo>
                <a:cubicBezTo>
                  <a:pt x="2941618" y="40424"/>
                  <a:pt x="2950858" y="31184"/>
                  <a:pt x="2962407" y="31184"/>
                </a:cubicBezTo>
                <a:close/>
                <a:moveTo>
                  <a:pt x="2822659" y="31184"/>
                </a:moveTo>
                <a:cubicBezTo>
                  <a:pt x="2834209" y="31184"/>
                  <a:pt x="2843448" y="40424"/>
                  <a:pt x="2843448" y="51973"/>
                </a:cubicBezTo>
                <a:cubicBezTo>
                  <a:pt x="2843448" y="63522"/>
                  <a:pt x="2834209" y="72762"/>
                  <a:pt x="2822659" y="72762"/>
                </a:cubicBezTo>
                <a:cubicBezTo>
                  <a:pt x="2811110" y="72762"/>
                  <a:pt x="2801871" y="63522"/>
                  <a:pt x="2801871" y="51973"/>
                </a:cubicBezTo>
                <a:cubicBezTo>
                  <a:pt x="2801871" y="40424"/>
                  <a:pt x="2811110" y="31184"/>
                  <a:pt x="2822659" y="31184"/>
                </a:cubicBezTo>
                <a:close/>
                <a:moveTo>
                  <a:pt x="2682913" y="31184"/>
                </a:moveTo>
                <a:cubicBezTo>
                  <a:pt x="2694462" y="31184"/>
                  <a:pt x="2703702" y="40424"/>
                  <a:pt x="2703702" y="51973"/>
                </a:cubicBezTo>
                <a:cubicBezTo>
                  <a:pt x="2703702" y="63522"/>
                  <a:pt x="2694462" y="72762"/>
                  <a:pt x="2682913" y="72762"/>
                </a:cubicBezTo>
                <a:cubicBezTo>
                  <a:pt x="2671365" y="72762"/>
                  <a:pt x="2662124" y="63522"/>
                  <a:pt x="2662124" y="51973"/>
                </a:cubicBezTo>
                <a:cubicBezTo>
                  <a:pt x="2662124" y="40424"/>
                  <a:pt x="2671365" y="31184"/>
                  <a:pt x="2682913" y="31184"/>
                </a:cubicBezTo>
                <a:close/>
                <a:moveTo>
                  <a:pt x="2543167" y="31184"/>
                </a:moveTo>
                <a:cubicBezTo>
                  <a:pt x="2554715" y="31184"/>
                  <a:pt x="2563954" y="40424"/>
                  <a:pt x="2563954" y="51973"/>
                </a:cubicBezTo>
                <a:cubicBezTo>
                  <a:pt x="2563954" y="63522"/>
                  <a:pt x="2554715" y="72762"/>
                  <a:pt x="2543167" y="72762"/>
                </a:cubicBezTo>
                <a:cubicBezTo>
                  <a:pt x="2531616" y="72762"/>
                  <a:pt x="2522376" y="63522"/>
                  <a:pt x="2522376" y="51973"/>
                </a:cubicBezTo>
                <a:cubicBezTo>
                  <a:pt x="2522376" y="40424"/>
                  <a:pt x="2531616" y="31184"/>
                  <a:pt x="2543167" y="31184"/>
                </a:cubicBezTo>
                <a:close/>
                <a:moveTo>
                  <a:pt x="2403419" y="31184"/>
                </a:moveTo>
                <a:cubicBezTo>
                  <a:pt x="2414969" y="31184"/>
                  <a:pt x="2424209" y="40424"/>
                  <a:pt x="2424209" y="51973"/>
                </a:cubicBezTo>
                <a:cubicBezTo>
                  <a:pt x="2424209" y="63522"/>
                  <a:pt x="2414969" y="72762"/>
                  <a:pt x="2403419" y="72762"/>
                </a:cubicBezTo>
                <a:cubicBezTo>
                  <a:pt x="2391869" y="72762"/>
                  <a:pt x="2382630" y="63522"/>
                  <a:pt x="2382630" y="51973"/>
                </a:cubicBezTo>
                <a:cubicBezTo>
                  <a:pt x="2382630" y="40424"/>
                  <a:pt x="2391869" y="31184"/>
                  <a:pt x="2403419" y="31184"/>
                </a:cubicBezTo>
                <a:close/>
                <a:moveTo>
                  <a:pt x="2263671" y="31184"/>
                </a:moveTo>
                <a:cubicBezTo>
                  <a:pt x="2275221" y="31184"/>
                  <a:pt x="2284460" y="40424"/>
                  <a:pt x="2284460" y="51973"/>
                </a:cubicBezTo>
                <a:cubicBezTo>
                  <a:pt x="2284460" y="63522"/>
                  <a:pt x="2275221" y="72762"/>
                  <a:pt x="2263671" y="72762"/>
                </a:cubicBezTo>
                <a:cubicBezTo>
                  <a:pt x="2252122" y="72762"/>
                  <a:pt x="2242883" y="63522"/>
                  <a:pt x="2242883" y="51973"/>
                </a:cubicBezTo>
                <a:cubicBezTo>
                  <a:pt x="2242883" y="40424"/>
                  <a:pt x="2252122" y="31184"/>
                  <a:pt x="2263671" y="31184"/>
                </a:cubicBezTo>
                <a:close/>
                <a:moveTo>
                  <a:pt x="1426344" y="31184"/>
                </a:moveTo>
                <a:cubicBezTo>
                  <a:pt x="1437894" y="31184"/>
                  <a:pt x="1447133" y="40424"/>
                  <a:pt x="1447133" y="51973"/>
                </a:cubicBezTo>
                <a:cubicBezTo>
                  <a:pt x="1447133" y="63522"/>
                  <a:pt x="1437894" y="72762"/>
                  <a:pt x="1426344" y="72762"/>
                </a:cubicBezTo>
                <a:cubicBezTo>
                  <a:pt x="1414795" y="72762"/>
                  <a:pt x="1405556" y="63522"/>
                  <a:pt x="1405556" y="51973"/>
                </a:cubicBezTo>
                <a:cubicBezTo>
                  <a:pt x="1405556" y="40424"/>
                  <a:pt x="1414795" y="31184"/>
                  <a:pt x="1426344" y="31184"/>
                </a:cubicBezTo>
                <a:close/>
                <a:moveTo>
                  <a:pt x="1286597" y="31184"/>
                </a:moveTo>
                <a:cubicBezTo>
                  <a:pt x="1298146" y="31184"/>
                  <a:pt x="1307386" y="40424"/>
                  <a:pt x="1307386" y="51973"/>
                </a:cubicBezTo>
                <a:cubicBezTo>
                  <a:pt x="1307386" y="63522"/>
                  <a:pt x="1298146" y="72762"/>
                  <a:pt x="1286597" y="72762"/>
                </a:cubicBezTo>
                <a:cubicBezTo>
                  <a:pt x="1275048" y="72762"/>
                  <a:pt x="1265808" y="63522"/>
                  <a:pt x="1265808" y="51973"/>
                </a:cubicBezTo>
                <a:cubicBezTo>
                  <a:pt x="1265808" y="40424"/>
                  <a:pt x="1275048" y="31184"/>
                  <a:pt x="1286597" y="31184"/>
                </a:cubicBezTo>
                <a:close/>
                <a:moveTo>
                  <a:pt x="1146851" y="31184"/>
                </a:moveTo>
                <a:cubicBezTo>
                  <a:pt x="1158400" y="31184"/>
                  <a:pt x="1167639" y="40424"/>
                  <a:pt x="1167639" y="51973"/>
                </a:cubicBezTo>
                <a:cubicBezTo>
                  <a:pt x="1167639" y="63522"/>
                  <a:pt x="1158400" y="72762"/>
                  <a:pt x="1146851" y="72762"/>
                </a:cubicBezTo>
                <a:cubicBezTo>
                  <a:pt x="1135301" y="72762"/>
                  <a:pt x="1126062" y="63522"/>
                  <a:pt x="1126062" y="51973"/>
                </a:cubicBezTo>
                <a:cubicBezTo>
                  <a:pt x="1126062" y="40424"/>
                  <a:pt x="1135301" y="31184"/>
                  <a:pt x="1146851" y="31184"/>
                </a:cubicBezTo>
                <a:close/>
                <a:moveTo>
                  <a:pt x="11343213" y="27719"/>
                </a:moveTo>
                <a:cubicBezTo>
                  <a:pt x="11355918" y="27719"/>
                  <a:pt x="11366312" y="38114"/>
                  <a:pt x="11366312" y="50817"/>
                </a:cubicBezTo>
                <a:cubicBezTo>
                  <a:pt x="11366312" y="63522"/>
                  <a:pt x="11355918" y="73916"/>
                  <a:pt x="11343213" y="73916"/>
                </a:cubicBezTo>
                <a:cubicBezTo>
                  <a:pt x="11330509" y="73916"/>
                  <a:pt x="11320114" y="63522"/>
                  <a:pt x="11320114" y="50817"/>
                </a:cubicBezTo>
                <a:cubicBezTo>
                  <a:pt x="11320114" y="38114"/>
                  <a:pt x="11330509" y="27719"/>
                  <a:pt x="11343213" y="27719"/>
                </a:cubicBezTo>
                <a:close/>
                <a:moveTo>
                  <a:pt x="10225237" y="27719"/>
                </a:moveTo>
                <a:cubicBezTo>
                  <a:pt x="10237942" y="27719"/>
                  <a:pt x="10248335" y="38114"/>
                  <a:pt x="10248335" y="50817"/>
                </a:cubicBezTo>
                <a:cubicBezTo>
                  <a:pt x="10248335" y="63522"/>
                  <a:pt x="10237942" y="73916"/>
                  <a:pt x="10225237" y="73916"/>
                </a:cubicBezTo>
                <a:cubicBezTo>
                  <a:pt x="10212533" y="73916"/>
                  <a:pt x="10202138" y="63522"/>
                  <a:pt x="10202138" y="50817"/>
                </a:cubicBezTo>
                <a:cubicBezTo>
                  <a:pt x="10202138" y="38114"/>
                  <a:pt x="10212533" y="27719"/>
                  <a:pt x="10225237" y="27719"/>
                </a:cubicBezTo>
                <a:close/>
                <a:moveTo>
                  <a:pt x="9112431" y="27719"/>
                </a:moveTo>
                <a:cubicBezTo>
                  <a:pt x="9125136" y="27719"/>
                  <a:pt x="9135530" y="38114"/>
                  <a:pt x="9135530" y="50817"/>
                </a:cubicBezTo>
                <a:cubicBezTo>
                  <a:pt x="9135530" y="63522"/>
                  <a:pt x="9125136" y="73916"/>
                  <a:pt x="9112431" y="73916"/>
                </a:cubicBezTo>
                <a:cubicBezTo>
                  <a:pt x="9099727" y="73916"/>
                  <a:pt x="9089332" y="63522"/>
                  <a:pt x="9089332" y="50817"/>
                </a:cubicBezTo>
                <a:cubicBezTo>
                  <a:pt x="9089332" y="38114"/>
                  <a:pt x="9099727" y="27719"/>
                  <a:pt x="9112431" y="27719"/>
                </a:cubicBezTo>
                <a:close/>
                <a:moveTo>
                  <a:pt x="7994456" y="27719"/>
                </a:moveTo>
                <a:cubicBezTo>
                  <a:pt x="8007160" y="27719"/>
                  <a:pt x="8017555" y="38114"/>
                  <a:pt x="8017555" y="50817"/>
                </a:cubicBezTo>
                <a:cubicBezTo>
                  <a:pt x="8017555" y="63522"/>
                  <a:pt x="8007160" y="73916"/>
                  <a:pt x="7994456" y="73916"/>
                </a:cubicBezTo>
                <a:cubicBezTo>
                  <a:pt x="7981752" y="73916"/>
                  <a:pt x="7971356" y="63522"/>
                  <a:pt x="7971356" y="50817"/>
                </a:cubicBezTo>
                <a:cubicBezTo>
                  <a:pt x="7971356" y="38114"/>
                  <a:pt x="7981752" y="27719"/>
                  <a:pt x="7994456" y="27719"/>
                </a:cubicBezTo>
                <a:close/>
                <a:moveTo>
                  <a:pt x="6737887" y="27719"/>
                </a:moveTo>
                <a:cubicBezTo>
                  <a:pt x="6750591" y="27719"/>
                  <a:pt x="6760986" y="38114"/>
                  <a:pt x="6760986" y="50817"/>
                </a:cubicBezTo>
                <a:cubicBezTo>
                  <a:pt x="6760986" y="63522"/>
                  <a:pt x="6750591" y="73916"/>
                  <a:pt x="6737887" y="73916"/>
                </a:cubicBezTo>
                <a:cubicBezTo>
                  <a:pt x="6725183" y="73916"/>
                  <a:pt x="6714789" y="63522"/>
                  <a:pt x="6714789" y="50817"/>
                </a:cubicBezTo>
                <a:cubicBezTo>
                  <a:pt x="6714789" y="38114"/>
                  <a:pt x="6725183" y="27719"/>
                  <a:pt x="6737887" y="27719"/>
                </a:cubicBezTo>
                <a:close/>
                <a:moveTo>
                  <a:pt x="5619911" y="27719"/>
                </a:moveTo>
                <a:cubicBezTo>
                  <a:pt x="5632616" y="27719"/>
                  <a:pt x="5643008" y="38114"/>
                  <a:pt x="5643008" y="50817"/>
                </a:cubicBezTo>
                <a:cubicBezTo>
                  <a:pt x="5643008" y="63522"/>
                  <a:pt x="5632616" y="73916"/>
                  <a:pt x="5619911" y="73916"/>
                </a:cubicBezTo>
                <a:cubicBezTo>
                  <a:pt x="5607207" y="73916"/>
                  <a:pt x="5596812" y="63522"/>
                  <a:pt x="5596812" y="50817"/>
                </a:cubicBezTo>
                <a:cubicBezTo>
                  <a:pt x="5596812" y="38114"/>
                  <a:pt x="5607207" y="27719"/>
                  <a:pt x="5619911" y="27719"/>
                </a:cubicBezTo>
                <a:close/>
                <a:moveTo>
                  <a:pt x="4499625" y="27719"/>
                </a:moveTo>
                <a:cubicBezTo>
                  <a:pt x="4512329" y="27719"/>
                  <a:pt x="4522722" y="38114"/>
                  <a:pt x="4522722" y="50817"/>
                </a:cubicBezTo>
                <a:cubicBezTo>
                  <a:pt x="4522722" y="63522"/>
                  <a:pt x="4512329" y="73916"/>
                  <a:pt x="4499625" y="73916"/>
                </a:cubicBezTo>
                <a:cubicBezTo>
                  <a:pt x="4486920" y="73916"/>
                  <a:pt x="4476525" y="63522"/>
                  <a:pt x="4476525" y="50817"/>
                </a:cubicBezTo>
                <a:cubicBezTo>
                  <a:pt x="4476525" y="38114"/>
                  <a:pt x="4486920" y="27719"/>
                  <a:pt x="4499625" y="27719"/>
                </a:cubicBezTo>
                <a:close/>
                <a:moveTo>
                  <a:pt x="3381648" y="27719"/>
                </a:moveTo>
                <a:cubicBezTo>
                  <a:pt x="3394352" y="27719"/>
                  <a:pt x="3404746" y="38114"/>
                  <a:pt x="3404746" y="50817"/>
                </a:cubicBezTo>
                <a:cubicBezTo>
                  <a:pt x="3404746" y="63522"/>
                  <a:pt x="3394352" y="73916"/>
                  <a:pt x="3381648" y="73916"/>
                </a:cubicBezTo>
                <a:cubicBezTo>
                  <a:pt x="3368944" y="73916"/>
                  <a:pt x="3358549" y="63522"/>
                  <a:pt x="3358549" y="50817"/>
                </a:cubicBezTo>
                <a:cubicBezTo>
                  <a:pt x="3358549" y="38114"/>
                  <a:pt x="3368944" y="27719"/>
                  <a:pt x="3381648" y="27719"/>
                </a:cubicBezTo>
                <a:close/>
                <a:moveTo>
                  <a:pt x="2125079" y="27719"/>
                </a:moveTo>
                <a:cubicBezTo>
                  <a:pt x="2137784" y="27719"/>
                  <a:pt x="2148178" y="38114"/>
                  <a:pt x="2148178" y="50817"/>
                </a:cubicBezTo>
                <a:cubicBezTo>
                  <a:pt x="2148178" y="63522"/>
                  <a:pt x="2137784" y="73916"/>
                  <a:pt x="2125079" y="73916"/>
                </a:cubicBezTo>
                <a:cubicBezTo>
                  <a:pt x="2112376" y="73916"/>
                  <a:pt x="2101980" y="63522"/>
                  <a:pt x="2101980" y="50817"/>
                </a:cubicBezTo>
                <a:cubicBezTo>
                  <a:pt x="2101980" y="38114"/>
                  <a:pt x="2112376" y="27719"/>
                  <a:pt x="2125079" y="27719"/>
                </a:cubicBezTo>
                <a:close/>
                <a:moveTo>
                  <a:pt x="1007103" y="27719"/>
                </a:moveTo>
                <a:cubicBezTo>
                  <a:pt x="1019808" y="27719"/>
                  <a:pt x="1030201" y="38114"/>
                  <a:pt x="1030201" y="50817"/>
                </a:cubicBezTo>
                <a:cubicBezTo>
                  <a:pt x="1030201" y="63522"/>
                  <a:pt x="1019808" y="73916"/>
                  <a:pt x="1007103" y="73916"/>
                </a:cubicBezTo>
                <a:cubicBezTo>
                  <a:pt x="994399" y="73916"/>
                  <a:pt x="984004" y="63522"/>
                  <a:pt x="984004" y="50817"/>
                </a:cubicBezTo>
                <a:cubicBezTo>
                  <a:pt x="984004" y="38114"/>
                  <a:pt x="994399" y="27719"/>
                  <a:pt x="1007103" y="27719"/>
                </a:cubicBezTo>
                <a:close/>
                <a:moveTo>
                  <a:pt x="11203466" y="21945"/>
                </a:moveTo>
                <a:cubicBezTo>
                  <a:pt x="11218480" y="21945"/>
                  <a:pt x="11232339" y="34648"/>
                  <a:pt x="11232339" y="50817"/>
                </a:cubicBezTo>
                <a:cubicBezTo>
                  <a:pt x="11232339" y="66986"/>
                  <a:pt x="11219636" y="79691"/>
                  <a:pt x="11203466" y="79691"/>
                </a:cubicBezTo>
                <a:cubicBezTo>
                  <a:pt x="11187298" y="79691"/>
                  <a:pt x="11174593" y="66986"/>
                  <a:pt x="11174593" y="50817"/>
                </a:cubicBezTo>
                <a:cubicBezTo>
                  <a:pt x="11174593" y="34648"/>
                  <a:pt x="11187298" y="21945"/>
                  <a:pt x="11203466" y="21945"/>
                </a:cubicBezTo>
                <a:close/>
                <a:moveTo>
                  <a:pt x="10085490" y="21945"/>
                </a:moveTo>
                <a:cubicBezTo>
                  <a:pt x="10101659" y="21945"/>
                  <a:pt x="10114363" y="35804"/>
                  <a:pt x="10114363" y="51973"/>
                </a:cubicBezTo>
                <a:cubicBezTo>
                  <a:pt x="10114363" y="68142"/>
                  <a:pt x="10101659" y="80846"/>
                  <a:pt x="10085490" y="80846"/>
                </a:cubicBezTo>
                <a:cubicBezTo>
                  <a:pt x="10069321" y="80846"/>
                  <a:pt x="10056616" y="66986"/>
                  <a:pt x="10056616" y="50817"/>
                </a:cubicBezTo>
                <a:cubicBezTo>
                  <a:pt x="10056616" y="34648"/>
                  <a:pt x="10069321" y="21945"/>
                  <a:pt x="10085490" y="21945"/>
                </a:cubicBezTo>
                <a:close/>
                <a:moveTo>
                  <a:pt x="9247008" y="21945"/>
                </a:moveTo>
                <a:cubicBezTo>
                  <a:pt x="9263177" y="21945"/>
                  <a:pt x="9275881" y="34648"/>
                  <a:pt x="9275881" y="50817"/>
                </a:cubicBezTo>
                <a:cubicBezTo>
                  <a:pt x="9275881" y="66986"/>
                  <a:pt x="9263177" y="80846"/>
                  <a:pt x="9247008" y="80846"/>
                </a:cubicBezTo>
                <a:cubicBezTo>
                  <a:pt x="9230839" y="80846"/>
                  <a:pt x="9218134" y="65832"/>
                  <a:pt x="9218134" y="50817"/>
                </a:cubicBezTo>
                <a:cubicBezTo>
                  <a:pt x="9218134" y="35804"/>
                  <a:pt x="9230839" y="21945"/>
                  <a:pt x="9247008" y="21945"/>
                </a:cubicBezTo>
                <a:close/>
                <a:moveTo>
                  <a:pt x="8972685" y="21945"/>
                </a:moveTo>
                <a:cubicBezTo>
                  <a:pt x="8988854" y="21945"/>
                  <a:pt x="9001557" y="34648"/>
                  <a:pt x="9001557" y="50817"/>
                </a:cubicBezTo>
                <a:cubicBezTo>
                  <a:pt x="9001557" y="66986"/>
                  <a:pt x="8988854" y="79691"/>
                  <a:pt x="8972685" y="79691"/>
                </a:cubicBezTo>
                <a:cubicBezTo>
                  <a:pt x="8956515" y="79691"/>
                  <a:pt x="8943811" y="66986"/>
                  <a:pt x="8943811" y="50817"/>
                </a:cubicBezTo>
                <a:cubicBezTo>
                  <a:pt x="8943811" y="34648"/>
                  <a:pt x="8956515" y="21945"/>
                  <a:pt x="8972685" y="21945"/>
                </a:cubicBezTo>
                <a:close/>
                <a:moveTo>
                  <a:pt x="8134203" y="21945"/>
                </a:moveTo>
                <a:cubicBezTo>
                  <a:pt x="8150373" y="21945"/>
                  <a:pt x="8163075" y="34648"/>
                  <a:pt x="8163075" y="50817"/>
                </a:cubicBezTo>
                <a:cubicBezTo>
                  <a:pt x="8163075" y="66986"/>
                  <a:pt x="8150373" y="79691"/>
                  <a:pt x="8134203" y="79691"/>
                </a:cubicBezTo>
                <a:cubicBezTo>
                  <a:pt x="8118034" y="79691"/>
                  <a:pt x="8105330" y="66986"/>
                  <a:pt x="8105330" y="50817"/>
                </a:cubicBezTo>
                <a:cubicBezTo>
                  <a:pt x="8105330" y="34648"/>
                  <a:pt x="8118034" y="21945"/>
                  <a:pt x="8134203" y="21945"/>
                </a:cubicBezTo>
                <a:close/>
                <a:moveTo>
                  <a:pt x="6598140" y="21945"/>
                </a:moveTo>
                <a:cubicBezTo>
                  <a:pt x="6613155" y="21945"/>
                  <a:pt x="6627013" y="34648"/>
                  <a:pt x="6627013" y="50817"/>
                </a:cubicBezTo>
                <a:cubicBezTo>
                  <a:pt x="6627013" y="66986"/>
                  <a:pt x="6614309" y="79691"/>
                  <a:pt x="6598140" y="79691"/>
                </a:cubicBezTo>
                <a:cubicBezTo>
                  <a:pt x="6581971" y="79691"/>
                  <a:pt x="6569267" y="66986"/>
                  <a:pt x="6569267" y="50817"/>
                </a:cubicBezTo>
                <a:cubicBezTo>
                  <a:pt x="6569267" y="34648"/>
                  <a:pt x="6581971" y="21945"/>
                  <a:pt x="6598140" y="21945"/>
                </a:cubicBezTo>
                <a:close/>
                <a:moveTo>
                  <a:pt x="5480165" y="21945"/>
                </a:moveTo>
                <a:cubicBezTo>
                  <a:pt x="5496333" y="21945"/>
                  <a:pt x="5509037" y="34648"/>
                  <a:pt x="5509037" y="50817"/>
                </a:cubicBezTo>
                <a:cubicBezTo>
                  <a:pt x="5509037" y="66986"/>
                  <a:pt x="5496333" y="79691"/>
                  <a:pt x="5480165" y="79691"/>
                </a:cubicBezTo>
                <a:cubicBezTo>
                  <a:pt x="5463996" y="79691"/>
                  <a:pt x="5451289" y="66986"/>
                  <a:pt x="5451289" y="50817"/>
                </a:cubicBezTo>
                <a:cubicBezTo>
                  <a:pt x="5451289" y="34648"/>
                  <a:pt x="5463996" y="21945"/>
                  <a:pt x="5480165" y="21945"/>
                </a:cubicBezTo>
                <a:close/>
                <a:moveTo>
                  <a:pt x="4641682" y="21945"/>
                </a:moveTo>
                <a:cubicBezTo>
                  <a:pt x="4657851" y="21945"/>
                  <a:pt x="4670555" y="34648"/>
                  <a:pt x="4670555" y="50817"/>
                </a:cubicBezTo>
                <a:cubicBezTo>
                  <a:pt x="4670555" y="66986"/>
                  <a:pt x="4657851" y="79691"/>
                  <a:pt x="4641682" y="79691"/>
                </a:cubicBezTo>
                <a:cubicBezTo>
                  <a:pt x="4625513" y="79691"/>
                  <a:pt x="4612809" y="66986"/>
                  <a:pt x="4612809" y="50817"/>
                </a:cubicBezTo>
                <a:cubicBezTo>
                  <a:pt x="4612809" y="34648"/>
                  <a:pt x="4625513" y="21945"/>
                  <a:pt x="4641682" y="21945"/>
                </a:cubicBezTo>
                <a:close/>
                <a:moveTo>
                  <a:pt x="4359878" y="21945"/>
                </a:moveTo>
                <a:cubicBezTo>
                  <a:pt x="4376046" y="21945"/>
                  <a:pt x="4388751" y="34648"/>
                  <a:pt x="4388751" y="50817"/>
                </a:cubicBezTo>
                <a:cubicBezTo>
                  <a:pt x="4388751" y="66986"/>
                  <a:pt x="4376046" y="79691"/>
                  <a:pt x="4359878" y="79691"/>
                </a:cubicBezTo>
                <a:cubicBezTo>
                  <a:pt x="4343709" y="79691"/>
                  <a:pt x="4331003" y="66986"/>
                  <a:pt x="4331003" y="50817"/>
                </a:cubicBezTo>
                <a:cubicBezTo>
                  <a:pt x="4331003" y="34648"/>
                  <a:pt x="4343709" y="21945"/>
                  <a:pt x="4359878" y="21945"/>
                </a:cubicBezTo>
                <a:close/>
                <a:moveTo>
                  <a:pt x="3521396" y="21945"/>
                </a:moveTo>
                <a:cubicBezTo>
                  <a:pt x="3537564" y="21945"/>
                  <a:pt x="3550268" y="34648"/>
                  <a:pt x="3550268" y="50817"/>
                </a:cubicBezTo>
                <a:cubicBezTo>
                  <a:pt x="3550268" y="66986"/>
                  <a:pt x="3537564" y="79691"/>
                  <a:pt x="3521396" y="79691"/>
                </a:cubicBezTo>
                <a:cubicBezTo>
                  <a:pt x="3505226" y="79691"/>
                  <a:pt x="3492521" y="66986"/>
                  <a:pt x="3492521" y="50817"/>
                </a:cubicBezTo>
                <a:cubicBezTo>
                  <a:pt x="3492521" y="34648"/>
                  <a:pt x="3505226" y="21945"/>
                  <a:pt x="3521396" y="21945"/>
                </a:cubicBezTo>
                <a:close/>
                <a:moveTo>
                  <a:pt x="1985333" y="21945"/>
                </a:moveTo>
                <a:cubicBezTo>
                  <a:pt x="2000346" y="21945"/>
                  <a:pt x="2014205" y="34648"/>
                  <a:pt x="2014205" y="50817"/>
                </a:cubicBezTo>
                <a:cubicBezTo>
                  <a:pt x="2014205" y="66986"/>
                  <a:pt x="2001502" y="79691"/>
                  <a:pt x="1985333" y="79691"/>
                </a:cubicBezTo>
                <a:cubicBezTo>
                  <a:pt x="1969164" y="79691"/>
                  <a:pt x="1956459" y="66986"/>
                  <a:pt x="1956459" y="50817"/>
                </a:cubicBezTo>
                <a:cubicBezTo>
                  <a:pt x="1956459" y="34648"/>
                  <a:pt x="1969164" y="21945"/>
                  <a:pt x="1985333" y="21945"/>
                </a:cubicBezTo>
                <a:close/>
                <a:moveTo>
                  <a:pt x="867356" y="21945"/>
                </a:moveTo>
                <a:cubicBezTo>
                  <a:pt x="883525" y="21945"/>
                  <a:pt x="896229" y="35804"/>
                  <a:pt x="896229" y="51973"/>
                </a:cubicBezTo>
                <a:cubicBezTo>
                  <a:pt x="896229" y="68142"/>
                  <a:pt x="883525" y="80846"/>
                  <a:pt x="867356" y="80846"/>
                </a:cubicBezTo>
                <a:cubicBezTo>
                  <a:pt x="851187" y="80846"/>
                  <a:pt x="838482" y="66986"/>
                  <a:pt x="838482" y="50817"/>
                </a:cubicBezTo>
                <a:cubicBezTo>
                  <a:pt x="838482" y="34648"/>
                  <a:pt x="851187" y="21945"/>
                  <a:pt x="867356" y="21945"/>
                </a:cubicBezTo>
                <a:close/>
                <a:moveTo>
                  <a:pt x="28874" y="21945"/>
                </a:moveTo>
                <a:cubicBezTo>
                  <a:pt x="45043" y="21945"/>
                  <a:pt x="57747" y="34648"/>
                  <a:pt x="57747" y="50817"/>
                </a:cubicBezTo>
                <a:cubicBezTo>
                  <a:pt x="57747" y="66986"/>
                  <a:pt x="45043" y="80846"/>
                  <a:pt x="28874" y="80846"/>
                </a:cubicBezTo>
                <a:cubicBezTo>
                  <a:pt x="12705" y="80846"/>
                  <a:pt x="0" y="65832"/>
                  <a:pt x="0" y="50817"/>
                </a:cubicBezTo>
                <a:cubicBezTo>
                  <a:pt x="0" y="35804"/>
                  <a:pt x="12705" y="21945"/>
                  <a:pt x="28874" y="21945"/>
                </a:cubicBezTo>
                <a:close/>
                <a:moveTo>
                  <a:pt x="11063719" y="16169"/>
                </a:moveTo>
                <a:cubicBezTo>
                  <a:pt x="11082198" y="16169"/>
                  <a:pt x="11098367" y="32338"/>
                  <a:pt x="11098367" y="50817"/>
                </a:cubicBezTo>
                <a:cubicBezTo>
                  <a:pt x="11098367" y="69296"/>
                  <a:pt x="11083353" y="85465"/>
                  <a:pt x="11063719" y="85465"/>
                </a:cubicBezTo>
                <a:cubicBezTo>
                  <a:pt x="11045240" y="85465"/>
                  <a:pt x="11029071" y="69296"/>
                  <a:pt x="11029071" y="50817"/>
                </a:cubicBezTo>
                <a:cubicBezTo>
                  <a:pt x="11029071" y="32338"/>
                  <a:pt x="11044086" y="16169"/>
                  <a:pt x="11063719" y="16169"/>
                </a:cubicBezTo>
                <a:close/>
                <a:moveTo>
                  <a:pt x="9945743" y="16169"/>
                </a:moveTo>
                <a:cubicBezTo>
                  <a:pt x="9965377" y="16169"/>
                  <a:pt x="9980391" y="32338"/>
                  <a:pt x="9980391" y="50817"/>
                </a:cubicBezTo>
                <a:cubicBezTo>
                  <a:pt x="9980391" y="69296"/>
                  <a:pt x="9964222" y="85465"/>
                  <a:pt x="9945743" y="85465"/>
                </a:cubicBezTo>
                <a:cubicBezTo>
                  <a:pt x="9927264" y="85465"/>
                  <a:pt x="9911094" y="69296"/>
                  <a:pt x="9911094" y="50817"/>
                </a:cubicBezTo>
                <a:cubicBezTo>
                  <a:pt x="9911094" y="32338"/>
                  <a:pt x="9926109" y="16169"/>
                  <a:pt x="9945743" y="16169"/>
                </a:cubicBezTo>
                <a:close/>
                <a:moveTo>
                  <a:pt x="9386754" y="16169"/>
                </a:moveTo>
                <a:cubicBezTo>
                  <a:pt x="9406389" y="16169"/>
                  <a:pt x="9421402" y="32338"/>
                  <a:pt x="9421402" y="50817"/>
                </a:cubicBezTo>
                <a:cubicBezTo>
                  <a:pt x="9421402" y="69296"/>
                  <a:pt x="9405233" y="85465"/>
                  <a:pt x="9386754" y="85465"/>
                </a:cubicBezTo>
                <a:cubicBezTo>
                  <a:pt x="9368275" y="85465"/>
                  <a:pt x="9352106" y="69296"/>
                  <a:pt x="9352106" y="50817"/>
                </a:cubicBezTo>
                <a:cubicBezTo>
                  <a:pt x="9352106" y="32338"/>
                  <a:pt x="9367121" y="16169"/>
                  <a:pt x="9386754" y="16169"/>
                </a:cubicBezTo>
                <a:close/>
                <a:moveTo>
                  <a:pt x="8832937" y="16169"/>
                </a:moveTo>
                <a:cubicBezTo>
                  <a:pt x="8852571" y="16169"/>
                  <a:pt x="8867585" y="32338"/>
                  <a:pt x="8867585" y="50817"/>
                </a:cubicBezTo>
                <a:cubicBezTo>
                  <a:pt x="8867585" y="69296"/>
                  <a:pt x="8852571" y="85465"/>
                  <a:pt x="8832937" y="85465"/>
                </a:cubicBezTo>
                <a:cubicBezTo>
                  <a:pt x="8814458" y="85465"/>
                  <a:pt x="8798289" y="69296"/>
                  <a:pt x="8798289" y="50817"/>
                </a:cubicBezTo>
                <a:cubicBezTo>
                  <a:pt x="8798289" y="32338"/>
                  <a:pt x="8813304" y="16169"/>
                  <a:pt x="8832937" y="16169"/>
                </a:cubicBezTo>
                <a:close/>
                <a:moveTo>
                  <a:pt x="8273949" y="16169"/>
                </a:moveTo>
                <a:cubicBezTo>
                  <a:pt x="8293584" y="16169"/>
                  <a:pt x="8308598" y="32338"/>
                  <a:pt x="8308598" y="50817"/>
                </a:cubicBezTo>
                <a:cubicBezTo>
                  <a:pt x="8308598" y="69296"/>
                  <a:pt x="8293584" y="85465"/>
                  <a:pt x="8273949" y="85465"/>
                </a:cubicBezTo>
                <a:cubicBezTo>
                  <a:pt x="8255471" y="85465"/>
                  <a:pt x="8239301" y="69296"/>
                  <a:pt x="8239301" y="50817"/>
                </a:cubicBezTo>
                <a:cubicBezTo>
                  <a:pt x="8239301" y="32338"/>
                  <a:pt x="8254316" y="16169"/>
                  <a:pt x="8273949" y="16169"/>
                </a:cubicBezTo>
                <a:close/>
                <a:moveTo>
                  <a:pt x="6458393" y="16169"/>
                </a:moveTo>
                <a:cubicBezTo>
                  <a:pt x="6476871" y="16169"/>
                  <a:pt x="6493041" y="32338"/>
                  <a:pt x="6493041" y="50817"/>
                </a:cubicBezTo>
                <a:cubicBezTo>
                  <a:pt x="6493041" y="69296"/>
                  <a:pt x="6476871" y="85465"/>
                  <a:pt x="6458393" y="85465"/>
                </a:cubicBezTo>
                <a:cubicBezTo>
                  <a:pt x="6439914" y="85465"/>
                  <a:pt x="6423745" y="69296"/>
                  <a:pt x="6423745" y="50817"/>
                </a:cubicBezTo>
                <a:cubicBezTo>
                  <a:pt x="6423745" y="32338"/>
                  <a:pt x="6438760" y="16169"/>
                  <a:pt x="6458393" y="16169"/>
                </a:cubicBezTo>
                <a:close/>
                <a:moveTo>
                  <a:pt x="5340416" y="16169"/>
                </a:moveTo>
                <a:cubicBezTo>
                  <a:pt x="5360051" y="16169"/>
                  <a:pt x="5375064" y="32338"/>
                  <a:pt x="5375064" y="50817"/>
                </a:cubicBezTo>
                <a:cubicBezTo>
                  <a:pt x="5375064" y="69296"/>
                  <a:pt x="5358895" y="85465"/>
                  <a:pt x="5340416" y="85465"/>
                </a:cubicBezTo>
                <a:cubicBezTo>
                  <a:pt x="5321938" y="85465"/>
                  <a:pt x="5305769" y="69296"/>
                  <a:pt x="5305769" y="50817"/>
                </a:cubicBezTo>
                <a:cubicBezTo>
                  <a:pt x="5305769" y="32338"/>
                  <a:pt x="5320783" y="16169"/>
                  <a:pt x="5340416" y="16169"/>
                </a:cubicBezTo>
                <a:close/>
                <a:moveTo>
                  <a:pt x="4781429" y="16169"/>
                </a:moveTo>
                <a:cubicBezTo>
                  <a:pt x="4801062" y="16169"/>
                  <a:pt x="4816075" y="32338"/>
                  <a:pt x="4816075" y="50817"/>
                </a:cubicBezTo>
                <a:cubicBezTo>
                  <a:pt x="4816075" y="69296"/>
                  <a:pt x="4799906" y="85465"/>
                  <a:pt x="4781429" y="85465"/>
                </a:cubicBezTo>
                <a:cubicBezTo>
                  <a:pt x="4762949" y="85465"/>
                  <a:pt x="4746781" y="69296"/>
                  <a:pt x="4746781" y="50817"/>
                </a:cubicBezTo>
                <a:cubicBezTo>
                  <a:pt x="4746781" y="32338"/>
                  <a:pt x="4761794" y="16169"/>
                  <a:pt x="4781429" y="16169"/>
                </a:cubicBezTo>
                <a:close/>
                <a:moveTo>
                  <a:pt x="4220129" y="16169"/>
                </a:moveTo>
                <a:cubicBezTo>
                  <a:pt x="4239764" y="16169"/>
                  <a:pt x="4254779" y="32338"/>
                  <a:pt x="4254779" y="50817"/>
                </a:cubicBezTo>
                <a:cubicBezTo>
                  <a:pt x="4254779" y="69296"/>
                  <a:pt x="4239764" y="85465"/>
                  <a:pt x="4220129" y="85465"/>
                </a:cubicBezTo>
                <a:cubicBezTo>
                  <a:pt x="4201651" y="85465"/>
                  <a:pt x="4185482" y="69296"/>
                  <a:pt x="4185482" y="50817"/>
                </a:cubicBezTo>
                <a:cubicBezTo>
                  <a:pt x="4185482" y="32338"/>
                  <a:pt x="4200498" y="16169"/>
                  <a:pt x="4220129" y="16169"/>
                </a:cubicBezTo>
                <a:close/>
                <a:moveTo>
                  <a:pt x="3661142" y="16169"/>
                </a:moveTo>
                <a:cubicBezTo>
                  <a:pt x="3680776" y="16169"/>
                  <a:pt x="3695791" y="32338"/>
                  <a:pt x="3695791" y="50817"/>
                </a:cubicBezTo>
                <a:cubicBezTo>
                  <a:pt x="3695791" y="69296"/>
                  <a:pt x="3680776" y="85465"/>
                  <a:pt x="3661142" y="85465"/>
                </a:cubicBezTo>
                <a:cubicBezTo>
                  <a:pt x="3642663" y="85465"/>
                  <a:pt x="3626494" y="69296"/>
                  <a:pt x="3626494" y="50817"/>
                </a:cubicBezTo>
                <a:cubicBezTo>
                  <a:pt x="3626494" y="32338"/>
                  <a:pt x="3641508" y="16169"/>
                  <a:pt x="3661142" y="16169"/>
                </a:cubicBezTo>
                <a:close/>
                <a:moveTo>
                  <a:pt x="1845585" y="16169"/>
                </a:moveTo>
                <a:cubicBezTo>
                  <a:pt x="1864064" y="16169"/>
                  <a:pt x="1880233" y="32338"/>
                  <a:pt x="1880233" y="50817"/>
                </a:cubicBezTo>
                <a:cubicBezTo>
                  <a:pt x="1880233" y="69296"/>
                  <a:pt x="1865220" y="85465"/>
                  <a:pt x="1845585" y="85465"/>
                </a:cubicBezTo>
                <a:cubicBezTo>
                  <a:pt x="1827106" y="85465"/>
                  <a:pt x="1810937" y="69296"/>
                  <a:pt x="1810937" y="50817"/>
                </a:cubicBezTo>
                <a:cubicBezTo>
                  <a:pt x="1810937" y="32338"/>
                  <a:pt x="1825952" y="16169"/>
                  <a:pt x="1845585" y="16169"/>
                </a:cubicBezTo>
                <a:close/>
                <a:moveTo>
                  <a:pt x="727609" y="16169"/>
                </a:moveTo>
                <a:cubicBezTo>
                  <a:pt x="747243" y="16169"/>
                  <a:pt x="762257" y="32338"/>
                  <a:pt x="762257" y="50817"/>
                </a:cubicBezTo>
                <a:cubicBezTo>
                  <a:pt x="762257" y="69296"/>
                  <a:pt x="746088" y="85465"/>
                  <a:pt x="727609" y="85465"/>
                </a:cubicBezTo>
                <a:cubicBezTo>
                  <a:pt x="709130" y="85465"/>
                  <a:pt x="692961" y="69296"/>
                  <a:pt x="692961" y="50817"/>
                </a:cubicBezTo>
                <a:cubicBezTo>
                  <a:pt x="692961" y="32338"/>
                  <a:pt x="707976" y="16169"/>
                  <a:pt x="727609" y="16169"/>
                </a:cubicBezTo>
                <a:close/>
                <a:moveTo>
                  <a:pt x="168621" y="16169"/>
                </a:moveTo>
                <a:cubicBezTo>
                  <a:pt x="188255" y="16169"/>
                  <a:pt x="203269" y="32338"/>
                  <a:pt x="203269" y="50817"/>
                </a:cubicBezTo>
                <a:cubicBezTo>
                  <a:pt x="203269" y="69296"/>
                  <a:pt x="187100" y="85465"/>
                  <a:pt x="168621" y="85465"/>
                </a:cubicBezTo>
                <a:cubicBezTo>
                  <a:pt x="150142" y="85465"/>
                  <a:pt x="133973" y="69296"/>
                  <a:pt x="133973" y="50817"/>
                </a:cubicBezTo>
                <a:cubicBezTo>
                  <a:pt x="133973" y="32338"/>
                  <a:pt x="148988" y="16169"/>
                  <a:pt x="168621" y="16169"/>
                </a:cubicBezTo>
                <a:close/>
                <a:moveTo>
                  <a:pt x="10923972" y="10395"/>
                </a:moveTo>
                <a:cubicBezTo>
                  <a:pt x="10945916" y="10395"/>
                  <a:pt x="10964394" y="28874"/>
                  <a:pt x="10964394" y="50817"/>
                </a:cubicBezTo>
                <a:cubicBezTo>
                  <a:pt x="10964394" y="72762"/>
                  <a:pt x="10945916" y="91241"/>
                  <a:pt x="10923972" y="91241"/>
                </a:cubicBezTo>
                <a:cubicBezTo>
                  <a:pt x="10902028" y="91241"/>
                  <a:pt x="10883549" y="72762"/>
                  <a:pt x="10883549" y="50817"/>
                </a:cubicBezTo>
                <a:cubicBezTo>
                  <a:pt x="10883549" y="28874"/>
                  <a:pt x="10902028" y="10395"/>
                  <a:pt x="10923972" y="10395"/>
                </a:cubicBezTo>
                <a:close/>
                <a:moveTo>
                  <a:pt x="9805996" y="10395"/>
                </a:moveTo>
                <a:cubicBezTo>
                  <a:pt x="9827939" y="10395"/>
                  <a:pt x="9846418" y="30029"/>
                  <a:pt x="9846418" y="51973"/>
                </a:cubicBezTo>
                <a:cubicBezTo>
                  <a:pt x="9846418" y="73916"/>
                  <a:pt x="9827939" y="92395"/>
                  <a:pt x="9805996" y="92395"/>
                </a:cubicBezTo>
                <a:cubicBezTo>
                  <a:pt x="9784052" y="92395"/>
                  <a:pt x="9765573" y="72762"/>
                  <a:pt x="9765573" y="50817"/>
                </a:cubicBezTo>
                <a:cubicBezTo>
                  <a:pt x="9765573" y="28874"/>
                  <a:pt x="9784052" y="10395"/>
                  <a:pt x="9805996" y="10395"/>
                </a:cubicBezTo>
                <a:close/>
                <a:moveTo>
                  <a:pt x="9526502" y="10395"/>
                </a:moveTo>
                <a:cubicBezTo>
                  <a:pt x="9548445" y="10395"/>
                  <a:pt x="9566924" y="30029"/>
                  <a:pt x="9566924" y="51973"/>
                </a:cubicBezTo>
                <a:cubicBezTo>
                  <a:pt x="9566924" y="73916"/>
                  <a:pt x="9548445" y="92395"/>
                  <a:pt x="9526502" y="92395"/>
                </a:cubicBezTo>
                <a:cubicBezTo>
                  <a:pt x="9504558" y="92395"/>
                  <a:pt x="9486079" y="72762"/>
                  <a:pt x="9486079" y="50817"/>
                </a:cubicBezTo>
                <a:cubicBezTo>
                  <a:pt x="9486079" y="28874"/>
                  <a:pt x="9504558" y="10395"/>
                  <a:pt x="9526502" y="10395"/>
                </a:cubicBezTo>
                <a:close/>
                <a:moveTo>
                  <a:pt x="8693190" y="10395"/>
                </a:moveTo>
                <a:cubicBezTo>
                  <a:pt x="8715134" y="10395"/>
                  <a:pt x="8733613" y="28874"/>
                  <a:pt x="8733613" y="50817"/>
                </a:cubicBezTo>
                <a:cubicBezTo>
                  <a:pt x="8733613" y="72762"/>
                  <a:pt x="8715134" y="91241"/>
                  <a:pt x="8693190" y="91241"/>
                </a:cubicBezTo>
                <a:cubicBezTo>
                  <a:pt x="8671246" y="91241"/>
                  <a:pt x="8652767" y="72762"/>
                  <a:pt x="8652767" y="50817"/>
                </a:cubicBezTo>
                <a:cubicBezTo>
                  <a:pt x="8652767" y="28874"/>
                  <a:pt x="8671246" y="10395"/>
                  <a:pt x="8693190" y="10395"/>
                </a:cubicBezTo>
                <a:close/>
                <a:moveTo>
                  <a:pt x="8413696" y="10395"/>
                </a:moveTo>
                <a:cubicBezTo>
                  <a:pt x="8435640" y="10395"/>
                  <a:pt x="8454118" y="28874"/>
                  <a:pt x="8454118" y="50817"/>
                </a:cubicBezTo>
                <a:cubicBezTo>
                  <a:pt x="8454118" y="72762"/>
                  <a:pt x="8435640" y="91241"/>
                  <a:pt x="8413696" y="91241"/>
                </a:cubicBezTo>
                <a:cubicBezTo>
                  <a:pt x="8391752" y="91241"/>
                  <a:pt x="8373274" y="72762"/>
                  <a:pt x="8373274" y="50817"/>
                </a:cubicBezTo>
                <a:cubicBezTo>
                  <a:pt x="8373274" y="28874"/>
                  <a:pt x="8391752" y="10395"/>
                  <a:pt x="8413696" y="10395"/>
                </a:cubicBezTo>
                <a:close/>
                <a:moveTo>
                  <a:pt x="6318647" y="10395"/>
                </a:moveTo>
                <a:cubicBezTo>
                  <a:pt x="6340589" y="10395"/>
                  <a:pt x="6359068" y="28874"/>
                  <a:pt x="6359068" y="50817"/>
                </a:cubicBezTo>
                <a:cubicBezTo>
                  <a:pt x="6359068" y="72762"/>
                  <a:pt x="6340589" y="91241"/>
                  <a:pt x="6318647" y="91241"/>
                </a:cubicBezTo>
                <a:cubicBezTo>
                  <a:pt x="6296702" y="91241"/>
                  <a:pt x="6278223" y="72762"/>
                  <a:pt x="6278223" y="50817"/>
                </a:cubicBezTo>
                <a:cubicBezTo>
                  <a:pt x="6278223" y="28874"/>
                  <a:pt x="6296702" y="10395"/>
                  <a:pt x="6318647" y="10395"/>
                </a:cubicBezTo>
                <a:close/>
                <a:moveTo>
                  <a:pt x="5200669" y="10395"/>
                </a:moveTo>
                <a:cubicBezTo>
                  <a:pt x="5222613" y="10395"/>
                  <a:pt x="5241093" y="28874"/>
                  <a:pt x="5241093" y="50817"/>
                </a:cubicBezTo>
                <a:cubicBezTo>
                  <a:pt x="5241093" y="72762"/>
                  <a:pt x="5222613" y="91241"/>
                  <a:pt x="5200669" y="91241"/>
                </a:cubicBezTo>
                <a:cubicBezTo>
                  <a:pt x="5178725" y="91241"/>
                  <a:pt x="5160247" y="72762"/>
                  <a:pt x="5160247" y="50817"/>
                </a:cubicBezTo>
                <a:cubicBezTo>
                  <a:pt x="5160247" y="28874"/>
                  <a:pt x="5178725" y="10395"/>
                  <a:pt x="5200669" y="10395"/>
                </a:cubicBezTo>
                <a:close/>
                <a:moveTo>
                  <a:pt x="4921176" y="10395"/>
                </a:moveTo>
                <a:cubicBezTo>
                  <a:pt x="4944275" y="10395"/>
                  <a:pt x="4961597" y="28874"/>
                  <a:pt x="4961597" y="50817"/>
                </a:cubicBezTo>
                <a:cubicBezTo>
                  <a:pt x="4961597" y="72762"/>
                  <a:pt x="4943120" y="91241"/>
                  <a:pt x="4921176" y="91241"/>
                </a:cubicBezTo>
                <a:cubicBezTo>
                  <a:pt x="4899232" y="91241"/>
                  <a:pt x="4880752" y="72762"/>
                  <a:pt x="4880752" y="50817"/>
                </a:cubicBezTo>
                <a:cubicBezTo>
                  <a:pt x="4880752" y="28874"/>
                  <a:pt x="4899232" y="10395"/>
                  <a:pt x="4921176" y="10395"/>
                </a:cubicBezTo>
                <a:close/>
                <a:moveTo>
                  <a:pt x="4080383" y="10395"/>
                </a:moveTo>
                <a:cubicBezTo>
                  <a:pt x="4102326" y="10395"/>
                  <a:pt x="4120806" y="28874"/>
                  <a:pt x="4120806" y="50817"/>
                </a:cubicBezTo>
                <a:cubicBezTo>
                  <a:pt x="4120806" y="72762"/>
                  <a:pt x="4102326" y="91241"/>
                  <a:pt x="4080383" y="91241"/>
                </a:cubicBezTo>
                <a:cubicBezTo>
                  <a:pt x="4058439" y="91241"/>
                  <a:pt x="4039961" y="72762"/>
                  <a:pt x="4039961" y="50817"/>
                </a:cubicBezTo>
                <a:cubicBezTo>
                  <a:pt x="4039961" y="28874"/>
                  <a:pt x="4058439" y="10395"/>
                  <a:pt x="4080383" y="10395"/>
                </a:cubicBezTo>
                <a:close/>
                <a:moveTo>
                  <a:pt x="3800889" y="10395"/>
                </a:moveTo>
                <a:cubicBezTo>
                  <a:pt x="3822833" y="10395"/>
                  <a:pt x="3841311" y="28874"/>
                  <a:pt x="3841311" y="50817"/>
                </a:cubicBezTo>
                <a:cubicBezTo>
                  <a:pt x="3841311" y="72762"/>
                  <a:pt x="3822833" y="91241"/>
                  <a:pt x="3800889" y="91241"/>
                </a:cubicBezTo>
                <a:cubicBezTo>
                  <a:pt x="3778945" y="91241"/>
                  <a:pt x="3760466" y="72762"/>
                  <a:pt x="3760466" y="50817"/>
                </a:cubicBezTo>
                <a:cubicBezTo>
                  <a:pt x="3760466" y="28874"/>
                  <a:pt x="3778945" y="10395"/>
                  <a:pt x="3800889" y="10395"/>
                </a:cubicBezTo>
                <a:close/>
                <a:moveTo>
                  <a:pt x="1705839" y="10395"/>
                </a:moveTo>
                <a:cubicBezTo>
                  <a:pt x="1727782" y="10395"/>
                  <a:pt x="1746261" y="28874"/>
                  <a:pt x="1746261" y="50817"/>
                </a:cubicBezTo>
                <a:cubicBezTo>
                  <a:pt x="1746261" y="72762"/>
                  <a:pt x="1727782" y="91241"/>
                  <a:pt x="1705839" y="91241"/>
                </a:cubicBezTo>
                <a:cubicBezTo>
                  <a:pt x="1683894" y="91241"/>
                  <a:pt x="1665415" y="72762"/>
                  <a:pt x="1665415" y="50817"/>
                </a:cubicBezTo>
                <a:cubicBezTo>
                  <a:pt x="1665415" y="28874"/>
                  <a:pt x="1683894" y="10395"/>
                  <a:pt x="1705839" y="10395"/>
                </a:cubicBezTo>
                <a:close/>
                <a:moveTo>
                  <a:pt x="587862" y="10395"/>
                </a:moveTo>
                <a:cubicBezTo>
                  <a:pt x="609806" y="10395"/>
                  <a:pt x="628284" y="30029"/>
                  <a:pt x="628284" y="51973"/>
                </a:cubicBezTo>
                <a:cubicBezTo>
                  <a:pt x="628284" y="73916"/>
                  <a:pt x="609806" y="92395"/>
                  <a:pt x="587862" y="92395"/>
                </a:cubicBezTo>
                <a:cubicBezTo>
                  <a:pt x="565918" y="92395"/>
                  <a:pt x="547439" y="72762"/>
                  <a:pt x="547439" y="50817"/>
                </a:cubicBezTo>
                <a:cubicBezTo>
                  <a:pt x="547439" y="28874"/>
                  <a:pt x="565918" y="10395"/>
                  <a:pt x="587862" y="10395"/>
                </a:cubicBezTo>
                <a:close/>
                <a:moveTo>
                  <a:pt x="308368" y="10395"/>
                </a:moveTo>
                <a:cubicBezTo>
                  <a:pt x="330311" y="10395"/>
                  <a:pt x="348790" y="30029"/>
                  <a:pt x="348790" y="51973"/>
                </a:cubicBezTo>
                <a:cubicBezTo>
                  <a:pt x="348790" y="73916"/>
                  <a:pt x="330311" y="92395"/>
                  <a:pt x="308368" y="92395"/>
                </a:cubicBezTo>
                <a:cubicBezTo>
                  <a:pt x="286424" y="92395"/>
                  <a:pt x="267945" y="72762"/>
                  <a:pt x="267945" y="50817"/>
                </a:cubicBezTo>
                <a:cubicBezTo>
                  <a:pt x="267945" y="28874"/>
                  <a:pt x="286424" y="10395"/>
                  <a:pt x="308368" y="10395"/>
                </a:cubicBezTo>
                <a:close/>
                <a:moveTo>
                  <a:pt x="10784225" y="0"/>
                </a:moveTo>
                <a:cubicBezTo>
                  <a:pt x="10811943" y="0"/>
                  <a:pt x="10835042" y="23099"/>
                  <a:pt x="10835042" y="50817"/>
                </a:cubicBezTo>
                <a:cubicBezTo>
                  <a:pt x="10835042" y="78536"/>
                  <a:pt x="10811943" y="101634"/>
                  <a:pt x="10784225" y="101634"/>
                </a:cubicBezTo>
                <a:cubicBezTo>
                  <a:pt x="10756506" y="101634"/>
                  <a:pt x="10733408" y="78536"/>
                  <a:pt x="10733408" y="50817"/>
                </a:cubicBezTo>
                <a:cubicBezTo>
                  <a:pt x="10733408" y="23099"/>
                  <a:pt x="10755352" y="0"/>
                  <a:pt x="10784225" y="0"/>
                </a:cubicBezTo>
                <a:close/>
                <a:moveTo>
                  <a:pt x="9666248" y="0"/>
                </a:moveTo>
                <a:cubicBezTo>
                  <a:pt x="9695122" y="0"/>
                  <a:pt x="9717066" y="23099"/>
                  <a:pt x="9717066" y="50817"/>
                </a:cubicBezTo>
                <a:cubicBezTo>
                  <a:pt x="9717066" y="78536"/>
                  <a:pt x="9695122" y="101634"/>
                  <a:pt x="9666248" y="101634"/>
                </a:cubicBezTo>
                <a:cubicBezTo>
                  <a:pt x="9638530" y="101634"/>
                  <a:pt x="9615431" y="78536"/>
                  <a:pt x="9615431" y="50817"/>
                </a:cubicBezTo>
                <a:cubicBezTo>
                  <a:pt x="9615431" y="23099"/>
                  <a:pt x="9637376" y="0"/>
                  <a:pt x="9666248" y="0"/>
                </a:cubicBezTo>
                <a:close/>
                <a:moveTo>
                  <a:pt x="8553443" y="0"/>
                </a:moveTo>
                <a:cubicBezTo>
                  <a:pt x="8582317" y="0"/>
                  <a:pt x="8604260" y="23099"/>
                  <a:pt x="8604260" y="50817"/>
                </a:cubicBezTo>
                <a:cubicBezTo>
                  <a:pt x="8604260" y="78536"/>
                  <a:pt x="8582317" y="101634"/>
                  <a:pt x="8553443" y="101634"/>
                </a:cubicBezTo>
                <a:cubicBezTo>
                  <a:pt x="8525724" y="101634"/>
                  <a:pt x="8502626" y="78536"/>
                  <a:pt x="8502626" y="50817"/>
                </a:cubicBezTo>
                <a:cubicBezTo>
                  <a:pt x="8502626" y="23099"/>
                  <a:pt x="8524570" y="0"/>
                  <a:pt x="8553443" y="0"/>
                </a:cubicBezTo>
                <a:close/>
                <a:moveTo>
                  <a:pt x="6178898" y="0"/>
                </a:moveTo>
                <a:cubicBezTo>
                  <a:pt x="6206618" y="0"/>
                  <a:pt x="6229715" y="23099"/>
                  <a:pt x="6229715" y="50817"/>
                </a:cubicBezTo>
                <a:cubicBezTo>
                  <a:pt x="6229715" y="78536"/>
                  <a:pt x="6206618" y="101634"/>
                  <a:pt x="6178898" y="101634"/>
                </a:cubicBezTo>
                <a:cubicBezTo>
                  <a:pt x="6151180" y="101634"/>
                  <a:pt x="6128081" y="78536"/>
                  <a:pt x="6128081" y="50817"/>
                </a:cubicBezTo>
                <a:cubicBezTo>
                  <a:pt x="6128081" y="23099"/>
                  <a:pt x="6150025" y="0"/>
                  <a:pt x="6178898" y="0"/>
                </a:cubicBezTo>
                <a:close/>
                <a:moveTo>
                  <a:pt x="5060922" y="0"/>
                </a:moveTo>
                <a:cubicBezTo>
                  <a:pt x="5089795" y="0"/>
                  <a:pt x="5111739" y="23099"/>
                  <a:pt x="5111739" y="50817"/>
                </a:cubicBezTo>
                <a:cubicBezTo>
                  <a:pt x="5111739" y="78536"/>
                  <a:pt x="5088641" y="101634"/>
                  <a:pt x="5060922" y="101634"/>
                </a:cubicBezTo>
                <a:cubicBezTo>
                  <a:pt x="5033205" y="101634"/>
                  <a:pt x="5010105" y="78536"/>
                  <a:pt x="5010105" y="50817"/>
                </a:cubicBezTo>
                <a:cubicBezTo>
                  <a:pt x="5010105" y="23099"/>
                  <a:pt x="5032050" y="0"/>
                  <a:pt x="5060922" y="0"/>
                </a:cubicBezTo>
                <a:close/>
                <a:moveTo>
                  <a:pt x="3940636" y="0"/>
                </a:moveTo>
                <a:cubicBezTo>
                  <a:pt x="3969510" y="0"/>
                  <a:pt x="3991453" y="23099"/>
                  <a:pt x="3991453" y="50817"/>
                </a:cubicBezTo>
                <a:cubicBezTo>
                  <a:pt x="3991453" y="78536"/>
                  <a:pt x="3969510" y="101634"/>
                  <a:pt x="3940636" y="101634"/>
                </a:cubicBezTo>
                <a:cubicBezTo>
                  <a:pt x="3912917" y="101634"/>
                  <a:pt x="3889819" y="78536"/>
                  <a:pt x="3889819" y="50817"/>
                </a:cubicBezTo>
                <a:cubicBezTo>
                  <a:pt x="3889819" y="23099"/>
                  <a:pt x="3911763" y="0"/>
                  <a:pt x="3940636" y="0"/>
                </a:cubicBezTo>
                <a:close/>
                <a:moveTo>
                  <a:pt x="1566091" y="0"/>
                </a:moveTo>
                <a:cubicBezTo>
                  <a:pt x="1593810" y="0"/>
                  <a:pt x="1616908" y="23099"/>
                  <a:pt x="1616908" y="50817"/>
                </a:cubicBezTo>
                <a:cubicBezTo>
                  <a:pt x="1616908" y="78536"/>
                  <a:pt x="1593810" y="101634"/>
                  <a:pt x="1566091" y="101634"/>
                </a:cubicBezTo>
                <a:cubicBezTo>
                  <a:pt x="1538373" y="101634"/>
                  <a:pt x="1515274" y="78536"/>
                  <a:pt x="1515274" y="50817"/>
                </a:cubicBezTo>
                <a:cubicBezTo>
                  <a:pt x="1515274" y="23099"/>
                  <a:pt x="1537218" y="0"/>
                  <a:pt x="1566091" y="0"/>
                </a:cubicBezTo>
                <a:close/>
                <a:moveTo>
                  <a:pt x="448115" y="0"/>
                </a:moveTo>
                <a:cubicBezTo>
                  <a:pt x="476989" y="0"/>
                  <a:pt x="498932" y="23099"/>
                  <a:pt x="498932" y="50817"/>
                </a:cubicBezTo>
                <a:cubicBezTo>
                  <a:pt x="498932" y="78536"/>
                  <a:pt x="476989" y="101634"/>
                  <a:pt x="448115" y="101634"/>
                </a:cubicBezTo>
                <a:cubicBezTo>
                  <a:pt x="420396" y="101634"/>
                  <a:pt x="397298" y="78536"/>
                  <a:pt x="397298" y="50817"/>
                </a:cubicBezTo>
                <a:cubicBezTo>
                  <a:pt x="397298" y="23099"/>
                  <a:pt x="419242" y="0"/>
                  <a:pt x="448115" y="0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800"/>
          </a:p>
        </p:txBody>
      </p:sp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FD7F6CA9-54F0-4F75-BAD0-62B50DCEC4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971801"/>
            <a:ext cx="12191999" cy="2286000"/>
          </a:xfrm>
          <a:prstGeom prst="rect">
            <a:avLst/>
          </a:prstGeom>
        </p:spPr>
      </p:pic>
      <p:sp>
        <p:nvSpPr>
          <p:cNvPr id="36" name="Dot Pattern crop">
            <a:extLst>
              <a:ext uri="{FF2B5EF4-FFF2-40B4-BE49-F238E27FC236}">
                <a16:creationId xmlns:a16="http://schemas.microsoft.com/office/drawing/2014/main" id="{7DAB90B5-573C-4E0C-831D-8A8E4F821178}"/>
              </a:ext>
            </a:extLst>
          </p:cNvPr>
          <p:cNvSpPr/>
          <p:nvPr userDrawn="1"/>
        </p:nvSpPr>
        <p:spPr>
          <a:xfrm>
            <a:off x="-3082" y="4648002"/>
            <a:ext cx="12251873" cy="609800"/>
          </a:xfrm>
          <a:custGeom>
            <a:avLst/>
            <a:gdLst>
              <a:gd name="connsiteX0" fmla="*/ 12227892 w 12248682"/>
              <a:gd name="connsiteY0" fmla="*/ 608651 h 609800"/>
              <a:gd name="connsiteX1" fmla="*/ 12230601 w 12248682"/>
              <a:gd name="connsiteY1" fmla="*/ 609800 h 609800"/>
              <a:gd name="connsiteX2" fmla="*/ 12225102 w 12248682"/>
              <a:gd name="connsiteY2" fmla="*/ 609800 h 609800"/>
              <a:gd name="connsiteX3" fmla="*/ 12091610 w 12248682"/>
              <a:gd name="connsiteY3" fmla="*/ 608651 h 609800"/>
              <a:gd name="connsiteX4" fmla="*/ 12094400 w 12248682"/>
              <a:gd name="connsiteY4" fmla="*/ 609800 h 609800"/>
              <a:gd name="connsiteX5" fmla="*/ 12088820 w 12248682"/>
              <a:gd name="connsiteY5" fmla="*/ 609800 h 609800"/>
              <a:gd name="connsiteX6" fmla="*/ 11956484 w 12248682"/>
              <a:gd name="connsiteY6" fmla="*/ 608651 h 609800"/>
              <a:gd name="connsiteX7" fmla="*/ 11959274 w 12248682"/>
              <a:gd name="connsiteY7" fmla="*/ 609800 h 609800"/>
              <a:gd name="connsiteX8" fmla="*/ 11953693 w 12248682"/>
              <a:gd name="connsiteY8" fmla="*/ 609800 h 609800"/>
              <a:gd name="connsiteX9" fmla="*/ 11821356 w 12248682"/>
              <a:gd name="connsiteY9" fmla="*/ 608651 h 609800"/>
              <a:gd name="connsiteX10" fmla="*/ 11824146 w 12248682"/>
              <a:gd name="connsiteY10" fmla="*/ 609800 h 609800"/>
              <a:gd name="connsiteX11" fmla="*/ 11818565 w 12248682"/>
              <a:gd name="connsiteY11" fmla="*/ 609800 h 609800"/>
              <a:gd name="connsiteX12" fmla="*/ 11685074 w 12248682"/>
              <a:gd name="connsiteY12" fmla="*/ 608651 h 609800"/>
              <a:gd name="connsiteX13" fmla="*/ 11687864 w 12248682"/>
              <a:gd name="connsiteY13" fmla="*/ 609800 h 609800"/>
              <a:gd name="connsiteX14" fmla="*/ 11682283 w 12248682"/>
              <a:gd name="connsiteY14" fmla="*/ 609800 h 609800"/>
              <a:gd name="connsiteX15" fmla="*/ 10736873 w 12248682"/>
              <a:gd name="connsiteY15" fmla="*/ 608651 h 609800"/>
              <a:gd name="connsiteX16" fmla="*/ 10739663 w 12248682"/>
              <a:gd name="connsiteY16" fmla="*/ 609800 h 609800"/>
              <a:gd name="connsiteX17" fmla="*/ 10734082 w 12248682"/>
              <a:gd name="connsiteY17" fmla="*/ 609800 h 609800"/>
              <a:gd name="connsiteX18" fmla="*/ 10601745 w 12248682"/>
              <a:gd name="connsiteY18" fmla="*/ 608651 h 609800"/>
              <a:gd name="connsiteX19" fmla="*/ 10604536 w 12248682"/>
              <a:gd name="connsiteY19" fmla="*/ 609800 h 609800"/>
              <a:gd name="connsiteX20" fmla="*/ 10598955 w 12248682"/>
              <a:gd name="connsiteY20" fmla="*/ 609800 h 609800"/>
              <a:gd name="connsiteX21" fmla="*/ 8027949 w 12248682"/>
              <a:gd name="connsiteY21" fmla="*/ 608651 h 609800"/>
              <a:gd name="connsiteX22" fmla="*/ 8030740 w 12248682"/>
              <a:gd name="connsiteY22" fmla="*/ 609800 h 609800"/>
              <a:gd name="connsiteX23" fmla="*/ 8025159 w 12248682"/>
              <a:gd name="connsiteY23" fmla="*/ 609800 h 609800"/>
              <a:gd name="connsiteX24" fmla="*/ 7892822 w 12248682"/>
              <a:gd name="connsiteY24" fmla="*/ 608651 h 609800"/>
              <a:gd name="connsiteX25" fmla="*/ 7895613 w 12248682"/>
              <a:gd name="connsiteY25" fmla="*/ 609800 h 609800"/>
              <a:gd name="connsiteX26" fmla="*/ 7890031 w 12248682"/>
              <a:gd name="connsiteY26" fmla="*/ 609800 h 609800"/>
              <a:gd name="connsiteX27" fmla="*/ 7757693 w 12248682"/>
              <a:gd name="connsiteY27" fmla="*/ 608651 h 609800"/>
              <a:gd name="connsiteX28" fmla="*/ 7760484 w 12248682"/>
              <a:gd name="connsiteY28" fmla="*/ 609800 h 609800"/>
              <a:gd name="connsiteX29" fmla="*/ 7754903 w 12248682"/>
              <a:gd name="connsiteY29" fmla="*/ 609800 h 609800"/>
              <a:gd name="connsiteX30" fmla="*/ 7622566 w 12248682"/>
              <a:gd name="connsiteY30" fmla="*/ 608651 h 609800"/>
              <a:gd name="connsiteX31" fmla="*/ 7625275 w 12248682"/>
              <a:gd name="connsiteY31" fmla="*/ 609800 h 609800"/>
              <a:gd name="connsiteX32" fmla="*/ 7619776 w 12248682"/>
              <a:gd name="connsiteY32" fmla="*/ 609800 h 609800"/>
              <a:gd name="connsiteX33" fmla="*/ 7486284 w 12248682"/>
              <a:gd name="connsiteY33" fmla="*/ 608651 h 609800"/>
              <a:gd name="connsiteX34" fmla="*/ 7489075 w 12248682"/>
              <a:gd name="connsiteY34" fmla="*/ 609800 h 609800"/>
              <a:gd name="connsiteX35" fmla="*/ 7483494 w 12248682"/>
              <a:gd name="connsiteY35" fmla="*/ 609800 h 609800"/>
              <a:gd name="connsiteX36" fmla="*/ 7351157 w 12248682"/>
              <a:gd name="connsiteY36" fmla="*/ 608651 h 609800"/>
              <a:gd name="connsiteX37" fmla="*/ 7353948 w 12248682"/>
              <a:gd name="connsiteY37" fmla="*/ 609800 h 609800"/>
              <a:gd name="connsiteX38" fmla="*/ 7348367 w 12248682"/>
              <a:gd name="connsiteY38" fmla="*/ 609800 h 609800"/>
              <a:gd name="connsiteX39" fmla="*/ 7216030 w 12248682"/>
              <a:gd name="connsiteY39" fmla="*/ 608651 h 609800"/>
              <a:gd name="connsiteX40" fmla="*/ 7218821 w 12248682"/>
              <a:gd name="connsiteY40" fmla="*/ 609800 h 609800"/>
              <a:gd name="connsiteX41" fmla="*/ 7213240 w 12248682"/>
              <a:gd name="connsiteY41" fmla="*/ 609800 h 609800"/>
              <a:gd name="connsiteX42" fmla="*/ 7079748 w 12248682"/>
              <a:gd name="connsiteY42" fmla="*/ 608651 h 609800"/>
              <a:gd name="connsiteX43" fmla="*/ 7082539 w 12248682"/>
              <a:gd name="connsiteY43" fmla="*/ 609800 h 609800"/>
              <a:gd name="connsiteX44" fmla="*/ 7076958 w 12248682"/>
              <a:gd name="connsiteY44" fmla="*/ 609800 h 609800"/>
              <a:gd name="connsiteX45" fmla="*/ 6131548 w 12248682"/>
              <a:gd name="connsiteY45" fmla="*/ 608651 h 609800"/>
              <a:gd name="connsiteX46" fmla="*/ 6134339 w 12248682"/>
              <a:gd name="connsiteY46" fmla="*/ 609800 h 609800"/>
              <a:gd name="connsiteX47" fmla="*/ 6128758 w 12248682"/>
              <a:gd name="connsiteY47" fmla="*/ 609800 h 609800"/>
              <a:gd name="connsiteX48" fmla="*/ 5996418 w 12248682"/>
              <a:gd name="connsiteY48" fmla="*/ 608651 h 609800"/>
              <a:gd name="connsiteX49" fmla="*/ 5999209 w 12248682"/>
              <a:gd name="connsiteY49" fmla="*/ 609800 h 609800"/>
              <a:gd name="connsiteX50" fmla="*/ 5993628 w 12248682"/>
              <a:gd name="connsiteY50" fmla="*/ 609800 h 609800"/>
              <a:gd name="connsiteX51" fmla="*/ 3415142 w 12248682"/>
              <a:gd name="connsiteY51" fmla="*/ 608651 h 609800"/>
              <a:gd name="connsiteX52" fmla="*/ 3417933 w 12248682"/>
              <a:gd name="connsiteY52" fmla="*/ 609800 h 609800"/>
              <a:gd name="connsiteX53" fmla="*/ 3412352 w 12248682"/>
              <a:gd name="connsiteY53" fmla="*/ 609800 h 609800"/>
              <a:gd name="connsiteX54" fmla="*/ 3280013 w 12248682"/>
              <a:gd name="connsiteY54" fmla="*/ 608651 h 609800"/>
              <a:gd name="connsiteX55" fmla="*/ 3282804 w 12248682"/>
              <a:gd name="connsiteY55" fmla="*/ 609800 h 609800"/>
              <a:gd name="connsiteX56" fmla="*/ 3277223 w 12248682"/>
              <a:gd name="connsiteY56" fmla="*/ 609800 h 609800"/>
              <a:gd name="connsiteX57" fmla="*/ 3144887 w 12248682"/>
              <a:gd name="connsiteY57" fmla="*/ 608651 h 609800"/>
              <a:gd name="connsiteX58" fmla="*/ 3147678 w 12248682"/>
              <a:gd name="connsiteY58" fmla="*/ 609800 h 609800"/>
              <a:gd name="connsiteX59" fmla="*/ 3142097 w 12248682"/>
              <a:gd name="connsiteY59" fmla="*/ 609800 h 609800"/>
              <a:gd name="connsiteX60" fmla="*/ 3009759 w 12248682"/>
              <a:gd name="connsiteY60" fmla="*/ 608651 h 609800"/>
              <a:gd name="connsiteX61" fmla="*/ 3012468 w 12248682"/>
              <a:gd name="connsiteY61" fmla="*/ 609800 h 609800"/>
              <a:gd name="connsiteX62" fmla="*/ 3006969 w 12248682"/>
              <a:gd name="connsiteY62" fmla="*/ 609800 h 609800"/>
              <a:gd name="connsiteX63" fmla="*/ 2873476 w 12248682"/>
              <a:gd name="connsiteY63" fmla="*/ 608651 h 609800"/>
              <a:gd name="connsiteX64" fmla="*/ 2876267 w 12248682"/>
              <a:gd name="connsiteY64" fmla="*/ 609800 h 609800"/>
              <a:gd name="connsiteX65" fmla="*/ 2870686 w 12248682"/>
              <a:gd name="connsiteY65" fmla="*/ 609800 h 609800"/>
              <a:gd name="connsiteX66" fmla="*/ 2738350 w 12248682"/>
              <a:gd name="connsiteY66" fmla="*/ 608651 h 609800"/>
              <a:gd name="connsiteX67" fmla="*/ 2741141 w 12248682"/>
              <a:gd name="connsiteY67" fmla="*/ 609800 h 609800"/>
              <a:gd name="connsiteX68" fmla="*/ 2735560 w 12248682"/>
              <a:gd name="connsiteY68" fmla="*/ 609800 h 609800"/>
              <a:gd name="connsiteX69" fmla="*/ 2603222 w 12248682"/>
              <a:gd name="connsiteY69" fmla="*/ 608651 h 609800"/>
              <a:gd name="connsiteX70" fmla="*/ 2606013 w 12248682"/>
              <a:gd name="connsiteY70" fmla="*/ 609800 h 609800"/>
              <a:gd name="connsiteX71" fmla="*/ 2600432 w 12248682"/>
              <a:gd name="connsiteY71" fmla="*/ 609800 h 609800"/>
              <a:gd name="connsiteX72" fmla="*/ 2466940 w 12248682"/>
              <a:gd name="connsiteY72" fmla="*/ 608651 h 609800"/>
              <a:gd name="connsiteX73" fmla="*/ 2469731 w 12248682"/>
              <a:gd name="connsiteY73" fmla="*/ 609800 h 609800"/>
              <a:gd name="connsiteX74" fmla="*/ 2464150 w 12248682"/>
              <a:gd name="connsiteY74" fmla="*/ 609800 h 609800"/>
              <a:gd name="connsiteX75" fmla="*/ 1518739 w 12248682"/>
              <a:gd name="connsiteY75" fmla="*/ 608651 h 609800"/>
              <a:gd name="connsiteX76" fmla="*/ 1521530 w 12248682"/>
              <a:gd name="connsiteY76" fmla="*/ 609800 h 609800"/>
              <a:gd name="connsiteX77" fmla="*/ 1515949 w 12248682"/>
              <a:gd name="connsiteY77" fmla="*/ 609800 h 609800"/>
              <a:gd name="connsiteX78" fmla="*/ 1383611 w 12248682"/>
              <a:gd name="connsiteY78" fmla="*/ 608651 h 609800"/>
              <a:gd name="connsiteX79" fmla="*/ 1386402 w 12248682"/>
              <a:gd name="connsiteY79" fmla="*/ 609800 h 609800"/>
              <a:gd name="connsiteX80" fmla="*/ 1380821 w 12248682"/>
              <a:gd name="connsiteY80" fmla="*/ 609800 h 609800"/>
              <a:gd name="connsiteX81" fmla="*/ 11549947 w 12248682"/>
              <a:gd name="connsiteY81" fmla="*/ 606341 h 609800"/>
              <a:gd name="connsiteX82" fmla="*/ 11558263 w 12248682"/>
              <a:gd name="connsiteY82" fmla="*/ 609800 h 609800"/>
              <a:gd name="connsiteX83" fmla="*/ 11541630 w 12248682"/>
              <a:gd name="connsiteY83" fmla="*/ 609800 h 609800"/>
              <a:gd name="connsiteX84" fmla="*/ 10466618 w 12248682"/>
              <a:gd name="connsiteY84" fmla="*/ 606341 h 609800"/>
              <a:gd name="connsiteX85" fmla="*/ 10474935 w 12248682"/>
              <a:gd name="connsiteY85" fmla="*/ 609800 h 609800"/>
              <a:gd name="connsiteX86" fmla="*/ 10458302 w 12248682"/>
              <a:gd name="connsiteY86" fmla="*/ 609800 h 609800"/>
              <a:gd name="connsiteX87" fmla="*/ 9244698 w 12248682"/>
              <a:gd name="connsiteY87" fmla="*/ 606341 h 609800"/>
              <a:gd name="connsiteX88" fmla="*/ 9256325 w 12248682"/>
              <a:gd name="connsiteY88" fmla="*/ 609800 h 609800"/>
              <a:gd name="connsiteX89" fmla="*/ 9238257 w 12248682"/>
              <a:gd name="connsiteY89" fmla="*/ 609800 h 609800"/>
              <a:gd name="connsiteX90" fmla="*/ 8164231 w 12248682"/>
              <a:gd name="connsiteY90" fmla="*/ 606341 h 609800"/>
              <a:gd name="connsiteX91" fmla="*/ 8172548 w 12248682"/>
              <a:gd name="connsiteY91" fmla="*/ 609800 h 609800"/>
              <a:gd name="connsiteX92" fmla="*/ 8155915 w 12248682"/>
              <a:gd name="connsiteY92" fmla="*/ 609800 h 609800"/>
              <a:gd name="connsiteX93" fmla="*/ 6944621 w 12248682"/>
              <a:gd name="connsiteY93" fmla="*/ 606341 h 609800"/>
              <a:gd name="connsiteX94" fmla="*/ 6952937 w 12248682"/>
              <a:gd name="connsiteY94" fmla="*/ 609800 h 609800"/>
              <a:gd name="connsiteX95" fmla="*/ 6936304 w 12248682"/>
              <a:gd name="connsiteY95" fmla="*/ 609800 h 609800"/>
              <a:gd name="connsiteX96" fmla="*/ 5861292 w 12248682"/>
              <a:gd name="connsiteY96" fmla="*/ 606341 h 609800"/>
              <a:gd name="connsiteX97" fmla="*/ 5869609 w 12248682"/>
              <a:gd name="connsiteY97" fmla="*/ 609800 h 609800"/>
              <a:gd name="connsiteX98" fmla="*/ 5852976 w 12248682"/>
              <a:gd name="connsiteY98" fmla="*/ 609800 h 609800"/>
              <a:gd name="connsiteX99" fmla="*/ 4639374 w 12248682"/>
              <a:gd name="connsiteY99" fmla="*/ 606341 h 609800"/>
              <a:gd name="connsiteX100" fmla="*/ 4651000 w 12248682"/>
              <a:gd name="connsiteY100" fmla="*/ 609800 h 609800"/>
              <a:gd name="connsiteX101" fmla="*/ 4632932 w 12248682"/>
              <a:gd name="connsiteY101" fmla="*/ 609800 h 609800"/>
              <a:gd name="connsiteX102" fmla="*/ 3551423 w 12248682"/>
              <a:gd name="connsiteY102" fmla="*/ 606341 h 609800"/>
              <a:gd name="connsiteX103" fmla="*/ 3559740 w 12248682"/>
              <a:gd name="connsiteY103" fmla="*/ 609800 h 609800"/>
              <a:gd name="connsiteX104" fmla="*/ 3543107 w 12248682"/>
              <a:gd name="connsiteY104" fmla="*/ 609800 h 609800"/>
              <a:gd name="connsiteX105" fmla="*/ 2331813 w 12248682"/>
              <a:gd name="connsiteY105" fmla="*/ 606341 h 609800"/>
              <a:gd name="connsiteX106" fmla="*/ 2340130 w 12248682"/>
              <a:gd name="connsiteY106" fmla="*/ 609800 h 609800"/>
              <a:gd name="connsiteX107" fmla="*/ 2323497 w 12248682"/>
              <a:gd name="connsiteY107" fmla="*/ 609800 h 609800"/>
              <a:gd name="connsiteX108" fmla="*/ 1248485 w 12248682"/>
              <a:gd name="connsiteY108" fmla="*/ 606341 h 609800"/>
              <a:gd name="connsiteX109" fmla="*/ 1256801 w 12248682"/>
              <a:gd name="connsiteY109" fmla="*/ 609800 h 609800"/>
              <a:gd name="connsiteX110" fmla="*/ 1240169 w 12248682"/>
              <a:gd name="connsiteY110" fmla="*/ 609800 h 609800"/>
              <a:gd name="connsiteX111" fmla="*/ 26564 w 12248682"/>
              <a:gd name="connsiteY111" fmla="*/ 606341 h 609800"/>
              <a:gd name="connsiteX112" fmla="*/ 38192 w 12248682"/>
              <a:gd name="connsiteY112" fmla="*/ 609800 h 609800"/>
              <a:gd name="connsiteX113" fmla="*/ 20123 w 12248682"/>
              <a:gd name="connsiteY113" fmla="*/ 609800 h 609800"/>
              <a:gd name="connsiteX114" fmla="*/ 11414819 w 12248682"/>
              <a:gd name="connsiteY114" fmla="*/ 600566 h 609800"/>
              <a:gd name="connsiteX115" fmla="*/ 11435319 w 12248682"/>
              <a:gd name="connsiteY115" fmla="*/ 608940 h 609800"/>
              <a:gd name="connsiteX116" fmla="*/ 11435671 w 12248682"/>
              <a:gd name="connsiteY116" fmla="*/ 609800 h 609800"/>
              <a:gd name="connsiteX117" fmla="*/ 11393968 w 12248682"/>
              <a:gd name="connsiteY117" fmla="*/ 609800 h 609800"/>
              <a:gd name="connsiteX118" fmla="*/ 11394319 w 12248682"/>
              <a:gd name="connsiteY118" fmla="*/ 608940 h 609800"/>
              <a:gd name="connsiteX119" fmla="*/ 11414819 w 12248682"/>
              <a:gd name="connsiteY119" fmla="*/ 600566 h 609800"/>
              <a:gd name="connsiteX120" fmla="*/ 10330336 w 12248682"/>
              <a:gd name="connsiteY120" fmla="*/ 600566 h 609800"/>
              <a:gd name="connsiteX121" fmla="*/ 10350836 w 12248682"/>
              <a:gd name="connsiteY121" fmla="*/ 608940 h 609800"/>
              <a:gd name="connsiteX122" fmla="*/ 10351187 w 12248682"/>
              <a:gd name="connsiteY122" fmla="*/ 609800 h 609800"/>
              <a:gd name="connsiteX123" fmla="*/ 10309484 w 12248682"/>
              <a:gd name="connsiteY123" fmla="*/ 609800 h 609800"/>
              <a:gd name="connsiteX124" fmla="*/ 10309836 w 12248682"/>
              <a:gd name="connsiteY124" fmla="*/ 608940 h 609800"/>
              <a:gd name="connsiteX125" fmla="*/ 10330336 w 12248682"/>
              <a:gd name="connsiteY125" fmla="*/ 600566 h 609800"/>
              <a:gd name="connsiteX126" fmla="*/ 9382135 w 12248682"/>
              <a:gd name="connsiteY126" fmla="*/ 600566 h 609800"/>
              <a:gd name="connsiteX127" fmla="*/ 9402635 w 12248682"/>
              <a:gd name="connsiteY127" fmla="*/ 608940 h 609800"/>
              <a:gd name="connsiteX128" fmla="*/ 9402987 w 12248682"/>
              <a:gd name="connsiteY128" fmla="*/ 609800 h 609800"/>
              <a:gd name="connsiteX129" fmla="*/ 9361284 w 12248682"/>
              <a:gd name="connsiteY129" fmla="*/ 609800 h 609800"/>
              <a:gd name="connsiteX130" fmla="*/ 9361635 w 12248682"/>
              <a:gd name="connsiteY130" fmla="*/ 608940 h 609800"/>
              <a:gd name="connsiteX131" fmla="*/ 9382135 w 12248682"/>
              <a:gd name="connsiteY131" fmla="*/ 600566 h 609800"/>
              <a:gd name="connsiteX132" fmla="*/ 9112431 w 12248682"/>
              <a:gd name="connsiteY132" fmla="*/ 600566 h 609800"/>
              <a:gd name="connsiteX133" fmla="*/ 9132931 w 12248682"/>
              <a:gd name="connsiteY133" fmla="*/ 608940 h 609800"/>
              <a:gd name="connsiteX134" fmla="*/ 9133283 w 12248682"/>
              <a:gd name="connsiteY134" fmla="*/ 609800 h 609800"/>
              <a:gd name="connsiteX135" fmla="*/ 9091580 w 12248682"/>
              <a:gd name="connsiteY135" fmla="*/ 609800 h 609800"/>
              <a:gd name="connsiteX136" fmla="*/ 9091931 w 12248682"/>
              <a:gd name="connsiteY136" fmla="*/ 608940 h 609800"/>
              <a:gd name="connsiteX137" fmla="*/ 9112431 w 12248682"/>
              <a:gd name="connsiteY137" fmla="*/ 600566 h 609800"/>
              <a:gd name="connsiteX138" fmla="*/ 8299358 w 12248682"/>
              <a:gd name="connsiteY138" fmla="*/ 600566 h 609800"/>
              <a:gd name="connsiteX139" fmla="*/ 8319858 w 12248682"/>
              <a:gd name="connsiteY139" fmla="*/ 608940 h 609800"/>
              <a:gd name="connsiteX140" fmla="*/ 8320209 w 12248682"/>
              <a:gd name="connsiteY140" fmla="*/ 609800 h 609800"/>
              <a:gd name="connsiteX141" fmla="*/ 8278507 w 12248682"/>
              <a:gd name="connsiteY141" fmla="*/ 609800 h 609800"/>
              <a:gd name="connsiteX142" fmla="*/ 8278858 w 12248682"/>
              <a:gd name="connsiteY142" fmla="*/ 608940 h 609800"/>
              <a:gd name="connsiteX143" fmla="*/ 8299358 w 12248682"/>
              <a:gd name="connsiteY143" fmla="*/ 600566 h 609800"/>
              <a:gd name="connsiteX144" fmla="*/ 6809492 w 12248682"/>
              <a:gd name="connsiteY144" fmla="*/ 600566 h 609800"/>
              <a:gd name="connsiteX145" fmla="*/ 6829993 w 12248682"/>
              <a:gd name="connsiteY145" fmla="*/ 608940 h 609800"/>
              <a:gd name="connsiteX146" fmla="*/ 6830345 w 12248682"/>
              <a:gd name="connsiteY146" fmla="*/ 609800 h 609800"/>
              <a:gd name="connsiteX147" fmla="*/ 6788642 w 12248682"/>
              <a:gd name="connsiteY147" fmla="*/ 609800 h 609800"/>
              <a:gd name="connsiteX148" fmla="*/ 6788993 w 12248682"/>
              <a:gd name="connsiteY148" fmla="*/ 608940 h 609800"/>
              <a:gd name="connsiteX149" fmla="*/ 6809492 w 12248682"/>
              <a:gd name="connsiteY149" fmla="*/ 600566 h 609800"/>
              <a:gd name="connsiteX150" fmla="*/ 5726165 w 12248682"/>
              <a:gd name="connsiteY150" fmla="*/ 600566 h 609800"/>
              <a:gd name="connsiteX151" fmla="*/ 5746232 w 12248682"/>
              <a:gd name="connsiteY151" fmla="*/ 608940 h 609800"/>
              <a:gd name="connsiteX152" fmla="*/ 5746601 w 12248682"/>
              <a:gd name="connsiteY152" fmla="*/ 609800 h 609800"/>
              <a:gd name="connsiteX153" fmla="*/ 5705314 w 12248682"/>
              <a:gd name="connsiteY153" fmla="*/ 609800 h 609800"/>
              <a:gd name="connsiteX154" fmla="*/ 5705666 w 12248682"/>
              <a:gd name="connsiteY154" fmla="*/ 608940 h 609800"/>
              <a:gd name="connsiteX155" fmla="*/ 5726165 w 12248682"/>
              <a:gd name="connsiteY155" fmla="*/ 600566 h 609800"/>
              <a:gd name="connsiteX156" fmla="*/ 4776809 w 12248682"/>
              <a:gd name="connsiteY156" fmla="*/ 600566 h 609800"/>
              <a:gd name="connsiteX157" fmla="*/ 4797309 w 12248682"/>
              <a:gd name="connsiteY157" fmla="*/ 608940 h 609800"/>
              <a:gd name="connsiteX158" fmla="*/ 4797661 w 12248682"/>
              <a:gd name="connsiteY158" fmla="*/ 609800 h 609800"/>
              <a:gd name="connsiteX159" fmla="*/ 4755958 w 12248682"/>
              <a:gd name="connsiteY159" fmla="*/ 609800 h 609800"/>
              <a:gd name="connsiteX160" fmla="*/ 4756310 w 12248682"/>
              <a:gd name="connsiteY160" fmla="*/ 608940 h 609800"/>
              <a:gd name="connsiteX161" fmla="*/ 4776809 w 12248682"/>
              <a:gd name="connsiteY161" fmla="*/ 600566 h 609800"/>
              <a:gd name="connsiteX162" fmla="*/ 4499625 w 12248682"/>
              <a:gd name="connsiteY162" fmla="*/ 600566 h 609800"/>
              <a:gd name="connsiteX163" fmla="*/ 4520126 w 12248682"/>
              <a:gd name="connsiteY163" fmla="*/ 608940 h 609800"/>
              <a:gd name="connsiteX164" fmla="*/ 4520477 w 12248682"/>
              <a:gd name="connsiteY164" fmla="*/ 609800 h 609800"/>
              <a:gd name="connsiteX165" fmla="*/ 4478774 w 12248682"/>
              <a:gd name="connsiteY165" fmla="*/ 609800 h 609800"/>
              <a:gd name="connsiteX166" fmla="*/ 4479126 w 12248682"/>
              <a:gd name="connsiteY166" fmla="*/ 608940 h 609800"/>
              <a:gd name="connsiteX167" fmla="*/ 4499625 w 12248682"/>
              <a:gd name="connsiteY167" fmla="*/ 600566 h 609800"/>
              <a:gd name="connsiteX168" fmla="*/ 3686551 w 12248682"/>
              <a:gd name="connsiteY168" fmla="*/ 600566 h 609800"/>
              <a:gd name="connsiteX169" fmla="*/ 3707051 w 12248682"/>
              <a:gd name="connsiteY169" fmla="*/ 608940 h 609800"/>
              <a:gd name="connsiteX170" fmla="*/ 3707402 w 12248682"/>
              <a:gd name="connsiteY170" fmla="*/ 609800 h 609800"/>
              <a:gd name="connsiteX171" fmla="*/ 3665699 w 12248682"/>
              <a:gd name="connsiteY171" fmla="*/ 609800 h 609800"/>
              <a:gd name="connsiteX172" fmla="*/ 3666051 w 12248682"/>
              <a:gd name="connsiteY172" fmla="*/ 608940 h 609800"/>
              <a:gd name="connsiteX173" fmla="*/ 3686551 w 12248682"/>
              <a:gd name="connsiteY173" fmla="*/ 600566 h 609800"/>
              <a:gd name="connsiteX174" fmla="*/ 2196685 w 12248682"/>
              <a:gd name="connsiteY174" fmla="*/ 600566 h 609800"/>
              <a:gd name="connsiteX175" fmla="*/ 2217186 w 12248682"/>
              <a:gd name="connsiteY175" fmla="*/ 608940 h 609800"/>
              <a:gd name="connsiteX176" fmla="*/ 2217537 w 12248682"/>
              <a:gd name="connsiteY176" fmla="*/ 609800 h 609800"/>
              <a:gd name="connsiteX177" fmla="*/ 2175835 w 12248682"/>
              <a:gd name="connsiteY177" fmla="*/ 609800 h 609800"/>
              <a:gd name="connsiteX178" fmla="*/ 2176186 w 12248682"/>
              <a:gd name="connsiteY178" fmla="*/ 608940 h 609800"/>
              <a:gd name="connsiteX179" fmla="*/ 2196685 w 12248682"/>
              <a:gd name="connsiteY179" fmla="*/ 600566 h 609800"/>
              <a:gd name="connsiteX180" fmla="*/ 1112202 w 12248682"/>
              <a:gd name="connsiteY180" fmla="*/ 600566 h 609800"/>
              <a:gd name="connsiteX181" fmla="*/ 1132702 w 12248682"/>
              <a:gd name="connsiteY181" fmla="*/ 608940 h 609800"/>
              <a:gd name="connsiteX182" fmla="*/ 1133053 w 12248682"/>
              <a:gd name="connsiteY182" fmla="*/ 609800 h 609800"/>
              <a:gd name="connsiteX183" fmla="*/ 1091351 w 12248682"/>
              <a:gd name="connsiteY183" fmla="*/ 609800 h 609800"/>
              <a:gd name="connsiteX184" fmla="*/ 1091702 w 12248682"/>
              <a:gd name="connsiteY184" fmla="*/ 608940 h 609800"/>
              <a:gd name="connsiteX185" fmla="*/ 1112202 w 12248682"/>
              <a:gd name="connsiteY185" fmla="*/ 600566 h 609800"/>
              <a:gd name="connsiteX186" fmla="*/ 164001 w 12248682"/>
              <a:gd name="connsiteY186" fmla="*/ 600566 h 609800"/>
              <a:gd name="connsiteX187" fmla="*/ 184502 w 12248682"/>
              <a:gd name="connsiteY187" fmla="*/ 608940 h 609800"/>
              <a:gd name="connsiteX188" fmla="*/ 184853 w 12248682"/>
              <a:gd name="connsiteY188" fmla="*/ 609800 h 609800"/>
              <a:gd name="connsiteX189" fmla="*/ 143150 w 12248682"/>
              <a:gd name="connsiteY189" fmla="*/ 609800 h 609800"/>
              <a:gd name="connsiteX190" fmla="*/ 143501 w 12248682"/>
              <a:gd name="connsiteY190" fmla="*/ 608940 h 609800"/>
              <a:gd name="connsiteX191" fmla="*/ 164001 w 12248682"/>
              <a:gd name="connsiteY191" fmla="*/ 600566 h 609800"/>
              <a:gd name="connsiteX192" fmla="*/ 11279692 w 12248682"/>
              <a:gd name="connsiteY192" fmla="*/ 594792 h 609800"/>
              <a:gd name="connsiteX193" fmla="*/ 11303946 w 12248682"/>
              <a:gd name="connsiteY193" fmla="*/ 605187 h 609800"/>
              <a:gd name="connsiteX194" fmla="*/ 11305923 w 12248682"/>
              <a:gd name="connsiteY194" fmla="*/ 609800 h 609800"/>
              <a:gd name="connsiteX195" fmla="*/ 11253110 w 12248682"/>
              <a:gd name="connsiteY195" fmla="*/ 609800 h 609800"/>
              <a:gd name="connsiteX196" fmla="*/ 11255005 w 12248682"/>
              <a:gd name="connsiteY196" fmla="*/ 605187 h 609800"/>
              <a:gd name="connsiteX197" fmla="*/ 11279692 w 12248682"/>
              <a:gd name="connsiteY197" fmla="*/ 594792 h 609800"/>
              <a:gd name="connsiteX198" fmla="*/ 10195208 w 12248682"/>
              <a:gd name="connsiteY198" fmla="*/ 594792 h 609800"/>
              <a:gd name="connsiteX199" fmla="*/ 10219895 w 12248682"/>
              <a:gd name="connsiteY199" fmla="*/ 605187 h 609800"/>
              <a:gd name="connsiteX200" fmla="*/ 10221790 w 12248682"/>
              <a:gd name="connsiteY200" fmla="*/ 609800 h 609800"/>
              <a:gd name="connsiteX201" fmla="*/ 10168627 w 12248682"/>
              <a:gd name="connsiteY201" fmla="*/ 609800 h 609800"/>
              <a:gd name="connsiteX202" fmla="*/ 10170522 w 12248682"/>
              <a:gd name="connsiteY202" fmla="*/ 605187 h 609800"/>
              <a:gd name="connsiteX203" fmla="*/ 10195208 w 12248682"/>
              <a:gd name="connsiteY203" fmla="*/ 594792 h 609800"/>
              <a:gd name="connsiteX204" fmla="*/ 9518417 w 12248682"/>
              <a:gd name="connsiteY204" fmla="*/ 594792 h 609800"/>
              <a:gd name="connsiteX205" fmla="*/ 9542671 w 12248682"/>
              <a:gd name="connsiteY205" fmla="*/ 605187 h 609800"/>
              <a:gd name="connsiteX206" fmla="*/ 9544648 w 12248682"/>
              <a:gd name="connsiteY206" fmla="*/ 609800 h 609800"/>
              <a:gd name="connsiteX207" fmla="*/ 9491836 w 12248682"/>
              <a:gd name="connsiteY207" fmla="*/ 609800 h 609800"/>
              <a:gd name="connsiteX208" fmla="*/ 9493731 w 12248682"/>
              <a:gd name="connsiteY208" fmla="*/ 605187 h 609800"/>
              <a:gd name="connsiteX209" fmla="*/ 9518417 w 12248682"/>
              <a:gd name="connsiteY209" fmla="*/ 594792 h 609800"/>
              <a:gd name="connsiteX210" fmla="*/ 8977304 w 12248682"/>
              <a:gd name="connsiteY210" fmla="*/ 594792 h 609800"/>
              <a:gd name="connsiteX211" fmla="*/ 9001558 w 12248682"/>
              <a:gd name="connsiteY211" fmla="*/ 605187 h 609800"/>
              <a:gd name="connsiteX212" fmla="*/ 9003535 w 12248682"/>
              <a:gd name="connsiteY212" fmla="*/ 609800 h 609800"/>
              <a:gd name="connsiteX213" fmla="*/ 8950722 w 12248682"/>
              <a:gd name="connsiteY213" fmla="*/ 609800 h 609800"/>
              <a:gd name="connsiteX214" fmla="*/ 8952617 w 12248682"/>
              <a:gd name="connsiteY214" fmla="*/ 605187 h 609800"/>
              <a:gd name="connsiteX215" fmla="*/ 8977304 w 12248682"/>
              <a:gd name="connsiteY215" fmla="*/ 594792 h 609800"/>
              <a:gd name="connsiteX216" fmla="*/ 8434485 w 12248682"/>
              <a:gd name="connsiteY216" fmla="*/ 594792 h 609800"/>
              <a:gd name="connsiteX217" fmla="*/ 8459172 w 12248682"/>
              <a:gd name="connsiteY217" fmla="*/ 605187 h 609800"/>
              <a:gd name="connsiteX218" fmla="*/ 8461066 w 12248682"/>
              <a:gd name="connsiteY218" fmla="*/ 609800 h 609800"/>
              <a:gd name="connsiteX219" fmla="*/ 8407903 w 12248682"/>
              <a:gd name="connsiteY219" fmla="*/ 609800 h 609800"/>
              <a:gd name="connsiteX220" fmla="*/ 8409798 w 12248682"/>
              <a:gd name="connsiteY220" fmla="*/ 605187 h 609800"/>
              <a:gd name="connsiteX221" fmla="*/ 8434485 w 12248682"/>
              <a:gd name="connsiteY221" fmla="*/ 594792 h 609800"/>
              <a:gd name="connsiteX222" fmla="*/ 6674366 w 12248682"/>
              <a:gd name="connsiteY222" fmla="*/ 594792 h 609800"/>
              <a:gd name="connsiteX223" fmla="*/ 6698620 w 12248682"/>
              <a:gd name="connsiteY223" fmla="*/ 605187 h 609800"/>
              <a:gd name="connsiteX224" fmla="*/ 6700597 w 12248682"/>
              <a:gd name="connsiteY224" fmla="*/ 609800 h 609800"/>
              <a:gd name="connsiteX225" fmla="*/ 6647784 w 12248682"/>
              <a:gd name="connsiteY225" fmla="*/ 609800 h 609800"/>
              <a:gd name="connsiteX226" fmla="*/ 6649679 w 12248682"/>
              <a:gd name="connsiteY226" fmla="*/ 605187 h 609800"/>
              <a:gd name="connsiteX227" fmla="*/ 6674366 w 12248682"/>
              <a:gd name="connsiteY227" fmla="*/ 594792 h 609800"/>
              <a:gd name="connsiteX228" fmla="*/ 5589882 w 12248682"/>
              <a:gd name="connsiteY228" fmla="*/ 594792 h 609800"/>
              <a:gd name="connsiteX229" fmla="*/ 5614570 w 12248682"/>
              <a:gd name="connsiteY229" fmla="*/ 605187 h 609800"/>
              <a:gd name="connsiteX230" fmla="*/ 5616465 w 12248682"/>
              <a:gd name="connsiteY230" fmla="*/ 609800 h 609800"/>
              <a:gd name="connsiteX231" fmla="*/ 5563301 w 12248682"/>
              <a:gd name="connsiteY231" fmla="*/ 609800 h 609800"/>
              <a:gd name="connsiteX232" fmla="*/ 5565196 w 12248682"/>
              <a:gd name="connsiteY232" fmla="*/ 605187 h 609800"/>
              <a:gd name="connsiteX233" fmla="*/ 5589882 w 12248682"/>
              <a:gd name="connsiteY233" fmla="*/ 594792 h 609800"/>
              <a:gd name="connsiteX234" fmla="*/ 4913091 w 12248682"/>
              <a:gd name="connsiteY234" fmla="*/ 594792 h 609800"/>
              <a:gd name="connsiteX235" fmla="*/ 4937345 w 12248682"/>
              <a:gd name="connsiteY235" fmla="*/ 605187 h 609800"/>
              <a:gd name="connsiteX236" fmla="*/ 4939322 w 12248682"/>
              <a:gd name="connsiteY236" fmla="*/ 609800 h 609800"/>
              <a:gd name="connsiteX237" fmla="*/ 4886510 w 12248682"/>
              <a:gd name="connsiteY237" fmla="*/ 609800 h 609800"/>
              <a:gd name="connsiteX238" fmla="*/ 4888405 w 12248682"/>
              <a:gd name="connsiteY238" fmla="*/ 605187 h 609800"/>
              <a:gd name="connsiteX239" fmla="*/ 4913091 w 12248682"/>
              <a:gd name="connsiteY239" fmla="*/ 594792 h 609800"/>
              <a:gd name="connsiteX240" fmla="*/ 4364499 w 12248682"/>
              <a:gd name="connsiteY240" fmla="*/ 594792 h 609800"/>
              <a:gd name="connsiteX241" fmla="*/ 4388752 w 12248682"/>
              <a:gd name="connsiteY241" fmla="*/ 605187 h 609800"/>
              <a:gd name="connsiteX242" fmla="*/ 4390729 w 12248682"/>
              <a:gd name="connsiteY242" fmla="*/ 609800 h 609800"/>
              <a:gd name="connsiteX243" fmla="*/ 4337917 w 12248682"/>
              <a:gd name="connsiteY243" fmla="*/ 609800 h 609800"/>
              <a:gd name="connsiteX244" fmla="*/ 4339811 w 12248682"/>
              <a:gd name="connsiteY244" fmla="*/ 605187 h 609800"/>
              <a:gd name="connsiteX245" fmla="*/ 4364499 w 12248682"/>
              <a:gd name="connsiteY245" fmla="*/ 594792 h 609800"/>
              <a:gd name="connsiteX246" fmla="*/ 3821678 w 12248682"/>
              <a:gd name="connsiteY246" fmla="*/ 594792 h 609800"/>
              <a:gd name="connsiteX247" fmla="*/ 3846365 w 12248682"/>
              <a:gd name="connsiteY247" fmla="*/ 605187 h 609800"/>
              <a:gd name="connsiteX248" fmla="*/ 3848260 w 12248682"/>
              <a:gd name="connsiteY248" fmla="*/ 609800 h 609800"/>
              <a:gd name="connsiteX249" fmla="*/ 3795097 w 12248682"/>
              <a:gd name="connsiteY249" fmla="*/ 609800 h 609800"/>
              <a:gd name="connsiteX250" fmla="*/ 3796992 w 12248682"/>
              <a:gd name="connsiteY250" fmla="*/ 605187 h 609800"/>
              <a:gd name="connsiteX251" fmla="*/ 3821678 w 12248682"/>
              <a:gd name="connsiteY251" fmla="*/ 594792 h 609800"/>
              <a:gd name="connsiteX252" fmla="*/ 2061558 w 12248682"/>
              <a:gd name="connsiteY252" fmla="*/ 594792 h 609800"/>
              <a:gd name="connsiteX253" fmla="*/ 2085812 w 12248682"/>
              <a:gd name="connsiteY253" fmla="*/ 605187 h 609800"/>
              <a:gd name="connsiteX254" fmla="*/ 2087789 w 12248682"/>
              <a:gd name="connsiteY254" fmla="*/ 609800 h 609800"/>
              <a:gd name="connsiteX255" fmla="*/ 2034977 w 12248682"/>
              <a:gd name="connsiteY255" fmla="*/ 609800 h 609800"/>
              <a:gd name="connsiteX256" fmla="*/ 2036871 w 12248682"/>
              <a:gd name="connsiteY256" fmla="*/ 605187 h 609800"/>
              <a:gd name="connsiteX257" fmla="*/ 2061558 w 12248682"/>
              <a:gd name="connsiteY257" fmla="*/ 594792 h 609800"/>
              <a:gd name="connsiteX258" fmla="*/ 977075 w 12248682"/>
              <a:gd name="connsiteY258" fmla="*/ 594792 h 609800"/>
              <a:gd name="connsiteX259" fmla="*/ 1001762 w 12248682"/>
              <a:gd name="connsiteY259" fmla="*/ 605187 h 609800"/>
              <a:gd name="connsiteX260" fmla="*/ 1003657 w 12248682"/>
              <a:gd name="connsiteY260" fmla="*/ 609800 h 609800"/>
              <a:gd name="connsiteX261" fmla="*/ 950494 w 12248682"/>
              <a:gd name="connsiteY261" fmla="*/ 609800 h 609800"/>
              <a:gd name="connsiteX262" fmla="*/ 952388 w 12248682"/>
              <a:gd name="connsiteY262" fmla="*/ 605187 h 609800"/>
              <a:gd name="connsiteX263" fmla="*/ 977075 w 12248682"/>
              <a:gd name="connsiteY263" fmla="*/ 594792 h 609800"/>
              <a:gd name="connsiteX264" fmla="*/ 300283 w 12248682"/>
              <a:gd name="connsiteY264" fmla="*/ 594792 h 609800"/>
              <a:gd name="connsiteX265" fmla="*/ 324537 w 12248682"/>
              <a:gd name="connsiteY265" fmla="*/ 605187 h 609800"/>
              <a:gd name="connsiteX266" fmla="*/ 326514 w 12248682"/>
              <a:gd name="connsiteY266" fmla="*/ 609800 h 609800"/>
              <a:gd name="connsiteX267" fmla="*/ 273702 w 12248682"/>
              <a:gd name="connsiteY267" fmla="*/ 609800 h 609800"/>
              <a:gd name="connsiteX268" fmla="*/ 275597 w 12248682"/>
              <a:gd name="connsiteY268" fmla="*/ 605187 h 609800"/>
              <a:gd name="connsiteX269" fmla="*/ 300283 w 12248682"/>
              <a:gd name="connsiteY269" fmla="*/ 594792 h 609800"/>
              <a:gd name="connsiteX270" fmla="*/ 11143410 w 12248682"/>
              <a:gd name="connsiteY270" fmla="*/ 589016 h 609800"/>
              <a:gd name="connsiteX271" fmla="*/ 11172283 w 12248682"/>
              <a:gd name="connsiteY271" fmla="*/ 600999 h 609800"/>
              <a:gd name="connsiteX272" fmla="*/ 11175857 w 12248682"/>
              <a:gd name="connsiteY272" fmla="*/ 609800 h 609800"/>
              <a:gd name="connsiteX273" fmla="*/ 11111262 w 12248682"/>
              <a:gd name="connsiteY273" fmla="*/ 609800 h 609800"/>
              <a:gd name="connsiteX274" fmla="*/ 11114970 w 12248682"/>
              <a:gd name="connsiteY274" fmla="*/ 600999 h 609800"/>
              <a:gd name="connsiteX275" fmla="*/ 11143410 w 12248682"/>
              <a:gd name="connsiteY275" fmla="*/ 589016 h 609800"/>
              <a:gd name="connsiteX276" fmla="*/ 10873155 w 12248682"/>
              <a:gd name="connsiteY276" fmla="*/ 589016 h 609800"/>
              <a:gd name="connsiteX277" fmla="*/ 10901595 w 12248682"/>
              <a:gd name="connsiteY277" fmla="*/ 600999 h 609800"/>
              <a:gd name="connsiteX278" fmla="*/ 10905303 w 12248682"/>
              <a:gd name="connsiteY278" fmla="*/ 609800 h 609800"/>
              <a:gd name="connsiteX279" fmla="*/ 10841006 w 12248682"/>
              <a:gd name="connsiteY279" fmla="*/ 609800 h 609800"/>
              <a:gd name="connsiteX280" fmla="*/ 10844715 w 12248682"/>
              <a:gd name="connsiteY280" fmla="*/ 600999 h 609800"/>
              <a:gd name="connsiteX281" fmla="*/ 10873155 w 12248682"/>
              <a:gd name="connsiteY281" fmla="*/ 589016 h 609800"/>
              <a:gd name="connsiteX282" fmla="*/ 10060082 w 12248682"/>
              <a:gd name="connsiteY282" fmla="*/ 589016 h 609800"/>
              <a:gd name="connsiteX283" fmla="*/ 10088522 w 12248682"/>
              <a:gd name="connsiteY283" fmla="*/ 600999 h 609800"/>
              <a:gd name="connsiteX284" fmla="*/ 10092230 w 12248682"/>
              <a:gd name="connsiteY284" fmla="*/ 609800 h 609800"/>
              <a:gd name="connsiteX285" fmla="*/ 10027932 w 12248682"/>
              <a:gd name="connsiteY285" fmla="*/ 609800 h 609800"/>
              <a:gd name="connsiteX286" fmla="*/ 10031640 w 12248682"/>
              <a:gd name="connsiteY286" fmla="*/ 600999 h 609800"/>
              <a:gd name="connsiteX287" fmla="*/ 10060082 w 12248682"/>
              <a:gd name="connsiteY287" fmla="*/ 589016 h 609800"/>
              <a:gd name="connsiteX288" fmla="*/ 9653545 w 12248682"/>
              <a:gd name="connsiteY288" fmla="*/ 589016 h 609800"/>
              <a:gd name="connsiteX289" fmla="*/ 9681985 w 12248682"/>
              <a:gd name="connsiteY289" fmla="*/ 600999 h 609800"/>
              <a:gd name="connsiteX290" fmla="*/ 9685693 w 12248682"/>
              <a:gd name="connsiteY290" fmla="*/ 609800 h 609800"/>
              <a:gd name="connsiteX291" fmla="*/ 9621396 w 12248682"/>
              <a:gd name="connsiteY291" fmla="*/ 609800 h 609800"/>
              <a:gd name="connsiteX292" fmla="*/ 9625104 w 12248682"/>
              <a:gd name="connsiteY292" fmla="*/ 600999 h 609800"/>
              <a:gd name="connsiteX293" fmla="*/ 9653545 w 12248682"/>
              <a:gd name="connsiteY293" fmla="*/ 589016 h 609800"/>
              <a:gd name="connsiteX294" fmla="*/ 8841022 w 12248682"/>
              <a:gd name="connsiteY294" fmla="*/ 589016 h 609800"/>
              <a:gd name="connsiteX295" fmla="*/ 8869895 w 12248682"/>
              <a:gd name="connsiteY295" fmla="*/ 600999 h 609800"/>
              <a:gd name="connsiteX296" fmla="*/ 8873469 w 12248682"/>
              <a:gd name="connsiteY296" fmla="*/ 609800 h 609800"/>
              <a:gd name="connsiteX297" fmla="*/ 8808873 w 12248682"/>
              <a:gd name="connsiteY297" fmla="*/ 609800 h 609800"/>
              <a:gd name="connsiteX298" fmla="*/ 8812582 w 12248682"/>
              <a:gd name="connsiteY298" fmla="*/ 600999 h 609800"/>
              <a:gd name="connsiteX299" fmla="*/ 8841022 w 12248682"/>
              <a:gd name="connsiteY299" fmla="*/ 589016 h 609800"/>
              <a:gd name="connsiteX300" fmla="*/ 8570767 w 12248682"/>
              <a:gd name="connsiteY300" fmla="*/ 589016 h 609800"/>
              <a:gd name="connsiteX301" fmla="*/ 8599207 w 12248682"/>
              <a:gd name="connsiteY301" fmla="*/ 600999 h 609800"/>
              <a:gd name="connsiteX302" fmla="*/ 8602916 w 12248682"/>
              <a:gd name="connsiteY302" fmla="*/ 609800 h 609800"/>
              <a:gd name="connsiteX303" fmla="*/ 8538618 w 12248682"/>
              <a:gd name="connsiteY303" fmla="*/ 609800 h 609800"/>
              <a:gd name="connsiteX304" fmla="*/ 8542327 w 12248682"/>
              <a:gd name="connsiteY304" fmla="*/ 600999 h 609800"/>
              <a:gd name="connsiteX305" fmla="*/ 8570767 w 12248682"/>
              <a:gd name="connsiteY305" fmla="*/ 589016 h 609800"/>
              <a:gd name="connsiteX306" fmla="*/ 6538083 w 12248682"/>
              <a:gd name="connsiteY306" fmla="*/ 589016 h 609800"/>
              <a:gd name="connsiteX307" fmla="*/ 6566958 w 12248682"/>
              <a:gd name="connsiteY307" fmla="*/ 600999 h 609800"/>
              <a:gd name="connsiteX308" fmla="*/ 6570532 w 12248682"/>
              <a:gd name="connsiteY308" fmla="*/ 609800 h 609800"/>
              <a:gd name="connsiteX309" fmla="*/ 6505935 w 12248682"/>
              <a:gd name="connsiteY309" fmla="*/ 609800 h 609800"/>
              <a:gd name="connsiteX310" fmla="*/ 6509643 w 12248682"/>
              <a:gd name="connsiteY310" fmla="*/ 600999 h 609800"/>
              <a:gd name="connsiteX311" fmla="*/ 6538083 w 12248682"/>
              <a:gd name="connsiteY311" fmla="*/ 589016 h 609800"/>
              <a:gd name="connsiteX312" fmla="*/ 6267830 w 12248682"/>
              <a:gd name="connsiteY312" fmla="*/ 589016 h 609800"/>
              <a:gd name="connsiteX313" fmla="*/ 6296269 w 12248682"/>
              <a:gd name="connsiteY313" fmla="*/ 600999 h 609800"/>
              <a:gd name="connsiteX314" fmla="*/ 6299977 w 12248682"/>
              <a:gd name="connsiteY314" fmla="*/ 609800 h 609800"/>
              <a:gd name="connsiteX315" fmla="*/ 6235681 w 12248682"/>
              <a:gd name="connsiteY315" fmla="*/ 609800 h 609800"/>
              <a:gd name="connsiteX316" fmla="*/ 6239389 w 12248682"/>
              <a:gd name="connsiteY316" fmla="*/ 600999 h 609800"/>
              <a:gd name="connsiteX317" fmla="*/ 6267830 w 12248682"/>
              <a:gd name="connsiteY317" fmla="*/ 589016 h 609800"/>
              <a:gd name="connsiteX318" fmla="*/ 5454756 w 12248682"/>
              <a:gd name="connsiteY318" fmla="*/ 589016 h 609800"/>
              <a:gd name="connsiteX319" fmla="*/ 5483196 w 12248682"/>
              <a:gd name="connsiteY319" fmla="*/ 600999 h 609800"/>
              <a:gd name="connsiteX320" fmla="*/ 5486904 w 12248682"/>
              <a:gd name="connsiteY320" fmla="*/ 609800 h 609800"/>
              <a:gd name="connsiteX321" fmla="*/ 5422607 w 12248682"/>
              <a:gd name="connsiteY321" fmla="*/ 609800 h 609800"/>
              <a:gd name="connsiteX322" fmla="*/ 5426315 w 12248682"/>
              <a:gd name="connsiteY322" fmla="*/ 600999 h 609800"/>
              <a:gd name="connsiteX323" fmla="*/ 5454756 w 12248682"/>
              <a:gd name="connsiteY323" fmla="*/ 589016 h 609800"/>
              <a:gd name="connsiteX324" fmla="*/ 5048218 w 12248682"/>
              <a:gd name="connsiteY324" fmla="*/ 589016 h 609800"/>
              <a:gd name="connsiteX325" fmla="*/ 5076659 w 12248682"/>
              <a:gd name="connsiteY325" fmla="*/ 600999 h 609800"/>
              <a:gd name="connsiteX326" fmla="*/ 5080367 w 12248682"/>
              <a:gd name="connsiteY326" fmla="*/ 609800 h 609800"/>
              <a:gd name="connsiteX327" fmla="*/ 5016070 w 12248682"/>
              <a:gd name="connsiteY327" fmla="*/ 609800 h 609800"/>
              <a:gd name="connsiteX328" fmla="*/ 5019778 w 12248682"/>
              <a:gd name="connsiteY328" fmla="*/ 600999 h 609800"/>
              <a:gd name="connsiteX329" fmla="*/ 5048218 w 12248682"/>
              <a:gd name="connsiteY329" fmla="*/ 589016 h 609800"/>
              <a:gd name="connsiteX330" fmla="*/ 4228217 w 12248682"/>
              <a:gd name="connsiteY330" fmla="*/ 589016 h 609800"/>
              <a:gd name="connsiteX331" fmla="*/ 4257089 w 12248682"/>
              <a:gd name="connsiteY331" fmla="*/ 600999 h 609800"/>
              <a:gd name="connsiteX332" fmla="*/ 4260663 w 12248682"/>
              <a:gd name="connsiteY332" fmla="*/ 609800 h 609800"/>
              <a:gd name="connsiteX333" fmla="*/ 4196067 w 12248682"/>
              <a:gd name="connsiteY333" fmla="*/ 609800 h 609800"/>
              <a:gd name="connsiteX334" fmla="*/ 4199775 w 12248682"/>
              <a:gd name="connsiteY334" fmla="*/ 600999 h 609800"/>
              <a:gd name="connsiteX335" fmla="*/ 4228217 w 12248682"/>
              <a:gd name="connsiteY335" fmla="*/ 589016 h 609800"/>
              <a:gd name="connsiteX336" fmla="*/ 3957960 w 12248682"/>
              <a:gd name="connsiteY336" fmla="*/ 589016 h 609800"/>
              <a:gd name="connsiteX337" fmla="*/ 3986400 w 12248682"/>
              <a:gd name="connsiteY337" fmla="*/ 600999 h 609800"/>
              <a:gd name="connsiteX338" fmla="*/ 3990108 w 12248682"/>
              <a:gd name="connsiteY338" fmla="*/ 609800 h 609800"/>
              <a:gd name="connsiteX339" fmla="*/ 3925812 w 12248682"/>
              <a:gd name="connsiteY339" fmla="*/ 609800 h 609800"/>
              <a:gd name="connsiteX340" fmla="*/ 3929520 w 12248682"/>
              <a:gd name="connsiteY340" fmla="*/ 600999 h 609800"/>
              <a:gd name="connsiteX341" fmla="*/ 3957960 w 12248682"/>
              <a:gd name="connsiteY341" fmla="*/ 589016 h 609800"/>
              <a:gd name="connsiteX342" fmla="*/ 1925276 w 12248682"/>
              <a:gd name="connsiteY342" fmla="*/ 589016 h 609800"/>
              <a:gd name="connsiteX343" fmla="*/ 1954149 w 12248682"/>
              <a:gd name="connsiteY343" fmla="*/ 600999 h 609800"/>
              <a:gd name="connsiteX344" fmla="*/ 1957723 w 12248682"/>
              <a:gd name="connsiteY344" fmla="*/ 609800 h 609800"/>
              <a:gd name="connsiteX345" fmla="*/ 1893128 w 12248682"/>
              <a:gd name="connsiteY345" fmla="*/ 609800 h 609800"/>
              <a:gd name="connsiteX346" fmla="*/ 1896836 w 12248682"/>
              <a:gd name="connsiteY346" fmla="*/ 600999 h 609800"/>
              <a:gd name="connsiteX347" fmla="*/ 1925276 w 12248682"/>
              <a:gd name="connsiteY347" fmla="*/ 589016 h 609800"/>
              <a:gd name="connsiteX348" fmla="*/ 1655022 w 12248682"/>
              <a:gd name="connsiteY348" fmla="*/ 589016 h 609800"/>
              <a:gd name="connsiteX349" fmla="*/ 1683462 w 12248682"/>
              <a:gd name="connsiteY349" fmla="*/ 600999 h 609800"/>
              <a:gd name="connsiteX350" fmla="*/ 1687170 w 12248682"/>
              <a:gd name="connsiteY350" fmla="*/ 609800 h 609800"/>
              <a:gd name="connsiteX351" fmla="*/ 1622873 w 12248682"/>
              <a:gd name="connsiteY351" fmla="*/ 609800 h 609800"/>
              <a:gd name="connsiteX352" fmla="*/ 1626581 w 12248682"/>
              <a:gd name="connsiteY352" fmla="*/ 600999 h 609800"/>
              <a:gd name="connsiteX353" fmla="*/ 1655022 w 12248682"/>
              <a:gd name="connsiteY353" fmla="*/ 589016 h 609800"/>
              <a:gd name="connsiteX354" fmla="*/ 841948 w 12248682"/>
              <a:gd name="connsiteY354" fmla="*/ 589016 h 609800"/>
              <a:gd name="connsiteX355" fmla="*/ 870388 w 12248682"/>
              <a:gd name="connsiteY355" fmla="*/ 600999 h 609800"/>
              <a:gd name="connsiteX356" fmla="*/ 874096 w 12248682"/>
              <a:gd name="connsiteY356" fmla="*/ 609800 h 609800"/>
              <a:gd name="connsiteX357" fmla="*/ 809800 w 12248682"/>
              <a:gd name="connsiteY357" fmla="*/ 609800 h 609800"/>
              <a:gd name="connsiteX358" fmla="*/ 813508 w 12248682"/>
              <a:gd name="connsiteY358" fmla="*/ 600999 h 609800"/>
              <a:gd name="connsiteX359" fmla="*/ 841948 w 12248682"/>
              <a:gd name="connsiteY359" fmla="*/ 589016 h 609800"/>
              <a:gd name="connsiteX360" fmla="*/ 435411 w 12248682"/>
              <a:gd name="connsiteY360" fmla="*/ 589016 h 609800"/>
              <a:gd name="connsiteX361" fmla="*/ 463851 w 12248682"/>
              <a:gd name="connsiteY361" fmla="*/ 600999 h 609800"/>
              <a:gd name="connsiteX362" fmla="*/ 467559 w 12248682"/>
              <a:gd name="connsiteY362" fmla="*/ 609800 h 609800"/>
              <a:gd name="connsiteX363" fmla="*/ 403263 w 12248682"/>
              <a:gd name="connsiteY363" fmla="*/ 609800 h 609800"/>
              <a:gd name="connsiteX364" fmla="*/ 406971 w 12248682"/>
              <a:gd name="connsiteY364" fmla="*/ 600999 h 609800"/>
              <a:gd name="connsiteX365" fmla="*/ 435411 w 12248682"/>
              <a:gd name="connsiteY365" fmla="*/ 589016 h 609800"/>
              <a:gd name="connsiteX366" fmla="*/ 11008282 w 12248682"/>
              <a:gd name="connsiteY366" fmla="*/ 577467 h 609800"/>
              <a:gd name="connsiteX367" fmla="*/ 11044085 w 12248682"/>
              <a:gd name="connsiteY367" fmla="*/ 592481 h 609800"/>
              <a:gd name="connsiteX368" fmla="*/ 11051348 w 12248682"/>
              <a:gd name="connsiteY368" fmla="*/ 609800 h 609800"/>
              <a:gd name="connsiteX369" fmla="*/ 10964993 w 12248682"/>
              <a:gd name="connsiteY369" fmla="*/ 609800 h 609800"/>
              <a:gd name="connsiteX370" fmla="*/ 10972046 w 12248682"/>
              <a:gd name="connsiteY370" fmla="*/ 592481 h 609800"/>
              <a:gd name="connsiteX371" fmla="*/ 11008282 w 12248682"/>
              <a:gd name="connsiteY371" fmla="*/ 577467 h 609800"/>
              <a:gd name="connsiteX372" fmla="*/ 9924954 w 12248682"/>
              <a:gd name="connsiteY372" fmla="*/ 577467 h 609800"/>
              <a:gd name="connsiteX373" fmla="*/ 9960757 w 12248682"/>
              <a:gd name="connsiteY373" fmla="*/ 592481 h 609800"/>
              <a:gd name="connsiteX374" fmla="*/ 9968020 w 12248682"/>
              <a:gd name="connsiteY374" fmla="*/ 609800 h 609800"/>
              <a:gd name="connsiteX375" fmla="*/ 9881665 w 12248682"/>
              <a:gd name="connsiteY375" fmla="*/ 609800 h 609800"/>
              <a:gd name="connsiteX376" fmla="*/ 9888718 w 12248682"/>
              <a:gd name="connsiteY376" fmla="*/ 592481 h 609800"/>
              <a:gd name="connsiteX377" fmla="*/ 9924954 w 12248682"/>
              <a:gd name="connsiteY377" fmla="*/ 577467 h 609800"/>
              <a:gd name="connsiteX378" fmla="*/ 9788672 w 12248682"/>
              <a:gd name="connsiteY378" fmla="*/ 577467 h 609800"/>
              <a:gd name="connsiteX379" fmla="*/ 9824908 w 12248682"/>
              <a:gd name="connsiteY379" fmla="*/ 593059 h 609800"/>
              <a:gd name="connsiteX380" fmla="*/ 9831618 w 12248682"/>
              <a:gd name="connsiteY380" fmla="*/ 609800 h 609800"/>
              <a:gd name="connsiteX381" fmla="*/ 9745864 w 12248682"/>
              <a:gd name="connsiteY381" fmla="*/ 609800 h 609800"/>
              <a:gd name="connsiteX382" fmla="*/ 9752868 w 12248682"/>
              <a:gd name="connsiteY382" fmla="*/ 592626 h 609800"/>
              <a:gd name="connsiteX383" fmla="*/ 9788672 w 12248682"/>
              <a:gd name="connsiteY383" fmla="*/ 577467 h 609800"/>
              <a:gd name="connsiteX384" fmla="*/ 8705894 w 12248682"/>
              <a:gd name="connsiteY384" fmla="*/ 577467 h 609800"/>
              <a:gd name="connsiteX385" fmla="*/ 8741697 w 12248682"/>
              <a:gd name="connsiteY385" fmla="*/ 592481 h 609800"/>
              <a:gd name="connsiteX386" fmla="*/ 8748960 w 12248682"/>
              <a:gd name="connsiteY386" fmla="*/ 609800 h 609800"/>
              <a:gd name="connsiteX387" fmla="*/ 8662605 w 12248682"/>
              <a:gd name="connsiteY387" fmla="*/ 609800 h 609800"/>
              <a:gd name="connsiteX388" fmla="*/ 8669658 w 12248682"/>
              <a:gd name="connsiteY388" fmla="*/ 592481 h 609800"/>
              <a:gd name="connsiteX389" fmla="*/ 8705894 w 12248682"/>
              <a:gd name="connsiteY389" fmla="*/ 577467 h 609800"/>
              <a:gd name="connsiteX390" fmla="*/ 6402956 w 12248682"/>
              <a:gd name="connsiteY390" fmla="*/ 577467 h 609800"/>
              <a:gd name="connsiteX391" fmla="*/ 6439192 w 12248682"/>
              <a:gd name="connsiteY391" fmla="*/ 592481 h 609800"/>
              <a:gd name="connsiteX392" fmla="*/ 6446246 w 12248682"/>
              <a:gd name="connsiteY392" fmla="*/ 609800 h 609800"/>
              <a:gd name="connsiteX393" fmla="*/ 6359667 w 12248682"/>
              <a:gd name="connsiteY393" fmla="*/ 609800 h 609800"/>
              <a:gd name="connsiteX394" fmla="*/ 6366721 w 12248682"/>
              <a:gd name="connsiteY394" fmla="*/ 592481 h 609800"/>
              <a:gd name="connsiteX395" fmla="*/ 6402956 w 12248682"/>
              <a:gd name="connsiteY395" fmla="*/ 577467 h 609800"/>
              <a:gd name="connsiteX396" fmla="*/ 5319628 w 12248682"/>
              <a:gd name="connsiteY396" fmla="*/ 577467 h 609800"/>
              <a:gd name="connsiteX397" fmla="*/ 5355431 w 12248682"/>
              <a:gd name="connsiteY397" fmla="*/ 592481 h 609800"/>
              <a:gd name="connsiteX398" fmla="*/ 5362693 w 12248682"/>
              <a:gd name="connsiteY398" fmla="*/ 609800 h 609800"/>
              <a:gd name="connsiteX399" fmla="*/ 5276339 w 12248682"/>
              <a:gd name="connsiteY399" fmla="*/ 609800 h 609800"/>
              <a:gd name="connsiteX400" fmla="*/ 5283392 w 12248682"/>
              <a:gd name="connsiteY400" fmla="*/ 592481 h 609800"/>
              <a:gd name="connsiteX401" fmla="*/ 5319628 w 12248682"/>
              <a:gd name="connsiteY401" fmla="*/ 577467 h 609800"/>
              <a:gd name="connsiteX402" fmla="*/ 5183346 w 12248682"/>
              <a:gd name="connsiteY402" fmla="*/ 577467 h 609800"/>
              <a:gd name="connsiteX403" fmla="*/ 5219582 w 12248682"/>
              <a:gd name="connsiteY403" fmla="*/ 592481 h 609800"/>
              <a:gd name="connsiteX404" fmla="*/ 5226635 w 12248682"/>
              <a:gd name="connsiteY404" fmla="*/ 609800 h 609800"/>
              <a:gd name="connsiteX405" fmla="*/ 5140056 w 12248682"/>
              <a:gd name="connsiteY405" fmla="*/ 609800 h 609800"/>
              <a:gd name="connsiteX406" fmla="*/ 5147110 w 12248682"/>
              <a:gd name="connsiteY406" fmla="*/ 592481 h 609800"/>
              <a:gd name="connsiteX407" fmla="*/ 5183346 w 12248682"/>
              <a:gd name="connsiteY407" fmla="*/ 577467 h 609800"/>
              <a:gd name="connsiteX408" fmla="*/ 4093087 w 12248682"/>
              <a:gd name="connsiteY408" fmla="*/ 577467 h 609800"/>
              <a:gd name="connsiteX409" fmla="*/ 4128890 w 12248682"/>
              <a:gd name="connsiteY409" fmla="*/ 592481 h 609800"/>
              <a:gd name="connsiteX410" fmla="*/ 4136153 w 12248682"/>
              <a:gd name="connsiteY410" fmla="*/ 609800 h 609800"/>
              <a:gd name="connsiteX411" fmla="*/ 4049798 w 12248682"/>
              <a:gd name="connsiteY411" fmla="*/ 609800 h 609800"/>
              <a:gd name="connsiteX412" fmla="*/ 4056851 w 12248682"/>
              <a:gd name="connsiteY412" fmla="*/ 592481 h 609800"/>
              <a:gd name="connsiteX413" fmla="*/ 4093087 w 12248682"/>
              <a:gd name="connsiteY413" fmla="*/ 577467 h 609800"/>
              <a:gd name="connsiteX414" fmla="*/ 1790148 w 12248682"/>
              <a:gd name="connsiteY414" fmla="*/ 577467 h 609800"/>
              <a:gd name="connsiteX415" fmla="*/ 1825951 w 12248682"/>
              <a:gd name="connsiteY415" fmla="*/ 592481 h 609800"/>
              <a:gd name="connsiteX416" fmla="*/ 1833214 w 12248682"/>
              <a:gd name="connsiteY416" fmla="*/ 609800 h 609800"/>
              <a:gd name="connsiteX417" fmla="*/ 1746859 w 12248682"/>
              <a:gd name="connsiteY417" fmla="*/ 609800 h 609800"/>
              <a:gd name="connsiteX418" fmla="*/ 1753912 w 12248682"/>
              <a:gd name="connsiteY418" fmla="*/ 592481 h 609800"/>
              <a:gd name="connsiteX419" fmla="*/ 1790148 w 12248682"/>
              <a:gd name="connsiteY419" fmla="*/ 577467 h 609800"/>
              <a:gd name="connsiteX420" fmla="*/ 706820 w 12248682"/>
              <a:gd name="connsiteY420" fmla="*/ 577467 h 609800"/>
              <a:gd name="connsiteX421" fmla="*/ 742623 w 12248682"/>
              <a:gd name="connsiteY421" fmla="*/ 592481 h 609800"/>
              <a:gd name="connsiteX422" fmla="*/ 749886 w 12248682"/>
              <a:gd name="connsiteY422" fmla="*/ 609800 h 609800"/>
              <a:gd name="connsiteX423" fmla="*/ 663531 w 12248682"/>
              <a:gd name="connsiteY423" fmla="*/ 609800 h 609800"/>
              <a:gd name="connsiteX424" fmla="*/ 670584 w 12248682"/>
              <a:gd name="connsiteY424" fmla="*/ 592481 h 609800"/>
              <a:gd name="connsiteX425" fmla="*/ 706820 w 12248682"/>
              <a:gd name="connsiteY425" fmla="*/ 577467 h 609800"/>
              <a:gd name="connsiteX426" fmla="*/ 570538 w 12248682"/>
              <a:gd name="connsiteY426" fmla="*/ 577467 h 609800"/>
              <a:gd name="connsiteX427" fmla="*/ 606775 w 12248682"/>
              <a:gd name="connsiteY427" fmla="*/ 593059 h 609800"/>
              <a:gd name="connsiteX428" fmla="*/ 613484 w 12248682"/>
              <a:gd name="connsiteY428" fmla="*/ 609800 h 609800"/>
              <a:gd name="connsiteX429" fmla="*/ 527731 w 12248682"/>
              <a:gd name="connsiteY429" fmla="*/ 609800 h 609800"/>
              <a:gd name="connsiteX430" fmla="*/ 534735 w 12248682"/>
              <a:gd name="connsiteY430" fmla="*/ 592626 h 609800"/>
              <a:gd name="connsiteX431" fmla="*/ 570538 w 12248682"/>
              <a:gd name="connsiteY431" fmla="*/ 577467 h 609800"/>
              <a:gd name="connsiteX432" fmla="*/ 12180541 w 12248682"/>
              <a:gd name="connsiteY432" fmla="*/ 464284 h 609800"/>
              <a:gd name="connsiteX433" fmla="*/ 12201330 w 12248682"/>
              <a:gd name="connsiteY433" fmla="*/ 485072 h 609800"/>
              <a:gd name="connsiteX434" fmla="*/ 12180541 w 12248682"/>
              <a:gd name="connsiteY434" fmla="*/ 505861 h 609800"/>
              <a:gd name="connsiteX435" fmla="*/ 12159752 w 12248682"/>
              <a:gd name="connsiteY435" fmla="*/ 485072 h 609800"/>
              <a:gd name="connsiteX436" fmla="*/ 12180541 w 12248682"/>
              <a:gd name="connsiteY436" fmla="*/ 464284 h 609800"/>
              <a:gd name="connsiteX437" fmla="*/ 12040793 w 12248682"/>
              <a:gd name="connsiteY437" fmla="*/ 464284 h 609800"/>
              <a:gd name="connsiteX438" fmla="*/ 12061582 w 12248682"/>
              <a:gd name="connsiteY438" fmla="*/ 485072 h 609800"/>
              <a:gd name="connsiteX439" fmla="*/ 12040793 w 12248682"/>
              <a:gd name="connsiteY439" fmla="*/ 505861 h 609800"/>
              <a:gd name="connsiteX440" fmla="*/ 12020004 w 12248682"/>
              <a:gd name="connsiteY440" fmla="*/ 485072 h 609800"/>
              <a:gd name="connsiteX441" fmla="*/ 12040793 w 12248682"/>
              <a:gd name="connsiteY441" fmla="*/ 464284 h 609800"/>
              <a:gd name="connsiteX442" fmla="*/ 11901047 w 12248682"/>
              <a:gd name="connsiteY442" fmla="*/ 464284 h 609800"/>
              <a:gd name="connsiteX443" fmla="*/ 11921836 w 12248682"/>
              <a:gd name="connsiteY443" fmla="*/ 485072 h 609800"/>
              <a:gd name="connsiteX444" fmla="*/ 11901047 w 12248682"/>
              <a:gd name="connsiteY444" fmla="*/ 505861 h 609800"/>
              <a:gd name="connsiteX445" fmla="*/ 11880258 w 12248682"/>
              <a:gd name="connsiteY445" fmla="*/ 485072 h 609800"/>
              <a:gd name="connsiteX446" fmla="*/ 11901047 w 12248682"/>
              <a:gd name="connsiteY446" fmla="*/ 464284 h 609800"/>
              <a:gd name="connsiteX447" fmla="*/ 11761299 w 12248682"/>
              <a:gd name="connsiteY447" fmla="*/ 464284 h 609800"/>
              <a:gd name="connsiteX448" fmla="*/ 11782088 w 12248682"/>
              <a:gd name="connsiteY448" fmla="*/ 485072 h 609800"/>
              <a:gd name="connsiteX449" fmla="*/ 11761299 w 12248682"/>
              <a:gd name="connsiteY449" fmla="*/ 505861 h 609800"/>
              <a:gd name="connsiteX450" fmla="*/ 11740510 w 12248682"/>
              <a:gd name="connsiteY450" fmla="*/ 485072 h 609800"/>
              <a:gd name="connsiteX451" fmla="*/ 11761299 w 12248682"/>
              <a:gd name="connsiteY451" fmla="*/ 464284 h 609800"/>
              <a:gd name="connsiteX452" fmla="*/ 11621553 w 12248682"/>
              <a:gd name="connsiteY452" fmla="*/ 464284 h 609800"/>
              <a:gd name="connsiteX453" fmla="*/ 11642342 w 12248682"/>
              <a:gd name="connsiteY453" fmla="*/ 485072 h 609800"/>
              <a:gd name="connsiteX454" fmla="*/ 11621553 w 12248682"/>
              <a:gd name="connsiteY454" fmla="*/ 505861 h 609800"/>
              <a:gd name="connsiteX455" fmla="*/ 11600764 w 12248682"/>
              <a:gd name="connsiteY455" fmla="*/ 485072 h 609800"/>
              <a:gd name="connsiteX456" fmla="*/ 11621553 w 12248682"/>
              <a:gd name="connsiteY456" fmla="*/ 464284 h 609800"/>
              <a:gd name="connsiteX457" fmla="*/ 11481805 w 12248682"/>
              <a:gd name="connsiteY457" fmla="*/ 464284 h 609800"/>
              <a:gd name="connsiteX458" fmla="*/ 11502594 w 12248682"/>
              <a:gd name="connsiteY458" fmla="*/ 485072 h 609800"/>
              <a:gd name="connsiteX459" fmla="*/ 11481805 w 12248682"/>
              <a:gd name="connsiteY459" fmla="*/ 505861 h 609800"/>
              <a:gd name="connsiteX460" fmla="*/ 11461016 w 12248682"/>
              <a:gd name="connsiteY460" fmla="*/ 485072 h 609800"/>
              <a:gd name="connsiteX461" fmla="*/ 11481805 w 12248682"/>
              <a:gd name="connsiteY461" fmla="*/ 464284 h 609800"/>
              <a:gd name="connsiteX462" fmla="*/ 10644478 w 12248682"/>
              <a:gd name="connsiteY462" fmla="*/ 464284 h 609800"/>
              <a:gd name="connsiteX463" fmla="*/ 10665267 w 12248682"/>
              <a:gd name="connsiteY463" fmla="*/ 485072 h 609800"/>
              <a:gd name="connsiteX464" fmla="*/ 10644478 w 12248682"/>
              <a:gd name="connsiteY464" fmla="*/ 505861 h 609800"/>
              <a:gd name="connsiteX465" fmla="*/ 10623690 w 12248682"/>
              <a:gd name="connsiteY465" fmla="*/ 485072 h 609800"/>
              <a:gd name="connsiteX466" fmla="*/ 10644478 w 12248682"/>
              <a:gd name="connsiteY466" fmla="*/ 464284 h 609800"/>
              <a:gd name="connsiteX467" fmla="*/ 10504731 w 12248682"/>
              <a:gd name="connsiteY467" fmla="*/ 464284 h 609800"/>
              <a:gd name="connsiteX468" fmla="*/ 10525520 w 12248682"/>
              <a:gd name="connsiteY468" fmla="*/ 485072 h 609800"/>
              <a:gd name="connsiteX469" fmla="*/ 10504731 w 12248682"/>
              <a:gd name="connsiteY469" fmla="*/ 505861 h 609800"/>
              <a:gd name="connsiteX470" fmla="*/ 10483942 w 12248682"/>
              <a:gd name="connsiteY470" fmla="*/ 485072 h 609800"/>
              <a:gd name="connsiteX471" fmla="*/ 10504731 w 12248682"/>
              <a:gd name="connsiteY471" fmla="*/ 464284 h 609800"/>
              <a:gd name="connsiteX472" fmla="*/ 10364984 w 12248682"/>
              <a:gd name="connsiteY472" fmla="*/ 464284 h 609800"/>
              <a:gd name="connsiteX473" fmla="*/ 10385773 w 12248682"/>
              <a:gd name="connsiteY473" fmla="*/ 485072 h 609800"/>
              <a:gd name="connsiteX474" fmla="*/ 10364984 w 12248682"/>
              <a:gd name="connsiteY474" fmla="*/ 505861 h 609800"/>
              <a:gd name="connsiteX475" fmla="*/ 10344196 w 12248682"/>
              <a:gd name="connsiteY475" fmla="*/ 485072 h 609800"/>
              <a:gd name="connsiteX476" fmla="*/ 10364984 w 12248682"/>
              <a:gd name="connsiteY476" fmla="*/ 464284 h 609800"/>
              <a:gd name="connsiteX477" fmla="*/ 7854709 w 12248682"/>
              <a:gd name="connsiteY477" fmla="*/ 464284 h 609800"/>
              <a:gd name="connsiteX478" fmla="*/ 7875498 w 12248682"/>
              <a:gd name="connsiteY478" fmla="*/ 485072 h 609800"/>
              <a:gd name="connsiteX479" fmla="*/ 7854709 w 12248682"/>
              <a:gd name="connsiteY479" fmla="*/ 505861 h 609800"/>
              <a:gd name="connsiteX480" fmla="*/ 7833921 w 12248682"/>
              <a:gd name="connsiteY480" fmla="*/ 485072 h 609800"/>
              <a:gd name="connsiteX481" fmla="*/ 7854709 w 12248682"/>
              <a:gd name="connsiteY481" fmla="*/ 464284 h 609800"/>
              <a:gd name="connsiteX482" fmla="*/ 7714960 w 12248682"/>
              <a:gd name="connsiteY482" fmla="*/ 464284 h 609800"/>
              <a:gd name="connsiteX483" fmla="*/ 7735749 w 12248682"/>
              <a:gd name="connsiteY483" fmla="*/ 485072 h 609800"/>
              <a:gd name="connsiteX484" fmla="*/ 7714960 w 12248682"/>
              <a:gd name="connsiteY484" fmla="*/ 505861 h 609800"/>
              <a:gd name="connsiteX485" fmla="*/ 7694172 w 12248682"/>
              <a:gd name="connsiteY485" fmla="*/ 485072 h 609800"/>
              <a:gd name="connsiteX486" fmla="*/ 7714960 w 12248682"/>
              <a:gd name="connsiteY486" fmla="*/ 464284 h 609800"/>
              <a:gd name="connsiteX487" fmla="*/ 7575214 w 12248682"/>
              <a:gd name="connsiteY487" fmla="*/ 464284 h 609800"/>
              <a:gd name="connsiteX488" fmla="*/ 7596004 w 12248682"/>
              <a:gd name="connsiteY488" fmla="*/ 485072 h 609800"/>
              <a:gd name="connsiteX489" fmla="*/ 7575214 w 12248682"/>
              <a:gd name="connsiteY489" fmla="*/ 505861 h 609800"/>
              <a:gd name="connsiteX490" fmla="*/ 7554427 w 12248682"/>
              <a:gd name="connsiteY490" fmla="*/ 485072 h 609800"/>
              <a:gd name="connsiteX491" fmla="*/ 7575214 w 12248682"/>
              <a:gd name="connsiteY491" fmla="*/ 464284 h 609800"/>
              <a:gd name="connsiteX492" fmla="*/ 7435467 w 12248682"/>
              <a:gd name="connsiteY492" fmla="*/ 464284 h 609800"/>
              <a:gd name="connsiteX493" fmla="*/ 7456257 w 12248682"/>
              <a:gd name="connsiteY493" fmla="*/ 485072 h 609800"/>
              <a:gd name="connsiteX494" fmla="*/ 7435467 w 12248682"/>
              <a:gd name="connsiteY494" fmla="*/ 505861 h 609800"/>
              <a:gd name="connsiteX495" fmla="*/ 7414678 w 12248682"/>
              <a:gd name="connsiteY495" fmla="*/ 485072 h 609800"/>
              <a:gd name="connsiteX496" fmla="*/ 7435467 w 12248682"/>
              <a:gd name="connsiteY496" fmla="*/ 464284 h 609800"/>
              <a:gd name="connsiteX497" fmla="*/ 7295720 w 12248682"/>
              <a:gd name="connsiteY497" fmla="*/ 464284 h 609800"/>
              <a:gd name="connsiteX498" fmla="*/ 7316509 w 12248682"/>
              <a:gd name="connsiteY498" fmla="*/ 485072 h 609800"/>
              <a:gd name="connsiteX499" fmla="*/ 7295720 w 12248682"/>
              <a:gd name="connsiteY499" fmla="*/ 505861 h 609800"/>
              <a:gd name="connsiteX500" fmla="*/ 7274932 w 12248682"/>
              <a:gd name="connsiteY500" fmla="*/ 485072 h 609800"/>
              <a:gd name="connsiteX501" fmla="*/ 7295720 w 12248682"/>
              <a:gd name="connsiteY501" fmla="*/ 464284 h 609800"/>
              <a:gd name="connsiteX502" fmla="*/ 7155974 w 12248682"/>
              <a:gd name="connsiteY502" fmla="*/ 464284 h 609800"/>
              <a:gd name="connsiteX503" fmla="*/ 7176762 w 12248682"/>
              <a:gd name="connsiteY503" fmla="*/ 485072 h 609800"/>
              <a:gd name="connsiteX504" fmla="*/ 7155974 w 12248682"/>
              <a:gd name="connsiteY504" fmla="*/ 505861 h 609800"/>
              <a:gd name="connsiteX505" fmla="*/ 7135183 w 12248682"/>
              <a:gd name="connsiteY505" fmla="*/ 485072 h 609800"/>
              <a:gd name="connsiteX506" fmla="*/ 7155974 w 12248682"/>
              <a:gd name="connsiteY506" fmla="*/ 464284 h 609800"/>
              <a:gd name="connsiteX507" fmla="*/ 7016227 w 12248682"/>
              <a:gd name="connsiteY507" fmla="*/ 464284 h 609800"/>
              <a:gd name="connsiteX508" fmla="*/ 7037016 w 12248682"/>
              <a:gd name="connsiteY508" fmla="*/ 485072 h 609800"/>
              <a:gd name="connsiteX509" fmla="*/ 7016227 w 12248682"/>
              <a:gd name="connsiteY509" fmla="*/ 505861 h 609800"/>
              <a:gd name="connsiteX510" fmla="*/ 6995438 w 12248682"/>
              <a:gd name="connsiteY510" fmla="*/ 485072 h 609800"/>
              <a:gd name="connsiteX511" fmla="*/ 7016227 w 12248682"/>
              <a:gd name="connsiteY511" fmla="*/ 464284 h 609800"/>
              <a:gd name="connsiteX512" fmla="*/ 6877634 w 12248682"/>
              <a:gd name="connsiteY512" fmla="*/ 464284 h 609800"/>
              <a:gd name="connsiteX513" fmla="*/ 6898424 w 12248682"/>
              <a:gd name="connsiteY513" fmla="*/ 485072 h 609800"/>
              <a:gd name="connsiteX514" fmla="*/ 6877634 w 12248682"/>
              <a:gd name="connsiteY514" fmla="*/ 505861 h 609800"/>
              <a:gd name="connsiteX515" fmla="*/ 6856845 w 12248682"/>
              <a:gd name="connsiteY515" fmla="*/ 485072 h 609800"/>
              <a:gd name="connsiteX516" fmla="*/ 6877634 w 12248682"/>
              <a:gd name="connsiteY516" fmla="*/ 464284 h 609800"/>
              <a:gd name="connsiteX517" fmla="*/ 6039151 w 12248682"/>
              <a:gd name="connsiteY517" fmla="*/ 464284 h 609800"/>
              <a:gd name="connsiteX518" fmla="*/ 6059942 w 12248682"/>
              <a:gd name="connsiteY518" fmla="*/ 485072 h 609800"/>
              <a:gd name="connsiteX519" fmla="*/ 6039151 w 12248682"/>
              <a:gd name="connsiteY519" fmla="*/ 505861 h 609800"/>
              <a:gd name="connsiteX520" fmla="*/ 6018363 w 12248682"/>
              <a:gd name="connsiteY520" fmla="*/ 485072 h 609800"/>
              <a:gd name="connsiteX521" fmla="*/ 6039151 w 12248682"/>
              <a:gd name="connsiteY521" fmla="*/ 464284 h 609800"/>
              <a:gd name="connsiteX522" fmla="*/ 5899406 w 12248682"/>
              <a:gd name="connsiteY522" fmla="*/ 464284 h 609800"/>
              <a:gd name="connsiteX523" fmla="*/ 5920193 w 12248682"/>
              <a:gd name="connsiteY523" fmla="*/ 485072 h 609800"/>
              <a:gd name="connsiteX524" fmla="*/ 5899406 w 12248682"/>
              <a:gd name="connsiteY524" fmla="*/ 505861 h 609800"/>
              <a:gd name="connsiteX525" fmla="*/ 5878616 w 12248682"/>
              <a:gd name="connsiteY525" fmla="*/ 485072 h 609800"/>
              <a:gd name="connsiteX526" fmla="*/ 5899406 w 12248682"/>
              <a:gd name="connsiteY526" fmla="*/ 464284 h 609800"/>
              <a:gd name="connsiteX527" fmla="*/ 5759658 w 12248682"/>
              <a:gd name="connsiteY527" fmla="*/ 464284 h 609800"/>
              <a:gd name="connsiteX528" fmla="*/ 5780448 w 12248682"/>
              <a:gd name="connsiteY528" fmla="*/ 485072 h 609800"/>
              <a:gd name="connsiteX529" fmla="*/ 5759658 w 12248682"/>
              <a:gd name="connsiteY529" fmla="*/ 505861 h 609800"/>
              <a:gd name="connsiteX530" fmla="*/ 5738869 w 12248682"/>
              <a:gd name="connsiteY530" fmla="*/ 485072 h 609800"/>
              <a:gd name="connsiteX531" fmla="*/ 5759658 w 12248682"/>
              <a:gd name="connsiteY531" fmla="*/ 464284 h 609800"/>
              <a:gd name="connsiteX532" fmla="*/ 3241901 w 12248682"/>
              <a:gd name="connsiteY532" fmla="*/ 464284 h 609800"/>
              <a:gd name="connsiteX533" fmla="*/ 3262690 w 12248682"/>
              <a:gd name="connsiteY533" fmla="*/ 485072 h 609800"/>
              <a:gd name="connsiteX534" fmla="*/ 3241901 w 12248682"/>
              <a:gd name="connsiteY534" fmla="*/ 505861 h 609800"/>
              <a:gd name="connsiteX535" fmla="*/ 3221112 w 12248682"/>
              <a:gd name="connsiteY535" fmla="*/ 485072 h 609800"/>
              <a:gd name="connsiteX536" fmla="*/ 3241901 w 12248682"/>
              <a:gd name="connsiteY536" fmla="*/ 464284 h 609800"/>
              <a:gd name="connsiteX537" fmla="*/ 3102153 w 12248682"/>
              <a:gd name="connsiteY537" fmla="*/ 464284 h 609800"/>
              <a:gd name="connsiteX538" fmla="*/ 3122942 w 12248682"/>
              <a:gd name="connsiteY538" fmla="*/ 485072 h 609800"/>
              <a:gd name="connsiteX539" fmla="*/ 3102153 w 12248682"/>
              <a:gd name="connsiteY539" fmla="*/ 505861 h 609800"/>
              <a:gd name="connsiteX540" fmla="*/ 3081365 w 12248682"/>
              <a:gd name="connsiteY540" fmla="*/ 485072 h 609800"/>
              <a:gd name="connsiteX541" fmla="*/ 3102153 w 12248682"/>
              <a:gd name="connsiteY541" fmla="*/ 464284 h 609800"/>
              <a:gd name="connsiteX542" fmla="*/ 2962407 w 12248682"/>
              <a:gd name="connsiteY542" fmla="*/ 464284 h 609800"/>
              <a:gd name="connsiteX543" fmla="*/ 2983196 w 12248682"/>
              <a:gd name="connsiteY543" fmla="*/ 485072 h 609800"/>
              <a:gd name="connsiteX544" fmla="*/ 2962407 w 12248682"/>
              <a:gd name="connsiteY544" fmla="*/ 505861 h 609800"/>
              <a:gd name="connsiteX545" fmla="*/ 2941618 w 12248682"/>
              <a:gd name="connsiteY545" fmla="*/ 485072 h 609800"/>
              <a:gd name="connsiteX546" fmla="*/ 2962407 w 12248682"/>
              <a:gd name="connsiteY546" fmla="*/ 464284 h 609800"/>
              <a:gd name="connsiteX547" fmla="*/ 2822659 w 12248682"/>
              <a:gd name="connsiteY547" fmla="*/ 464284 h 609800"/>
              <a:gd name="connsiteX548" fmla="*/ 2843448 w 12248682"/>
              <a:gd name="connsiteY548" fmla="*/ 485072 h 609800"/>
              <a:gd name="connsiteX549" fmla="*/ 2822659 w 12248682"/>
              <a:gd name="connsiteY549" fmla="*/ 505861 h 609800"/>
              <a:gd name="connsiteX550" fmla="*/ 2801871 w 12248682"/>
              <a:gd name="connsiteY550" fmla="*/ 485072 h 609800"/>
              <a:gd name="connsiteX551" fmla="*/ 2822659 w 12248682"/>
              <a:gd name="connsiteY551" fmla="*/ 464284 h 609800"/>
              <a:gd name="connsiteX552" fmla="*/ 2682913 w 12248682"/>
              <a:gd name="connsiteY552" fmla="*/ 464284 h 609800"/>
              <a:gd name="connsiteX553" fmla="*/ 2703702 w 12248682"/>
              <a:gd name="connsiteY553" fmla="*/ 485072 h 609800"/>
              <a:gd name="connsiteX554" fmla="*/ 2682913 w 12248682"/>
              <a:gd name="connsiteY554" fmla="*/ 505861 h 609800"/>
              <a:gd name="connsiteX555" fmla="*/ 2662124 w 12248682"/>
              <a:gd name="connsiteY555" fmla="*/ 485072 h 609800"/>
              <a:gd name="connsiteX556" fmla="*/ 2682913 w 12248682"/>
              <a:gd name="connsiteY556" fmla="*/ 464284 h 609800"/>
              <a:gd name="connsiteX557" fmla="*/ 2543167 w 12248682"/>
              <a:gd name="connsiteY557" fmla="*/ 464284 h 609800"/>
              <a:gd name="connsiteX558" fmla="*/ 2563954 w 12248682"/>
              <a:gd name="connsiteY558" fmla="*/ 485072 h 609800"/>
              <a:gd name="connsiteX559" fmla="*/ 2543167 w 12248682"/>
              <a:gd name="connsiteY559" fmla="*/ 505861 h 609800"/>
              <a:gd name="connsiteX560" fmla="*/ 2522376 w 12248682"/>
              <a:gd name="connsiteY560" fmla="*/ 485072 h 609800"/>
              <a:gd name="connsiteX561" fmla="*/ 2543167 w 12248682"/>
              <a:gd name="connsiteY561" fmla="*/ 464284 h 609800"/>
              <a:gd name="connsiteX562" fmla="*/ 2403419 w 12248682"/>
              <a:gd name="connsiteY562" fmla="*/ 464284 h 609800"/>
              <a:gd name="connsiteX563" fmla="*/ 2424209 w 12248682"/>
              <a:gd name="connsiteY563" fmla="*/ 485072 h 609800"/>
              <a:gd name="connsiteX564" fmla="*/ 2403419 w 12248682"/>
              <a:gd name="connsiteY564" fmla="*/ 505861 h 609800"/>
              <a:gd name="connsiteX565" fmla="*/ 2382630 w 12248682"/>
              <a:gd name="connsiteY565" fmla="*/ 485072 h 609800"/>
              <a:gd name="connsiteX566" fmla="*/ 2403419 w 12248682"/>
              <a:gd name="connsiteY566" fmla="*/ 464284 h 609800"/>
              <a:gd name="connsiteX567" fmla="*/ 2263671 w 12248682"/>
              <a:gd name="connsiteY567" fmla="*/ 464284 h 609800"/>
              <a:gd name="connsiteX568" fmla="*/ 2284460 w 12248682"/>
              <a:gd name="connsiteY568" fmla="*/ 485072 h 609800"/>
              <a:gd name="connsiteX569" fmla="*/ 2263671 w 12248682"/>
              <a:gd name="connsiteY569" fmla="*/ 505861 h 609800"/>
              <a:gd name="connsiteX570" fmla="*/ 2242883 w 12248682"/>
              <a:gd name="connsiteY570" fmla="*/ 485072 h 609800"/>
              <a:gd name="connsiteX571" fmla="*/ 2263671 w 12248682"/>
              <a:gd name="connsiteY571" fmla="*/ 464284 h 609800"/>
              <a:gd name="connsiteX572" fmla="*/ 1426344 w 12248682"/>
              <a:gd name="connsiteY572" fmla="*/ 464284 h 609800"/>
              <a:gd name="connsiteX573" fmla="*/ 1447133 w 12248682"/>
              <a:gd name="connsiteY573" fmla="*/ 485072 h 609800"/>
              <a:gd name="connsiteX574" fmla="*/ 1426344 w 12248682"/>
              <a:gd name="connsiteY574" fmla="*/ 505861 h 609800"/>
              <a:gd name="connsiteX575" fmla="*/ 1405556 w 12248682"/>
              <a:gd name="connsiteY575" fmla="*/ 485072 h 609800"/>
              <a:gd name="connsiteX576" fmla="*/ 1426344 w 12248682"/>
              <a:gd name="connsiteY576" fmla="*/ 464284 h 609800"/>
              <a:gd name="connsiteX577" fmla="*/ 1286597 w 12248682"/>
              <a:gd name="connsiteY577" fmla="*/ 464284 h 609800"/>
              <a:gd name="connsiteX578" fmla="*/ 1307386 w 12248682"/>
              <a:gd name="connsiteY578" fmla="*/ 485072 h 609800"/>
              <a:gd name="connsiteX579" fmla="*/ 1286597 w 12248682"/>
              <a:gd name="connsiteY579" fmla="*/ 505861 h 609800"/>
              <a:gd name="connsiteX580" fmla="*/ 1265808 w 12248682"/>
              <a:gd name="connsiteY580" fmla="*/ 485072 h 609800"/>
              <a:gd name="connsiteX581" fmla="*/ 1286597 w 12248682"/>
              <a:gd name="connsiteY581" fmla="*/ 464284 h 609800"/>
              <a:gd name="connsiteX582" fmla="*/ 1146851 w 12248682"/>
              <a:gd name="connsiteY582" fmla="*/ 464284 h 609800"/>
              <a:gd name="connsiteX583" fmla="*/ 1167639 w 12248682"/>
              <a:gd name="connsiteY583" fmla="*/ 485072 h 609800"/>
              <a:gd name="connsiteX584" fmla="*/ 1146851 w 12248682"/>
              <a:gd name="connsiteY584" fmla="*/ 505861 h 609800"/>
              <a:gd name="connsiteX585" fmla="*/ 1126062 w 12248682"/>
              <a:gd name="connsiteY585" fmla="*/ 485072 h 609800"/>
              <a:gd name="connsiteX586" fmla="*/ 1146851 w 12248682"/>
              <a:gd name="connsiteY586" fmla="*/ 464284 h 609800"/>
              <a:gd name="connsiteX587" fmla="*/ 11343213 w 12248682"/>
              <a:gd name="connsiteY587" fmla="*/ 461974 h 609800"/>
              <a:gd name="connsiteX588" fmla="*/ 11366312 w 12248682"/>
              <a:gd name="connsiteY588" fmla="*/ 485072 h 609800"/>
              <a:gd name="connsiteX589" fmla="*/ 11343213 w 12248682"/>
              <a:gd name="connsiteY589" fmla="*/ 508171 h 609800"/>
              <a:gd name="connsiteX590" fmla="*/ 11320114 w 12248682"/>
              <a:gd name="connsiteY590" fmla="*/ 485072 h 609800"/>
              <a:gd name="connsiteX591" fmla="*/ 11343213 w 12248682"/>
              <a:gd name="connsiteY591" fmla="*/ 461974 h 609800"/>
              <a:gd name="connsiteX592" fmla="*/ 10225237 w 12248682"/>
              <a:gd name="connsiteY592" fmla="*/ 461974 h 609800"/>
              <a:gd name="connsiteX593" fmla="*/ 10248335 w 12248682"/>
              <a:gd name="connsiteY593" fmla="*/ 485072 h 609800"/>
              <a:gd name="connsiteX594" fmla="*/ 10225237 w 12248682"/>
              <a:gd name="connsiteY594" fmla="*/ 508171 h 609800"/>
              <a:gd name="connsiteX595" fmla="*/ 10202138 w 12248682"/>
              <a:gd name="connsiteY595" fmla="*/ 485072 h 609800"/>
              <a:gd name="connsiteX596" fmla="*/ 10225237 w 12248682"/>
              <a:gd name="connsiteY596" fmla="*/ 461974 h 609800"/>
              <a:gd name="connsiteX597" fmla="*/ 9112431 w 12248682"/>
              <a:gd name="connsiteY597" fmla="*/ 461974 h 609800"/>
              <a:gd name="connsiteX598" fmla="*/ 9135530 w 12248682"/>
              <a:gd name="connsiteY598" fmla="*/ 485072 h 609800"/>
              <a:gd name="connsiteX599" fmla="*/ 9112431 w 12248682"/>
              <a:gd name="connsiteY599" fmla="*/ 508171 h 609800"/>
              <a:gd name="connsiteX600" fmla="*/ 9089332 w 12248682"/>
              <a:gd name="connsiteY600" fmla="*/ 485072 h 609800"/>
              <a:gd name="connsiteX601" fmla="*/ 9112431 w 12248682"/>
              <a:gd name="connsiteY601" fmla="*/ 461974 h 609800"/>
              <a:gd name="connsiteX602" fmla="*/ 7994456 w 12248682"/>
              <a:gd name="connsiteY602" fmla="*/ 461974 h 609800"/>
              <a:gd name="connsiteX603" fmla="*/ 8017555 w 12248682"/>
              <a:gd name="connsiteY603" fmla="*/ 485072 h 609800"/>
              <a:gd name="connsiteX604" fmla="*/ 7994456 w 12248682"/>
              <a:gd name="connsiteY604" fmla="*/ 508171 h 609800"/>
              <a:gd name="connsiteX605" fmla="*/ 7971356 w 12248682"/>
              <a:gd name="connsiteY605" fmla="*/ 485072 h 609800"/>
              <a:gd name="connsiteX606" fmla="*/ 7994456 w 12248682"/>
              <a:gd name="connsiteY606" fmla="*/ 461974 h 609800"/>
              <a:gd name="connsiteX607" fmla="*/ 6737887 w 12248682"/>
              <a:gd name="connsiteY607" fmla="*/ 461974 h 609800"/>
              <a:gd name="connsiteX608" fmla="*/ 6760986 w 12248682"/>
              <a:gd name="connsiteY608" fmla="*/ 485072 h 609800"/>
              <a:gd name="connsiteX609" fmla="*/ 6737887 w 12248682"/>
              <a:gd name="connsiteY609" fmla="*/ 508171 h 609800"/>
              <a:gd name="connsiteX610" fmla="*/ 6714789 w 12248682"/>
              <a:gd name="connsiteY610" fmla="*/ 485072 h 609800"/>
              <a:gd name="connsiteX611" fmla="*/ 6737887 w 12248682"/>
              <a:gd name="connsiteY611" fmla="*/ 461974 h 609800"/>
              <a:gd name="connsiteX612" fmla="*/ 5619912 w 12248682"/>
              <a:gd name="connsiteY612" fmla="*/ 461974 h 609800"/>
              <a:gd name="connsiteX613" fmla="*/ 5643008 w 12248682"/>
              <a:gd name="connsiteY613" fmla="*/ 485072 h 609800"/>
              <a:gd name="connsiteX614" fmla="*/ 5619912 w 12248682"/>
              <a:gd name="connsiteY614" fmla="*/ 508171 h 609800"/>
              <a:gd name="connsiteX615" fmla="*/ 5596812 w 12248682"/>
              <a:gd name="connsiteY615" fmla="*/ 485072 h 609800"/>
              <a:gd name="connsiteX616" fmla="*/ 5619912 w 12248682"/>
              <a:gd name="connsiteY616" fmla="*/ 461974 h 609800"/>
              <a:gd name="connsiteX617" fmla="*/ 4499625 w 12248682"/>
              <a:gd name="connsiteY617" fmla="*/ 461974 h 609800"/>
              <a:gd name="connsiteX618" fmla="*/ 4522722 w 12248682"/>
              <a:gd name="connsiteY618" fmla="*/ 485072 h 609800"/>
              <a:gd name="connsiteX619" fmla="*/ 4499625 w 12248682"/>
              <a:gd name="connsiteY619" fmla="*/ 508171 h 609800"/>
              <a:gd name="connsiteX620" fmla="*/ 4476525 w 12248682"/>
              <a:gd name="connsiteY620" fmla="*/ 485072 h 609800"/>
              <a:gd name="connsiteX621" fmla="*/ 4499625 w 12248682"/>
              <a:gd name="connsiteY621" fmla="*/ 461974 h 609800"/>
              <a:gd name="connsiteX622" fmla="*/ 3381648 w 12248682"/>
              <a:gd name="connsiteY622" fmla="*/ 461974 h 609800"/>
              <a:gd name="connsiteX623" fmla="*/ 3404746 w 12248682"/>
              <a:gd name="connsiteY623" fmla="*/ 485072 h 609800"/>
              <a:gd name="connsiteX624" fmla="*/ 3381648 w 12248682"/>
              <a:gd name="connsiteY624" fmla="*/ 508171 h 609800"/>
              <a:gd name="connsiteX625" fmla="*/ 3358549 w 12248682"/>
              <a:gd name="connsiteY625" fmla="*/ 485072 h 609800"/>
              <a:gd name="connsiteX626" fmla="*/ 3381648 w 12248682"/>
              <a:gd name="connsiteY626" fmla="*/ 461974 h 609800"/>
              <a:gd name="connsiteX627" fmla="*/ 2125079 w 12248682"/>
              <a:gd name="connsiteY627" fmla="*/ 461974 h 609800"/>
              <a:gd name="connsiteX628" fmla="*/ 2148178 w 12248682"/>
              <a:gd name="connsiteY628" fmla="*/ 485072 h 609800"/>
              <a:gd name="connsiteX629" fmla="*/ 2125079 w 12248682"/>
              <a:gd name="connsiteY629" fmla="*/ 508171 h 609800"/>
              <a:gd name="connsiteX630" fmla="*/ 2101980 w 12248682"/>
              <a:gd name="connsiteY630" fmla="*/ 485072 h 609800"/>
              <a:gd name="connsiteX631" fmla="*/ 2125079 w 12248682"/>
              <a:gd name="connsiteY631" fmla="*/ 461974 h 609800"/>
              <a:gd name="connsiteX632" fmla="*/ 1007103 w 12248682"/>
              <a:gd name="connsiteY632" fmla="*/ 461974 h 609800"/>
              <a:gd name="connsiteX633" fmla="*/ 1030201 w 12248682"/>
              <a:gd name="connsiteY633" fmla="*/ 485072 h 609800"/>
              <a:gd name="connsiteX634" fmla="*/ 1007103 w 12248682"/>
              <a:gd name="connsiteY634" fmla="*/ 508171 h 609800"/>
              <a:gd name="connsiteX635" fmla="*/ 984004 w 12248682"/>
              <a:gd name="connsiteY635" fmla="*/ 485072 h 609800"/>
              <a:gd name="connsiteX636" fmla="*/ 1007103 w 12248682"/>
              <a:gd name="connsiteY636" fmla="*/ 461974 h 609800"/>
              <a:gd name="connsiteX637" fmla="*/ 11203466 w 12248682"/>
              <a:gd name="connsiteY637" fmla="*/ 456200 h 609800"/>
              <a:gd name="connsiteX638" fmla="*/ 11232339 w 12248682"/>
              <a:gd name="connsiteY638" fmla="*/ 485072 h 609800"/>
              <a:gd name="connsiteX639" fmla="*/ 11203466 w 12248682"/>
              <a:gd name="connsiteY639" fmla="*/ 513946 h 609800"/>
              <a:gd name="connsiteX640" fmla="*/ 11174593 w 12248682"/>
              <a:gd name="connsiteY640" fmla="*/ 485072 h 609800"/>
              <a:gd name="connsiteX641" fmla="*/ 11203466 w 12248682"/>
              <a:gd name="connsiteY641" fmla="*/ 456200 h 609800"/>
              <a:gd name="connsiteX642" fmla="*/ 10085490 w 12248682"/>
              <a:gd name="connsiteY642" fmla="*/ 456200 h 609800"/>
              <a:gd name="connsiteX643" fmla="*/ 10114363 w 12248682"/>
              <a:gd name="connsiteY643" fmla="*/ 485072 h 609800"/>
              <a:gd name="connsiteX644" fmla="*/ 10085490 w 12248682"/>
              <a:gd name="connsiteY644" fmla="*/ 513946 h 609800"/>
              <a:gd name="connsiteX645" fmla="*/ 10056616 w 12248682"/>
              <a:gd name="connsiteY645" fmla="*/ 485072 h 609800"/>
              <a:gd name="connsiteX646" fmla="*/ 10085490 w 12248682"/>
              <a:gd name="connsiteY646" fmla="*/ 456200 h 609800"/>
              <a:gd name="connsiteX647" fmla="*/ 9247008 w 12248682"/>
              <a:gd name="connsiteY647" fmla="*/ 456200 h 609800"/>
              <a:gd name="connsiteX648" fmla="*/ 9275881 w 12248682"/>
              <a:gd name="connsiteY648" fmla="*/ 485072 h 609800"/>
              <a:gd name="connsiteX649" fmla="*/ 9247008 w 12248682"/>
              <a:gd name="connsiteY649" fmla="*/ 513946 h 609800"/>
              <a:gd name="connsiteX650" fmla="*/ 9218134 w 12248682"/>
              <a:gd name="connsiteY650" fmla="*/ 485072 h 609800"/>
              <a:gd name="connsiteX651" fmla="*/ 9247008 w 12248682"/>
              <a:gd name="connsiteY651" fmla="*/ 456200 h 609800"/>
              <a:gd name="connsiteX652" fmla="*/ 8972685 w 12248682"/>
              <a:gd name="connsiteY652" fmla="*/ 456200 h 609800"/>
              <a:gd name="connsiteX653" fmla="*/ 9001557 w 12248682"/>
              <a:gd name="connsiteY653" fmla="*/ 485072 h 609800"/>
              <a:gd name="connsiteX654" fmla="*/ 8972685 w 12248682"/>
              <a:gd name="connsiteY654" fmla="*/ 513946 h 609800"/>
              <a:gd name="connsiteX655" fmla="*/ 8943811 w 12248682"/>
              <a:gd name="connsiteY655" fmla="*/ 485072 h 609800"/>
              <a:gd name="connsiteX656" fmla="*/ 8972685 w 12248682"/>
              <a:gd name="connsiteY656" fmla="*/ 456200 h 609800"/>
              <a:gd name="connsiteX657" fmla="*/ 8134203 w 12248682"/>
              <a:gd name="connsiteY657" fmla="*/ 456200 h 609800"/>
              <a:gd name="connsiteX658" fmla="*/ 8163075 w 12248682"/>
              <a:gd name="connsiteY658" fmla="*/ 485072 h 609800"/>
              <a:gd name="connsiteX659" fmla="*/ 8134203 w 12248682"/>
              <a:gd name="connsiteY659" fmla="*/ 513946 h 609800"/>
              <a:gd name="connsiteX660" fmla="*/ 8105330 w 12248682"/>
              <a:gd name="connsiteY660" fmla="*/ 485072 h 609800"/>
              <a:gd name="connsiteX661" fmla="*/ 8134203 w 12248682"/>
              <a:gd name="connsiteY661" fmla="*/ 456200 h 609800"/>
              <a:gd name="connsiteX662" fmla="*/ 6598140 w 12248682"/>
              <a:gd name="connsiteY662" fmla="*/ 456200 h 609800"/>
              <a:gd name="connsiteX663" fmla="*/ 6627013 w 12248682"/>
              <a:gd name="connsiteY663" fmla="*/ 485072 h 609800"/>
              <a:gd name="connsiteX664" fmla="*/ 6598140 w 12248682"/>
              <a:gd name="connsiteY664" fmla="*/ 513946 h 609800"/>
              <a:gd name="connsiteX665" fmla="*/ 6569267 w 12248682"/>
              <a:gd name="connsiteY665" fmla="*/ 485072 h 609800"/>
              <a:gd name="connsiteX666" fmla="*/ 6598140 w 12248682"/>
              <a:gd name="connsiteY666" fmla="*/ 456200 h 609800"/>
              <a:gd name="connsiteX667" fmla="*/ 5480165 w 12248682"/>
              <a:gd name="connsiteY667" fmla="*/ 456200 h 609800"/>
              <a:gd name="connsiteX668" fmla="*/ 5509037 w 12248682"/>
              <a:gd name="connsiteY668" fmla="*/ 485072 h 609800"/>
              <a:gd name="connsiteX669" fmla="*/ 5480165 w 12248682"/>
              <a:gd name="connsiteY669" fmla="*/ 513946 h 609800"/>
              <a:gd name="connsiteX670" fmla="*/ 5451289 w 12248682"/>
              <a:gd name="connsiteY670" fmla="*/ 485072 h 609800"/>
              <a:gd name="connsiteX671" fmla="*/ 5480165 w 12248682"/>
              <a:gd name="connsiteY671" fmla="*/ 456200 h 609800"/>
              <a:gd name="connsiteX672" fmla="*/ 4641682 w 12248682"/>
              <a:gd name="connsiteY672" fmla="*/ 456200 h 609800"/>
              <a:gd name="connsiteX673" fmla="*/ 4670555 w 12248682"/>
              <a:gd name="connsiteY673" fmla="*/ 485072 h 609800"/>
              <a:gd name="connsiteX674" fmla="*/ 4641682 w 12248682"/>
              <a:gd name="connsiteY674" fmla="*/ 513946 h 609800"/>
              <a:gd name="connsiteX675" fmla="*/ 4612809 w 12248682"/>
              <a:gd name="connsiteY675" fmla="*/ 485072 h 609800"/>
              <a:gd name="connsiteX676" fmla="*/ 4641682 w 12248682"/>
              <a:gd name="connsiteY676" fmla="*/ 456200 h 609800"/>
              <a:gd name="connsiteX677" fmla="*/ 4359878 w 12248682"/>
              <a:gd name="connsiteY677" fmla="*/ 456200 h 609800"/>
              <a:gd name="connsiteX678" fmla="*/ 4388751 w 12248682"/>
              <a:gd name="connsiteY678" fmla="*/ 485072 h 609800"/>
              <a:gd name="connsiteX679" fmla="*/ 4359878 w 12248682"/>
              <a:gd name="connsiteY679" fmla="*/ 513946 h 609800"/>
              <a:gd name="connsiteX680" fmla="*/ 4331004 w 12248682"/>
              <a:gd name="connsiteY680" fmla="*/ 485072 h 609800"/>
              <a:gd name="connsiteX681" fmla="*/ 4359878 w 12248682"/>
              <a:gd name="connsiteY681" fmla="*/ 456200 h 609800"/>
              <a:gd name="connsiteX682" fmla="*/ 3521396 w 12248682"/>
              <a:gd name="connsiteY682" fmla="*/ 456200 h 609800"/>
              <a:gd name="connsiteX683" fmla="*/ 3550268 w 12248682"/>
              <a:gd name="connsiteY683" fmla="*/ 485072 h 609800"/>
              <a:gd name="connsiteX684" fmla="*/ 3521396 w 12248682"/>
              <a:gd name="connsiteY684" fmla="*/ 513946 h 609800"/>
              <a:gd name="connsiteX685" fmla="*/ 3492521 w 12248682"/>
              <a:gd name="connsiteY685" fmla="*/ 485072 h 609800"/>
              <a:gd name="connsiteX686" fmla="*/ 3521396 w 12248682"/>
              <a:gd name="connsiteY686" fmla="*/ 456200 h 609800"/>
              <a:gd name="connsiteX687" fmla="*/ 1985333 w 12248682"/>
              <a:gd name="connsiteY687" fmla="*/ 456200 h 609800"/>
              <a:gd name="connsiteX688" fmla="*/ 2014205 w 12248682"/>
              <a:gd name="connsiteY688" fmla="*/ 485072 h 609800"/>
              <a:gd name="connsiteX689" fmla="*/ 1985333 w 12248682"/>
              <a:gd name="connsiteY689" fmla="*/ 513946 h 609800"/>
              <a:gd name="connsiteX690" fmla="*/ 1956459 w 12248682"/>
              <a:gd name="connsiteY690" fmla="*/ 485072 h 609800"/>
              <a:gd name="connsiteX691" fmla="*/ 1985333 w 12248682"/>
              <a:gd name="connsiteY691" fmla="*/ 456200 h 609800"/>
              <a:gd name="connsiteX692" fmla="*/ 867356 w 12248682"/>
              <a:gd name="connsiteY692" fmla="*/ 456200 h 609800"/>
              <a:gd name="connsiteX693" fmla="*/ 896229 w 12248682"/>
              <a:gd name="connsiteY693" fmla="*/ 485072 h 609800"/>
              <a:gd name="connsiteX694" fmla="*/ 867356 w 12248682"/>
              <a:gd name="connsiteY694" fmla="*/ 513946 h 609800"/>
              <a:gd name="connsiteX695" fmla="*/ 838482 w 12248682"/>
              <a:gd name="connsiteY695" fmla="*/ 485072 h 609800"/>
              <a:gd name="connsiteX696" fmla="*/ 867356 w 12248682"/>
              <a:gd name="connsiteY696" fmla="*/ 456200 h 609800"/>
              <a:gd name="connsiteX697" fmla="*/ 28874 w 12248682"/>
              <a:gd name="connsiteY697" fmla="*/ 456200 h 609800"/>
              <a:gd name="connsiteX698" fmla="*/ 57747 w 12248682"/>
              <a:gd name="connsiteY698" fmla="*/ 485072 h 609800"/>
              <a:gd name="connsiteX699" fmla="*/ 28874 w 12248682"/>
              <a:gd name="connsiteY699" fmla="*/ 513946 h 609800"/>
              <a:gd name="connsiteX700" fmla="*/ 0 w 12248682"/>
              <a:gd name="connsiteY700" fmla="*/ 485072 h 609800"/>
              <a:gd name="connsiteX701" fmla="*/ 28874 w 12248682"/>
              <a:gd name="connsiteY701" fmla="*/ 456200 h 609800"/>
              <a:gd name="connsiteX702" fmla="*/ 11063719 w 12248682"/>
              <a:gd name="connsiteY702" fmla="*/ 449270 h 609800"/>
              <a:gd name="connsiteX703" fmla="*/ 11098367 w 12248682"/>
              <a:gd name="connsiteY703" fmla="*/ 483918 h 609800"/>
              <a:gd name="connsiteX704" fmla="*/ 11063719 w 12248682"/>
              <a:gd name="connsiteY704" fmla="*/ 518566 h 609800"/>
              <a:gd name="connsiteX705" fmla="*/ 11029071 w 12248682"/>
              <a:gd name="connsiteY705" fmla="*/ 483918 h 609800"/>
              <a:gd name="connsiteX706" fmla="*/ 11063719 w 12248682"/>
              <a:gd name="connsiteY706" fmla="*/ 449270 h 609800"/>
              <a:gd name="connsiteX707" fmla="*/ 9945743 w 12248682"/>
              <a:gd name="connsiteY707" fmla="*/ 449270 h 609800"/>
              <a:gd name="connsiteX708" fmla="*/ 9980391 w 12248682"/>
              <a:gd name="connsiteY708" fmla="*/ 483918 h 609800"/>
              <a:gd name="connsiteX709" fmla="*/ 9945743 w 12248682"/>
              <a:gd name="connsiteY709" fmla="*/ 518566 h 609800"/>
              <a:gd name="connsiteX710" fmla="*/ 9911094 w 12248682"/>
              <a:gd name="connsiteY710" fmla="*/ 483918 h 609800"/>
              <a:gd name="connsiteX711" fmla="*/ 9945743 w 12248682"/>
              <a:gd name="connsiteY711" fmla="*/ 449270 h 609800"/>
              <a:gd name="connsiteX712" fmla="*/ 9386754 w 12248682"/>
              <a:gd name="connsiteY712" fmla="*/ 449270 h 609800"/>
              <a:gd name="connsiteX713" fmla="*/ 9421402 w 12248682"/>
              <a:gd name="connsiteY713" fmla="*/ 483918 h 609800"/>
              <a:gd name="connsiteX714" fmla="*/ 9386754 w 12248682"/>
              <a:gd name="connsiteY714" fmla="*/ 518566 h 609800"/>
              <a:gd name="connsiteX715" fmla="*/ 9352106 w 12248682"/>
              <a:gd name="connsiteY715" fmla="*/ 483918 h 609800"/>
              <a:gd name="connsiteX716" fmla="*/ 9386754 w 12248682"/>
              <a:gd name="connsiteY716" fmla="*/ 449270 h 609800"/>
              <a:gd name="connsiteX717" fmla="*/ 8832937 w 12248682"/>
              <a:gd name="connsiteY717" fmla="*/ 449270 h 609800"/>
              <a:gd name="connsiteX718" fmla="*/ 8867585 w 12248682"/>
              <a:gd name="connsiteY718" fmla="*/ 483918 h 609800"/>
              <a:gd name="connsiteX719" fmla="*/ 8832937 w 12248682"/>
              <a:gd name="connsiteY719" fmla="*/ 518566 h 609800"/>
              <a:gd name="connsiteX720" fmla="*/ 8798289 w 12248682"/>
              <a:gd name="connsiteY720" fmla="*/ 483918 h 609800"/>
              <a:gd name="connsiteX721" fmla="*/ 8832937 w 12248682"/>
              <a:gd name="connsiteY721" fmla="*/ 449270 h 609800"/>
              <a:gd name="connsiteX722" fmla="*/ 8273949 w 12248682"/>
              <a:gd name="connsiteY722" fmla="*/ 449270 h 609800"/>
              <a:gd name="connsiteX723" fmla="*/ 8308598 w 12248682"/>
              <a:gd name="connsiteY723" fmla="*/ 483918 h 609800"/>
              <a:gd name="connsiteX724" fmla="*/ 8273949 w 12248682"/>
              <a:gd name="connsiteY724" fmla="*/ 518566 h 609800"/>
              <a:gd name="connsiteX725" fmla="*/ 8239301 w 12248682"/>
              <a:gd name="connsiteY725" fmla="*/ 483918 h 609800"/>
              <a:gd name="connsiteX726" fmla="*/ 8273949 w 12248682"/>
              <a:gd name="connsiteY726" fmla="*/ 449270 h 609800"/>
              <a:gd name="connsiteX727" fmla="*/ 6458393 w 12248682"/>
              <a:gd name="connsiteY727" fmla="*/ 449270 h 609800"/>
              <a:gd name="connsiteX728" fmla="*/ 6493041 w 12248682"/>
              <a:gd name="connsiteY728" fmla="*/ 483918 h 609800"/>
              <a:gd name="connsiteX729" fmla="*/ 6458393 w 12248682"/>
              <a:gd name="connsiteY729" fmla="*/ 518566 h 609800"/>
              <a:gd name="connsiteX730" fmla="*/ 6423745 w 12248682"/>
              <a:gd name="connsiteY730" fmla="*/ 483918 h 609800"/>
              <a:gd name="connsiteX731" fmla="*/ 6458393 w 12248682"/>
              <a:gd name="connsiteY731" fmla="*/ 449270 h 609800"/>
              <a:gd name="connsiteX732" fmla="*/ 5340416 w 12248682"/>
              <a:gd name="connsiteY732" fmla="*/ 449270 h 609800"/>
              <a:gd name="connsiteX733" fmla="*/ 5375064 w 12248682"/>
              <a:gd name="connsiteY733" fmla="*/ 483918 h 609800"/>
              <a:gd name="connsiteX734" fmla="*/ 5340416 w 12248682"/>
              <a:gd name="connsiteY734" fmla="*/ 518566 h 609800"/>
              <a:gd name="connsiteX735" fmla="*/ 5305769 w 12248682"/>
              <a:gd name="connsiteY735" fmla="*/ 483918 h 609800"/>
              <a:gd name="connsiteX736" fmla="*/ 5340416 w 12248682"/>
              <a:gd name="connsiteY736" fmla="*/ 449270 h 609800"/>
              <a:gd name="connsiteX737" fmla="*/ 4781429 w 12248682"/>
              <a:gd name="connsiteY737" fmla="*/ 449270 h 609800"/>
              <a:gd name="connsiteX738" fmla="*/ 4816075 w 12248682"/>
              <a:gd name="connsiteY738" fmla="*/ 483918 h 609800"/>
              <a:gd name="connsiteX739" fmla="*/ 4781429 w 12248682"/>
              <a:gd name="connsiteY739" fmla="*/ 518566 h 609800"/>
              <a:gd name="connsiteX740" fmla="*/ 4746781 w 12248682"/>
              <a:gd name="connsiteY740" fmla="*/ 483918 h 609800"/>
              <a:gd name="connsiteX741" fmla="*/ 4781429 w 12248682"/>
              <a:gd name="connsiteY741" fmla="*/ 449270 h 609800"/>
              <a:gd name="connsiteX742" fmla="*/ 4220129 w 12248682"/>
              <a:gd name="connsiteY742" fmla="*/ 449270 h 609800"/>
              <a:gd name="connsiteX743" fmla="*/ 4254779 w 12248682"/>
              <a:gd name="connsiteY743" fmla="*/ 483918 h 609800"/>
              <a:gd name="connsiteX744" fmla="*/ 4220129 w 12248682"/>
              <a:gd name="connsiteY744" fmla="*/ 518566 h 609800"/>
              <a:gd name="connsiteX745" fmla="*/ 4185482 w 12248682"/>
              <a:gd name="connsiteY745" fmla="*/ 483918 h 609800"/>
              <a:gd name="connsiteX746" fmla="*/ 4220129 w 12248682"/>
              <a:gd name="connsiteY746" fmla="*/ 449270 h 609800"/>
              <a:gd name="connsiteX747" fmla="*/ 3661142 w 12248682"/>
              <a:gd name="connsiteY747" fmla="*/ 449270 h 609800"/>
              <a:gd name="connsiteX748" fmla="*/ 3695791 w 12248682"/>
              <a:gd name="connsiteY748" fmla="*/ 483918 h 609800"/>
              <a:gd name="connsiteX749" fmla="*/ 3661142 w 12248682"/>
              <a:gd name="connsiteY749" fmla="*/ 518566 h 609800"/>
              <a:gd name="connsiteX750" fmla="*/ 3626494 w 12248682"/>
              <a:gd name="connsiteY750" fmla="*/ 483918 h 609800"/>
              <a:gd name="connsiteX751" fmla="*/ 3661142 w 12248682"/>
              <a:gd name="connsiteY751" fmla="*/ 449270 h 609800"/>
              <a:gd name="connsiteX752" fmla="*/ 1845585 w 12248682"/>
              <a:gd name="connsiteY752" fmla="*/ 449270 h 609800"/>
              <a:gd name="connsiteX753" fmla="*/ 1880233 w 12248682"/>
              <a:gd name="connsiteY753" fmla="*/ 483918 h 609800"/>
              <a:gd name="connsiteX754" fmla="*/ 1845585 w 12248682"/>
              <a:gd name="connsiteY754" fmla="*/ 518566 h 609800"/>
              <a:gd name="connsiteX755" fmla="*/ 1810937 w 12248682"/>
              <a:gd name="connsiteY755" fmla="*/ 483918 h 609800"/>
              <a:gd name="connsiteX756" fmla="*/ 1845585 w 12248682"/>
              <a:gd name="connsiteY756" fmla="*/ 449270 h 609800"/>
              <a:gd name="connsiteX757" fmla="*/ 727609 w 12248682"/>
              <a:gd name="connsiteY757" fmla="*/ 449270 h 609800"/>
              <a:gd name="connsiteX758" fmla="*/ 762257 w 12248682"/>
              <a:gd name="connsiteY758" fmla="*/ 483918 h 609800"/>
              <a:gd name="connsiteX759" fmla="*/ 727609 w 12248682"/>
              <a:gd name="connsiteY759" fmla="*/ 518566 h 609800"/>
              <a:gd name="connsiteX760" fmla="*/ 692961 w 12248682"/>
              <a:gd name="connsiteY760" fmla="*/ 483918 h 609800"/>
              <a:gd name="connsiteX761" fmla="*/ 727609 w 12248682"/>
              <a:gd name="connsiteY761" fmla="*/ 449270 h 609800"/>
              <a:gd name="connsiteX762" fmla="*/ 168621 w 12248682"/>
              <a:gd name="connsiteY762" fmla="*/ 449270 h 609800"/>
              <a:gd name="connsiteX763" fmla="*/ 203269 w 12248682"/>
              <a:gd name="connsiteY763" fmla="*/ 483918 h 609800"/>
              <a:gd name="connsiteX764" fmla="*/ 168621 w 12248682"/>
              <a:gd name="connsiteY764" fmla="*/ 518566 h 609800"/>
              <a:gd name="connsiteX765" fmla="*/ 133973 w 12248682"/>
              <a:gd name="connsiteY765" fmla="*/ 483918 h 609800"/>
              <a:gd name="connsiteX766" fmla="*/ 168621 w 12248682"/>
              <a:gd name="connsiteY766" fmla="*/ 449270 h 609800"/>
              <a:gd name="connsiteX767" fmla="*/ 10923972 w 12248682"/>
              <a:gd name="connsiteY767" fmla="*/ 443495 h 609800"/>
              <a:gd name="connsiteX768" fmla="*/ 10964394 w 12248682"/>
              <a:gd name="connsiteY768" fmla="*/ 483918 h 609800"/>
              <a:gd name="connsiteX769" fmla="*/ 10923972 w 12248682"/>
              <a:gd name="connsiteY769" fmla="*/ 524340 h 609800"/>
              <a:gd name="connsiteX770" fmla="*/ 10883549 w 12248682"/>
              <a:gd name="connsiteY770" fmla="*/ 483918 h 609800"/>
              <a:gd name="connsiteX771" fmla="*/ 10923972 w 12248682"/>
              <a:gd name="connsiteY771" fmla="*/ 443495 h 609800"/>
              <a:gd name="connsiteX772" fmla="*/ 9805996 w 12248682"/>
              <a:gd name="connsiteY772" fmla="*/ 443495 h 609800"/>
              <a:gd name="connsiteX773" fmla="*/ 9846418 w 12248682"/>
              <a:gd name="connsiteY773" fmla="*/ 483918 h 609800"/>
              <a:gd name="connsiteX774" fmla="*/ 9805996 w 12248682"/>
              <a:gd name="connsiteY774" fmla="*/ 524340 h 609800"/>
              <a:gd name="connsiteX775" fmla="*/ 9765573 w 12248682"/>
              <a:gd name="connsiteY775" fmla="*/ 483918 h 609800"/>
              <a:gd name="connsiteX776" fmla="*/ 9805996 w 12248682"/>
              <a:gd name="connsiteY776" fmla="*/ 443495 h 609800"/>
              <a:gd name="connsiteX777" fmla="*/ 9526502 w 12248682"/>
              <a:gd name="connsiteY777" fmla="*/ 443495 h 609800"/>
              <a:gd name="connsiteX778" fmla="*/ 9566924 w 12248682"/>
              <a:gd name="connsiteY778" fmla="*/ 483918 h 609800"/>
              <a:gd name="connsiteX779" fmla="*/ 9526502 w 12248682"/>
              <a:gd name="connsiteY779" fmla="*/ 524340 h 609800"/>
              <a:gd name="connsiteX780" fmla="*/ 9486079 w 12248682"/>
              <a:gd name="connsiteY780" fmla="*/ 483918 h 609800"/>
              <a:gd name="connsiteX781" fmla="*/ 9526502 w 12248682"/>
              <a:gd name="connsiteY781" fmla="*/ 443495 h 609800"/>
              <a:gd name="connsiteX782" fmla="*/ 8693190 w 12248682"/>
              <a:gd name="connsiteY782" fmla="*/ 443495 h 609800"/>
              <a:gd name="connsiteX783" fmla="*/ 8733613 w 12248682"/>
              <a:gd name="connsiteY783" fmla="*/ 483918 h 609800"/>
              <a:gd name="connsiteX784" fmla="*/ 8693190 w 12248682"/>
              <a:gd name="connsiteY784" fmla="*/ 524340 h 609800"/>
              <a:gd name="connsiteX785" fmla="*/ 8652767 w 12248682"/>
              <a:gd name="connsiteY785" fmla="*/ 483918 h 609800"/>
              <a:gd name="connsiteX786" fmla="*/ 8693190 w 12248682"/>
              <a:gd name="connsiteY786" fmla="*/ 443495 h 609800"/>
              <a:gd name="connsiteX787" fmla="*/ 8413696 w 12248682"/>
              <a:gd name="connsiteY787" fmla="*/ 443495 h 609800"/>
              <a:gd name="connsiteX788" fmla="*/ 8454118 w 12248682"/>
              <a:gd name="connsiteY788" fmla="*/ 483918 h 609800"/>
              <a:gd name="connsiteX789" fmla="*/ 8413696 w 12248682"/>
              <a:gd name="connsiteY789" fmla="*/ 524340 h 609800"/>
              <a:gd name="connsiteX790" fmla="*/ 8373274 w 12248682"/>
              <a:gd name="connsiteY790" fmla="*/ 483918 h 609800"/>
              <a:gd name="connsiteX791" fmla="*/ 8413696 w 12248682"/>
              <a:gd name="connsiteY791" fmla="*/ 443495 h 609800"/>
              <a:gd name="connsiteX792" fmla="*/ 6318647 w 12248682"/>
              <a:gd name="connsiteY792" fmla="*/ 443495 h 609800"/>
              <a:gd name="connsiteX793" fmla="*/ 6359068 w 12248682"/>
              <a:gd name="connsiteY793" fmla="*/ 483918 h 609800"/>
              <a:gd name="connsiteX794" fmla="*/ 6318647 w 12248682"/>
              <a:gd name="connsiteY794" fmla="*/ 524340 h 609800"/>
              <a:gd name="connsiteX795" fmla="*/ 6278223 w 12248682"/>
              <a:gd name="connsiteY795" fmla="*/ 483918 h 609800"/>
              <a:gd name="connsiteX796" fmla="*/ 6318647 w 12248682"/>
              <a:gd name="connsiteY796" fmla="*/ 443495 h 609800"/>
              <a:gd name="connsiteX797" fmla="*/ 5200670 w 12248682"/>
              <a:gd name="connsiteY797" fmla="*/ 443495 h 609800"/>
              <a:gd name="connsiteX798" fmla="*/ 5241093 w 12248682"/>
              <a:gd name="connsiteY798" fmla="*/ 483918 h 609800"/>
              <a:gd name="connsiteX799" fmla="*/ 5200670 w 12248682"/>
              <a:gd name="connsiteY799" fmla="*/ 524340 h 609800"/>
              <a:gd name="connsiteX800" fmla="*/ 5160247 w 12248682"/>
              <a:gd name="connsiteY800" fmla="*/ 483918 h 609800"/>
              <a:gd name="connsiteX801" fmla="*/ 5200670 w 12248682"/>
              <a:gd name="connsiteY801" fmla="*/ 443495 h 609800"/>
              <a:gd name="connsiteX802" fmla="*/ 4921176 w 12248682"/>
              <a:gd name="connsiteY802" fmla="*/ 443495 h 609800"/>
              <a:gd name="connsiteX803" fmla="*/ 4961598 w 12248682"/>
              <a:gd name="connsiteY803" fmla="*/ 483918 h 609800"/>
              <a:gd name="connsiteX804" fmla="*/ 4921176 w 12248682"/>
              <a:gd name="connsiteY804" fmla="*/ 524340 h 609800"/>
              <a:gd name="connsiteX805" fmla="*/ 4880752 w 12248682"/>
              <a:gd name="connsiteY805" fmla="*/ 483918 h 609800"/>
              <a:gd name="connsiteX806" fmla="*/ 4921176 w 12248682"/>
              <a:gd name="connsiteY806" fmla="*/ 443495 h 609800"/>
              <a:gd name="connsiteX807" fmla="*/ 4080383 w 12248682"/>
              <a:gd name="connsiteY807" fmla="*/ 443495 h 609800"/>
              <a:gd name="connsiteX808" fmla="*/ 4120806 w 12248682"/>
              <a:gd name="connsiteY808" fmla="*/ 483918 h 609800"/>
              <a:gd name="connsiteX809" fmla="*/ 4080383 w 12248682"/>
              <a:gd name="connsiteY809" fmla="*/ 524340 h 609800"/>
              <a:gd name="connsiteX810" fmla="*/ 4039961 w 12248682"/>
              <a:gd name="connsiteY810" fmla="*/ 483918 h 609800"/>
              <a:gd name="connsiteX811" fmla="*/ 4080383 w 12248682"/>
              <a:gd name="connsiteY811" fmla="*/ 443495 h 609800"/>
              <a:gd name="connsiteX812" fmla="*/ 3800889 w 12248682"/>
              <a:gd name="connsiteY812" fmla="*/ 443495 h 609800"/>
              <a:gd name="connsiteX813" fmla="*/ 3841311 w 12248682"/>
              <a:gd name="connsiteY813" fmla="*/ 483918 h 609800"/>
              <a:gd name="connsiteX814" fmla="*/ 3800889 w 12248682"/>
              <a:gd name="connsiteY814" fmla="*/ 524340 h 609800"/>
              <a:gd name="connsiteX815" fmla="*/ 3760466 w 12248682"/>
              <a:gd name="connsiteY815" fmla="*/ 483918 h 609800"/>
              <a:gd name="connsiteX816" fmla="*/ 3800889 w 12248682"/>
              <a:gd name="connsiteY816" fmla="*/ 443495 h 609800"/>
              <a:gd name="connsiteX817" fmla="*/ 1705839 w 12248682"/>
              <a:gd name="connsiteY817" fmla="*/ 443495 h 609800"/>
              <a:gd name="connsiteX818" fmla="*/ 1746261 w 12248682"/>
              <a:gd name="connsiteY818" fmla="*/ 483918 h 609800"/>
              <a:gd name="connsiteX819" fmla="*/ 1705839 w 12248682"/>
              <a:gd name="connsiteY819" fmla="*/ 524340 h 609800"/>
              <a:gd name="connsiteX820" fmla="*/ 1665415 w 12248682"/>
              <a:gd name="connsiteY820" fmla="*/ 483918 h 609800"/>
              <a:gd name="connsiteX821" fmla="*/ 1705839 w 12248682"/>
              <a:gd name="connsiteY821" fmla="*/ 443495 h 609800"/>
              <a:gd name="connsiteX822" fmla="*/ 587862 w 12248682"/>
              <a:gd name="connsiteY822" fmla="*/ 443495 h 609800"/>
              <a:gd name="connsiteX823" fmla="*/ 628284 w 12248682"/>
              <a:gd name="connsiteY823" fmla="*/ 483918 h 609800"/>
              <a:gd name="connsiteX824" fmla="*/ 587862 w 12248682"/>
              <a:gd name="connsiteY824" fmla="*/ 524340 h 609800"/>
              <a:gd name="connsiteX825" fmla="*/ 547439 w 12248682"/>
              <a:gd name="connsiteY825" fmla="*/ 483918 h 609800"/>
              <a:gd name="connsiteX826" fmla="*/ 587862 w 12248682"/>
              <a:gd name="connsiteY826" fmla="*/ 443495 h 609800"/>
              <a:gd name="connsiteX827" fmla="*/ 308368 w 12248682"/>
              <a:gd name="connsiteY827" fmla="*/ 443495 h 609800"/>
              <a:gd name="connsiteX828" fmla="*/ 348790 w 12248682"/>
              <a:gd name="connsiteY828" fmla="*/ 483918 h 609800"/>
              <a:gd name="connsiteX829" fmla="*/ 308368 w 12248682"/>
              <a:gd name="connsiteY829" fmla="*/ 524340 h 609800"/>
              <a:gd name="connsiteX830" fmla="*/ 267945 w 12248682"/>
              <a:gd name="connsiteY830" fmla="*/ 483918 h 609800"/>
              <a:gd name="connsiteX831" fmla="*/ 308368 w 12248682"/>
              <a:gd name="connsiteY831" fmla="*/ 443495 h 609800"/>
              <a:gd name="connsiteX832" fmla="*/ 10784225 w 12248682"/>
              <a:gd name="connsiteY832" fmla="*/ 433101 h 609800"/>
              <a:gd name="connsiteX833" fmla="*/ 10835042 w 12248682"/>
              <a:gd name="connsiteY833" fmla="*/ 483918 h 609800"/>
              <a:gd name="connsiteX834" fmla="*/ 10784225 w 12248682"/>
              <a:gd name="connsiteY834" fmla="*/ 534735 h 609800"/>
              <a:gd name="connsiteX835" fmla="*/ 10733408 w 12248682"/>
              <a:gd name="connsiteY835" fmla="*/ 483918 h 609800"/>
              <a:gd name="connsiteX836" fmla="*/ 10784225 w 12248682"/>
              <a:gd name="connsiteY836" fmla="*/ 433101 h 609800"/>
              <a:gd name="connsiteX837" fmla="*/ 9666248 w 12248682"/>
              <a:gd name="connsiteY837" fmla="*/ 433101 h 609800"/>
              <a:gd name="connsiteX838" fmla="*/ 9717066 w 12248682"/>
              <a:gd name="connsiteY838" fmla="*/ 483918 h 609800"/>
              <a:gd name="connsiteX839" fmla="*/ 9666248 w 12248682"/>
              <a:gd name="connsiteY839" fmla="*/ 534735 h 609800"/>
              <a:gd name="connsiteX840" fmla="*/ 9615431 w 12248682"/>
              <a:gd name="connsiteY840" fmla="*/ 483918 h 609800"/>
              <a:gd name="connsiteX841" fmla="*/ 9666248 w 12248682"/>
              <a:gd name="connsiteY841" fmla="*/ 433101 h 609800"/>
              <a:gd name="connsiteX842" fmla="*/ 8553443 w 12248682"/>
              <a:gd name="connsiteY842" fmla="*/ 433101 h 609800"/>
              <a:gd name="connsiteX843" fmla="*/ 8604260 w 12248682"/>
              <a:gd name="connsiteY843" fmla="*/ 483918 h 609800"/>
              <a:gd name="connsiteX844" fmla="*/ 8553443 w 12248682"/>
              <a:gd name="connsiteY844" fmla="*/ 534735 h 609800"/>
              <a:gd name="connsiteX845" fmla="*/ 8502626 w 12248682"/>
              <a:gd name="connsiteY845" fmla="*/ 483918 h 609800"/>
              <a:gd name="connsiteX846" fmla="*/ 8553443 w 12248682"/>
              <a:gd name="connsiteY846" fmla="*/ 433101 h 609800"/>
              <a:gd name="connsiteX847" fmla="*/ 6178898 w 12248682"/>
              <a:gd name="connsiteY847" fmla="*/ 433101 h 609800"/>
              <a:gd name="connsiteX848" fmla="*/ 6229715 w 12248682"/>
              <a:gd name="connsiteY848" fmla="*/ 483918 h 609800"/>
              <a:gd name="connsiteX849" fmla="*/ 6178898 w 12248682"/>
              <a:gd name="connsiteY849" fmla="*/ 534735 h 609800"/>
              <a:gd name="connsiteX850" fmla="*/ 6128081 w 12248682"/>
              <a:gd name="connsiteY850" fmla="*/ 483918 h 609800"/>
              <a:gd name="connsiteX851" fmla="*/ 6178898 w 12248682"/>
              <a:gd name="connsiteY851" fmla="*/ 433101 h 609800"/>
              <a:gd name="connsiteX852" fmla="*/ 5060922 w 12248682"/>
              <a:gd name="connsiteY852" fmla="*/ 433101 h 609800"/>
              <a:gd name="connsiteX853" fmla="*/ 5111740 w 12248682"/>
              <a:gd name="connsiteY853" fmla="*/ 483918 h 609800"/>
              <a:gd name="connsiteX854" fmla="*/ 5060922 w 12248682"/>
              <a:gd name="connsiteY854" fmla="*/ 534735 h 609800"/>
              <a:gd name="connsiteX855" fmla="*/ 5010105 w 12248682"/>
              <a:gd name="connsiteY855" fmla="*/ 483918 h 609800"/>
              <a:gd name="connsiteX856" fmla="*/ 5060922 w 12248682"/>
              <a:gd name="connsiteY856" fmla="*/ 433101 h 609800"/>
              <a:gd name="connsiteX857" fmla="*/ 3940636 w 12248682"/>
              <a:gd name="connsiteY857" fmla="*/ 433101 h 609800"/>
              <a:gd name="connsiteX858" fmla="*/ 3991453 w 12248682"/>
              <a:gd name="connsiteY858" fmla="*/ 483918 h 609800"/>
              <a:gd name="connsiteX859" fmla="*/ 3940636 w 12248682"/>
              <a:gd name="connsiteY859" fmla="*/ 534735 h 609800"/>
              <a:gd name="connsiteX860" fmla="*/ 3889819 w 12248682"/>
              <a:gd name="connsiteY860" fmla="*/ 483918 h 609800"/>
              <a:gd name="connsiteX861" fmla="*/ 3940636 w 12248682"/>
              <a:gd name="connsiteY861" fmla="*/ 433101 h 609800"/>
              <a:gd name="connsiteX862" fmla="*/ 1566091 w 12248682"/>
              <a:gd name="connsiteY862" fmla="*/ 433101 h 609800"/>
              <a:gd name="connsiteX863" fmla="*/ 1616908 w 12248682"/>
              <a:gd name="connsiteY863" fmla="*/ 483918 h 609800"/>
              <a:gd name="connsiteX864" fmla="*/ 1566091 w 12248682"/>
              <a:gd name="connsiteY864" fmla="*/ 534735 h 609800"/>
              <a:gd name="connsiteX865" fmla="*/ 1515274 w 12248682"/>
              <a:gd name="connsiteY865" fmla="*/ 483918 h 609800"/>
              <a:gd name="connsiteX866" fmla="*/ 1566091 w 12248682"/>
              <a:gd name="connsiteY866" fmla="*/ 433101 h 609800"/>
              <a:gd name="connsiteX867" fmla="*/ 448115 w 12248682"/>
              <a:gd name="connsiteY867" fmla="*/ 433101 h 609800"/>
              <a:gd name="connsiteX868" fmla="*/ 498932 w 12248682"/>
              <a:gd name="connsiteY868" fmla="*/ 483918 h 609800"/>
              <a:gd name="connsiteX869" fmla="*/ 448115 w 12248682"/>
              <a:gd name="connsiteY869" fmla="*/ 534735 h 609800"/>
              <a:gd name="connsiteX870" fmla="*/ 397298 w 12248682"/>
              <a:gd name="connsiteY870" fmla="*/ 483918 h 609800"/>
              <a:gd name="connsiteX871" fmla="*/ 448115 w 12248682"/>
              <a:gd name="connsiteY871" fmla="*/ 433101 h 609800"/>
              <a:gd name="connsiteX872" fmla="*/ 12210569 w 12248682"/>
              <a:gd name="connsiteY872" fmla="*/ 319917 h 609800"/>
              <a:gd name="connsiteX873" fmla="*/ 12231358 w 12248682"/>
              <a:gd name="connsiteY873" fmla="*/ 340706 h 609800"/>
              <a:gd name="connsiteX874" fmla="*/ 12210569 w 12248682"/>
              <a:gd name="connsiteY874" fmla="*/ 361495 h 609800"/>
              <a:gd name="connsiteX875" fmla="*/ 12189780 w 12248682"/>
              <a:gd name="connsiteY875" fmla="*/ 340706 h 609800"/>
              <a:gd name="connsiteX876" fmla="*/ 12210569 w 12248682"/>
              <a:gd name="connsiteY876" fmla="*/ 319917 h 609800"/>
              <a:gd name="connsiteX877" fmla="*/ 12071977 w 12248682"/>
              <a:gd name="connsiteY877" fmla="*/ 319917 h 609800"/>
              <a:gd name="connsiteX878" fmla="*/ 12092766 w 12248682"/>
              <a:gd name="connsiteY878" fmla="*/ 340706 h 609800"/>
              <a:gd name="connsiteX879" fmla="*/ 12071977 w 12248682"/>
              <a:gd name="connsiteY879" fmla="*/ 361495 h 609800"/>
              <a:gd name="connsiteX880" fmla="*/ 12051188 w 12248682"/>
              <a:gd name="connsiteY880" fmla="*/ 340706 h 609800"/>
              <a:gd name="connsiteX881" fmla="*/ 12071977 w 12248682"/>
              <a:gd name="connsiteY881" fmla="*/ 319917 h 609800"/>
              <a:gd name="connsiteX882" fmla="*/ 11934539 w 12248682"/>
              <a:gd name="connsiteY882" fmla="*/ 319917 h 609800"/>
              <a:gd name="connsiteX883" fmla="*/ 11955328 w 12248682"/>
              <a:gd name="connsiteY883" fmla="*/ 340706 h 609800"/>
              <a:gd name="connsiteX884" fmla="*/ 11934539 w 12248682"/>
              <a:gd name="connsiteY884" fmla="*/ 361495 h 609800"/>
              <a:gd name="connsiteX885" fmla="*/ 11913750 w 12248682"/>
              <a:gd name="connsiteY885" fmla="*/ 340706 h 609800"/>
              <a:gd name="connsiteX886" fmla="*/ 11934539 w 12248682"/>
              <a:gd name="connsiteY886" fmla="*/ 319917 h 609800"/>
              <a:gd name="connsiteX887" fmla="*/ 11797103 w 12248682"/>
              <a:gd name="connsiteY887" fmla="*/ 319917 h 609800"/>
              <a:gd name="connsiteX888" fmla="*/ 11817892 w 12248682"/>
              <a:gd name="connsiteY888" fmla="*/ 340706 h 609800"/>
              <a:gd name="connsiteX889" fmla="*/ 11797103 w 12248682"/>
              <a:gd name="connsiteY889" fmla="*/ 361495 h 609800"/>
              <a:gd name="connsiteX890" fmla="*/ 11776314 w 12248682"/>
              <a:gd name="connsiteY890" fmla="*/ 340706 h 609800"/>
              <a:gd name="connsiteX891" fmla="*/ 11797103 w 12248682"/>
              <a:gd name="connsiteY891" fmla="*/ 319917 h 609800"/>
              <a:gd name="connsiteX892" fmla="*/ 10645633 w 12248682"/>
              <a:gd name="connsiteY892" fmla="*/ 319917 h 609800"/>
              <a:gd name="connsiteX893" fmla="*/ 10666422 w 12248682"/>
              <a:gd name="connsiteY893" fmla="*/ 340706 h 609800"/>
              <a:gd name="connsiteX894" fmla="*/ 10645633 w 12248682"/>
              <a:gd name="connsiteY894" fmla="*/ 361495 h 609800"/>
              <a:gd name="connsiteX895" fmla="*/ 10624844 w 12248682"/>
              <a:gd name="connsiteY895" fmla="*/ 340706 h 609800"/>
              <a:gd name="connsiteX896" fmla="*/ 10645633 w 12248682"/>
              <a:gd name="connsiteY896" fmla="*/ 319917 h 609800"/>
              <a:gd name="connsiteX897" fmla="*/ 9247008 w 12248682"/>
              <a:gd name="connsiteY897" fmla="*/ 319917 h 609800"/>
              <a:gd name="connsiteX898" fmla="*/ 9267797 w 12248682"/>
              <a:gd name="connsiteY898" fmla="*/ 340706 h 609800"/>
              <a:gd name="connsiteX899" fmla="*/ 9247008 w 12248682"/>
              <a:gd name="connsiteY899" fmla="*/ 361495 h 609800"/>
              <a:gd name="connsiteX900" fmla="*/ 9226219 w 12248682"/>
              <a:gd name="connsiteY900" fmla="*/ 340706 h 609800"/>
              <a:gd name="connsiteX901" fmla="*/ 9247008 w 12248682"/>
              <a:gd name="connsiteY901" fmla="*/ 319917 h 609800"/>
              <a:gd name="connsiteX902" fmla="*/ 8148062 w 12248682"/>
              <a:gd name="connsiteY902" fmla="*/ 319917 h 609800"/>
              <a:gd name="connsiteX903" fmla="*/ 8168851 w 12248682"/>
              <a:gd name="connsiteY903" fmla="*/ 340706 h 609800"/>
              <a:gd name="connsiteX904" fmla="*/ 8148062 w 12248682"/>
              <a:gd name="connsiteY904" fmla="*/ 361495 h 609800"/>
              <a:gd name="connsiteX905" fmla="*/ 8127274 w 12248682"/>
              <a:gd name="connsiteY905" fmla="*/ 340706 h 609800"/>
              <a:gd name="connsiteX906" fmla="*/ 8148062 w 12248682"/>
              <a:gd name="connsiteY906" fmla="*/ 319917 h 609800"/>
              <a:gd name="connsiteX907" fmla="*/ 8009471 w 12248682"/>
              <a:gd name="connsiteY907" fmla="*/ 319917 h 609800"/>
              <a:gd name="connsiteX908" fmla="*/ 8030259 w 12248682"/>
              <a:gd name="connsiteY908" fmla="*/ 340706 h 609800"/>
              <a:gd name="connsiteX909" fmla="*/ 8009471 w 12248682"/>
              <a:gd name="connsiteY909" fmla="*/ 361495 h 609800"/>
              <a:gd name="connsiteX910" fmla="*/ 7988682 w 12248682"/>
              <a:gd name="connsiteY910" fmla="*/ 340706 h 609800"/>
              <a:gd name="connsiteX911" fmla="*/ 8009471 w 12248682"/>
              <a:gd name="connsiteY911" fmla="*/ 319917 h 609800"/>
              <a:gd name="connsiteX912" fmla="*/ 7872031 w 12248682"/>
              <a:gd name="connsiteY912" fmla="*/ 319917 h 609800"/>
              <a:gd name="connsiteX913" fmla="*/ 7892822 w 12248682"/>
              <a:gd name="connsiteY913" fmla="*/ 340706 h 609800"/>
              <a:gd name="connsiteX914" fmla="*/ 7872031 w 12248682"/>
              <a:gd name="connsiteY914" fmla="*/ 361495 h 609800"/>
              <a:gd name="connsiteX915" fmla="*/ 7851244 w 12248682"/>
              <a:gd name="connsiteY915" fmla="*/ 340706 h 609800"/>
              <a:gd name="connsiteX916" fmla="*/ 7872031 w 12248682"/>
              <a:gd name="connsiteY916" fmla="*/ 319917 h 609800"/>
              <a:gd name="connsiteX917" fmla="*/ 7713807 w 12248682"/>
              <a:gd name="connsiteY917" fmla="*/ 319917 h 609800"/>
              <a:gd name="connsiteX918" fmla="*/ 7734596 w 12248682"/>
              <a:gd name="connsiteY918" fmla="*/ 340706 h 609800"/>
              <a:gd name="connsiteX919" fmla="*/ 7713807 w 12248682"/>
              <a:gd name="connsiteY919" fmla="*/ 361495 h 609800"/>
              <a:gd name="connsiteX920" fmla="*/ 7693019 w 12248682"/>
              <a:gd name="connsiteY920" fmla="*/ 340706 h 609800"/>
              <a:gd name="connsiteX921" fmla="*/ 7713807 w 12248682"/>
              <a:gd name="connsiteY921" fmla="*/ 319917 h 609800"/>
              <a:gd name="connsiteX922" fmla="*/ 7605244 w 12248682"/>
              <a:gd name="connsiteY922" fmla="*/ 319917 h 609800"/>
              <a:gd name="connsiteX923" fmla="*/ 7626031 w 12248682"/>
              <a:gd name="connsiteY923" fmla="*/ 340706 h 609800"/>
              <a:gd name="connsiteX924" fmla="*/ 7605244 w 12248682"/>
              <a:gd name="connsiteY924" fmla="*/ 361495 h 609800"/>
              <a:gd name="connsiteX925" fmla="*/ 7584454 w 12248682"/>
              <a:gd name="connsiteY925" fmla="*/ 340706 h 609800"/>
              <a:gd name="connsiteX926" fmla="*/ 7605244 w 12248682"/>
              <a:gd name="connsiteY926" fmla="*/ 319917 h 609800"/>
              <a:gd name="connsiteX927" fmla="*/ 7466651 w 12248682"/>
              <a:gd name="connsiteY927" fmla="*/ 319917 h 609800"/>
              <a:gd name="connsiteX928" fmla="*/ 7487439 w 12248682"/>
              <a:gd name="connsiteY928" fmla="*/ 340706 h 609800"/>
              <a:gd name="connsiteX929" fmla="*/ 7466651 w 12248682"/>
              <a:gd name="connsiteY929" fmla="*/ 361495 h 609800"/>
              <a:gd name="connsiteX930" fmla="*/ 7445863 w 12248682"/>
              <a:gd name="connsiteY930" fmla="*/ 340706 h 609800"/>
              <a:gd name="connsiteX931" fmla="*/ 7466651 w 12248682"/>
              <a:gd name="connsiteY931" fmla="*/ 319917 h 609800"/>
              <a:gd name="connsiteX932" fmla="*/ 7329213 w 12248682"/>
              <a:gd name="connsiteY932" fmla="*/ 319917 h 609800"/>
              <a:gd name="connsiteX933" fmla="*/ 7350002 w 12248682"/>
              <a:gd name="connsiteY933" fmla="*/ 340706 h 609800"/>
              <a:gd name="connsiteX934" fmla="*/ 7329213 w 12248682"/>
              <a:gd name="connsiteY934" fmla="*/ 361495 h 609800"/>
              <a:gd name="connsiteX935" fmla="*/ 7308425 w 12248682"/>
              <a:gd name="connsiteY935" fmla="*/ 340706 h 609800"/>
              <a:gd name="connsiteX936" fmla="*/ 7329213 w 12248682"/>
              <a:gd name="connsiteY936" fmla="*/ 319917 h 609800"/>
              <a:gd name="connsiteX937" fmla="*/ 7191777 w 12248682"/>
              <a:gd name="connsiteY937" fmla="*/ 319917 h 609800"/>
              <a:gd name="connsiteX938" fmla="*/ 7212566 w 12248682"/>
              <a:gd name="connsiteY938" fmla="*/ 340706 h 609800"/>
              <a:gd name="connsiteX939" fmla="*/ 7191777 w 12248682"/>
              <a:gd name="connsiteY939" fmla="*/ 361495 h 609800"/>
              <a:gd name="connsiteX940" fmla="*/ 7170987 w 12248682"/>
              <a:gd name="connsiteY940" fmla="*/ 340706 h 609800"/>
              <a:gd name="connsiteX941" fmla="*/ 7191777 w 12248682"/>
              <a:gd name="connsiteY941" fmla="*/ 319917 h 609800"/>
              <a:gd name="connsiteX942" fmla="*/ 6040307 w 12248682"/>
              <a:gd name="connsiteY942" fmla="*/ 319917 h 609800"/>
              <a:gd name="connsiteX943" fmla="*/ 6061095 w 12248682"/>
              <a:gd name="connsiteY943" fmla="*/ 340706 h 609800"/>
              <a:gd name="connsiteX944" fmla="*/ 6040307 w 12248682"/>
              <a:gd name="connsiteY944" fmla="*/ 361495 h 609800"/>
              <a:gd name="connsiteX945" fmla="*/ 6019518 w 12248682"/>
              <a:gd name="connsiteY945" fmla="*/ 340706 h 609800"/>
              <a:gd name="connsiteX946" fmla="*/ 6040307 w 12248682"/>
              <a:gd name="connsiteY946" fmla="*/ 319917 h 609800"/>
              <a:gd name="connsiteX947" fmla="*/ 4641682 w 12248682"/>
              <a:gd name="connsiteY947" fmla="*/ 319917 h 609800"/>
              <a:gd name="connsiteX948" fmla="*/ 4662472 w 12248682"/>
              <a:gd name="connsiteY948" fmla="*/ 340706 h 609800"/>
              <a:gd name="connsiteX949" fmla="*/ 4641682 w 12248682"/>
              <a:gd name="connsiteY949" fmla="*/ 361495 h 609800"/>
              <a:gd name="connsiteX950" fmla="*/ 4620893 w 12248682"/>
              <a:gd name="connsiteY950" fmla="*/ 340706 h 609800"/>
              <a:gd name="connsiteX951" fmla="*/ 4641682 w 12248682"/>
              <a:gd name="connsiteY951" fmla="*/ 319917 h 609800"/>
              <a:gd name="connsiteX952" fmla="*/ 3535254 w 12248682"/>
              <a:gd name="connsiteY952" fmla="*/ 319917 h 609800"/>
              <a:gd name="connsiteX953" fmla="*/ 3556043 w 12248682"/>
              <a:gd name="connsiteY953" fmla="*/ 340706 h 609800"/>
              <a:gd name="connsiteX954" fmla="*/ 3535254 w 12248682"/>
              <a:gd name="connsiteY954" fmla="*/ 361495 h 609800"/>
              <a:gd name="connsiteX955" fmla="*/ 3514466 w 12248682"/>
              <a:gd name="connsiteY955" fmla="*/ 340706 h 609800"/>
              <a:gd name="connsiteX956" fmla="*/ 3535254 w 12248682"/>
              <a:gd name="connsiteY956" fmla="*/ 319917 h 609800"/>
              <a:gd name="connsiteX957" fmla="*/ 3396662 w 12248682"/>
              <a:gd name="connsiteY957" fmla="*/ 319917 h 609800"/>
              <a:gd name="connsiteX958" fmla="*/ 3417451 w 12248682"/>
              <a:gd name="connsiteY958" fmla="*/ 340706 h 609800"/>
              <a:gd name="connsiteX959" fmla="*/ 3396662 w 12248682"/>
              <a:gd name="connsiteY959" fmla="*/ 361495 h 609800"/>
              <a:gd name="connsiteX960" fmla="*/ 3375874 w 12248682"/>
              <a:gd name="connsiteY960" fmla="*/ 340706 h 609800"/>
              <a:gd name="connsiteX961" fmla="*/ 3396662 w 12248682"/>
              <a:gd name="connsiteY961" fmla="*/ 319917 h 609800"/>
              <a:gd name="connsiteX962" fmla="*/ 3259224 w 12248682"/>
              <a:gd name="connsiteY962" fmla="*/ 319917 h 609800"/>
              <a:gd name="connsiteX963" fmla="*/ 3280013 w 12248682"/>
              <a:gd name="connsiteY963" fmla="*/ 340706 h 609800"/>
              <a:gd name="connsiteX964" fmla="*/ 3259224 w 12248682"/>
              <a:gd name="connsiteY964" fmla="*/ 361495 h 609800"/>
              <a:gd name="connsiteX965" fmla="*/ 3238436 w 12248682"/>
              <a:gd name="connsiteY965" fmla="*/ 340706 h 609800"/>
              <a:gd name="connsiteX966" fmla="*/ 3259224 w 12248682"/>
              <a:gd name="connsiteY966" fmla="*/ 319917 h 609800"/>
              <a:gd name="connsiteX967" fmla="*/ 3100999 w 12248682"/>
              <a:gd name="connsiteY967" fmla="*/ 319917 h 609800"/>
              <a:gd name="connsiteX968" fmla="*/ 3121789 w 12248682"/>
              <a:gd name="connsiteY968" fmla="*/ 340706 h 609800"/>
              <a:gd name="connsiteX969" fmla="*/ 3100999 w 12248682"/>
              <a:gd name="connsiteY969" fmla="*/ 361495 h 609800"/>
              <a:gd name="connsiteX970" fmla="*/ 3080212 w 12248682"/>
              <a:gd name="connsiteY970" fmla="*/ 340706 h 609800"/>
              <a:gd name="connsiteX971" fmla="*/ 3100999 w 12248682"/>
              <a:gd name="connsiteY971" fmla="*/ 319917 h 609800"/>
              <a:gd name="connsiteX972" fmla="*/ 2992435 w 12248682"/>
              <a:gd name="connsiteY972" fmla="*/ 319917 h 609800"/>
              <a:gd name="connsiteX973" fmla="*/ 3013224 w 12248682"/>
              <a:gd name="connsiteY973" fmla="*/ 340706 h 609800"/>
              <a:gd name="connsiteX974" fmla="*/ 2992435 w 12248682"/>
              <a:gd name="connsiteY974" fmla="*/ 361495 h 609800"/>
              <a:gd name="connsiteX975" fmla="*/ 2971647 w 12248682"/>
              <a:gd name="connsiteY975" fmla="*/ 340706 h 609800"/>
              <a:gd name="connsiteX976" fmla="*/ 2992435 w 12248682"/>
              <a:gd name="connsiteY976" fmla="*/ 319917 h 609800"/>
              <a:gd name="connsiteX977" fmla="*/ 2853843 w 12248682"/>
              <a:gd name="connsiteY977" fmla="*/ 319917 h 609800"/>
              <a:gd name="connsiteX978" fmla="*/ 2874633 w 12248682"/>
              <a:gd name="connsiteY978" fmla="*/ 340706 h 609800"/>
              <a:gd name="connsiteX979" fmla="*/ 2853843 w 12248682"/>
              <a:gd name="connsiteY979" fmla="*/ 361495 h 609800"/>
              <a:gd name="connsiteX980" fmla="*/ 2833056 w 12248682"/>
              <a:gd name="connsiteY980" fmla="*/ 340706 h 609800"/>
              <a:gd name="connsiteX981" fmla="*/ 2853843 w 12248682"/>
              <a:gd name="connsiteY981" fmla="*/ 319917 h 609800"/>
              <a:gd name="connsiteX982" fmla="*/ 2716405 w 12248682"/>
              <a:gd name="connsiteY982" fmla="*/ 319917 h 609800"/>
              <a:gd name="connsiteX983" fmla="*/ 2737195 w 12248682"/>
              <a:gd name="connsiteY983" fmla="*/ 340706 h 609800"/>
              <a:gd name="connsiteX984" fmla="*/ 2716405 w 12248682"/>
              <a:gd name="connsiteY984" fmla="*/ 361495 h 609800"/>
              <a:gd name="connsiteX985" fmla="*/ 2695618 w 12248682"/>
              <a:gd name="connsiteY985" fmla="*/ 340706 h 609800"/>
              <a:gd name="connsiteX986" fmla="*/ 2716405 w 12248682"/>
              <a:gd name="connsiteY986" fmla="*/ 319917 h 609800"/>
              <a:gd name="connsiteX987" fmla="*/ 2578969 w 12248682"/>
              <a:gd name="connsiteY987" fmla="*/ 319917 h 609800"/>
              <a:gd name="connsiteX988" fmla="*/ 2599758 w 12248682"/>
              <a:gd name="connsiteY988" fmla="*/ 340706 h 609800"/>
              <a:gd name="connsiteX989" fmla="*/ 2578969 w 12248682"/>
              <a:gd name="connsiteY989" fmla="*/ 361495 h 609800"/>
              <a:gd name="connsiteX990" fmla="*/ 2558180 w 12248682"/>
              <a:gd name="connsiteY990" fmla="*/ 340706 h 609800"/>
              <a:gd name="connsiteX991" fmla="*/ 2578969 w 12248682"/>
              <a:gd name="connsiteY991" fmla="*/ 319917 h 609800"/>
              <a:gd name="connsiteX992" fmla="*/ 1427499 w 12248682"/>
              <a:gd name="connsiteY992" fmla="*/ 319917 h 609800"/>
              <a:gd name="connsiteX993" fmla="*/ 1448288 w 12248682"/>
              <a:gd name="connsiteY993" fmla="*/ 340706 h 609800"/>
              <a:gd name="connsiteX994" fmla="*/ 1427499 w 12248682"/>
              <a:gd name="connsiteY994" fmla="*/ 361495 h 609800"/>
              <a:gd name="connsiteX995" fmla="*/ 1406710 w 12248682"/>
              <a:gd name="connsiteY995" fmla="*/ 340706 h 609800"/>
              <a:gd name="connsiteX996" fmla="*/ 1427499 w 12248682"/>
              <a:gd name="connsiteY996" fmla="*/ 319917 h 609800"/>
              <a:gd name="connsiteX997" fmla="*/ 28874 w 12248682"/>
              <a:gd name="connsiteY997" fmla="*/ 319917 h 609800"/>
              <a:gd name="connsiteX998" fmla="*/ 49663 w 12248682"/>
              <a:gd name="connsiteY998" fmla="*/ 340706 h 609800"/>
              <a:gd name="connsiteX999" fmla="*/ 28874 w 12248682"/>
              <a:gd name="connsiteY999" fmla="*/ 361495 h 609800"/>
              <a:gd name="connsiteX1000" fmla="*/ 8085 w 12248682"/>
              <a:gd name="connsiteY1000" fmla="*/ 340706 h 609800"/>
              <a:gd name="connsiteX1001" fmla="*/ 28874 w 12248682"/>
              <a:gd name="connsiteY1001" fmla="*/ 319917 h 609800"/>
              <a:gd name="connsiteX1002" fmla="*/ 11658510 w 12248682"/>
              <a:gd name="connsiteY1002" fmla="*/ 316452 h 609800"/>
              <a:gd name="connsiteX1003" fmla="*/ 11681609 w 12248682"/>
              <a:gd name="connsiteY1003" fmla="*/ 339551 h 609800"/>
              <a:gd name="connsiteX1004" fmla="*/ 11658510 w 12248682"/>
              <a:gd name="connsiteY1004" fmla="*/ 362649 h 609800"/>
              <a:gd name="connsiteX1005" fmla="*/ 11635412 w 12248682"/>
              <a:gd name="connsiteY1005" fmla="*/ 339551 h 609800"/>
              <a:gd name="connsiteX1006" fmla="*/ 11658510 w 12248682"/>
              <a:gd name="connsiteY1006" fmla="*/ 316452 h 609800"/>
              <a:gd name="connsiteX1007" fmla="*/ 10508196 w 12248682"/>
              <a:gd name="connsiteY1007" fmla="*/ 316452 h 609800"/>
              <a:gd name="connsiteX1008" fmla="*/ 10531295 w 12248682"/>
              <a:gd name="connsiteY1008" fmla="*/ 339551 h 609800"/>
              <a:gd name="connsiteX1009" fmla="*/ 10508196 w 12248682"/>
              <a:gd name="connsiteY1009" fmla="*/ 362649 h 609800"/>
              <a:gd name="connsiteX1010" fmla="*/ 10485098 w 12248682"/>
              <a:gd name="connsiteY1010" fmla="*/ 339551 h 609800"/>
              <a:gd name="connsiteX1011" fmla="*/ 10508196 w 12248682"/>
              <a:gd name="connsiteY1011" fmla="*/ 316452 h 609800"/>
              <a:gd name="connsiteX1012" fmla="*/ 9405233 w 12248682"/>
              <a:gd name="connsiteY1012" fmla="*/ 316452 h 609800"/>
              <a:gd name="connsiteX1013" fmla="*/ 9428332 w 12248682"/>
              <a:gd name="connsiteY1013" fmla="*/ 339551 h 609800"/>
              <a:gd name="connsiteX1014" fmla="*/ 9405233 w 12248682"/>
              <a:gd name="connsiteY1014" fmla="*/ 362649 h 609800"/>
              <a:gd name="connsiteX1015" fmla="*/ 9382135 w 12248682"/>
              <a:gd name="connsiteY1015" fmla="*/ 339551 h 609800"/>
              <a:gd name="connsiteX1016" fmla="*/ 9405233 w 12248682"/>
              <a:gd name="connsiteY1016" fmla="*/ 316452 h 609800"/>
              <a:gd name="connsiteX1017" fmla="*/ 8285498 w 12248682"/>
              <a:gd name="connsiteY1017" fmla="*/ 316452 h 609800"/>
              <a:gd name="connsiteX1018" fmla="*/ 8308598 w 12248682"/>
              <a:gd name="connsiteY1018" fmla="*/ 339551 h 609800"/>
              <a:gd name="connsiteX1019" fmla="*/ 8285498 w 12248682"/>
              <a:gd name="connsiteY1019" fmla="*/ 362649 h 609800"/>
              <a:gd name="connsiteX1020" fmla="*/ 8262401 w 12248682"/>
              <a:gd name="connsiteY1020" fmla="*/ 339551 h 609800"/>
              <a:gd name="connsiteX1021" fmla="*/ 8285498 w 12248682"/>
              <a:gd name="connsiteY1021" fmla="*/ 316452 h 609800"/>
              <a:gd name="connsiteX1022" fmla="*/ 7053184 w 12248682"/>
              <a:gd name="connsiteY1022" fmla="*/ 316452 h 609800"/>
              <a:gd name="connsiteX1023" fmla="*/ 7076283 w 12248682"/>
              <a:gd name="connsiteY1023" fmla="*/ 339551 h 609800"/>
              <a:gd name="connsiteX1024" fmla="*/ 7053184 w 12248682"/>
              <a:gd name="connsiteY1024" fmla="*/ 362649 h 609800"/>
              <a:gd name="connsiteX1025" fmla="*/ 7030086 w 12248682"/>
              <a:gd name="connsiteY1025" fmla="*/ 339551 h 609800"/>
              <a:gd name="connsiteX1026" fmla="*/ 7053184 w 12248682"/>
              <a:gd name="connsiteY1026" fmla="*/ 316452 h 609800"/>
              <a:gd name="connsiteX1027" fmla="*/ 5902869 w 12248682"/>
              <a:gd name="connsiteY1027" fmla="*/ 316452 h 609800"/>
              <a:gd name="connsiteX1028" fmla="*/ 5925969 w 12248682"/>
              <a:gd name="connsiteY1028" fmla="*/ 339551 h 609800"/>
              <a:gd name="connsiteX1029" fmla="*/ 5902869 w 12248682"/>
              <a:gd name="connsiteY1029" fmla="*/ 362649 h 609800"/>
              <a:gd name="connsiteX1030" fmla="*/ 5879771 w 12248682"/>
              <a:gd name="connsiteY1030" fmla="*/ 339551 h 609800"/>
              <a:gd name="connsiteX1031" fmla="*/ 5902869 w 12248682"/>
              <a:gd name="connsiteY1031" fmla="*/ 316452 h 609800"/>
              <a:gd name="connsiteX1032" fmla="*/ 4799906 w 12248682"/>
              <a:gd name="connsiteY1032" fmla="*/ 316452 h 609800"/>
              <a:gd name="connsiteX1033" fmla="*/ 4823006 w 12248682"/>
              <a:gd name="connsiteY1033" fmla="*/ 339551 h 609800"/>
              <a:gd name="connsiteX1034" fmla="*/ 4799906 w 12248682"/>
              <a:gd name="connsiteY1034" fmla="*/ 362649 h 609800"/>
              <a:gd name="connsiteX1035" fmla="*/ 4776809 w 12248682"/>
              <a:gd name="connsiteY1035" fmla="*/ 339551 h 609800"/>
              <a:gd name="connsiteX1036" fmla="*/ 4799906 w 12248682"/>
              <a:gd name="connsiteY1036" fmla="*/ 316452 h 609800"/>
              <a:gd name="connsiteX1037" fmla="*/ 3672691 w 12248682"/>
              <a:gd name="connsiteY1037" fmla="*/ 316452 h 609800"/>
              <a:gd name="connsiteX1038" fmla="*/ 3695791 w 12248682"/>
              <a:gd name="connsiteY1038" fmla="*/ 339551 h 609800"/>
              <a:gd name="connsiteX1039" fmla="*/ 3672691 w 12248682"/>
              <a:gd name="connsiteY1039" fmla="*/ 362649 h 609800"/>
              <a:gd name="connsiteX1040" fmla="*/ 3649592 w 12248682"/>
              <a:gd name="connsiteY1040" fmla="*/ 339551 h 609800"/>
              <a:gd name="connsiteX1041" fmla="*/ 3672691 w 12248682"/>
              <a:gd name="connsiteY1041" fmla="*/ 316452 h 609800"/>
              <a:gd name="connsiteX1042" fmla="*/ 2440377 w 12248682"/>
              <a:gd name="connsiteY1042" fmla="*/ 316452 h 609800"/>
              <a:gd name="connsiteX1043" fmla="*/ 2463475 w 12248682"/>
              <a:gd name="connsiteY1043" fmla="*/ 339551 h 609800"/>
              <a:gd name="connsiteX1044" fmla="*/ 2440377 w 12248682"/>
              <a:gd name="connsiteY1044" fmla="*/ 362649 h 609800"/>
              <a:gd name="connsiteX1045" fmla="*/ 2417278 w 12248682"/>
              <a:gd name="connsiteY1045" fmla="*/ 339551 h 609800"/>
              <a:gd name="connsiteX1046" fmla="*/ 2440377 w 12248682"/>
              <a:gd name="connsiteY1046" fmla="*/ 316452 h 609800"/>
              <a:gd name="connsiteX1047" fmla="*/ 1290062 w 12248682"/>
              <a:gd name="connsiteY1047" fmla="*/ 316452 h 609800"/>
              <a:gd name="connsiteX1048" fmla="*/ 1313161 w 12248682"/>
              <a:gd name="connsiteY1048" fmla="*/ 339551 h 609800"/>
              <a:gd name="connsiteX1049" fmla="*/ 1290062 w 12248682"/>
              <a:gd name="connsiteY1049" fmla="*/ 362649 h 609800"/>
              <a:gd name="connsiteX1050" fmla="*/ 1266964 w 12248682"/>
              <a:gd name="connsiteY1050" fmla="*/ 339551 h 609800"/>
              <a:gd name="connsiteX1051" fmla="*/ 1290062 w 12248682"/>
              <a:gd name="connsiteY1051" fmla="*/ 316452 h 609800"/>
              <a:gd name="connsiteX1052" fmla="*/ 187100 w 12248682"/>
              <a:gd name="connsiteY1052" fmla="*/ 316452 h 609800"/>
              <a:gd name="connsiteX1053" fmla="*/ 210198 w 12248682"/>
              <a:gd name="connsiteY1053" fmla="*/ 339551 h 609800"/>
              <a:gd name="connsiteX1054" fmla="*/ 187100 w 12248682"/>
              <a:gd name="connsiteY1054" fmla="*/ 362649 h 609800"/>
              <a:gd name="connsiteX1055" fmla="*/ 164001 w 12248682"/>
              <a:gd name="connsiteY1055" fmla="*/ 339551 h 609800"/>
              <a:gd name="connsiteX1056" fmla="*/ 187100 w 12248682"/>
              <a:gd name="connsiteY1056" fmla="*/ 316452 h 609800"/>
              <a:gd name="connsiteX1057" fmla="*/ 11521073 w 12248682"/>
              <a:gd name="connsiteY1057" fmla="*/ 310678 h 609800"/>
              <a:gd name="connsiteX1058" fmla="*/ 11549947 w 12248682"/>
              <a:gd name="connsiteY1058" fmla="*/ 339551 h 609800"/>
              <a:gd name="connsiteX1059" fmla="*/ 11521073 w 12248682"/>
              <a:gd name="connsiteY1059" fmla="*/ 368425 h 609800"/>
              <a:gd name="connsiteX1060" fmla="*/ 11492200 w 12248682"/>
              <a:gd name="connsiteY1060" fmla="*/ 339551 h 609800"/>
              <a:gd name="connsiteX1061" fmla="*/ 11521073 w 12248682"/>
              <a:gd name="connsiteY1061" fmla="*/ 310678 h 609800"/>
              <a:gd name="connsiteX1062" fmla="*/ 10369604 w 12248682"/>
              <a:gd name="connsiteY1062" fmla="*/ 310678 h 609800"/>
              <a:gd name="connsiteX1063" fmla="*/ 10398477 w 12248682"/>
              <a:gd name="connsiteY1063" fmla="*/ 339551 h 609800"/>
              <a:gd name="connsiteX1064" fmla="*/ 10369604 w 12248682"/>
              <a:gd name="connsiteY1064" fmla="*/ 368425 h 609800"/>
              <a:gd name="connsiteX1065" fmla="*/ 10340730 w 12248682"/>
              <a:gd name="connsiteY1065" fmla="*/ 339551 h 609800"/>
              <a:gd name="connsiteX1066" fmla="*/ 10369604 w 12248682"/>
              <a:gd name="connsiteY1066" fmla="*/ 310678 h 609800"/>
              <a:gd name="connsiteX1067" fmla="*/ 9543825 w 12248682"/>
              <a:gd name="connsiteY1067" fmla="*/ 310678 h 609800"/>
              <a:gd name="connsiteX1068" fmla="*/ 9572699 w 12248682"/>
              <a:gd name="connsiteY1068" fmla="*/ 339551 h 609800"/>
              <a:gd name="connsiteX1069" fmla="*/ 9543825 w 12248682"/>
              <a:gd name="connsiteY1069" fmla="*/ 368425 h 609800"/>
              <a:gd name="connsiteX1070" fmla="*/ 9514953 w 12248682"/>
              <a:gd name="connsiteY1070" fmla="*/ 339551 h 609800"/>
              <a:gd name="connsiteX1071" fmla="*/ 9543825 w 12248682"/>
              <a:gd name="connsiteY1071" fmla="*/ 310678 h 609800"/>
              <a:gd name="connsiteX1072" fmla="*/ 8422936 w 12248682"/>
              <a:gd name="connsiteY1072" fmla="*/ 310678 h 609800"/>
              <a:gd name="connsiteX1073" fmla="*/ 8451809 w 12248682"/>
              <a:gd name="connsiteY1073" fmla="*/ 339551 h 609800"/>
              <a:gd name="connsiteX1074" fmla="*/ 8422936 w 12248682"/>
              <a:gd name="connsiteY1074" fmla="*/ 368425 h 609800"/>
              <a:gd name="connsiteX1075" fmla="*/ 8394062 w 12248682"/>
              <a:gd name="connsiteY1075" fmla="*/ 339551 h 609800"/>
              <a:gd name="connsiteX1076" fmla="*/ 8422936 w 12248682"/>
              <a:gd name="connsiteY1076" fmla="*/ 310678 h 609800"/>
              <a:gd name="connsiteX1077" fmla="*/ 6915746 w 12248682"/>
              <a:gd name="connsiteY1077" fmla="*/ 310678 h 609800"/>
              <a:gd name="connsiteX1078" fmla="*/ 6944621 w 12248682"/>
              <a:gd name="connsiteY1078" fmla="*/ 339551 h 609800"/>
              <a:gd name="connsiteX1079" fmla="*/ 6915746 w 12248682"/>
              <a:gd name="connsiteY1079" fmla="*/ 368425 h 609800"/>
              <a:gd name="connsiteX1080" fmla="*/ 6886873 w 12248682"/>
              <a:gd name="connsiteY1080" fmla="*/ 339551 h 609800"/>
              <a:gd name="connsiteX1081" fmla="*/ 6915746 w 12248682"/>
              <a:gd name="connsiteY1081" fmla="*/ 310678 h 609800"/>
              <a:gd name="connsiteX1082" fmla="*/ 5764278 w 12248682"/>
              <a:gd name="connsiteY1082" fmla="*/ 310678 h 609800"/>
              <a:gd name="connsiteX1083" fmla="*/ 5793151 w 12248682"/>
              <a:gd name="connsiteY1083" fmla="*/ 339551 h 609800"/>
              <a:gd name="connsiteX1084" fmla="*/ 5764278 w 12248682"/>
              <a:gd name="connsiteY1084" fmla="*/ 368425 h 609800"/>
              <a:gd name="connsiteX1085" fmla="*/ 5735405 w 12248682"/>
              <a:gd name="connsiteY1085" fmla="*/ 339551 h 609800"/>
              <a:gd name="connsiteX1086" fmla="*/ 5764278 w 12248682"/>
              <a:gd name="connsiteY1086" fmla="*/ 310678 h 609800"/>
              <a:gd name="connsiteX1087" fmla="*/ 4938500 w 12248682"/>
              <a:gd name="connsiteY1087" fmla="*/ 310678 h 609800"/>
              <a:gd name="connsiteX1088" fmla="*/ 4967373 w 12248682"/>
              <a:gd name="connsiteY1088" fmla="*/ 339551 h 609800"/>
              <a:gd name="connsiteX1089" fmla="*/ 4938500 w 12248682"/>
              <a:gd name="connsiteY1089" fmla="*/ 368425 h 609800"/>
              <a:gd name="connsiteX1090" fmla="*/ 4909627 w 12248682"/>
              <a:gd name="connsiteY1090" fmla="*/ 339551 h 609800"/>
              <a:gd name="connsiteX1091" fmla="*/ 4938500 w 12248682"/>
              <a:gd name="connsiteY1091" fmla="*/ 310678 h 609800"/>
              <a:gd name="connsiteX1092" fmla="*/ 3810129 w 12248682"/>
              <a:gd name="connsiteY1092" fmla="*/ 310678 h 609800"/>
              <a:gd name="connsiteX1093" fmla="*/ 3839002 w 12248682"/>
              <a:gd name="connsiteY1093" fmla="*/ 339551 h 609800"/>
              <a:gd name="connsiteX1094" fmla="*/ 3810129 w 12248682"/>
              <a:gd name="connsiteY1094" fmla="*/ 368425 h 609800"/>
              <a:gd name="connsiteX1095" fmla="*/ 3781255 w 12248682"/>
              <a:gd name="connsiteY1095" fmla="*/ 339551 h 609800"/>
              <a:gd name="connsiteX1096" fmla="*/ 3810129 w 12248682"/>
              <a:gd name="connsiteY1096" fmla="*/ 310678 h 609800"/>
              <a:gd name="connsiteX1097" fmla="*/ 2302939 w 12248682"/>
              <a:gd name="connsiteY1097" fmla="*/ 310678 h 609800"/>
              <a:gd name="connsiteX1098" fmla="*/ 2331813 w 12248682"/>
              <a:gd name="connsiteY1098" fmla="*/ 339551 h 609800"/>
              <a:gd name="connsiteX1099" fmla="*/ 2302939 w 12248682"/>
              <a:gd name="connsiteY1099" fmla="*/ 368425 h 609800"/>
              <a:gd name="connsiteX1100" fmla="*/ 2274067 w 12248682"/>
              <a:gd name="connsiteY1100" fmla="*/ 339551 h 609800"/>
              <a:gd name="connsiteX1101" fmla="*/ 2302939 w 12248682"/>
              <a:gd name="connsiteY1101" fmla="*/ 310678 h 609800"/>
              <a:gd name="connsiteX1102" fmla="*/ 1151470 w 12248682"/>
              <a:gd name="connsiteY1102" fmla="*/ 310678 h 609800"/>
              <a:gd name="connsiteX1103" fmla="*/ 1180343 w 12248682"/>
              <a:gd name="connsiteY1103" fmla="*/ 339551 h 609800"/>
              <a:gd name="connsiteX1104" fmla="*/ 1151470 w 12248682"/>
              <a:gd name="connsiteY1104" fmla="*/ 368425 h 609800"/>
              <a:gd name="connsiteX1105" fmla="*/ 1122596 w 12248682"/>
              <a:gd name="connsiteY1105" fmla="*/ 339551 h 609800"/>
              <a:gd name="connsiteX1106" fmla="*/ 1151470 w 12248682"/>
              <a:gd name="connsiteY1106" fmla="*/ 310678 h 609800"/>
              <a:gd name="connsiteX1107" fmla="*/ 325692 w 12248682"/>
              <a:gd name="connsiteY1107" fmla="*/ 310678 h 609800"/>
              <a:gd name="connsiteX1108" fmla="*/ 354566 w 12248682"/>
              <a:gd name="connsiteY1108" fmla="*/ 339551 h 609800"/>
              <a:gd name="connsiteX1109" fmla="*/ 325692 w 12248682"/>
              <a:gd name="connsiteY1109" fmla="*/ 368425 h 609800"/>
              <a:gd name="connsiteX1110" fmla="*/ 296819 w 12248682"/>
              <a:gd name="connsiteY1110" fmla="*/ 339551 h 609800"/>
              <a:gd name="connsiteX1111" fmla="*/ 325692 w 12248682"/>
              <a:gd name="connsiteY1111" fmla="*/ 310678 h 609800"/>
              <a:gd name="connsiteX1112" fmla="*/ 11383636 w 12248682"/>
              <a:gd name="connsiteY1112" fmla="*/ 304903 h 609800"/>
              <a:gd name="connsiteX1113" fmla="*/ 11418284 w 12248682"/>
              <a:gd name="connsiteY1113" fmla="*/ 339551 h 609800"/>
              <a:gd name="connsiteX1114" fmla="*/ 11383636 w 12248682"/>
              <a:gd name="connsiteY1114" fmla="*/ 374199 h 609800"/>
              <a:gd name="connsiteX1115" fmla="*/ 11348988 w 12248682"/>
              <a:gd name="connsiteY1115" fmla="*/ 339551 h 609800"/>
              <a:gd name="connsiteX1116" fmla="*/ 11383636 w 12248682"/>
              <a:gd name="connsiteY1116" fmla="*/ 304903 h 609800"/>
              <a:gd name="connsiteX1117" fmla="*/ 10811943 w 12248682"/>
              <a:gd name="connsiteY1117" fmla="*/ 304903 h 609800"/>
              <a:gd name="connsiteX1118" fmla="*/ 10846591 w 12248682"/>
              <a:gd name="connsiteY1118" fmla="*/ 339551 h 609800"/>
              <a:gd name="connsiteX1119" fmla="*/ 10811943 w 12248682"/>
              <a:gd name="connsiteY1119" fmla="*/ 374199 h 609800"/>
              <a:gd name="connsiteX1120" fmla="*/ 10777295 w 12248682"/>
              <a:gd name="connsiteY1120" fmla="*/ 339551 h 609800"/>
              <a:gd name="connsiteX1121" fmla="*/ 10811943 w 12248682"/>
              <a:gd name="connsiteY1121" fmla="*/ 304903 h 609800"/>
              <a:gd name="connsiteX1122" fmla="*/ 10232166 w 12248682"/>
              <a:gd name="connsiteY1122" fmla="*/ 304903 h 609800"/>
              <a:gd name="connsiteX1123" fmla="*/ 10266814 w 12248682"/>
              <a:gd name="connsiteY1123" fmla="*/ 339551 h 609800"/>
              <a:gd name="connsiteX1124" fmla="*/ 10232166 w 12248682"/>
              <a:gd name="connsiteY1124" fmla="*/ 374199 h 609800"/>
              <a:gd name="connsiteX1125" fmla="*/ 10197518 w 12248682"/>
              <a:gd name="connsiteY1125" fmla="*/ 339551 h 609800"/>
              <a:gd name="connsiteX1126" fmla="*/ 10232166 w 12248682"/>
              <a:gd name="connsiteY1126" fmla="*/ 304903 h 609800"/>
              <a:gd name="connsiteX1127" fmla="*/ 9681263 w 12248682"/>
              <a:gd name="connsiteY1127" fmla="*/ 304903 h 609800"/>
              <a:gd name="connsiteX1128" fmla="*/ 9715911 w 12248682"/>
              <a:gd name="connsiteY1128" fmla="*/ 339551 h 609800"/>
              <a:gd name="connsiteX1129" fmla="*/ 9681263 w 12248682"/>
              <a:gd name="connsiteY1129" fmla="*/ 374199 h 609800"/>
              <a:gd name="connsiteX1130" fmla="*/ 9646615 w 12248682"/>
              <a:gd name="connsiteY1130" fmla="*/ 339551 h 609800"/>
              <a:gd name="connsiteX1131" fmla="*/ 9681263 w 12248682"/>
              <a:gd name="connsiteY1131" fmla="*/ 304903 h 609800"/>
              <a:gd name="connsiteX1132" fmla="*/ 9112431 w 12248682"/>
              <a:gd name="connsiteY1132" fmla="*/ 304903 h 609800"/>
              <a:gd name="connsiteX1133" fmla="*/ 9147079 w 12248682"/>
              <a:gd name="connsiteY1133" fmla="*/ 339551 h 609800"/>
              <a:gd name="connsiteX1134" fmla="*/ 9112431 w 12248682"/>
              <a:gd name="connsiteY1134" fmla="*/ 374199 h 609800"/>
              <a:gd name="connsiteX1135" fmla="*/ 9077783 w 12248682"/>
              <a:gd name="connsiteY1135" fmla="*/ 339551 h 609800"/>
              <a:gd name="connsiteX1136" fmla="*/ 9112431 w 12248682"/>
              <a:gd name="connsiteY1136" fmla="*/ 304903 h 609800"/>
              <a:gd name="connsiteX1137" fmla="*/ 8561528 w 12248682"/>
              <a:gd name="connsiteY1137" fmla="*/ 304903 h 609800"/>
              <a:gd name="connsiteX1138" fmla="*/ 8596176 w 12248682"/>
              <a:gd name="connsiteY1138" fmla="*/ 339551 h 609800"/>
              <a:gd name="connsiteX1139" fmla="*/ 8561528 w 12248682"/>
              <a:gd name="connsiteY1139" fmla="*/ 374199 h 609800"/>
              <a:gd name="connsiteX1140" fmla="*/ 8526880 w 12248682"/>
              <a:gd name="connsiteY1140" fmla="*/ 339551 h 609800"/>
              <a:gd name="connsiteX1141" fmla="*/ 8561528 w 12248682"/>
              <a:gd name="connsiteY1141" fmla="*/ 304903 h 609800"/>
              <a:gd name="connsiteX1142" fmla="*/ 6778310 w 12248682"/>
              <a:gd name="connsiteY1142" fmla="*/ 304903 h 609800"/>
              <a:gd name="connsiteX1143" fmla="*/ 6812959 w 12248682"/>
              <a:gd name="connsiteY1143" fmla="*/ 339551 h 609800"/>
              <a:gd name="connsiteX1144" fmla="*/ 6778310 w 12248682"/>
              <a:gd name="connsiteY1144" fmla="*/ 374199 h 609800"/>
              <a:gd name="connsiteX1145" fmla="*/ 6743662 w 12248682"/>
              <a:gd name="connsiteY1145" fmla="*/ 339551 h 609800"/>
              <a:gd name="connsiteX1146" fmla="*/ 6778310 w 12248682"/>
              <a:gd name="connsiteY1146" fmla="*/ 304903 h 609800"/>
              <a:gd name="connsiteX1147" fmla="*/ 6206618 w 12248682"/>
              <a:gd name="connsiteY1147" fmla="*/ 304903 h 609800"/>
              <a:gd name="connsiteX1148" fmla="*/ 6241265 w 12248682"/>
              <a:gd name="connsiteY1148" fmla="*/ 339551 h 609800"/>
              <a:gd name="connsiteX1149" fmla="*/ 6206618 w 12248682"/>
              <a:gd name="connsiteY1149" fmla="*/ 374199 h 609800"/>
              <a:gd name="connsiteX1150" fmla="*/ 6171969 w 12248682"/>
              <a:gd name="connsiteY1150" fmla="*/ 339551 h 609800"/>
              <a:gd name="connsiteX1151" fmla="*/ 6206618 w 12248682"/>
              <a:gd name="connsiteY1151" fmla="*/ 304903 h 609800"/>
              <a:gd name="connsiteX1152" fmla="*/ 5626840 w 12248682"/>
              <a:gd name="connsiteY1152" fmla="*/ 304903 h 609800"/>
              <a:gd name="connsiteX1153" fmla="*/ 5661488 w 12248682"/>
              <a:gd name="connsiteY1153" fmla="*/ 339551 h 609800"/>
              <a:gd name="connsiteX1154" fmla="*/ 5626840 w 12248682"/>
              <a:gd name="connsiteY1154" fmla="*/ 374199 h 609800"/>
              <a:gd name="connsiteX1155" fmla="*/ 5592192 w 12248682"/>
              <a:gd name="connsiteY1155" fmla="*/ 339551 h 609800"/>
              <a:gd name="connsiteX1156" fmla="*/ 5626840 w 12248682"/>
              <a:gd name="connsiteY1156" fmla="*/ 304903 h 609800"/>
              <a:gd name="connsiteX1157" fmla="*/ 5075938 w 12248682"/>
              <a:gd name="connsiteY1157" fmla="*/ 304903 h 609800"/>
              <a:gd name="connsiteX1158" fmla="*/ 5110584 w 12248682"/>
              <a:gd name="connsiteY1158" fmla="*/ 339551 h 609800"/>
              <a:gd name="connsiteX1159" fmla="*/ 5075938 w 12248682"/>
              <a:gd name="connsiteY1159" fmla="*/ 374199 h 609800"/>
              <a:gd name="connsiteX1160" fmla="*/ 5041289 w 12248682"/>
              <a:gd name="connsiteY1160" fmla="*/ 339551 h 609800"/>
              <a:gd name="connsiteX1161" fmla="*/ 5075938 w 12248682"/>
              <a:gd name="connsiteY1161" fmla="*/ 304903 h 609800"/>
              <a:gd name="connsiteX1162" fmla="*/ 4499625 w 12248682"/>
              <a:gd name="connsiteY1162" fmla="*/ 304903 h 609800"/>
              <a:gd name="connsiteX1163" fmla="*/ 4534273 w 12248682"/>
              <a:gd name="connsiteY1163" fmla="*/ 339551 h 609800"/>
              <a:gd name="connsiteX1164" fmla="*/ 4499625 w 12248682"/>
              <a:gd name="connsiteY1164" fmla="*/ 374199 h 609800"/>
              <a:gd name="connsiteX1165" fmla="*/ 4464976 w 12248682"/>
              <a:gd name="connsiteY1165" fmla="*/ 339551 h 609800"/>
              <a:gd name="connsiteX1166" fmla="*/ 4499625 w 12248682"/>
              <a:gd name="connsiteY1166" fmla="*/ 304903 h 609800"/>
              <a:gd name="connsiteX1167" fmla="*/ 3948721 w 12248682"/>
              <a:gd name="connsiteY1167" fmla="*/ 304903 h 609800"/>
              <a:gd name="connsiteX1168" fmla="*/ 3983369 w 12248682"/>
              <a:gd name="connsiteY1168" fmla="*/ 339551 h 609800"/>
              <a:gd name="connsiteX1169" fmla="*/ 3948721 w 12248682"/>
              <a:gd name="connsiteY1169" fmla="*/ 374199 h 609800"/>
              <a:gd name="connsiteX1170" fmla="*/ 3914073 w 12248682"/>
              <a:gd name="connsiteY1170" fmla="*/ 339551 h 609800"/>
              <a:gd name="connsiteX1171" fmla="*/ 3948721 w 12248682"/>
              <a:gd name="connsiteY1171" fmla="*/ 304903 h 609800"/>
              <a:gd name="connsiteX1172" fmla="*/ 2165502 w 12248682"/>
              <a:gd name="connsiteY1172" fmla="*/ 304903 h 609800"/>
              <a:gd name="connsiteX1173" fmla="*/ 2200150 w 12248682"/>
              <a:gd name="connsiteY1173" fmla="*/ 339551 h 609800"/>
              <a:gd name="connsiteX1174" fmla="*/ 2165502 w 12248682"/>
              <a:gd name="connsiteY1174" fmla="*/ 374199 h 609800"/>
              <a:gd name="connsiteX1175" fmla="*/ 2130854 w 12248682"/>
              <a:gd name="connsiteY1175" fmla="*/ 339551 h 609800"/>
              <a:gd name="connsiteX1176" fmla="*/ 2165502 w 12248682"/>
              <a:gd name="connsiteY1176" fmla="*/ 304903 h 609800"/>
              <a:gd name="connsiteX1177" fmla="*/ 1593810 w 12248682"/>
              <a:gd name="connsiteY1177" fmla="*/ 304903 h 609800"/>
              <a:gd name="connsiteX1178" fmla="*/ 1628457 w 12248682"/>
              <a:gd name="connsiteY1178" fmla="*/ 339551 h 609800"/>
              <a:gd name="connsiteX1179" fmla="*/ 1593810 w 12248682"/>
              <a:gd name="connsiteY1179" fmla="*/ 374199 h 609800"/>
              <a:gd name="connsiteX1180" fmla="*/ 1559161 w 12248682"/>
              <a:gd name="connsiteY1180" fmla="*/ 339551 h 609800"/>
              <a:gd name="connsiteX1181" fmla="*/ 1593810 w 12248682"/>
              <a:gd name="connsiteY1181" fmla="*/ 304903 h 609800"/>
              <a:gd name="connsiteX1182" fmla="*/ 1014032 w 12248682"/>
              <a:gd name="connsiteY1182" fmla="*/ 304903 h 609800"/>
              <a:gd name="connsiteX1183" fmla="*/ 1048681 w 12248682"/>
              <a:gd name="connsiteY1183" fmla="*/ 339551 h 609800"/>
              <a:gd name="connsiteX1184" fmla="*/ 1014032 w 12248682"/>
              <a:gd name="connsiteY1184" fmla="*/ 374199 h 609800"/>
              <a:gd name="connsiteX1185" fmla="*/ 979384 w 12248682"/>
              <a:gd name="connsiteY1185" fmla="*/ 339551 h 609800"/>
              <a:gd name="connsiteX1186" fmla="*/ 1014032 w 12248682"/>
              <a:gd name="connsiteY1186" fmla="*/ 304903 h 609800"/>
              <a:gd name="connsiteX1187" fmla="*/ 463129 w 12248682"/>
              <a:gd name="connsiteY1187" fmla="*/ 304903 h 609800"/>
              <a:gd name="connsiteX1188" fmla="*/ 497778 w 12248682"/>
              <a:gd name="connsiteY1188" fmla="*/ 339551 h 609800"/>
              <a:gd name="connsiteX1189" fmla="*/ 463129 w 12248682"/>
              <a:gd name="connsiteY1189" fmla="*/ 374199 h 609800"/>
              <a:gd name="connsiteX1190" fmla="*/ 428481 w 12248682"/>
              <a:gd name="connsiteY1190" fmla="*/ 339551 h 609800"/>
              <a:gd name="connsiteX1191" fmla="*/ 463129 w 12248682"/>
              <a:gd name="connsiteY1191" fmla="*/ 304903 h 609800"/>
              <a:gd name="connsiteX1192" fmla="*/ 11245044 w 12248682"/>
              <a:gd name="connsiteY1192" fmla="*/ 299129 h 609800"/>
              <a:gd name="connsiteX1193" fmla="*/ 11285466 w 12248682"/>
              <a:gd name="connsiteY1193" fmla="*/ 339551 h 609800"/>
              <a:gd name="connsiteX1194" fmla="*/ 11245044 w 12248682"/>
              <a:gd name="connsiteY1194" fmla="*/ 379974 h 609800"/>
              <a:gd name="connsiteX1195" fmla="*/ 11204621 w 12248682"/>
              <a:gd name="connsiteY1195" fmla="*/ 339551 h 609800"/>
              <a:gd name="connsiteX1196" fmla="*/ 11245044 w 12248682"/>
              <a:gd name="connsiteY1196" fmla="*/ 299129 h 609800"/>
              <a:gd name="connsiteX1197" fmla="*/ 10970170 w 12248682"/>
              <a:gd name="connsiteY1197" fmla="*/ 299129 h 609800"/>
              <a:gd name="connsiteX1198" fmla="*/ 11010592 w 12248682"/>
              <a:gd name="connsiteY1198" fmla="*/ 339551 h 609800"/>
              <a:gd name="connsiteX1199" fmla="*/ 10970170 w 12248682"/>
              <a:gd name="connsiteY1199" fmla="*/ 379974 h 609800"/>
              <a:gd name="connsiteX1200" fmla="*/ 10929746 w 12248682"/>
              <a:gd name="connsiteY1200" fmla="*/ 339551 h 609800"/>
              <a:gd name="connsiteX1201" fmla="*/ 10970170 w 12248682"/>
              <a:gd name="connsiteY1201" fmla="*/ 299129 h 609800"/>
              <a:gd name="connsiteX1202" fmla="*/ 10094730 w 12248682"/>
              <a:gd name="connsiteY1202" fmla="*/ 299129 h 609800"/>
              <a:gd name="connsiteX1203" fmla="*/ 10135152 w 12248682"/>
              <a:gd name="connsiteY1203" fmla="*/ 339551 h 609800"/>
              <a:gd name="connsiteX1204" fmla="*/ 10094730 w 12248682"/>
              <a:gd name="connsiteY1204" fmla="*/ 379974 h 609800"/>
              <a:gd name="connsiteX1205" fmla="*/ 10054306 w 12248682"/>
              <a:gd name="connsiteY1205" fmla="*/ 339551 h 609800"/>
              <a:gd name="connsiteX1206" fmla="*/ 10094730 w 12248682"/>
              <a:gd name="connsiteY1206" fmla="*/ 299129 h 609800"/>
              <a:gd name="connsiteX1207" fmla="*/ 9818700 w 12248682"/>
              <a:gd name="connsiteY1207" fmla="*/ 299129 h 609800"/>
              <a:gd name="connsiteX1208" fmla="*/ 9859123 w 12248682"/>
              <a:gd name="connsiteY1208" fmla="*/ 340706 h 609800"/>
              <a:gd name="connsiteX1209" fmla="*/ 9818700 w 12248682"/>
              <a:gd name="connsiteY1209" fmla="*/ 381128 h 609800"/>
              <a:gd name="connsiteX1210" fmla="*/ 9778278 w 12248682"/>
              <a:gd name="connsiteY1210" fmla="*/ 339551 h 609800"/>
              <a:gd name="connsiteX1211" fmla="*/ 9818700 w 12248682"/>
              <a:gd name="connsiteY1211" fmla="*/ 299129 h 609800"/>
              <a:gd name="connsiteX1212" fmla="*/ 8974994 w 12248682"/>
              <a:gd name="connsiteY1212" fmla="*/ 299129 h 609800"/>
              <a:gd name="connsiteX1213" fmla="*/ 9015416 w 12248682"/>
              <a:gd name="connsiteY1213" fmla="*/ 339551 h 609800"/>
              <a:gd name="connsiteX1214" fmla="*/ 8974994 w 12248682"/>
              <a:gd name="connsiteY1214" fmla="*/ 379974 h 609800"/>
              <a:gd name="connsiteX1215" fmla="*/ 8934571 w 12248682"/>
              <a:gd name="connsiteY1215" fmla="*/ 339551 h 609800"/>
              <a:gd name="connsiteX1216" fmla="*/ 8974994 w 12248682"/>
              <a:gd name="connsiteY1216" fmla="*/ 299129 h 609800"/>
              <a:gd name="connsiteX1217" fmla="*/ 8698965 w 12248682"/>
              <a:gd name="connsiteY1217" fmla="*/ 299129 h 609800"/>
              <a:gd name="connsiteX1218" fmla="*/ 8739388 w 12248682"/>
              <a:gd name="connsiteY1218" fmla="*/ 339551 h 609800"/>
              <a:gd name="connsiteX1219" fmla="*/ 8698965 w 12248682"/>
              <a:gd name="connsiteY1219" fmla="*/ 379974 h 609800"/>
              <a:gd name="connsiteX1220" fmla="*/ 8658542 w 12248682"/>
              <a:gd name="connsiteY1220" fmla="*/ 339551 h 609800"/>
              <a:gd name="connsiteX1221" fmla="*/ 8698965 w 12248682"/>
              <a:gd name="connsiteY1221" fmla="*/ 299129 h 609800"/>
              <a:gd name="connsiteX1222" fmla="*/ 6639717 w 12248682"/>
              <a:gd name="connsiteY1222" fmla="*/ 299129 h 609800"/>
              <a:gd name="connsiteX1223" fmla="*/ 6680139 w 12248682"/>
              <a:gd name="connsiteY1223" fmla="*/ 339551 h 609800"/>
              <a:gd name="connsiteX1224" fmla="*/ 6639717 w 12248682"/>
              <a:gd name="connsiteY1224" fmla="*/ 379974 h 609800"/>
              <a:gd name="connsiteX1225" fmla="*/ 6599295 w 12248682"/>
              <a:gd name="connsiteY1225" fmla="*/ 339551 h 609800"/>
              <a:gd name="connsiteX1226" fmla="*/ 6639717 w 12248682"/>
              <a:gd name="connsiteY1226" fmla="*/ 299129 h 609800"/>
              <a:gd name="connsiteX1227" fmla="*/ 6364844 w 12248682"/>
              <a:gd name="connsiteY1227" fmla="*/ 299129 h 609800"/>
              <a:gd name="connsiteX1228" fmla="*/ 6405265 w 12248682"/>
              <a:gd name="connsiteY1228" fmla="*/ 339551 h 609800"/>
              <a:gd name="connsiteX1229" fmla="*/ 6364844 w 12248682"/>
              <a:gd name="connsiteY1229" fmla="*/ 379974 h 609800"/>
              <a:gd name="connsiteX1230" fmla="*/ 6324420 w 12248682"/>
              <a:gd name="connsiteY1230" fmla="*/ 339551 h 609800"/>
              <a:gd name="connsiteX1231" fmla="*/ 6364844 w 12248682"/>
              <a:gd name="connsiteY1231" fmla="*/ 299129 h 609800"/>
              <a:gd name="connsiteX1232" fmla="*/ 5489405 w 12248682"/>
              <a:gd name="connsiteY1232" fmla="*/ 299129 h 609800"/>
              <a:gd name="connsiteX1233" fmla="*/ 5529827 w 12248682"/>
              <a:gd name="connsiteY1233" fmla="*/ 339551 h 609800"/>
              <a:gd name="connsiteX1234" fmla="*/ 5489405 w 12248682"/>
              <a:gd name="connsiteY1234" fmla="*/ 379974 h 609800"/>
              <a:gd name="connsiteX1235" fmla="*/ 5448980 w 12248682"/>
              <a:gd name="connsiteY1235" fmla="*/ 339551 h 609800"/>
              <a:gd name="connsiteX1236" fmla="*/ 5489405 w 12248682"/>
              <a:gd name="connsiteY1236" fmla="*/ 299129 h 609800"/>
              <a:gd name="connsiteX1237" fmla="*/ 5213373 w 12248682"/>
              <a:gd name="connsiteY1237" fmla="*/ 299129 h 609800"/>
              <a:gd name="connsiteX1238" fmla="*/ 5253797 w 12248682"/>
              <a:gd name="connsiteY1238" fmla="*/ 339551 h 609800"/>
              <a:gd name="connsiteX1239" fmla="*/ 5213373 w 12248682"/>
              <a:gd name="connsiteY1239" fmla="*/ 379974 h 609800"/>
              <a:gd name="connsiteX1240" fmla="*/ 5172952 w 12248682"/>
              <a:gd name="connsiteY1240" fmla="*/ 339551 h 609800"/>
              <a:gd name="connsiteX1241" fmla="*/ 5213373 w 12248682"/>
              <a:gd name="connsiteY1241" fmla="*/ 299129 h 609800"/>
              <a:gd name="connsiteX1242" fmla="*/ 4361031 w 12248682"/>
              <a:gd name="connsiteY1242" fmla="*/ 299129 h 609800"/>
              <a:gd name="connsiteX1243" fmla="*/ 4401455 w 12248682"/>
              <a:gd name="connsiteY1243" fmla="*/ 339551 h 609800"/>
              <a:gd name="connsiteX1244" fmla="*/ 4361031 w 12248682"/>
              <a:gd name="connsiteY1244" fmla="*/ 379974 h 609800"/>
              <a:gd name="connsiteX1245" fmla="*/ 4320610 w 12248682"/>
              <a:gd name="connsiteY1245" fmla="*/ 339551 h 609800"/>
              <a:gd name="connsiteX1246" fmla="*/ 4361031 w 12248682"/>
              <a:gd name="connsiteY1246" fmla="*/ 299129 h 609800"/>
              <a:gd name="connsiteX1247" fmla="*/ 4086158 w 12248682"/>
              <a:gd name="connsiteY1247" fmla="*/ 299129 h 609800"/>
              <a:gd name="connsiteX1248" fmla="*/ 4126582 w 12248682"/>
              <a:gd name="connsiteY1248" fmla="*/ 339551 h 609800"/>
              <a:gd name="connsiteX1249" fmla="*/ 4086158 w 12248682"/>
              <a:gd name="connsiteY1249" fmla="*/ 379974 h 609800"/>
              <a:gd name="connsiteX1250" fmla="*/ 4045735 w 12248682"/>
              <a:gd name="connsiteY1250" fmla="*/ 339551 h 609800"/>
              <a:gd name="connsiteX1251" fmla="*/ 4086158 w 12248682"/>
              <a:gd name="connsiteY1251" fmla="*/ 299129 h 609800"/>
              <a:gd name="connsiteX1252" fmla="*/ 2026910 w 12248682"/>
              <a:gd name="connsiteY1252" fmla="*/ 299129 h 609800"/>
              <a:gd name="connsiteX1253" fmla="*/ 2067332 w 12248682"/>
              <a:gd name="connsiteY1253" fmla="*/ 339551 h 609800"/>
              <a:gd name="connsiteX1254" fmla="*/ 2026910 w 12248682"/>
              <a:gd name="connsiteY1254" fmla="*/ 379974 h 609800"/>
              <a:gd name="connsiteX1255" fmla="*/ 1986487 w 12248682"/>
              <a:gd name="connsiteY1255" fmla="*/ 339551 h 609800"/>
              <a:gd name="connsiteX1256" fmla="*/ 2026910 w 12248682"/>
              <a:gd name="connsiteY1256" fmla="*/ 299129 h 609800"/>
              <a:gd name="connsiteX1257" fmla="*/ 1752036 w 12248682"/>
              <a:gd name="connsiteY1257" fmla="*/ 299129 h 609800"/>
              <a:gd name="connsiteX1258" fmla="*/ 1792458 w 12248682"/>
              <a:gd name="connsiteY1258" fmla="*/ 339551 h 609800"/>
              <a:gd name="connsiteX1259" fmla="*/ 1752036 w 12248682"/>
              <a:gd name="connsiteY1259" fmla="*/ 379974 h 609800"/>
              <a:gd name="connsiteX1260" fmla="*/ 1711613 w 12248682"/>
              <a:gd name="connsiteY1260" fmla="*/ 339551 h 609800"/>
              <a:gd name="connsiteX1261" fmla="*/ 1752036 w 12248682"/>
              <a:gd name="connsiteY1261" fmla="*/ 299129 h 609800"/>
              <a:gd name="connsiteX1262" fmla="*/ 876596 w 12248682"/>
              <a:gd name="connsiteY1262" fmla="*/ 299129 h 609800"/>
              <a:gd name="connsiteX1263" fmla="*/ 917018 w 12248682"/>
              <a:gd name="connsiteY1263" fmla="*/ 339551 h 609800"/>
              <a:gd name="connsiteX1264" fmla="*/ 876596 w 12248682"/>
              <a:gd name="connsiteY1264" fmla="*/ 379974 h 609800"/>
              <a:gd name="connsiteX1265" fmla="*/ 836172 w 12248682"/>
              <a:gd name="connsiteY1265" fmla="*/ 339551 h 609800"/>
              <a:gd name="connsiteX1266" fmla="*/ 876596 w 12248682"/>
              <a:gd name="connsiteY1266" fmla="*/ 299129 h 609800"/>
              <a:gd name="connsiteX1267" fmla="*/ 600566 w 12248682"/>
              <a:gd name="connsiteY1267" fmla="*/ 299129 h 609800"/>
              <a:gd name="connsiteX1268" fmla="*/ 640989 w 12248682"/>
              <a:gd name="connsiteY1268" fmla="*/ 340706 h 609800"/>
              <a:gd name="connsiteX1269" fmla="*/ 600566 w 12248682"/>
              <a:gd name="connsiteY1269" fmla="*/ 381128 h 609800"/>
              <a:gd name="connsiteX1270" fmla="*/ 560144 w 12248682"/>
              <a:gd name="connsiteY1270" fmla="*/ 339551 h 609800"/>
              <a:gd name="connsiteX1271" fmla="*/ 600566 w 12248682"/>
              <a:gd name="connsiteY1271" fmla="*/ 299129 h 609800"/>
              <a:gd name="connsiteX1272" fmla="*/ 11107606 w 12248682"/>
              <a:gd name="connsiteY1272" fmla="*/ 288734 h 609800"/>
              <a:gd name="connsiteX1273" fmla="*/ 11158424 w 12248682"/>
              <a:gd name="connsiteY1273" fmla="*/ 339551 h 609800"/>
              <a:gd name="connsiteX1274" fmla="*/ 11107606 w 12248682"/>
              <a:gd name="connsiteY1274" fmla="*/ 390368 h 609800"/>
              <a:gd name="connsiteX1275" fmla="*/ 11056789 w 12248682"/>
              <a:gd name="connsiteY1275" fmla="*/ 339551 h 609800"/>
              <a:gd name="connsiteX1276" fmla="*/ 11107606 w 12248682"/>
              <a:gd name="connsiteY1276" fmla="*/ 288734 h 609800"/>
              <a:gd name="connsiteX1277" fmla="*/ 9957292 w 12248682"/>
              <a:gd name="connsiteY1277" fmla="*/ 288734 h 609800"/>
              <a:gd name="connsiteX1278" fmla="*/ 10008109 w 12248682"/>
              <a:gd name="connsiteY1278" fmla="*/ 339551 h 609800"/>
              <a:gd name="connsiteX1279" fmla="*/ 9957292 w 12248682"/>
              <a:gd name="connsiteY1279" fmla="*/ 390368 h 609800"/>
              <a:gd name="connsiteX1280" fmla="*/ 9906475 w 12248682"/>
              <a:gd name="connsiteY1280" fmla="*/ 339551 h 609800"/>
              <a:gd name="connsiteX1281" fmla="*/ 9957292 w 12248682"/>
              <a:gd name="connsiteY1281" fmla="*/ 288734 h 609800"/>
              <a:gd name="connsiteX1282" fmla="*/ 8836402 w 12248682"/>
              <a:gd name="connsiteY1282" fmla="*/ 288734 h 609800"/>
              <a:gd name="connsiteX1283" fmla="*/ 8887219 w 12248682"/>
              <a:gd name="connsiteY1283" fmla="*/ 339551 h 609800"/>
              <a:gd name="connsiteX1284" fmla="*/ 8836402 w 12248682"/>
              <a:gd name="connsiteY1284" fmla="*/ 390368 h 609800"/>
              <a:gd name="connsiteX1285" fmla="*/ 8785585 w 12248682"/>
              <a:gd name="connsiteY1285" fmla="*/ 339551 h 609800"/>
              <a:gd name="connsiteX1286" fmla="*/ 8836402 w 12248682"/>
              <a:gd name="connsiteY1286" fmla="*/ 288734 h 609800"/>
              <a:gd name="connsiteX1287" fmla="*/ 6502281 w 12248682"/>
              <a:gd name="connsiteY1287" fmla="*/ 288734 h 609800"/>
              <a:gd name="connsiteX1288" fmla="*/ 6553098 w 12248682"/>
              <a:gd name="connsiteY1288" fmla="*/ 339551 h 609800"/>
              <a:gd name="connsiteX1289" fmla="*/ 6502281 w 12248682"/>
              <a:gd name="connsiteY1289" fmla="*/ 390368 h 609800"/>
              <a:gd name="connsiteX1290" fmla="*/ 6451462 w 12248682"/>
              <a:gd name="connsiteY1290" fmla="*/ 339551 h 609800"/>
              <a:gd name="connsiteX1291" fmla="*/ 6502281 w 12248682"/>
              <a:gd name="connsiteY1291" fmla="*/ 288734 h 609800"/>
              <a:gd name="connsiteX1292" fmla="*/ 5351966 w 12248682"/>
              <a:gd name="connsiteY1292" fmla="*/ 288734 h 609800"/>
              <a:gd name="connsiteX1293" fmla="*/ 5402784 w 12248682"/>
              <a:gd name="connsiteY1293" fmla="*/ 339551 h 609800"/>
              <a:gd name="connsiteX1294" fmla="*/ 5351966 w 12248682"/>
              <a:gd name="connsiteY1294" fmla="*/ 390368 h 609800"/>
              <a:gd name="connsiteX1295" fmla="*/ 5301149 w 12248682"/>
              <a:gd name="connsiteY1295" fmla="*/ 339551 h 609800"/>
              <a:gd name="connsiteX1296" fmla="*/ 5351966 w 12248682"/>
              <a:gd name="connsiteY1296" fmla="*/ 288734 h 609800"/>
              <a:gd name="connsiteX1297" fmla="*/ 4223596 w 12248682"/>
              <a:gd name="connsiteY1297" fmla="*/ 288734 h 609800"/>
              <a:gd name="connsiteX1298" fmla="*/ 4274414 w 12248682"/>
              <a:gd name="connsiteY1298" fmla="*/ 339551 h 609800"/>
              <a:gd name="connsiteX1299" fmla="*/ 4223596 w 12248682"/>
              <a:gd name="connsiteY1299" fmla="*/ 390368 h 609800"/>
              <a:gd name="connsiteX1300" fmla="*/ 4172779 w 12248682"/>
              <a:gd name="connsiteY1300" fmla="*/ 339551 h 609800"/>
              <a:gd name="connsiteX1301" fmla="*/ 4223596 w 12248682"/>
              <a:gd name="connsiteY1301" fmla="*/ 288734 h 609800"/>
              <a:gd name="connsiteX1302" fmla="*/ 1889473 w 12248682"/>
              <a:gd name="connsiteY1302" fmla="*/ 288734 h 609800"/>
              <a:gd name="connsiteX1303" fmla="*/ 1940290 w 12248682"/>
              <a:gd name="connsiteY1303" fmla="*/ 339551 h 609800"/>
              <a:gd name="connsiteX1304" fmla="*/ 1889473 w 12248682"/>
              <a:gd name="connsiteY1304" fmla="*/ 390368 h 609800"/>
              <a:gd name="connsiteX1305" fmla="*/ 1838656 w 12248682"/>
              <a:gd name="connsiteY1305" fmla="*/ 339551 h 609800"/>
              <a:gd name="connsiteX1306" fmla="*/ 1889473 w 12248682"/>
              <a:gd name="connsiteY1306" fmla="*/ 288734 h 609800"/>
              <a:gd name="connsiteX1307" fmla="*/ 739158 w 12248682"/>
              <a:gd name="connsiteY1307" fmla="*/ 288734 h 609800"/>
              <a:gd name="connsiteX1308" fmla="*/ 789975 w 12248682"/>
              <a:gd name="connsiteY1308" fmla="*/ 339551 h 609800"/>
              <a:gd name="connsiteX1309" fmla="*/ 739158 w 12248682"/>
              <a:gd name="connsiteY1309" fmla="*/ 390368 h 609800"/>
              <a:gd name="connsiteX1310" fmla="*/ 688341 w 12248682"/>
              <a:gd name="connsiteY1310" fmla="*/ 339551 h 609800"/>
              <a:gd name="connsiteX1311" fmla="*/ 739158 w 12248682"/>
              <a:gd name="connsiteY1311" fmla="*/ 288734 h 609800"/>
              <a:gd name="connsiteX1312" fmla="*/ 12227892 w 12248682"/>
              <a:gd name="connsiteY1312" fmla="*/ 175550 h 609800"/>
              <a:gd name="connsiteX1313" fmla="*/ 12248682 w 12248682"/>
              <a:gd name="connsiteY1313" fmla="*/ 196339 h 609800"/>
              <a:gd name="connsiteX1314" fmla="*/ 12227892 w 12248682"/>
              <a:gd name="connsiteY1314" fmla="*/ 217128 h 609800"/>
              <a:gd name="connsiteX1315" fmla="*/ 12207104 w 12248682"/>
              <a:gd name="connsiteY1315" fmla="*/ 196339 h 609800"/>
              <a:gd name="connsiteX1316" fmla="*/ 12227892 w 12248682"/>
              <a:gd name="connsiteY1316" fmla="*/ 175550 h 609800"/>
              <a:gd name="connsiteX1317" fmla="*/ 12091610 w 12248682"/>
              <a:gd name="connsiteY1317" fmla="*/ 175550 h 609800"/>
              <a:gd name="connsiteX1318" fmla="*/ 12112399 w 12248682"/>
              <a:gd name="connsiteY1318" fmla="*/ 196339 h 609800"/>
              <a:gd name="connsiteX1319" fmla="*/ 12091610 w 12248682"/>
              <a:gd name="connsiteY1319" fmla="*/ 217128 h 609800"/>
              <a:gd name="connsiteX1320" fmla="*/ 12070822 w 12248682"/>
              <a:gd name="connsiteY1320" fmla="*/ 196339 h 609800"/>
              <a:gd name="connsiteX1321" fmla="*/ 12091610 w 12248682"/>
              <a:gd name="connsiteY1321" fmla="*/ 175550 h 609800"/>
              <a:gd name="connsiteX1322" fmla="*/ 11956484 w 12248682"/>
              <a:gd name="connsiteY1322" fmla="*/ 175550 h 609800"/>
              <a:gd name="connsiteX1323" fmla="*/ 11977272 w 12248682"/>
              <a:gd name="connsiteY1323" fmla="*/ 196339 h 609800"/>
              <a:gd name="connsiteX1324" fmla="*/ 11956484 w 12248682"/>
              <a:gd name="connsiteY1324" fmla="*/ 217128 h 609800"/>
              <a:gd name="connsiteX1325" fmla="*/ 11935695 w 12248682"/>
              <a:gd name="connsiteY1325" fmla="*/ 196339 h 609800"/>
              <a:gd name="connsiteX1326" fmla="*/ 11956484 w 12248682"/>
              <a:gd name="connsiteY1326" fmla="*/ 175550 h 609800"/>
              <a:gd name="connsiteX1327" fmla="*/ 11821356 w 12248682"/>
              <a:gd name="connsiteY1327" fmla="*/ 175550 h 609800"/>
              <a:gd name="connsiteX1328" fmla="*/ 11842144 w 12248682"/>
              <a:gd name="connsiteY1328" fmla="*/ 196339 h 609800"/>
              <a:gd name="connsiteX1329" fmla="*/ 11821356 w 12248682"/>
              <a:gd name="connsiteY1329" fmla="*/ 217128 h 609800"/>
              <a:gd name="connsiteX1330" fmla="*/ 11800567 w 12248682"/>
              <a:gd name="connsiteY1330" fmla="*/ 196339 h 609800"/>
              <a:gd name="connsiteX1331" fmla="*/ 11821356 w 12248682"/>
              <a:gd name="connsiteY1331" fmla="*/ 175550 h 609800"/>
              <a:gd name="connsiteX1332" fmla="*/ 11685074 w 12248682"/>
              <a:gd name="connsiteY1332" fmla="*/ 175550 h 609800"/>
              <a:gd name="connsiteX1333" fmla="*/ 11705862 w 12248682"/>
              <a:gd name="connsiteY1333" fmla="*/ 196339 h 609800"/>
              <a:gd name="connsiteX1334" fmla="*/ 11685074 w 12248682"/>
              <a:gd name="connsiteY1334" fmla="*/ 217128 h 609800"/>
              <a:gd name="connsiteX1335" fmla="*/ 11664285 w 12248682"/>
              <a:gd name="connsiteY1335" fmla="*/ 196339 h 609800"/>
              <a:gd name="connsiteX1336" fmla="*/ 11685074 w 12248682"/>
              <a:gd name="connsiteY1336" fmla="*/ 175550 h 609800"/>
              <a:gd name="connsiteX1337" fmla="*/ 10736873 w 12248682"/>
              <a:gd name="connsiteY1337" fmla="*/ 175550 h 609800"/>
              <a:gd name="connsiteX1338" fmla="*/ 10757662 w 12248682"/>
              <a:gd name="connsiteY1338" fmla="*/ 196339 h 609800"/>
              <a:gd name="connsiteX1339" fmla="*/ 10736873 w 12248682"/>
              <a:gd name="connsiteY1339" fmla="*/ 217128 h 609800"/>
              <a:gd name="connsiteX1340" fmla="*/ 10716084 w 12248682"/>
              <a:gd name="connsiteY1340" fmla="*/ 196339 h 609800"/>
              <a:gd name="connsiteX1341" fmla="*/ 10736873 w 12248682"/>
              <a:gd name="connsiteY1341" fmla="*/ 175550 h 609800"/>
              <a:gd name="connsiteX1342" fmla="*/ 10601745 w 12248682"/>
              <a:gd name="connsiteY1342" fmla="*/ 175550 h 609800"/>
              <a:gd name="connsiteX1343" fmla="*/ 10622534 w 12248682"/>
              <a:gd name="connsiteY1343" fmla="*/ 196339 h 609800"/>
              <a:gd name="connsiteX1344" fmla="*/ 10601745 w 12248682"/>
              <a:gd name="connsiteY1344" fmla="*/ 217128 h 609800"/>
              <a:gd name="connsiteX1345" fmla="*/ 10580956 w 12248682"/>
              <a:gd name="connsiteY1345" fmla="*/ 196339 h 609800"/>
              <a:gd name="connsiteX1346" fmla="*/ 10601745 w 12248682"/>
              <a:gd name="connsiteY1346" fmla="*/ 175550 h 609800"/>
              <a:gd name="connsiteX1347" fmla="*/ 8027949 w 12248682"/>
              <a:gd name="connsiteY1347" fmla="*/ 175550 h 609800"/>
              <a:gd name="connsiteX1348" fmla="*/ 8048737 w 12248682"/>
              <a:gd name="connsiteY1348" fmla="*/ 196339 h 609800"/>
              <a:gd name="connsiteX1349" fmla="*/ 8027949 w 12248682"/>
              <a:gd name="connsiteY1349" fmla="*/ 217128 h 609800"/>
              <a:gd name="connsiteX1350" fmla="*/ 8007160 w 12248682"/>
              <a:gd name="connsiteY1350" fmla="*/ 196339 h 609800"/>
              <a:gd name="connsiteX1351" fmla="*/ 8027949 w 12248682"/>
              <a:gd name="connsiteY1351" fmla="*/ 175550 h 609800"/>
              <a:gd name="connsiteX1352" fmla="*/ 7892822 w 12248682"/>
              <a:gd name="connsiteY1352" fmla="*/ 175550 h 609800"/>
              <a:gd name="connsiteX1353" fmla="*/ 7913611 w 12248682"/>
              <a:gd name="connsiteY1353" fmla="*/ 196339 h 609800"/>
              <a:gd name="connsiteX1354" fmla="*/ 7892822 w 12248682"/>
              <a:gd name="connsiteY1354" fmla="*/ 217128 h 609800"/>
              <a:gd name="connsiteX1355" fmla="*/ 7872031 w 12248682"/>
              <a:gd name="connsiteY1355" fmla="*/ 196339 h 609800"/>
              <a:gd name="connsiteX1356" fmla="*/ 7892822 w 12248682"/>
              <a:gd name="connsiteY1356" fmla="*/ 175550 h 609800"/>
              <a:gd name="connsiteX1357" fmla="*/ 7757693 w 12248682"/>
              <a:gd name="connsiteY1357" fmla="*/ 175550 h 609800"/>
              <a:gd name="connsiteX1358" fmla="*/ 7778483 w 12248682"/>
              <a:gd name="connsiteY1358" fmla="*/ 196339 h 609800"/>
              <a:gd name="connsiteX1359" fmla="*/ 7757693 w 12248682"/>
              <a:gd name="connsiteY1359" fmla="*/ 217128 h 609800"/>
              <a:gd name="connsiteX1360" fmla="*/ 7736906 w 12248682"/>
              <a:gd name="connsiteY1360" fmla="*/ 196339 h 609800"/>
              <a:gd name="connsiteX1361" fmla="*/ 7757693 w 12248682"/>
              <a:gd name="connsiteY1361" fmla="*/ 175550 h 609800"/>
              <a:gd name="connsiteX1362" fmla="*/ 7622566 w 12248682"/>
              <a:gd name="connsiteY1362" fmla="*/ 175550 h 609800"/>
              <a:gd name="connsiteX1363" fmla="*/ 7643355 w 12248682"/>
              <a:gd name="connsiteY1363" fmla="*/ 196339 h 609800"/>
              <a:gd name="connsiteX1364" fmla="*/ 7622566 w 12248682"/>
              <a:gd name="connsiteY1364" fmla="*/ 217128 h 609800"/>
              <a:gd name="connsiteX1365" fmla="*/ 7601778 w 12248682"/>
              <a:gd name="connsiteY1365" fmla="*/ 196339 h 609800"/>
              <a:gd name="connsiteX1366" fmla="*/ 7622566 w 12248682"/>
              <a:gd name="connsiteY1366" fmla="*/ 175550 h 609800"/>
              <a:gd name="connsiteX1367" fmla="*/ 7486284 w 12248682"/>
              <a:gd name="connsiteY1367" fmla="*/ 175550 h 609800"/>
              <a:gd name="connsiteX1368" fmla="*/ 7507074 w 12248682"/>
              <a:gd name="connsiteY1368" fmla="*/ 196339 h 609800"/>
              <a:gd name="connsiteX1369" fmla="*/ 7486284 w 12248682"/>
              <a:gd name="connsiteY1369" fmla="*/ 217128 h 609800"/>
              <a:gd name="connsiteX1370" fmla="*/ 7465495 w 12248682"/>
              <a:gd name="connsiteY1370" fmla="*/ 196339 h 609800"/>
              <a:gd name="connsiteX1371" fmla="*/ 7486284 w 12248682"/>
              <a:gd name="connsiteY1371" fmla="*/ 175550 h 609800"/>
              <a:gd name="connsiteX1372" fmla="*/ 7351157 w 12248682"/>
              <a:gd name="connsiteY1372" fmla="*/ 175550 h 609800"/>
              <a:gd name="connsiteX1373" fmla="*/ 7371946 w 12248682"/>
              <a:gd name="connsiteY1373" fmla="*/ 196339 h 609800"/>
              <a:gd name="connsiteX1374" fmla="*/ 7351157 w 12248682"/>
              <a:gd name="connsiteY1374" fmla="*/ 217128 h 609800"/>
              <a:gd name="connsiteX1375" fmla="*/ 7330369 w 12248682"/>
              <a:gd name="connsiteY1375" fmla="*/ 196339 h 609800"/>
              <a:gd name="connsiteX1376" fmla="*/ 7351157 w 12248682"/>
              <a:gd name="connsiteY1376" fmla="*/ 175550 h 609800"/>
              <a:gd name="connsiteX1377" fmla="*/ 7216030 w 12248682"/>
              <a:gd name="connsiteY1377" fmla="*/ 175550 h 609800"/>
              <a:gd name="connsiteX1378" fmla="*/ 7236819 w 12248682"/>
              <a:gd name="connsiteY1378" fmla="*/ 196339 h 609800"/>
              <a:gd name="connsiteX1379" fmla="*/ 7216030 w 12248682"/>
              <a:gd name="connsiteY1379" fmla="*/ 217128 h 609800"/>
              <a:gd name="connsiteX1380" fmla="*/ 7195241 w 12248682"/>
              <a:gd name="connsiteY1380" fmla="*/ 196339 h 609800"/>
              <a:gd name="connsiteX1381" fmla="*/ 7216030 w 12248682"/>
              <a:gd name="connsiteY1381" fmla="*/ 175550 h 609800"/>
              <a:gd name="connsiteX1382" fmla="*/ 7079748 w 12248682"/>
              <a:gd name="connsiteY1382" fmla="*/ 175550 h 609800"/>
              <a:gd name="connsiteX1383" fmla="*/ 7100537 w 12248682"/>
              <a:gd name="connsiteY1383" fmla="*/ 196339 h 609800"/>
              <a:gd name="connsiteX1384" fmla="*/ 7079748 w 12248682"/>
              <a:gd name="connsiteY1384" fmla="*/ 217128 h 609800"/>
              <a:gd name="connsiteX1385" fmla="*/ 7058959 w 12248682"/>
              <a:gd name="connsiteY1385" fmla="*/ 196339 h 609800"/>
              <a:gd name="connsiteX1386" fmla="*/ 7079748 w 12248682"/>
              <a:gd name="connsiteY1386" fmla="*/ 175550 h 609800"/>
              <a:gd name="connsiteX1387" fmla="*/ 6131548 w 12248682"/>
              <a:gd name="connsiteY1387" fmla="*/ 175550 h 609800"/>
              <a:gd name="connsiteX1388" fmla="*/ 6152336 w 12248682"/>
              <a:gd name="connsiteY1388" fmla="*/ 196339 h 609800"/>
              <a:gd name="connsiteX1389" fmla="*/ 6131548 w 12248682"/>
              <a:gd name="connsiteY1389" fmla="*/ 217128 h 609800"/>
              <a:gd name="connsiteX1390" fmla="*/ 6110759 w 12248682"/>
              <a:gd name="connsiteY1390" fmla="*/ 196339 h 609800"/>
              <a:gd name="connsiteX1391" fmla="*/ 6131548 w 12248682"/>
              <a:gd name="connsiteY1391" fmla="*/ 175550 h 609800"/>
              <a:gd name="connsiteX1392" fmla="*/ 5996418 w 12248682"/>
              <a:gd name="connsiteY1392" fmla="*/ 175550 h 609800"/>
              <a:gd name="connsiteX1393" fmla="*/ 6017209 w 12248682"/>
              <a:gd name="connsiteY1393" fmla="*/ 196339 h 609800"/>
              <a:gd name="connsiteX1394" fmla="*/ 5996418 w 12248682"/>
              <a:gd name="connsiteY1394" fmla="*/ 217128 h 609800"/>
              <a:gd name="connsiteX1395" fmla="*/ 5975631 w 12248682"/>
              <a:gd name="connsiteY1395" fmla="*/ 196339 h 609800"/>
              <a:gd name="connsiteX1396" fmla="*/ 5996418 w 12248682"/>
              <a:gd name="connsiteY1396" fmla="*/ 175550 h 609800"/>
              <a:gd name="connsiteX1397" fmla="*/ 3415142 w 12248682"/>
              <a:gd name="connsiteY1397" fmla="*/ 175550 h 609800"/>
              <a:gd name="connsiteX1398" fmla="*/ 3435930 w 12248682"/>
              <a:gd name="connsiteY1398" fmla="*/ 196339 h 609800"/>
              <a:gd name="connsiteX1399" fmla="*/ 3415142 w 12248682"/>
              <a:gd name="connsiteY1399" fmla="*/ 217128 h 609800"/>
              <a:gd name="connsiteX1400" fmla="*/ 3394352 w 12248682"/>
              <a:gd name="connsiteY1400" fmla="*/ 196339 h 609800"/>
              <a:gd name="connsiteX1401" fmla="*/ 3415142 w 12248682"/>
              <a:gd name="connsiteY1401" fmla="*/ 175550 h 609800"/>
              <a:gd name="connsiteX1402" fmla="*/ 3280013 w 12248682"/>
              <a:gd name="connsiteY1402" fmla="*/ 175550 h 609800"/>
              <a:gd name="connsiteX1403" fmla="*/ 3300802 w 12248682"/>
              <a:gd name="connsiteY1403" fmla="*/ 196339 h 609800"/>
              <a:gd name="connsiteX1404" fmla="*/ 3280013 w 12248682"/>
              <a:gd name="connsiteY1404" fmla="*/ 217128 h 609800"/>
              <a:gd name="connsiteX1405" fmla="*/ 3259224 w 12248682"/>
              <a:gd name="connsiteY1405" fmla="*/ 196339 h 609800"/>
              <a:gd name="connsiteX1406" fmla="*/ 3280013 w 12248682"/>
              <a:gd name="connsiteY1406" fmla="*/ 175550 h 609800"/>
              <a:gd name="connsiteX1407" fmla="*/ 3144887 w 12248682"/>
              <a:gd name="connsiteY1407" fmla="*/ 175550 h 609800"/>
              <a:gd name="connsiteX1408" fmla="*/ 3165675 w 12248682"/>
              <a:gd name="connsiteY1408" fmla="*/ 196339 h 609800"/>
              <a:gd name="connsiteX1409" fmla="*/ 3144887 w 12248682"/>
              <a:gd name="connsiteY1409" fmla="*/ 217128 h 609800"/>
              <a:gd name="connsiteX1410" fmla="*/ 3124098 w 12248682"/>
              <a:gd name="connsiteY1410" fmla="*/ 196339 h 609800"/>
              <a:gd name="connsiteX1411" fmla="*/ 3144887 w 12248682"/>
              <a:gd name="connsiteY1411" fmla="*/ 175550 h 609800"/>
              <a:gd name="connsiteX1412" fmla="*/ 3009759 w 12248682"/>
              <a:gd name="connsiteY1412" fmla="*/ 175550 h 609800"/>
              <a:gd name="connsiteX1413" fmla="*/ 3030548 w 12248682"/>
              <a:gd name="connsiteY1413" fmla="*/ 196339 h 609800"/>
              <a:gd name="connsiteX1414" fmla="*/ 3009759 w 12248682"/>
              <a:gd name="connsiteY1414" fmla="*/ 217128 h 609800"/>
              <a:gd name="connsiteX1415" fmla="*/ 2988971 w 12248682"/>
              <a:gd name="connsiteY1415" fmla="*/ 196339 h 609800"/>
              <a:gd name="connsiteX1416" fmla="*/ 3009759 w 12248682"/>
              <a:gd name="connsiteY1416" fmla="*/ 175550 h 609800"/>
              <a:gd name="connsiteX1417" fmla="*/ 2873476 w 12248682"/>
              <a:gd name="connsiteY1417" fmla="*/ 175550 h 609800"/>
              <a:gd name="connsiteX1418" fmla="*/ 2894265 w 12248682"/>
              <a:gd name="connsiteY1418" fmla="*/ 196339 h 609800"/>
              <a:gd name="connsiteX1419" fmla="*/ 2873476 w 12248682"/>
              <a:gd name="connsiteY1419" fmla="*/ 217128 h 609800"/>
              <a:gd name="connsiteX1420" fmla="*/ 2852688 w 12248682"/>
              <a:gd name="connsiteY1420" fmla="*/ 196339 h 609800"/>
              <a:gd name="connsiteX1421" fmla="*/ 2873476 w 12248682"/>
              <a:gd name="connsiteY1421" fmla="*/ 175550 h 609800"/>
              <a:gd name="connsiteX1422" fmla="*/ 2738350 w 12248682"/>
              <a:gd name="connsiteY1422" fmla="*/ 175550 h 609800"/>
              <a:gd name="connsiteX1423" fmla="*/ 2759139 w 12248682"/>
              <a:gd name="connsiteY1423" fmla="*/ 196339 h 609800"/>
              <a:gd name="connsiteX1424" fmla="*/ 2738350 w 12248682"/>
              <a:gd name="connsiteY1424" fmla="*/ 217128 h 609800"/>
              <a:gd name="connsiteX1425" fmla="*/ 2717562 w 12248682"/>
              <a:gd name="connsiteY1425" fmla="*/ 196339 h 609800"/>
              <a:gd name="connsiteX1426" fmla="*/ 2738350 w 12248682"/>
              <a:gd name="connsiteY1426" fmla="*/ 175550 h 609800"/>
              <a:gd name="connsiteX1427" fmla="*/ 2603222 w 12248682"/>
              <a:gd name="connsiteY1427" fmla="*/ 175550 h 609800"/>
              <a:gd name="connsiteX1428" fmla="*/ 2624011 w 12248682"/>
              <a:gd name="connsiteY1428" fmla="*/ 196339 h 609800"/>
              <a:gd name="connsiteX1429" fmla="*/ 2603222 w 12248682"/>
              <a:gd name="connsiteY1429" fmla="*/ 217128 h 609800"/>
              <a:gd name="connsiteX1430" fmla="*/ 2582433 w 12248682"/>
              <a:gd name="connsiteY1430" fmla="*/ 196339 h 609800"/>
              <a:gd name="connsiteX1431" fmla="*/ 2603222 w 12248682"/>
              <a:gd name="connsiteY1431" fmla="*/ 175550 h 609800"/>
              <a:gd name="connsiteX1432" fmla="*/ 2466940 w 12248682"/>
              <a:gd name="connsiteY1432" fmla="*/ 175550 h 609800"/>
              <a:gd name="connsiteX1433" fmla="*/ 2487729 w 12248682"/>
              <a:gd name="connsiteY1433" fmla="*/ 196339 h 609800"/>
              <a:gd name="connsiteX1434" fmla="*/ 2466940 w 12248682"/>
              <a:gd name="connsiteY1434" fmla="*/ 217128 h 609800"/>
              <a:gd name="connsiteX1435" fmla="*/ 2446151 w 12248682"/>
              <a:gd name="connsiteY1435" fmla="*/ 196339 h 609800"/>
              <a:gd name="connsiteX1436" fmla="*/ 2466940 w 12248682"/>
              <a:gd name="connsiteY1436" fmla="*/ 175550 h 609800"/>
              <a:gd name="connsiteX1437" fmla="*/ 1518739 w 12248682"/>
              <a:gd name="connsiteY1437" fmla="*/ 175550 h 609800"/>
              <a:gd name="connsiteX1438" fmla="*/ 1539528 w 12248682"/>
              <a:gd name="connsiteY1438" fmla="*/ 196339 h 609800"/>
              <a:gd name="connsiteX1439" fmla="*/ 1518739 w 12248682"/>
              <a:gd name="connsiteY1439" fmla="*/ 217128 h 609800"/>
              <a:gd name="connsiteX1440" fmla="*/ 1497951 w 12248682"/>
              <a:gd name="connsiteY1440" fmla="*/ 196339 h 609800"/>
              <a:gd name="connsiteX1441" fmla="*/ 1518739 w 12248682"/>
              <a:gd name="connsiteY1441" fmla="*/ 175550 h 609800"/>
              <a:gd name="connsiteX1442" fmla="*/ 1383611 w 12248682"/>
              <a:gd name="connsiteY1442" fmla="*/ 175550 h 609800"/>
              <a:gd name="connsiteX1443" fmla="*/ 1404400 w 12248682"/>
              <a:gd name="connsiteY1443" fmla="*/ 196339 h 609800"/>
              <a:gd name="connsiteX1444" fmla="*/ 1383611 w 12248682"/>
              <a:gd name="connsiteY1444" fmla="*/ 217128 h 609800"/>
              <a:gd name="connsiteX1445" fmla="*/ 1362823 w 12248682"/>
              <a:gd name="connsiteY1445" fmla="*/ 196339 h 609800"/>
              <a:gd name="connsiteX1446" fmla="*/ 1383611 w 12248682"/>
              <a:gd name="connsiteY1446" fmla="*/ 175550 h 609800"/>
              <a:gd name="connsiteX1447" fmla="*/ 11549947 w 12248682"/>
              <a:gd name="connsiteY1447" fmla="*/ 172086 h 609800"/>
              <a:gd name="connsiteX1448" fmla="*/ 11573046 w 12248682"/>
              <a:gd name="connsiteY1448" fmla="*/ 195185 h 609800"/>
              <a:gd name="connsiteX1449" fmla="*/ 11549947 w 12248682"/>
              <a:gd name="connsiteY1449" fmla="*/ 218283 h 609800"/>
              <a:gd name="connsiteX1450" fmla="*/ 11526848 w 12248682"/>
              <a:gd name="connsiteY1450" fmla="*/ 195185 h 609800"/>
              <a:gd name="connsiteX1451" fmla="*/ 11549947 w 12248682"/>
              <a:gd name="connsiteY1451" fmla="*/ 172086 h 609800"/>
              <a:gd name="connsiteX1452" fmla="*/ 10466618 w 12248682"/>
              <a:gd name="connsiteY1452" fmla="*/ 172086 h 609800"/>
              <a:gd name="connsiteX1453" fmla="*/ 10489717 w 12248682"/>
              <a:gd name="connsiteY1453" fmla="*/ 195185 h 609800"/>
              <a:gd name="connsiteX1454" fmla="*/ 10466618 w 12248682"/>
              <a:gd name="connsiteY1454" fmla="*/ 218283 h 609800"/>
              <a:gd name="connsiteX1455" fmla="*/ 10443520 w 12248682"/>
              <a:gd name="connsiteY1455" fmla="*/ 195185 h 609800"/>
              <a:gd name="connsiteX1456" fmla="*/ 10466618 w 12248682"/>
              <a:gd name="connsiteY1456" fmla="*/ 172086 h 609800"/>
              <a:gd name="connsiteX1457" fmla="*/ 9244698 w 12248682"/>
              <a:gd name="connsiteY1457" fmla="*/ 172086 h 609800"/>
              <a:gd name="connsiteX1458" fmla="*/ 9270107 w 12248682"/>
              <a:gd name="connsiteY1458" fmla="*/ 194029 h 609800"/>
              <a:gd name="connsiteX1459" fmla="*/ 9249318 w 12248682"/>
              <a:gd name="connsiteY1459" fmla="*/ 219438 h 609800"/>
              <a:gd name="connsiteX1460" fmla="*/ 9223909 w 12248682"/>
              <a:gd name="connsiteY1460" fmla="*/ 197494 h 609800"/>
              <a:gd name="connsiteX1461" fmla="*/ 9244698 w 12248682"/>
              <a:gd name="connsiteY1461" fmla="*/ 172086 h 609800"/>
              <a:gd name="connsiteX1462" fmla="*/ 8164231 w 12248682"/>
              <a:gd name="connsiteY1462" fmla="*/ 172086 h 609800"/>
              <a:gd name="connsiteX1463" fmla="*/ 8187331 w 12248682"/>
              <a:gd name="connsiteY1463" fmla="*/ 195185 h 609800"/>
              <a:gd name="connsiteX1464" fmla="*/ 8164231 w 12248682"/>
              <a:gd name="connsiteY1464" fmla="*/ 218283 h 609800"/>
              <a:gd name="connsiteX1465" fmla="*/ 8141133 w 12248682"/>
              <a:gd name="connsiteY1465" fmla="*/ 195185 h 609800"/>
              <a:gd name="connsiteX1466" fmla="*/ 8164231 w 12248682"/>
              <a:gd name="connsiteY1466" fmla="*/ 172086 h 609800"/>
              <a:gd name="connsiteX1467" fmla="*/ 6944621 w 12248682"/>
              <a:gd name="connsiteY1467" fmla="*/ 172086 h 609800"/>
              <a:gd name="connsiteX1468" fmla="*/ 6967719 w 12248682"/>
              <a:gd name="connsiteY1468" fmla="*/ 195185 h 609800"/>
              <a:gd name="connsiteX1469" fmla="*/ 6944621 w 12248682"/>
              <a:gd name="connsiteY1469" fmla="*/ 218283 h 609800"/>
              <a:gd name="connsiteX1470" fmla="*/ 6921522 w 12248682"/>
              <a:gd name="connsiteY1470" fmla="*/ 195185 h 609800"/>
              <a:gd name="connsiteX1471" fmla="*/ 6944621 w 12248682"/>
              <a:gd name="connsiteY1471" fmla="*/ 172086 h 609800"/>
              <a:gd name="connsiteX1472" fmla="*/ 5861292 w 12248682"/>
              <a:gd name="connsiteY1472" fmla="*/ 172086 h 609800"/>
              <a:gd name="connsiteX1473" fmla="*/ 5884392 w 12248682"/>
              <a:gd name="connsiteY1473" fmla="*/ 195185 h 609800"/>
              <a:gd name="connsiteX1474" fmla="*/ 5861292 w 12248682"/>
              <a:gd name="connsiteY1474" fmla="*/ 218283 h 609800"/>
              <a:gd name="connsiteX1475" fmla="*/ 5838194 w 12248682"/>
              <a:gd name="connsiteY1475" fmla="*/ 195185 h 609800"/>
              <a:gd name="connsiteX1476" fmla="*/ 5861292 w 12248682"/>
              <a:gd name="connsiteY1476" fmla="*/ 172086 h 609800"/>
              <a:gd name="connsiteX1477" fmla="*/ 4639374 w 12248682"/>
              <a:gd name="connsiteY1477" fmla="*/ 172086 h 609800"/>
              <a:gd name="connsiteX1478" fmla="*/ 4664780 w 12248682"/>
              <a:gd name="connsiteY1478" fmla="*/ 192875 h 609800"/>
              <a:gd name="connsiteX1479" fmla="*/ 4643991 w 12248682"/>
              <a:gd name="connsiteY1479" fmla="*/ 218283 h 609800"/>
              <a:gd name="connsiteX1480" fmla="*/ 4618583 w 12248682"/>
              <a:gd name="connsiteY1480" fmla="*/ 197494 h 609800"/>
              <a:gd name="connsiteX1481" fmla="*/ 4639374 w 12248682"/>
              <a:gd name="connsiteY1481" fmla="*/ 172086 h 609800"/>
              <a:gd name="connsiteX1482" fmla="*/ 3551423 w 12248682"/>
              <a:gd name="connsiteY1482" fmla="*/ 172086 h 609800"/>
              <a:gd name="connsiteX1483" fmla="*/ 3574522 w 12248682"/>
              <a:gd name="connsiteY1483" fmla="*/ 195185 h 609800"/>
              <a:gd name="connsiteX1484" fmla="*/ 3551423 w 12248682"/>
              <a:gd name="connsiteY1484" fmla="*/ 218283 h 609800"/>
              <a:gd name="connsiteX1485" fmla="*/ 3528325 w 12248682"/>
              <a:gd name="connsiteY1485" fmla="*/ 195185 h 609800"/>
              <a:gd name="connsiteX1486" fmla="*/ 3551423 w 12248682"/>
              <a:gd name="connsiteY1486" fmla="*/ 172086 h 609800"/>
              <a:gd name="connsiteX1487" fmla="*/ 2331813 w 12248682"/>
              <a:gd name="connsiteY1487" fmla="*/ 172086 h 609800"/>
              <a:gd name="connsiteX1488" fmla="*/ 2354912 w 12248682"/>
              <a:gd name="connsiteY1488" fmla="*/ 195185 h 609800"/>
              <a:gd name="connsiteX1489" fmla="*/ 2331813 w 12248682"/>
              <a:gd name="connsiteY1489" fmla="*/ 218283 h 609800"/>
              <a:gd name="connsiteX1490" fmla="*/ 2308714 w 12248682"/>
              <a:gd name="connsiteY1490" fmla="*/ 195185 h 609800"/>
              <a:gd name="connsiteX1491" fmla="*/ 2331813 w 12248682"/>
              <a:gd name="connsiteY1491" fmla="*/ 172086 h 609800"/>
              <a:gd name="connsiteX1492" fmla="*/ 1248485 w 12248682"/>
              <a:gd name="connsiteY1492" fmla="*/ 172086 h 609800"/>
              <a:gd name="connsiteX1493" fmla="*/ 1271583 w 12248682"/>
              <a:gd name="connsiteY1493" fmla="*/ 195185 h 609800"/>
              <a:gd name="connsiteX1494" fmla="*/ 1248485 w 12248682"/>
              <a:gd name="connsiteY1494" fmla="*/ 218283 h 609800"/>
              <a:gd name="connsiteX1495" fmla="*/ 1225386 w 12248682"/>
              <a:gd name="connsiteY1495" fmla="*/ 195185 h 609800"/>
              <a:gd name="connsiteX1496" fmla="*/ 1248485 w 12248682"/>
              <a:gd name="connsiteY1496" fmla="*/ 172086 h 609800"/>
              <a:gd name="connsiteX1497" fmla="*/ 26564 w 12248682"/>
              <a:gd name="connsiteY1497" fmla="*/ 172086 h 609800"/>
              <a:gd name="connsiteX1498" fmla="*/ 51973 w 12248682"/>
              <a:gd name="connsiteY1498" fmla="*/ 194029 h 609800"/>
              <a:gd name="connsiteX1499" fmla="*/ 31184 w 12248682"/>
              <a:gd name="connsiteY1499" fmla="*/ 219438 h 609800"/>
              <a:gd name="connsiteX1500" fmla="*/ 5776 w 12248682"/>
              <a:gd name="connsiteY1500" fmla="*/ 197494 h 609800"/>
              <a:gd name="connsiteX1501" fmla="*/ 26564 w 12248682"/>
              <a:gd name="connsiteY1501" fmla="*/ 172086 h 609800"/>
              <a:gd name="connsiteX1502" fmla="*/ 11414819 w 12248682"/>
              <a:gd name="connsiteY1502" fmla="*/ 166311 h 609800"/>
              <a:gd name="connsiteX1503" fmla="*/ 11443693 w 12248682"/>
              <a:gd name="connsiteY1503" fmla="*/ 195185 h 609800"/>
              <a:gd name="connsiteX1504" fmla="*/ 11414819 w 12248682"/>
              <a:gd name="connsiteY1504" fmla="*/ 224057 h 609800"/>
              <a:gd name="connsiteX1505" fmla="*/ 11385946 w 12248682"/>
              <a:gd name="connsiteY1505" fmla="*/ 195185 h 609800"/>
              <a:gd name="connsiteX1506" fmla="*/ 11414819 w 12248682"/>
              <a:gd name="connsiteY1506" fmla="*/ 166311 h 609800"/>
              <a:gd name="connsiteX1507" fmla="*/ 10330336 w 12248682"/>
              <a:gd name="connsiteY1507" fmla="*/ 166311 h 609800"/>
              <a:gd name="connsiteX1508" fmla="*/ 10359209 w 12248682"/>
              <a:gd name="connsiteY1508" fmla="*/ 195185 h 609800"/>
              <a:gd name="connsiteX1509" fmla="*/ 10330336 w 12248682"/>
              <a:gd name="connsiteY1509" fmla="*/ 224057 h 609800"/>
              <a:gd name="connsiteX1510" fmla="*/ 10301462 w 12248682"/>
              <a:gd name="connsiteY1510" fmla="*/ 195185 h 609800"/>
              <a:gd name="connsiteX1511" fmla="*/ 10330336 w 12248682"/>
              <a:gd name="connsiteY1511" fmla="*/ 166311 h 609800"/>
              <a:gd name="connsiteX1512" fmla="*/ 9382135 w 12248682"/>
              <a:gd name="connsiteY1512" fmla="*/ 166311 h 609800"/>
              <a:gd name="connsiteX1513" fmla="*/ 9411009 w 12248682"/>
              <a:gd name="connsiteY1513" fmla="*/ 195185 h 609800"/>
              <a:gd name="connsiteX1514" fmla="*/ 9382135 w 12248682"/>
              <a:gd name="connsiteY1514" fmla="*/ 224057 h 609800"/>
              <a:gd name="connsiteX1515" fmla="*/ 9353262 w 12248682"/>
              <a:gd name="connsiteY1515" fmla="*/ 195185 h 609800"/>
              <a:gd name="connsiteX1516" fmla="*/ 9382135 w 12248682"/>
              <a:gd name="connsiteY1516" fmla="*/ 166311 h 609800"/>
              <a:gd name="connsiteX1517" fmla="*/ 9112431 w 12248682"/>
              <a:gd name="connsiteY1517" fmla="*/ 166311 h 609800"/>
              <a:gd name="connsiteX1518" fmla="*/ 9141305 w 12248682"/>
              <a:gd name="connsiteY1518" fmla="*/ 195185 h 609800"/>
              <a:gd name="connsiteX1519" fmla="*/ 9112431 w 12248682"/>
              <a:gd name="connsiteY1519" fmla="*/ 224057 h 609800"/>
              <a:gd name="connsiteX1520" fmla="*/ 9083558 w 12248682"/>
              <a:gd name="connsiteY1520" fmla="*/ 195185 h 609800"/>
              <a:gd name="connsiteX1521" fmla="*/ 9112431 w 12248682"/>
              <a:gd name="connsiteY1521" fmla="*/ 166311 h 609800"/>
              <a:gd name="connsiteX1522" fmla="*/ 8299358 w 12248682"/>
              <a:gd name="connsiteY1522" fmla="*/ 166311 h 609800"/>
              <a:gd name="connsiteX1523" fmla="*/ 8328231 w 12248682"/>
              <a:gd name="connsiteY1523" fmla="*/ 195185 h 609800"/>
              <a:gd name="connsiteX1524" fmla="*/ 8299358 w 12248682"/>
              <a:gd name="connsiteY1524" fmla="*/ 224057 h 609800"/>
              <a:gd name="connsiteX1525" fmla="*/ 8270485 w 12248682"/>
              <a:gd name="connsiteY1525" fmla="*/ 195185 h 609800"/>
              <a:gd name="connsiteX1526" fmla="*/ 8299358 w 12248682"/>
              <a:gd name="connsiteY1526" fmla="*/ 166311 h 609800"/>
              <a:gd name="connsiteX1527" fmla="*/ 6809492 w 12248682"/>
              <a:gd name="connsiteY1527" fmla="*/ 166311 h 609800"/>
              <a:gd name="connsiteX1528" fmla="*/ 6838367 w 12248682"/>
              <a:gd name="connsiteY1528" fmla="*/ 195185 h 609800"/>
              <a:gd name="connsiteX1529" fmla="*/ 6809492 w 12248682"/>
              <a:gd name="connsiteY1529" fmla="*/ 224057 h 609800"/>
              <a:gd name="connsiteX1530" fmla="*/ 6780620 w 12248682"/>
              <a:gd name="connsiteY1530" fmla="*/ 195185 h 609800"/>
              <a:gd name="connsiteX1531" fmla="*/ 6809492 w 12248682"/>
              <a:gd name="connsiteY1531" fmla="*/ 166311 h 609800"/>
              <a:gd name="connsiteX1532" fmla="*/ 5726165 w 12248682"/>
              <a:gd name="connsiteY1532" fmla="*/ 166311 h 609800"/>
              <a:gd name="connsiteX1533" fmla="*/ 5755038 w 12248682"/>
              <a:gd name="connsiteY1533" fmla="*/ 195185 h 609800"/>
              <a:gd name="connsiteX1534" fmla="*/ 5726165 w 12248682"/>
              <a:gd name="connsiteY1534" fmla="*/ 224057 h 609800"/>
              <a:gd name="connsiteX1535" fmla="*/ 5697292 w 12248682"/>
              <a:gd name="connsiteY1535" fmla="*/ 195185 h 609800"/>
              <a:gd name="connsiteX1536" fmla="*/ 5726165 w 12248682"/>
              <a:gd name="connsiteY1536" fmla="*/ 166311 h 609800"/>
              <a:gd name="connsiteX1537" fmla="*/ 4776809 w 12248682"/>
              <a:gd name="connsiteY1537" fmla="*/ 166311 h 609800"/>
              <a:gd name="connsiteX1538" fmla="*/ 4805682 w 12248682"/>
              <a:gd name="connsiteY1538" fmla="*/ 195185 h 609800"/>
              <a:gd name="connsiteX1539" fmla="*/ 4776809 w 12248682"/>
              <a:gd name="connsiteY1539" fmla="*/ 224057 h 609800"/>
              <a:gd name="connsiteX1540" fmla="*/ 4747936 w 12248682"/>
              <a:gd name="connsiteY1540" fmla="*/ 195185 h 609800"/>
              <a:gd name="connsiteX1541" fmla="*/ 4776809 w 12248682"/>
              <a:gd name="connsiteY1541" fmla="*/ 166311 h 609800"/>
              <a:gd name="connsiteX1542" fmla="*/ 4499625 w 12248682"/>
              <a:gd name="connsiteY1542" fmla="*/ 166311 h 609800"/>
              <a:gd name="connsiteX1543" fmla="*/ 4528499 w 12248682"/>
              <a:gd name="connsiteY1543" fmla="*/ 195185 h 609800"/>
              <a:gd name="connsiteX1544" fmla="*/ 4499625 w 12248682"/>
              <a:gd name="connsiteY1544" fmla="*/ 224057 h 609800"/>
              <a:gd name="connsiteX1545" fmla="*/ 4470752 w 12248682"/>
              <a:gd name="connsiteY1545" fmla="*/ 195185 h 609800"/>
              <a:gd name="connsiteX1546" fmla="*/ 4499625 w 12248682"/>
              <a:gd name="connsiteY1546" fmla="*/ 166311 h 609800"/>
              <a:gd name="connsiteX1547" fmla="*/ 3686551 w 12248682"/>
              <a:gd name="connsiteY1547" fmla="*/ 166311 h 609800"/>
              <a:gd name="connsiteX1548" fmla="*/ 3715424 w 12248682"/>
              <a:gd name="connsiteY1548" fmla="*/ 195185 h 609800"/>
              <a:gd name="connsiteX1549" fmla="*/ 3686551 w 12248682"/>
              <a:gd name="connsiteY1549" fmla="*/ 224057 h 609800"/>
              <a:gd name="connsiteX1550" fmla="*/ 3657677 w 12248682"/>
              <a:gd name="connsiteY1550" fmla="*/ 195185 h 609800"/>
              <a:gd name="connsiteX1551" fmla="*/ 3686551 w 12248682"/>
              <a:gd name="connsiteY1551" fmla="*/ 166311 h 609800"/>
              <a:gd name="connsiteX1552" fmla="*/ 2196685 w 12248682"/>
              <a:gd name="connsiteY1552" fmla="*/ 166311 h 609800"/>
              <a:gd name="connsiteX1553" fmla="*/ 2225559 w 12248682"/>
              <a:gd name="connsiteY1553" fmla="*/ 195185 h 609800"/>
              <a:gd name="connsiteX1554" fmla="*/ 2196685 w 12248682"/>
              <a:gd name="connsiteY1554" fmla="*/ 224057 h 609800"/>
              <a:gd name="connsiteX1555" fmla="*/ 2167813 w 12248682"/>
              <a:gd name="connsiteY1555" fmla="*/ 195185 h 609800"/>
              <a:gd name="connsiteX1556" fmla="*/ 2196685 w 12248682"/>
              <a:gd name="connsiteY1556" fmla="*/ 166311 h 609800"/>
              <a:gd name="connsiteX1557" fmla="*/ 1112202 w 12248682"/>
              <a:gd name="connsiteY1557" fmla="*/ 166311 h 609800"/>
              <a:gd name="connsiteX1558" fmla="*/ 1141075 w 12248682"/>
              <a:gd name="connsiteY1558" fmla="*/ 195185 h 609800"/>
              <a:gd name="connsiteX1559" fmla="*/ 1112202 w 12248682"/>
              <a:gd name="connsiteY1559" fmla="*/ 224057 h 609800"/>
              <a:gd name="connsiteX1560" fmla="*/ 1083328 w 12248682"/>
              <a:gd name="connsiteY1560" fmla="*/ 195185 h 609800"/>
              <a:gd name="connsiteX1561" fmla="*/ 1112202 w 12248682"/>
              <a:gd name="connsiteY1561" fmla="*/ 166311 h 609800"/>
              <a:gd name="connsiteX1562" fmla="*/ 164001 w 12248682"/>
              <a:gd name="connsiteY1562" fmla="*/ 166311 h 609800"/>
              <a:gd name="connsiteX1563" fmla="*/ 192875 w 12248682"/>
              <a:gd name="connsiteY1563" fmla="*/ 195185 h 609800"/>
              <a:gd name="connsiteX1564" fmla="*/ 164001 w 12248682"/>
              <a:gd name="connsiteY1564" fmla="*/ 224057 h 609800"/>
              <a:gd name="connsiteX1565" fmla="*/ 135128 w 12248682"/>
              <a:gd name="connsiteY1565" fmla="*/ 195185 h 609800"/>
              <a:gd name="connsiteX1566" fmla="*/ 164001 w 12248682"/>
              <a:gd name="connsiteY1566" fmla="*/ 166311 h 609800"/>
              <a:gd name="connsiteX1567" fmla="*/ 11279692 w 12248682"/>
              <a:gd name="connsiteY1567" fmla="*/ 160537 h 609800"/>
              <a:gd name="connsiteX1568" fmla="*/ 11314340 w 12248682"/>
              <a:gd name="connsiteY1568" fmla="*/ 195185 h 609800"/>
              <a:gd name="connsiteX1569" fmla="*/ 11279692 w 12248682"/>
              <a:gd name="connsiteY1569" fmla="*/ 229833 h 609800"/>
              <a:gd name="connsiteX1570" fmla="*/ 11245044 w 12248682"/>
              <a:gd name="connsiteY1570" fmla="*/ 195185 h 609800"/>
              <a:gd name="connsiteX1571" fmla="*/ 11279692 w 12248682"/>
              <a:gd name="connsiteY1571" fmla="*/ 160537 h 609800"/>
              <a:gd name="connsiteX1572" fmla="*/ 10195208 w 12248682"/>
              <a:gd name="connsiteY1572" fmla="*/ 160537 h 609800"/>
              <a:gd name="connsiteX1573" fmla="*/ 10229856 w 12248682"/>
              <a:gd name="connsiteY1573" fmla="*/ 195185 h 609800"/>
              <a:gd name="connsiteX1574" fmla="*/ 10195208 w 12248682"/>
              <a:gd name="connsiteY1574" fmla="*/ 229833 h 609800"/>
              <a:gd name="connsiteX1575" fmla="*/ 10160560 w 12248682"/>
              <a:gd name="connsiteY1575" fmla="*/ 195185 h 609800"/>
              <a:gd name="connsiteX1576" fmla="*/ 10195208 w 12248682"/>
              <a:gd name="connsiteY1576" fmla="*/ 160537 h 609800"/>
              <a:gd name="connsiteX1577" fmla="*/ 9518417 w 12248682"/>
              <a:gd name="connsiteY1577" fmla="*/ 160537 h 609800"/>
              <a:gd name="connsiteX1578" fmla="*/ 9553065 w 12248682"/>
              <a:gd name="connsiteY1578" fmla="*/ 195185 h 609800"/>
              <a:gd name="connsiteX1579" fmla="*/ 9518417 w 12248682"/>
              <a:gd name="connsiteY1579" fmla="*/ 229833 h 609800"/>
              <a:gd name="connsiteX1580" fmla="*/ 9483769 w 12248682"/>
              <a:gd name="connsiteY1580" fmla="*/ 195185 h 609800"/>
              <a:gd name="connsiteX1581" fmla="*/ 9518417 w 12248682"/>
              <a:gd name="connsiteY1581" fmla="*/ 160537 h 609800"/>
              <a:gd name="connsiteX1582" fmla="*/ 8977304 w 12248682"/>
              <a:gd name="connsiteY1582" fmla="*/ 160537 h 609800"/>
              <a:gd name="connsiteX1583" fmla="*/ 9011952 w 12248682"/>
              <a:gd name="connsiteY1583" fmla="*/ 195185 h 609800"/>
              <a:gd name="connsiteX1584" fmla="*/ 8977304 w 12248682"/>
              <a:gd name="connsiteY1584" fmla="*/ 229833 h 609800"/>
              <a:gd name="connsiteX1585" fmla="*/ 8942656 w 12248682"/>
              <a:gd name="connsiteY1585" fmla="*/ 195185 h 609800"/>
              <a:gd name="connsiteX1586" fmla="*/ 8977304 w 12248682"/>
              <a:gd name="connsiteY1586" fmla="*/ 160537 h 609800"/>
              <a:gd name="connsiteX1587" fmla="*/ 8434485 w 12248682"/>
              <a:gd name="connsiteY1587" fmla="*/ 160537 h 609800"/>
              <a:gd name="connsiteX1588" fmla="*/ 8469133 w 12248682"/>
              <a:gd name="connsiteY1588" fmla="*/ 195185 h 609800"/>
              <a:gd name="connsiteX1589" fmla="*/ 8434485 w 12248682"/>
              <a:gd name="connsiteY1589" fmla="*/ 229833 h 609800"/>
              <a:gd name="connsiteX1590" fmla="*/ 8399837 w 12248682"/>
              <a:gd name="connsiteY1590" fmla="*/ 195185 h 609800"/>
              <a:gd name="connsiteX1591" fmla="*/ 8434485 w 12248682"/>
              <a:gd name="connsiteY1591" fmla="*/ 160537 h 609800"/>
              <a:gd name="connsiteX1592" fmla="*/ 6674366 w 12248682"/>
              <a:gd name="connsiteY1592" fmla="*/ 160537 h 609800"/>
              <a:gd name="connsiteX1593" fmla="*/ 6709014 w 12248682"/>
              <a:gd name="connsiteY1593" fmla="*/ 195185 h 609800"/>
              <a:gd name="connsiteX1594" fmla="*/ 6674366 w 12248682"/>
              <a:gd name="connsiteY1594" fmla="*/ 229833 h 609800"/>
              <a:gd name="connsiteX1595" fmla="*/ 6639717 w 12248682"/>
              <a:gd name="connsiteY1595" fmla="*/ 195185 h 609800"/>
              <a:gd name="connsiteX1596" fmla="*/ 6674366 w 12248682"/>
              <a:gd name="connsiteY1596" fmla="*/ 160537 h 609800"/>
              <a:gd name="connsiteX1597" fmla="*/ 5589882 w 12248682"/>
              <a:gd name="connsiteY1597" fmla="*/ 160537 h 609800"/>
              <a:gd name="connsiteX1598" fmla="*/ 5624531 w 12248682"/>
              <a:gd name="connsiteY1598" fmla="*/ 195185 h 609800"/>
              <a:gd name="connsiteX1599" fmla="*/ 5589882 w 12248682"/>
              <a:gd name="connsiteY1599" fmla="*/ 229833 h 609800"/>
              <a:gd name="connsiteX1600" fmla="*/ 5555234 w 12248682"/>
              <a:gd name="connsiteY1600" fmla="*/ 195185 h 609800"/>
              <a:gd name="connsiteX1601" fmla="*/ 5589882 w 12248682"/>
              <a:gd name="connsiteY1601" fmla="*/ 160537 h 609800"/>
              <a:gd name="connsiteX1602" fmla="*/ 4913091 w 12248682"/>
              <a:gd name="connsiteY1602" fmla="*/ 160537 h 609800"/>
              <a:gd name="connsiteX1603" fmla="*/ 4947739 w 12248682"/>
              <a:gd name="connsiteY1603" fmla="*/ 195185 h 609800"/>
              <a:gd name="connsiteX1604" fmla="*/ 4913091 w 12248682"/>
              <a:gd name="connsiteY1604" fmla="*/ 229833 h 609800"/>
              <a:gd name="connsiteX1605" fmla="*/ 4878443 w 12248682"/>
              <a:gd name="connsiteY1605" fmla="*/ 195185 h 609800"/>
              <a:gd name="connsiteX1606" fmla="*/ 4913091 w 12248682"/>
              <a:gd name="connsiteY1606" fmla="*/ 160537 h 609800"/>
              <a:gd name="connsiteX1607" fmla="*/ 4364499 w 12248682"/>
              <a:gd name="connsiteY1607" fmla="*/ 160537 h 609800"/>
              <a:gd name="connsiteX1608" fmla="*/ 4399146 w 12248682"/>
              <a:gd name="connsiteY1608" fmla="*/ 195185 h 609800"/>
              <a:gd name="connsiteX1609" fmla="*/ 4364499 w 12248682"/>
              <a:gd name="connsiteY1609" fmla="*/ 229833 h 609800"/>
              <a:gd name="connsiteX1610" fmla="*/ 4329850 w 12248682"/>
              <a:gd name="connsiteY1610" fmla="*/ 195185 h 609800"/>
              <a:gd name="connsiteX1611" fmla="*/ 4364499 w 12248682"/>
              <a:gd name="connsiteY1611" fmla="*/ 160537 h 609800"/>
              <a:gd name="connsiteX1612" fmla="*/ 3821678 w 12248682"/>
              <a:gd name="connsiteY1612" fmla="*/ 160537 h 609800"/>
              <a:gd name="connsiteX1613" fmla="*/ 3856326 w 12248682"/>
              <a:gd name="connsiteY1613" fmla="*/ 195185 h 609800"/>
              <a:gd name="connsiteX1614" fmla="*/ 3821678 w 12248682"/>
              <a:gd name="connsiteY1614" fmla="*/ 229833 h 609800"/>
              <a:gd name="connsiteX1615" fmla="*/ 3787030 w 12248682"/>
              <a:gd name="connsiteY1615" fmla="*/ 195185 h 609800"/>
              <a:gd name="connsiteX1616" fmla="*/ 3821678 w 12248682"/>
              <a:gd name="connsiteY1616" fmla="*/ 160537 h 609800"/>
              <a:gd name="connsiteX1617" fmla="*/ 2061558 w 12248682"/>
              <a:gd name="connsiteY1617" fmla="*/ 160537 h 609800"/>
              <a:gd name="connsiteX1618" fmla="*/ 2096206 w 12248682"/>
              <a:gd name="connsiteY1618" fmla="*/ 195185 h 609800"/>
              <a:gd name="connsiteX1619" fmla="*/ 2061558 w 12248682"/>
              <a:gd name="connsiteY1619" fmla="*/ 229833 h 609800"/>
              <a:gd name="connsiteX1620" fmla="*/ 2026910 w 12248682"/>
              <a:gd name="connsiteY1620" fmla="*/ 195185 h 609800"/>
              <a:gd name="connsiteX1621" fmla="*/ 2061558 w 12248682"/>
              <a:gd name="connsiteY1621" fmla="*/ 160537 h 609800"/>
              <a:gd name="connsiteX1622" fmla="*/ 977075 w 12248682"/>
              <a:gd name="connsiteY1622" fmla="*/ 160537 h 609800"/>
              <a:gd name="connsiteX1623" fmla="*/ 1011723 w 12248682"/>
              <a:gd name="connsiteY1623" fmla="*/ 195185 h 609800"/>
              <a:gd name="connsiteX1624" fmla="*/ 977075 w 12248682"/>
              <a:gd name="connsiteY1624" fmla="*/ 229833 h 609800"/>
              <a:gd name="connsiteX1625" fmla="*/ 942427 w 12248682"/>
              <a:gd name="connsiteY1625" fmla="*/ 195185 h 609800"/>
              <a:gd name="connsiteX1626" fmla="*/ 977075 w 12248682"/>
              <a:gd name="connsiteY1626" fmla="*/ 160537 h 609800"/>
              <a:gd name="connsiteX1627" fmla="*/ 300283 w 12248682"/>
              <a:gd name="connsiteY1627" fmla="*/ 160537 h 609800"/>
              <a:gd name="connsiteX1628" fmla="*/ 334931 w 12248682"/>
              <a:gd name="connsiteY1628" fmla="*/ 195185 h 609800"/>
              <a:gd name="connsiteX1629" fmla="*/ 300283 w 12248682"/>
              <a:gd name="connsiteY1629" fmla="*/ 229833 h 609800"/>
              <a:gd name="connsiteX1630" fmla="*/ 265635 w 12248682"/>
              <a:gd name="connsiteY1630" fmla="*/ 195185 h 609800"/>
              <a:gd name="connsiteX1631" fmla="*/ 300283 w 12248682"/>
              <a:gd name="connsiteY1631" fmla="*/ 160537 h 609800"/>
              <a:gd name="connsiteX1632" fmla="*/ 11143410 w 12248682"/>
              <a:gd name="connsiteY1632" fmla="*/ 154761 h 609800"/>
              <a:gd name="connsiteX1633" fmla="*/ 11183832 w 12248682"/>
              <a:gd name="connsiteY1633" fmla="*/ 195185 h 609800"/>
              <a:gd name="connsiteX1634" fmla="*/ 11143410 w 12248682"/>
              <a:gd name="connsiteY1634" fmla="*/ 235607 h 609800"/>
              <a:gd name="connsiteX1635" fmla="*/ 11102987 w 12248682"/>
              <a:gd name="connsiteY1635" fmla="*/ 195185 h 609800"/>
              <a:gd name="connsiteX1636" fmla="*/ 11143410 w 12248682"/>
              <a:gd name="connsiteY1636" fmla="*/ 154761 h 609800"/>
              <a:gd name="connsiteX1637" fmla="*/ 10873155 w 12248682"/>
              <a:gd name="connsiteY1637" fmla="*/ 154761 h 609800"/>
              <a:gd name="connsiteX1638" fmla="*/ 10913577 w 12248682"/>
              <a:gd name="connsiteY1638" fmla="*/ 195185 h 609800"/>
              <a:gd name="connsiteX1639" fmla="*/ 10873155 w 12248682"/>
              <a:gd name="connsiteY1639" fmla="*/ 235607 h 609800"/>
              <a:gd name="connsiteX1640" fmla="*/ 10832732 w 12248682"/>
              <a:gd name="connsiteY1640" fmla="*/ 195185 h 609800"/>
              <a:gd name="connsiteX1641" fmla="*/ 10873155 w 12248682"/>
              <a:gd name="connsiteY1641" fmla="*/ 154761 h 609800"/>
              <a:gd name="connsiteX1642" fmla="*/ 10060082 w 12248682"/>
              <a:gd name="connsiteY1642" fmla="*/ 154761 h 609800"/>
              <a:gd name="connsiteX1643" fmla="*/ 10100504 w 12248682"/>
              <a:gd name="connsiteY1643" fmla="*/ 195185 h 609800"/>
              <a:gd name="connsiteX1644" fmla="*/ 10060082 w 12248682"/>
              <a:gd name="connsiteY1644" fmla="*/ 235607 h 609800"/>
              <a:gd name="connsiteX1645" fmla="*/ 10019658 w 12248682"/>
              <a:gd name="connsiteY1645" fmla="*/ 195185 h 609800"/>
              <a:gd name="connsiteX1646" fmla="*/ 10060082 w 12248682"/>
              <a:gd name="connsiteY1646" fmla="*/ 154761 h 609800"/>
              <a:gd name="connsiteX1647" fmla="*/ 9653545 w 12248682"/>
              <a:gd name="connsiteY1647" fmla="*/ 154761 h 609800"/>
              <a:gd name="connsiteX1648" fmla="*/ 9693967 w 12248682"/>
              <a:gd name="connsiteY1648" fmla="*/ 195185 h 609800"/>
              <a:gd name="connsiteX1649" fmla="*/ 9653545 w 12248682"/>
              <a:gd name="connsiteY1649" fmla="*/ 235607 h 609800"/>
              <a:gd name="connsiteX1650" fmla="*/ 9613122 w 12248682"/>
              <a:gd name="connsiteY1650" fmla="*/ 195185 h 609800"/>
              <a:gd name="connsiteX1651" fmla="*/ 9653545 w 12248682"/>
              <a:gd name="connsiteY1651" fmla="*/ 154761 h 609800"/>
              <a:gd name="connsiteX1652" fmla="*/ 8841022 w 12248682"/>
              <a:gd name="connsiteY1652" fmla="*/ 154761 h 609800"/>
              <a:gd name="connsiteX1653" fmla="*/ 8881444 w 12248682"/>
              <a:gd name="connsiteY1653" fmla="*/ 195185 h 609800"/>
              <a:gd name="connsiteX1654" fmla="*/ 8841022 w 12248682"/>
              <a:gd name="connsiteY1654" fmla="*/ 235607 h 609800"/>
              <a:gd name="connsiteX1655" fmla="*/ 8800599 w 12248682"/>
              <a:gd name="connsiteY1655" fmla="*/ 195185 h 609800"/>
              <a:gd name="connsiteX1656" fmla="*/ 8841022 w 12248682"/>
              <a:gd name="connsiteY1656" fmla="*/ 154761 h 609800"/>
              <a:gd name="connsiteX1657" fmla="*/ 8570767 w 12248682"/>
              <a:gd name="connsiteY1657" fmla="*/ 154761 h 609800"/>
              <a:gd name="connsiteX1658" fmla="*/ 8611190 w 12248682"/>
              <a:gd name="connsiteY1658" fmla="*/ 195185 h 609800"/>
              <a:gd name="connsiteX1659" fmla="*/ 8570767 w 12248682"/>
              <a:gd name="connsiteY1659" fmla="*/ 235607 h 609800"/>
              <a:gd name="connsiteX1660" fmla="*/ 8530344 w 12248682"/>
              <a:gd name="connsiteY1660" fmla="*/ 195185 h 609800"/>
              <a:gd name="connsiteX1661" fmla="*/ 8570767 w 12248682"/>
              <a:gd name="connsiteY1661" fmla="*/ 154761 h 609800"/>
              <a:gd name="connsiteX1662" fmla="*/ 6538083 w 12248682"/>
              <a:gd name="connsiteY1662" fmla="*/ 154761 h 609800"/>
              <a:gd name="connsiteX1663" fmla="*/ 6578507 w 12248682"/>
              <a:gd name="connsiteY1663" fmla="*/ 195185 h 609800"/>
              <a:gd name="connsiteX1664" fmla="*/ 6538083 w 12248682"/>
              <a:gd name="connsiteY1664" fmla="*/ 235607 h 609800"/>
              <a:gd name="connsiteX1665" fmla="*/ 6497661 w 12248682"/>
              <a:gd name="connsiteY1665" fmla="*/ 195185 h 609800"/>
              <a:gd name="connsiteX1666" fmla="*/ 6538083 w 12248682"/>
              <a:gd name="connsiteY1666" fmla="*/ 154761 h 609800"/>
              <a:gd name="connsiteX1667" fmla="*/ 6267830 w 12248682"/>
              <a:gd name="connsiteY1667" fmla="*/ 154761 h 609800"/>
              <a:gd name="connsiteX1668" fmla="*/ 6308251 w 12248682"/>
              <a:gd name="connsiteY1668" fmla="*/ 195185 h 609800"/>
              <a:gd name="connsiteX1669" fmla="*/ 6267830 w 12248682"/>
              <a:gd name="connsiteY1669" fmla="*/ 235607 h 609800"/>
              <a:gd name="connsiteX1670" fmla="*/ 6227406 w 12248682"/>
              <a:gd name="connsiteY1670" fmla="*/ 195185 h 609800"/>
              <a:gd name="connsiteX1671" fmla="*/ 6267830 w 12248682"/>
              <a:gd name="connsiteY1671" fmla="*/ 154761 h 609800"/>
              <a:gd name="connsiteX1672" fmla="*/ 5454756 w 12248682"/>
              <a:gd name="connsiteY1672" fmla="*/ 154761 h 609800"/>
              <a:gd name="connsiteX1673" fmla="*/ 5495178 w 12248682"/>
              <a:gd name="connsiteY1673" fmla="*/ 195185 h 609800"/>
              <a:gd name="connsiteX1674" fmla="*/ 5454756 w 12248682"/>
              <a:gd name="connsiteY1674" fmla="*/ 235607 h 609800"/>
              <a:gd name="connsiteX1675" fmla="*/ 5414332 w 12248682"/>
              <a:gd name="connsiteY1675" fmla="*/ 195185 h 609800"/>
              <a:gd name="connsiteX1676" fmla="*/ 5454756 w 12248682"/>
              <a:gd name="connsiteY1676" fmla="*/ 154761 h 609800"/>
              <a:gd name="connsiteX1677" fmla="*/ 5048218 w 12248682"/>
              <a:gd name="connsiteY1677" fmla="*/ 154761 h 609800"/>
              <a:gd name="connsiteX1678" fmla="*/ 5088641 w 12248682"/>
              <a:gd name="connsiteY1678" fmla="*/ 195185 h 609800"/>
              <a:gd name="connsiteX1679" fmla="*/ 5048218 w 12248682"/>
              <a:gd name="connsiteY1679" fmla="*/ 235607 h 609800"/>
              <a:gd name="connsiteX1680" fmla="*/ 5007796 w 12248682"/>
              <a:gd name="connsiteY1680" fmla="*/ 195185 h 609800"/>
              <a:gd name="connsiteX1681" fmla="*/ 5048218 w 12248682"/>
              <a:gd name="connsiteY1681" fmla="*/ 154761 h 609800"/>
              <a:gd name="connsiteX1682" fmla="*/ 4228217 w 12248682"/>
              <a:gd name="connsiteY1682" fmla="*/ 154761 h 609800"/>
              <a:gd name="connsiteX1683" fmla="*/ 4268637 w 12248682"/>
              <a:gd name="connsiteY1683" fmla="*/ 195185 h 609800"/>
              <a:gd name="connsiteX1684" fmla="*/ 4228217 w 12248682"/>
              <a:gd name="connsiteY1684" fmla="*/ 235607 h 609800"/>
              <a:gd name="connsiteX1685" fmla="*/ 4187792 w 12248682"/>
              <a:gd name="connsiteY1685" fmla="*/ 195185 h 609800"/>
              <a:gd name="connsiteX1686" fmla="*/ 4228217 w 12248682"/>
              <a:gd name="connsiteY1686" fmla="*/ 154761 h 609800"/>
              <a:gd name="connsiteX1687" fmla="*/ 3957960 w 12248682"/>
              <a:gd name="connsiteY1687" fmla="*/ 154761 h 609800"/>
              <a:gd name="connsiteX1688" fmla="*/ 3998382 w 12248682"/>
              <a:gd name="connsiteY1688" fmla="*/ 195185 h 609800"/>
              <a:gd name="connsiteX1689" fmla="*/ 3957960 w 12248682"/>
              <a:gd name="connsiteY1689" fmla="*/ 235607 h 609800"/>
              <a:gd name="connsiteX1690" fmla="*/ 3917537 w 12248682"/>
              <a:gd name="connsiteY1690" fmla="*/ 195185 h 609800"/>
              <a:gd name="connsiteX1691" fmla="*/ 3957960 w 12248682"/>
              <a:gd name="connsiteY1691" fmla="*/ 154761 h 609800"/>
              <a:gd name="connsiteX1692" fmla="*/ 1925276 w 12248682"/>
              <a:gd name="connsiteY1692" fmla="*/ 154761 h 609800"/>
              <a:gd name="connsiteX1693" fmla="*/ 1965698 w 12248682"/>
              <a:gd name="connsiteY1693" fmla="*/ 195185 h 609800"/>
              <a:gd name="connsiteX1694" fmla="*/ 1925276 w 12248682"/>
              <a:gd name="connsiteY1694" fmla="*/ 235607 h 609800"/>
              <a:gd name="connsiteX1695" fmla="*/ 1884853 w 12248682"/>
              <a:gd name="connsiteY1695" fmla="*/ 195185 h 609800"/>
              <a:gd name="connsiteX1696" fmla="*/ 1925276 w 12248682"/>
              <a:gd name="connsiteY1696" fmla="*/ 154761 h 609800"/>
              <a:gd name="connsiteX1697" fmla="*/ 1655022 w 12248682"/>
              <a:gd name="connsiteY1697" fmla="*/ 154761 h 609800"/>
              <a:gd name="connsiteX1698" fmla="*/ 1695444 w 12248682"/>
              <a:gd name="connsiteY1698" fmla="*/ 195185 h 609800"/>
              <a:gd name="connsiteX1699" fmla="*/ 1655022 w 12248682"/>
              <a:gd name="connsiteY1699" fmla="*/ 235607 h 609800"/>
              <a:gd name="connsiteX1700" fmla="*/ 1614598 w 12248682"/>
              <a:gd name="connsiteY1700" fmla="*/ 195185 h 609800"/>
              <a:gd name="connsiteX1701" fmla="*/ 1655022 w 12248682"/>
              <a:gd name="connsiteY1701" fmla="*/ 154761 h 609800"/>
              <a:gd name="connsiteX1702" fmla="*/ 841948 w 12248682"/>
              <a:gd name="connsiteY1702" fmla="*/ 154761 h 609800"/>
              <a:gd name="connsiteX1703" fmla="*/ 882370 w 12248682"/>
              <a:gd name="connsiteY1703" fmla="*/ 195185 h 609800"/>
              <a:gd name="connsiteX1704" fmla="*/ 841948 w 12248682"/>
              <a:gd name="connsiteY1704" fmla="*/ 235607 h 609800"/>
              <a:gd name="connsiteX1705" fmla="*/ 801525 w 12248682"/>
              <a:gd name="connsiteY1705" fmla="*/ 195185 h 609800"/>
              <a:gd name="connsiteX1706" fmla="*/ 841948 w 12248682"/>
              <a:gd name="connsiteY1706" fmla="*/ 154761 h 609800"/>
              <a:gd name="connsiteX1707" fmla="*/ 435411 w 12248682"/>
              <a:gd name="connsiteY1707" fmla="*/ 154761 h 609800"/>
              <a:gd name="connsiteX1708" fmla="*/ 475833 w 12248682"/>
              <a:gd name="connsiteY1708" fmla="*/ 195185 h 609800"/>
              <a:gd name="connsiteX1709" fmla="*/ 435411 w 12248682"/>
              <a:gd name="connsiteY1709" fmla="*/ 235607 h 609800"/>
              <a:gd name="connsiteX1710" fmla="*/ 394988 w 12248682"/>
              <a:gd name="connsiteY1710" fmla="*/ 195185 h 609800"/>
              <a:gd name="connsiteX1711" fmla="*/ 435411 w 12248682"/>
              <a:gd name="connsiteY1711" fmla="*/ 154761 h 609800"/>
              <a:gd name="connsiteX1712" fmla="*/ 11008282 w 12248682"/>
              <a:gd name="connsiteY1712" fmla="*/ 144368 h 609800"/>
              <a:gd name="connsiteX1713" fmla="*/ 11059099 w 12248682"/>
              <a:gd name="connsiteY1713" fmla="*/ 195185 h 609800"/>
              <a:gd name="connsiteX1714" fmla="*/ 11008282 w 12248682"/>
              <a:gd name="connsiteY1714" fmla="*/ 246002 h 609800"/>
              <a:gd name="connsiteX1715" fmla="*/ 10957465 w 12248682"/>
              <a:gd name="connsiteY1715" fmla="*/ 195185 h 609800"/>
              <a:gd name="connsiteX1716" fmla="*/ 11008282 w 12248682"/>
              <a:gd name="connsiteY1716" fmla="*/ 144368 h 609800"/>
              <a:gd name="connsiteX1717" fmla="*/ 9924954 w 12248682"/>
              <a:gd name="connsiteY1717" fmla="*/ 144368 h 609800"/>
              <a:gd name="connsiteX1718" fmla="*/ 9975771 w 12248682"/>
              <a:gd name="connsiteY1718" fmla="*/ 195185 h 609800"/>
              <a:gd name="connsiteX1719" fmla="*/ 9924954 w 12248682"/>
              <a:gd name="connsiteY1719" fmla="*/ 246002 h 609800"/>
              <a:gd name="connsiteX1720" fmla="*/ 9874137 w 12248682"/>
              <a:gd name="connsiteY1720" fmla="*/ 195185 h 609800"/>
              <a:gd name="connsiteX1721" fmla="*/ 9924954 w 12248682"/>
              <a:gd name="connsiteY1721" fmla="*/ 144368 h 609800"/>
              <a:gd name="connsiteX1722" fmla="*/ 9788672 w 12248682"/>
              <a:gd name="connsiteY1722" fmla="*/ 144368 h 609800"/>
              <a:gd name="connsiteX1723" fmla="*/ 9839489 w 12248682"/>
              <a:gd name="connsiteY1723" fmla="*/ 195185 h 609800"/>
              <a:gd name="connsiteX1724" fmla="*/ 9788672 w 12248682"/>
              <a:gd name="connsiteY1724" fmla="*/ 246002 h 609800"/>
              <a:gd name="connsiteX1725" fmla="*/ 9737854 w 12248682"/>
              <a:gd name="connsiteY1725" fmla="*/ 195185 h 609800"/>
              <a:gd name="connsiteX1726" fmla="*/ 9788672 w 12248682"/>
              <a:gd name="connsiteY1726" fmla="*/ 144368 h 609800"/>
              <a:gd name="connsiteX1727" fmla="*/ 8705894 w 12248682"/>
              <a:gd name="connsiteY1727" fmla="*/ 144368 h 609800"/>
              <a:gd name="connsiteX1728" fmla="*/ 8756711 w 12248682"/>
              <a:gd name="connsiteY1728" fmla="*/ 195185 h 609800"/>
              <a:gd name="connsiteX1729" fmla="*/ 8705894 w 12248682"/>
              <a:gd name="connsiteY1729" fmla="*/ 246002 h 609800"/>
              <a:gd name="connsiteX1730" fmla="*/ 8655077 w 12248682"/>
              <a:gd name="connsiteY1730" fmla="*/ 195185 h 609800"/>
              <a:gd name="connsiteX1731" fmla="*/ 8705894 w 12248682"/>
              <a:gd name="connsiteY1731" fmla="*/ 144368 h 609800"/>
              <a:gd name="connsiteX1732" fmla="*/ 6402956 w 12248682"/>
              <a:gd name="connsiteY1732" fmla="*/ 144368 h 609800"/>
              <a:gd name="connsiteX1733" fmla="*/ 6453773 w 12248682"/>
              <a:gd name="connsiteY1733" fmla="*/ 195185 h 609800"/>
              <a:gd name="connsiteX1734" fmla="*/ 6402956 w 12248682"/>
              <a:gd name="connsiteY1734" fmla="*/ 246002 h 609800"/>
              <a:gd name="connsiteX1735" fmla="*/ 6352139 w 12248682"/>
              <a:gd name="connsiteY1735" fmla="*/ 195185 h 609800"/>
              <a:gd name="connsiteX1736" fmla="*/ 6402956 w 12248682"/>
              <a:gd name="connsiteY1736" fmla="*/ 144368 h 609800"/>
              <a:gd name="connsiteX1737" fmla="*/ 5319628 w 12248682"/>
              <a:gd name="connsiteY1737" fmla="*/ 144368 h 609800"/>
              <a:gd name="connsiteX1738" fmla="*/ 5370444 w 12248682"/>
              <a:gd name="connsiteY1738" fmla="*/ 195185 h 609800"/>
              <a:gd name="connsiteX1739" fmla="*/ 5319628 w 12248682"/>
              <a:gd name="connsiteY1739" fmla="*/ 246002 h 609800"/>
              <a:gd name="connsiteX1740" fmla="*/ 5268810 w 12248682"/>
              <a:gd name="connsiteY1740" fmla="*/ 195185 h 609800"/>
              <a:gd name="connsiteX1741" fmla="*/ 5319628 w 12248682"/>
              <a:gd name="connsiteY1741" fmla="*/ 144368 h 609800"/>
              <a:gd name="connsiteX1742" fmla="*/ 5183346 w 12248682"/>
              <a:gd name="connsiteY1742" fmla="*/ 144368 h 609800"/>
              <a:gd name="connsiteX1743" fmla="*/ 5234162 w 12248682"/>
              <a:gd name="connsiteY1743" fmla="*/ 195185 h 609800"/>
              <a:gd name="connsiteX1744" fmla="*/ 5183346 w 12248682"/>
              <a:gd name="connsiteY1744" fmla="*/ 246002 h 609800"/>
              <a:gd name="connsiteX1745" fmla="*/ 5132528 w 12248682"/>
              <a:gd name="connsiteY1745" fmla="*/ 195185 h 609800"/>
              <a:gd name="connsiteX1746" fmla="*/ 5183346 w 12248682"/>
              <a:gd name="connsiteY1746" fmla="*/ 144368 h 609800"/>
              <a:gd name="connsiteX1747" fmla="*/ 4093087 w 12248682"/>
              <a:gd name="connsiteY1747" fmla="*/ 144368 h 609800"/>
              <a:gd name="connsiteX1748" fmla="*/ 4143904 w 12248682"/>
              <a:gd name="connsiteY1748" fmla="*/ 195185 h 609800"/>
              <a:gd name="connsiteX1749" fmla="*/ 4093087 w 12248682"/>
              <a:gd name="connsiteY1749" fmla="*/ 246002 h 609800"/>
              <a:gd name="connsiteX1750" fmla="*/ 4042270 w 12248682"/>
              <a:gd name="connsiteY1750" fmla="*/ 195185 h 609800"/>
              <a:gd name="connsiteX1751" fmla="*/ 4093087 w 12248682"/>
              <a:gd name="connsiteY1751" fmla="*/ 144368 h 609800"/>
              <a:gd name="connsiteX1752" fmla="*/ 1790148 w 12248682"/>
              <a:gd name="connsiteY1752" fmla="*/ 144368 h 609800"/>
              <a:gd name="connsiteX1753" fmla="*/ 1840965 w 12248682"/>
              <a:gd name="connsiteY1753" fmla="*/ 195185 h 609800"/>
              <a:gd name="connsiteX1754" fmla="*/ 1790148 w 12248682"/>
              <a:gd name="connsiteY1754" fmla="*/ 246002 h 609800"/>
              <a:gd name="connsiteX1755" fmla="*/ 1739331 w 12248682"/>
              <a:gd name="connsiteY1755" fmla="*/ 195185 h 609800"/>
              <a:gd name="connsiteX1756" fmla="*/ 1790148 w 12248682"/>
              <a:gd name="connsiteY1756" fmla="*/ 144368 h 609800"/>
              <a:gd name="connsiteX1757" fmla="*/ 706820 w 12248682"/>
              <a:gd name="connsiteY1757" fmla="*/ 144368 h 609800"/>
              <a:gd name="connsiteX1758" fmla="*/ 757637 w 12248682"/>
              <a:gd name="connsiteY1758" fmla="*/ 195185 h 609800"/>
              <a:gd name="connsiteX1759" fmla="*/ 706820 w 12248682"/>
              <a:gd name="connsiteY1759" fmla="*/ 246002 h 609800"/>
              <a:gd name="connsiteX1760" fmla="*/ 656003 w 12248682"/>
              <a:gd name="connsiteY1760" fmla="*/ 195185 h 609800"/>
              <a:gd name="connsiteX1761" fmla="*/ 706820 w 12248682"/>
              <a:gd name="connsiteY1761" fmla="*/ 144368 h 609800"/>
              <a:gd name="connsiteX1762" fmla="*/ 570538 w 12248682"/>
              <a:gd name="connsiteY1762" fmla="*/ 144368 h 609800"/>
              <a:gd name="connsiteX1763" fmla="*/ 621355 w 12248682"/>
              <a:gd name="connsiteY1763" fmla="*/ 195185 h 609800"/>
              <a:gd name="connsiteX1764" fmla="*/ 570538 w 12248682"/>
              <a:gd name="connsiteY1764" fmla="*/ 246002 h 609800"/>
              <a:gd name="connsiteX1765" fmla="*/ 519721 w 12248682"/>
              <a:gd name="connsiteY1765" fmla="*/ 195185 h 609800"/>
              <a:gd name="connsiteX1766" fmla="*/ 570538 w 12248682"/>
              <a:gd name="connsiteY1766" fmla="*/ 144368 h 609800"/>
              <a:gd name="connsiteX1767" fmla="*/ 12180541 w 12248682"/>
              <a:gd name="connsiteY1767" fmla="*/ 31184 h 609800"/>
              <a:gd name="connsiteX1768" fmla="*/ 12201330 w 12248682"/>
              <a:gd name="connsiteY1768" fmla="*/ 51973 h 609800"/>
              <a:gd name="connsiteX1769" fmla="*/ 12180541 w 12248682"/>
              <a:gd name="connsiteY1769" fmla="*/ 72762 h 609800"/>
              <a:gd name="connsiteX1770" fmla="*/ 12159752 w 12248682"/>
              <a:gd name="connsiteY1770" fmla="*/ 51973 h 609800"/>
              <a:gd name="connsiteX1771" fmla="*/ 12180541 w 12248682"/>
              <a:gd name="connsiteY1771" fmla="*/ 31184 h 609800"/>
              <a:gd name="connsiteX1772" fmla="*/ 12040793 w 12248682"/>
              <a:gd name="connsiteY1772" fmla="*/ 31184 h 609800"/>
              <a:gd name="connsiteX1773" fmla="*/ 12061582 w 12248682"/>
              <a:gd name="connsiteY1773" fmla="*/ 51973 h 609800"/>
              <a:gd name="connsiteX1774" fmla="*/ 12040793 w 12248682"/>
              <a:gd name="connsiteY1774" fmla="*/ 72762 h 609800"/>
              <a:gd name="connsiteX1775" fmla="*/ 12020004 w 12248682"/>
              <a:gd name="connsiteY1775" fmla="*/ 51973 h 609800"/>
              <a:gd name="connsiteX1776" fmla="*/ 12040793 w 12248682"/>
              <a:gd name="connsiteY1776" fmla="*/ 31184 h 609800"/>
              <a:gd name="connsiteX1777" fmla="*/ 11901047 w 12248682"/>
              <a:gd name="connsiteY1777" fmla="*/ 31184 h 609800"/>
              <a:gd name="connsiteX1778" fmla="*/ 11921836 w 12248682"/>
              <a:gd name="connsiteY1778" fmla="*/ 51973 h 609800"/>
              <a:gd name="connsiteX1779" fmla="*/ 11901047 w 12248682"/>
              <a:gd name="connsiteY1779" fmla="*/ 72762 h 609800"/>
              <a:gd name="connsiteX1780" fmla="*/ 11880258 w 12248682"/>
              <a:gd name="connsiteY1780" fmla="*/ 51973 h 609800"/>
              <a:gd name="connsiteX1781" fmla="*/ 11901047 w 12248682"/>
              <a:gd name="connsiteY1781" fmla="*/ 31184 h 609800"/>
              <a:gd name="connsiteX1782" fmla="*/ 11761299 w 12248682"/>
              <a:gd name="connsiteY1782" fmla="*/ 31184 h 609800"/>
              <a:gd name="connsiteX1783" fmla="*/ 11782088 w 12248682"/>
              <a:gd name="connsiteY1783" fmla="*/ 51973 h 609800"/>
              <a:gd name="connsiteX1784" fmla="*/ 11761299 w 12248682"/>
              <a:gd name="connsiteY1784" fmla="*/ 72762 h 609800"/>
              <a:gd name="connsiteX1785" fmla="*/ 11740510 w 12248682"/>
              <a:gd name="connsiteY1785" fmla="*/ 51973 h 609800"/>
              <a:gd name="connsiteX1786" fmla="*/ 11761299 w 12248682"/>
              <a:gd name="connsiteY1786" fmla="*/ 31184 h 609800"/>
              <a:gd name="connsiteX1787" fmla="*/ 11621553 w 12248682"/>
              <a:gd name="connsiteY1787" fmla="*/ 31184 h 609800"/>
              <a:gd name="connsiteX1788" fmla="*/ 11642342 w 12248682"/>
              <a:gd name="connsiteY1788" fmla="*/ 51973 h 609800"/>
              <a:gd name="connsiteX1789" fmla="*/ 11621553 w 12248682"/>
              <a:gd name="connsiteY1789" fmla="*/ 72762 h 609800"/>
              <a:gd name="connsiteX1790" fmla="*/ 11600764 w 12248682"/>
              <a:gd name="connsiteY1790" fmla="*/ 51973 h 609800"/>
              <a:gd name="connsiteX1791" fmla="*/ 11621553 w 12248682"/>
              <a:gd name="connsiteY1791" fmla="*/ 31184 h 609800"/>
              <a:gd name="connsiteX1792" fmla="*/ 11481805 w 12248682"/>
              <a:gd name="connsiteY1792" fmla="*/ 31184 h 609800"/>
              <a:gd name="connsiteX1793" fmla="*/ 11502594 w 12248682"/>
              <a:gd name="connsiteY1793" fmla="*/ 51973 h 609800"/>
              <a:gd name="connsiteX1794" fmla="*/ 11481805 w 12248682"/>
              <a:gd name="connsiteY1794" fmla="*/ 72762 h 609800"/>
              <a:gd name="connsiteX1795" fmla="*/ 11461016 w 12248682"/>
              <a:gd name="connsiteY1795" fmla="*/ 51973 h 609800"/>
              <a:gd name="connsiteX1796" fmla="*/ 11481805 w 12248682"/>
              <a:gd name="connsiteY1796" fmla="*/ 31184 h 609800"/>
              <a:gd name="connsiteX1797" fmla="*/ 10644478 w 12248682"/>
              <a:gd name="connsiteY1797" fmla="*/ 31184 h 609800"/>
              <a:gd name="connsiteX1798" fmla="*/ 10665267 w 12248682"/>
              <a:gd name="connsiteY1798" fmla="*/ 51973 h 609800"/>
              <a:gd name="connsiteX1799" fmla="*/ 10644478 w 12248682"/>
              <a:gd name="connsiteY1799" fmla="*/ 72762 h 609800"/>
              <a:gd name="connsiteX1800" fmla="*/ 10623690 w 12248682"/>
              <a:gd name="connsiteY1800" fmla="*/ 51973 h 609800"/>
              <a:gd name="connsiteX1801" fmla="*/ 10644478 w 12248682"/>
              <a:gd name="connsiteY1801" fmla="*/ 31184 h 609800"/>
              <a:gd name="connsiteX1802" fmla="*/ 10504731 w 12248682"/>
              <a:gd name="connsiteY1802" fmla="*/ 31184 h 609800"/>
              <a:gd name="connsiteX1803" fmla="*/ 10525520 w 12248682"/>
              <a:gd name="connsiteY1803" fmla="*/ 51973 h 609800"/>
              <a:gd name="connsiteX1804" fmla="*/ 10504731 w 12248682"/>
              <a:gd name="connsiteY1804" fmla="*/ 72762 h 609800"/>
              <a:gd name="connsiteX1805" fmla="*/ 10483942 w 12248682"/>
              <a:gd name="connsiteY1805" fmla="*/ 51973 h 609800"/>
              <a:gd name="connsiteX1806" fmla="*/ 10504731 w 12248682"/>
              <a:gd name="connsiteY1806" fmla="*/ 31184 h 609800"/>
              <a:gd name="connsiteX1807" fmla="*/ 10364984 w 12248682"/>
              <a:gd name="connsiteY1807" fmla="*/ 31184 h 609800"/>
              <a:gd name="connsiteX1808" fmla="*/ 10385773 w 12248682"/>
              <a:gd name="connsiteY1808" fmla="*/ 51973 h 609800"/>
              <a:gd name="connsiteX1809" fmla="*/ 10364984 w 12248682"/>
              <a:gd name="connsiteY1809" fmla="*/ 72762 h 609800"/>
              <a:gd name="connsiteX1810" fmla="*/ 10344196 w 12248682"/>
              <a:gd name="connsiteY1810" fmla="*/ 51973 h 609800"/>
              <a:gd name="connsiteX1811" fmla="*/ 10364984 w 12248682"/>
              <a:gd name="connsiteY1811" fmla="*/ 31184 h 609800"/>
              <a:gd name="connsiteX1812" fmla="*/ 7854709 w 12248682"/>
              <a:gd name="connsiteY1812" fmla="*/ 31184 h 609800"/>
              <a:gd name="connsiteX1813" fmla="*/ 7875498 w 12248682"/>
              <a:gd name="connsiteY1813" fmla="*/ 51973 h 609800"/>
              <a:gd name="connsiteX1814" fmla="*/ 7854709 w 12248682"/>
              <a:gd name="connsiteY1814" fmla="*/ 72762 h 609800"/>
              <a:gd name="connsiteX1815" fmla="*/ 7833921 w 12248682"/>
              <a:gd name="connsiteY1815" fmla="*/ 51973 h 609800"/>
              <a:gd name="connsiteX1816" fmla="*/ 7854709 w 12248682"/>
              <a:gd name="connsiteY1816" fmla="*/ 31184 h 609800"/>
              <a:gd name="connsiteX1817" fmla="*/ 7714960 w 12248682"/>
              <a:gd name="connsiteY1817" fmla="*/ 31184 h 609800"/>
              <a:gd name="connsiteX1818" fmla="*/ 7735749 w 12248682"/>
              <a:gd name="connsiteY1818" fmla="*/ 51973 h 609800"/>
              <a:gd name="connsiteX1819" fmla="*/ 7714960 w 12248682"/>
              <a:gd name="connsiteY1819" fmla="*/ 72762 h 609800"/>
              <a:gd name="connsiteX1820" fmla="*/ 7694172 w 12248682"/>
              <a:gd name="connsiteY1820" fmla="*/ 51973 h 609800"/>
              <a:gd name="connsiteX1821" fmla="*/ 7714960 w 12248682"/>
              <a:gd name="connsiteY1821" fmla="*/ 31184 h 609800"/>
              <a:gd name="connsiteX1822" fmla="*/ 7575214 w 12248682"/>
              <a:gd name="connsiteY1822" fmla="*/ 31184 h 609800"/>
              <a:gd name="connsiteX1823" fmla="*/ 7596004 w 12248682"/>
              <a:gd name="connsiteY1823" fmla="*/ 51973 h 609800"/>
              <a:gd name="connsiteX1824" fmla="*/ 7575214 w 12248682"/>
              <a:gd name="connsiteY1824" fmla="*/ 72762 h 609800"/>
              <a:gd name="connsiteX1825" fmla="*/ 7554427 w 12248682"/>
              <a:gd name="connsiteY1825" fmla="*/ 51973 h 609800"/>
              <a:gd name="connsiteX1826" fmla="*/ 7575214 w 12248682"/>
              <a:gd name="connsiteY1826" fmla="*/ 31184 h 609800"/>
              <a:gd name="connsiteX1827" fmla="*/ 7435467 w 12248682"/>
              <a:gd name="connsiteY1827" fmla="*/ 31184 h 609800"/>
              <a:gd name="connsiteX1828" fmla="*/ 7456257 w 12248682"/>
              <a:gd name="connsiteY1828" fmla="*/ 51973 h 609800"/>
              <a:gd name="connsiteX1829" fmla="*/ 7435467 w 12248682"/>
              <a:gd name="connsiteY1829" fmla="*/ 72762 h 609800"/>
              <a:gd name="connsiteX1830" fmla="*/ 7414678 w 12248682"/>
              <a:gd name="connsiteY1830" fmla="*/ 51973 h 609800"/>
              <a:gd name="connsiteX1831" fmla="*/ 7435467 w 12248682"/>
              <a:gd name="connsiteY1831" fmla="*/ 31184 h 609800"/>
              <a:gd name="connsiteX1832" fmla="*/ 7295720 w 12248682"/>
              <a:gd name="connsiteY1832" fmla="*/ 31184 h 609800"/>
              <a:gd name="connsiteX1833" fmla="*/ 7316509 w 12248682"/>
              <a:gd name="connsiteY1833" fmla="*/ 51973 h 609800"/>
              <a:gd name="connsiteX1834" fmla="*/ 7295720 w 12248682"/>
              <a:gd name="connsiteY1834" fmla="*/ 72762 h 609800"/>
              <a:gd name="connsiteX1835" fmla="*/ 7274932 w 12248682"/>
              <a:gd name="connsiteY1835" fmla="*/ 51973 h 609800"/>
              <a:gd name="connsiteX1836" fmla="*/ 7295720 w 12248682"/>
              <a:gd name="connsiteY1836" fmla="*/ 31184 h 609800"/>
              <a:gd name="connsiteX1837" fmla="*/ 7155974 w 12248682"/>
              <a:gd name="connsiteY1837" fmla="*/ 31184 h 609800"/>
              <a:gd name="connsiteX1838" fmla="*/ 7176762 w 12248682"/>
              <a:gd name="connsiteY1838" fmla="*/ 51973 h 609800"/>
              <a:gd name="connsiteX1839" fmla="*/ 7155974 w 12248682"/>
              <a:gd name="connsiteY1839" fmla="*/ 72762 h 609800"/>
              <a:gd name="connsiteX1840" fmla="*/ 7135183 w 12248682"/>
              <a:gd name="connsiteY1840" fmla="*/ 51973 h 609800"/>
              <a:gd name="connsiteX1841" fmla="*/ 7155974 w 12248682"/>
              <a:gd name="connsiteY1841" fmla="*/ 31184 h 609800"/>
              <a:gd name="connsiteX1842" fmla="*/ 7016227 w 12248682"/>
              <a:gd name="connsiteY1842" fmla="*/ 31184 h 609800"/>
              <a:gd name="connsiteX1843" fmla="*/ 7037016 w 12248682"/>
              <a:gd name="connsiteY1843" fmla="*/ 51973 h 609800"/>
              <a:gd name="connsiteX1844" fmla="*/ 7016227 w 12248682"/>
              <a:gd name="connsiteY1844" fmla="*/ 72762 h 609800"/>
              <a:gd name="connsiteX1845" fmla="*/ 6995438 w 12248682"/>
              <a:gd name="connsiteY1845" fmla="*/ 51973 h 609800"/>
              <a:gd name="connsiteX1846" fmla="*/ 7016227 w 12248682"/>
              <a:gd name="connsiteY1846" fmla="*/ 31184 h 609800"/>
              <a:gd name="connsiteX1847" fmla="*/ 6877634 w 12248682"/>
              <a:gd name="connsiteY1847" fmla="*/ 31184 h 609800"/>
              <a:gd name="connsiteX1848" fmla="*/ 6898424 w 12248682"/>
              <a:gd name="connsiteY1848" fmla="*/ 51973 h 609800"/>
              <a:gd name="connsiteX1849" fmla="*/ 6877634 w 12248682"/>
              <a:gd name="connsiteY1849" fmla="*/ 72762 h 609800"/>
              <a:gd name="connsiteX1850" fmla="*/ 6856845 w 12248682"/>
              <a:gd name="connsiteY1850" fmla="*/ 51973 h 609800"/>
              <a:gd name="connsiteX1851" fmla="*/ 6877634 w 12248682"/>
              <a:gd name="connsiteY1851" fmla="*/ 31184 h 609800"/>
              <a:gd name="connsiteX1852" fmla="*/ 6039151 w 12248682"/>
              <a:gd name="connsiteY1852" fmla="*/ 31184 h 609800"/>
              <a:gd name="connsiteX1853" fmla="*/ 6059942 w 12248682"/>
              <a:gd name="connsiteY1853" fmla="*/ 51973 h 609800"/>
              <a:gd name="connsiteX1854" fmla="*/ 6039151 w 12248682"/>
              <a:gd name="connsiteY1854" fmla="*/ 72762 h 609800"/>
              <a:gd name="connsiteX1855" fmla="*/ 6018363 w 12248682"/>
              <a:gd name="connsiteY1855" fmla="*/ 51973 h 609800"/>
              <a:gd name="connsiteX1856" fmla="*/ 6039151 w 12248682"/>
              <a:gd name="connsiteY1856" fmla="*/ 31184 h 609800"/>
              <a:gd name="connsiteX1857" fmla="*/ 5899406 w 12248682"/>
              <a:gd name="connsiteY1857" fmla="*/ 31184 h 609800"/>
              <a:gd name="connsiteX1858" fmla="*/ 5920193 w 12248682"/>
              <a:gd name="connsiteY1858" fmla="*/ 51973 h 609800"/>
              <a:gd name="connsiteX1859" fmla="*/ 5899406 w 12248682"/>
              <a:gd name="connsiteY1859" fmla="*/ 72762 h 609800"/>
              <a:gd name="connsiteX1860" fmla="*/ 5878616 w 12248682"/>
              <a:gd name="connsiteY1860" fmla="*/ 51973 h 609800"/>
              <a:gd name="connsiteX1861" fmla="*/ 5899406 w 12248682"/>
              <a:gd name="connsiteY1861" fmla="*/ 31184 h 609800"/>
              <a:gd name="connsiteX1862" fmla="*/ 5759658 w 12248682"/>
              <a:gd name="connsiteY1862" fmla="*/ 31184 h 609800"/>
              <a:gd name="connsiteX1863" fmla="*/ 5780448 w 12248682"/>
              <a:gd name="connsiteY1863" fmla="*/ 51973 h 609800"/>
              <a:gd name="connsiteX1864" fmla="*/ 5759658 w 12248682"/>
              <a:gd name="connsiteY1864" fmla="*/ 72762 h 609800"/>
              <a:gd name="connsiteX1865" fmla="*/ 5738869 w 12248682"/>
              <a:gd name="connsiteY1865" fmla="*/ 51973 h 609800"/>
              <a:gd name="connsiteX1866" fmla="*/ 5759658 w 12248682"/>
              <a:gd name="connsiteY1866" fmla="*/ 31184 h 609800"/>
              <a:gd name="connsiteX1867" fmla="*/ 3241901 w 12248682"/>
              <a:gd name="connsiteY1867" fmla="*/ 31184 h 609800"/>
              <a:gd name="connsiteX1868" fmla="*/ 3262690 w 12248682"/>
              <a:gd name="connsiteY1868" fmla="*/ 51973 h 609800"/>
              <a:gd name="connsiteX1869" fmla="*/ 3241901 w 12248682"/>
              <a:gd name="connsiteY1869" fmla="*/ 72762 h 609800"/>
              <a:gd name="connsiteX1870" fmla="*/ 3221112 w 12248682"/>
              <a:gd name="connsiteY1870" fmla="*/ 51973 h 609800"/>
              <a:gd name="connsiteX1871" fmla="*/ 3241901 w 12248682"/>
              <a:gd name="connsiteY1871" fmla="*/ 31184 h 609800"/>
              <a:gd name="connsiteX1872" fmla="*/ 3102153 w 12248682"/>
              <a:gd name="connsiteY1872" fmla="*/ 31184 h 609800"/>
              <a:gd name="connsiteX1873" fmla="*/ 3122942 w 12248682"/>
              <a:gd name="connsiteY1873" fmla="*/ 51973 h 609800"/>
              <a:gd name="connsiteX1874" fmla="*/ 3102153 w 12248682"/>
              <a:gd name="connsiteY1874" fmla="*/ 72762 h 609800"/>
              <a:gd name="connsiteX1875" fmla="*/ 3081365 w 12248682"/>
              <a:gd name="connsiteY1875" fmla="*/ 51973 h 609800"/>
              <a:gd name="connsiteX1876" fmla="*/ 3102153 w 12248682"/>
              <a:gd name="connsiteY1876" fmla="*/ 31184 h 609800"/>
              <a:gd name="connsiteX1877" fmla="*/ 2962407 w 12248682"/>
              <a:gd name="connsiteY1877" fmla="*/ 31184 h 609800"/>
              <a:gd name="connsiteX1878" fmla="*/ 2983196 w 12248682"/>
              <a:gd name="connsiteY1878" fmla="*/ 51973 h 609800"/>
              <a:gd name="connsiteX1879" fmla="*/ 2962407 w 12248682"/>
              <a:gd name="connsiteY1879" fmla="*/ 72762 h 609800"/>
              <a:gd name="connsiteX1880" fmla="*/ 2941618 w 12248682"/>
              <a:gd name="connsiteY1880" fmla="*/ 51973 h 609800"/>
              <a:gd name="connsiteX1881" fmla="*/ 2962407 w 12248682"/>
              <a:gd name="connsiteY1881" fmla="*/ 31184 h 609800"/>
              <a:gd name="connsiteX1882" fmla="*/ 2822659 w 12248682"/>
              <a:gd name="connsiteY1882" fmla="*/ 31184 h 609800"/>
              <a:gd name="connsiteX1883" fmla="*/ 2843448 w 12248682"/>
              <a:gd name="connsiteY1883" fmla="*/ 51973 h 609800"/>
              <a:gd name="connsiteX1884" fmla="*/ 2822659 w 12248682"/>
              <a:gd name="connsiteY1884" fmla="*/ 72762 h 609800"/>
              <a:gd name="connsiteX1885" fmla="*/ 2801871 w 12248682"/>
              <a:gd name="connsiteY1885" fmla="*/ 51973 h 609800"/>
              <a:gd name="connsiteX1886" fmla="*/ 2822659 w 12248682"/>
              <a:gd name="connsiteY1886" fmla="*/ 31184 h 609800"/>
              <a:gd name="connsiteX1887" fmla="*/ 2682913 w 12248682"/>
              <a:gd name="connsiteY1887" fmla="*/ 31184 h 609800"/>
              <a:gd name="connsiteX1888" fmla="*/ 2703702 w 12248682"/>
              <a:gd name="connsiteY1888" fmla="*/ 51973 h 609800"/>
              <a:gd name="connsiteX1889" fmla="*/ 2682913 w 12248682"/>
              <a:gd name="connsiteY1889" fmla="*/ 72762 h 609800"/>
              <a:gd name="connsiteX1890" fmla="*/ 2662124 w 12248682"/>
              <a:gd name="connsiteY1890" fmla="*/ 51973 h 609800"/>
              <a:gd name="connsiteX1891" fmla="*/ 2682913 w 12248682"/>
              <a:gd name="connsiteY1891" fmla="*/ 31184 h 609800"/>
              <a:gd name="connsiteX1892" fmla="*/ 2543167 w 12248682"/>
              <a:gd name="connsiteY1892" fmla="*/ 31184 h 609800"/>
              <a:gd name="connsiteX1893" fmla="*/ 2563954 w 12248682"/>
              <a:gd name="connsiteY1893" fmla="*/ 51973 h 609800"/>
              <a:gd name="connsiteX1894" fmla="*/ 2543167 w 12248682"/>
              <a:gd name="connsiteY1894" fmla="*/ 72762 h 609800"/>
              <a:gd name="connsiteX1895" fmla="*/ 2522376 w 12248682"/>
              <a:gd name="connsiteY1895" fmla="*/ 51973 h 609800"/>
              <a:gd name="connsiteX1896" fmla="*/ 2543167 w 12248682"/>
              <a:gd name="connsiteY1896" fmla="*/ 31184 h 609800"/>
              <a:gd name="connsiteX1897" fmla="*/ 2403419 w 12248682"/>
              <a:gd name="connsiteY1897" fmla="*/ 31184 h 609800"/>
              <a:gd name="connsiteX1898" fmla="*/ 2424209 w 12248682"/>
              <a:gd name="connsiteY1898" fmla="*/ 51973 h 609800"/>
              <a:gd name="connsiteX1899" fmla="*/ 2403419 w 12248682"/>
              <a:gd name="connsiteY1899" fmla="*/ 72762 h 609800"/>
              <a:gd name="connsiteX1900" fmla="*/ 2382630 w 12248682"/>
              <a:gd name="connsiteY1900" fmla="*/ 51973 h 609800"/>
              <a:gd name="connsiteX1901" fmla="*/ 2403419 w 12248682"/>
              <a:gd name="connsiteY1901" fmla="*/ 31184 h 609800"/>
              <a:gd name="connsiteX1902" fmla="*/ 2263671 w 12248682"/>
              <a:gd name="connsiteY1902" fmla="*/ 31184 h 609800"/>
              <a:gd name="connsiteX1903" fmla="*/ 2284460 w 12248682"/>
              <a:gd name="connsiteY1903" fmla="*/ 51973 h 609800"/>
              <a:gd name="connsiteX1904" fmla="*/ 2263671 w 12248682"/>
              <a:gd name="connsiteY1904" fmla="*/ 72762 h 609800"/>
              <a:gd name="connsiteX1905" fmla="*/ 2242883 w 12248682"/>
              <a:gd name="connsiteY1905" fmla="*/ 51973 h 609800"/>
              <a:gd name="connsiteX1906" fmla="*/ 2263671 w 12248682"/>
              <a:gd name="connsiteY1906" fmla="*/ 31184 h 609800"/>
              <a:gd name="connsiteX1907" fmla="*/ 1426344 w 12248682"/>
              <a:gd name="connsiteY1907" fmla="*/ 31184 h 609800"/>
              <a:gd name="connsiteX1908" fmla="*/ 1447133 w 12248682"/>
              <a:gd name="connsiteY1908" fmla="*/ 51973 h 609800"/>
              <a:gd name="connsiteX1909" fmla="*/ 1426344 w 12248682"/>
              <a:gd name="connsiteY1909" fmla="*/ 72762 h 609800"/>
              <a:gd name="connsiteX1910" fmla="*/ 1405556 w 12248682"/>
              <a:gd name="connsiteY1910" fmla="*/ 51973 h 609800"/>
              <a:gd name="connsiteX1911" fmla="*/ 1426344 w 12248682"/>
              <a:gd name="connsiteY1911" fmla="*/ 31184 h 609800"/>
              <a:gd name="connsiteX1912" fmla="*/ 1286597 w 12248682"/>
              <a:gd name="connsiteY1912" fmla="*/ 31184 h 609800"/>
              <a:gd name="connsiteX1913" fmla="*/ 1307386 w 12248682"/>
              <a:gd name="connsiteY1913" fmla="*/ 51973 h 609800"/>
              <a:gd name="connsiteX1914" fmla="*/ 1286597 w 12248682"/>
              <a:gd name="connsiteY1914" fmla="*/ 72762 h 609800"/>
              <a:gd name="connsiteX1915" fmla="*/ 1265808 w 12248682"/>
              <a:gd name="connsiteY1915" fmla="*/ 51973 h 609800"/>
              <a:gd name="connsiteX1916" fmla="*/ 1286597 w 12248682"/>
              <a:gd name="connsiteY1916" fmla="*/ 31184 h 609800"/>
              <a:gd name="connsiteX1917" fmla="*/ 1146851 w 12248682"/>
              <a:gd name="connsiteY1917" fmla="*/ 31184 h 609800"/>
              <a:gd name="connsiteX1918" fmla="*/ 1167639 w 12248682"/>
              <a:gd name="connsiteY1918" fmla="*/ 51973 h 609800"/>
              <a:gd name="connsiteX1919" fmla="*/ 1146851 w 12248682"/>
              <a:gd name="connsiteY1919" fmla="*/ 72762 h 609800"/>
              <a:gd name="connsiteX1920" fmla="*/ 1126062 w 12248682"/>
              <a:gd name="connsiteY1920" fmla="*/ 51973 h 609800"/>
              <a:gd name="connsiteX1921" fmla="*/ 1146851 w 12248682"/>
              <a:gd name="connsiteY1921" fmla="*/ 31184 h 609800"/>
              <a:gd name="connsiteX1922" fmla="*/ 11343213 w 12248682"/>
              <a:gd name="connsiteY1922" fmla="*/ 27719 h 609800"/>
              <a:gd name="connsiteX1923" fmla="*/ 11366312 w 12248682"/>
              <a:gd name="connsiteY1923" fmla="*/ 50817 h 609800"/>
              <a:gd name="connsiteX1924" fmla="*/ 11343213 w 12248682"/>
              <a:gd name="connsiteY1924" fmla="*/ 73916 h 609800"/>
              <a:gd name="connsiteX1925" fmla="*/ 11320114 w 12248682"/>
              <a:gd name="connsiteY1925" fmla="*/ 50817 h 609800"/>
              <a:gd name="connsiteX1926" fmla="*/ 11343213 w 12248682"/>
              <a:gd name="connsiteY1926" fmla="*/ 27719 h 609800"/>
              <a:gd name="connsiteX1927" fmla="*/ 10225237 w 12248682"/>
              <a:gd name="connsiteY1927" fmla="*/ 27719 h 609800"/>
              <a:gd name="connsiteX1928" fmla="*/ 10248335 w 12248682"/>
              <a:gd name="connsiteY1928" fmla="*/ 50817 h 609800"/>
              <a:gd name="connsiteX1929" fmla="*/ 10225237 w 12248682"/>
              <a:gd name="connsiteY1929" fmla="*/ 73916 h 609800"/>
              <a:gd name="connsiteX1930" fmla="*/ 10202138 w 12248682"/>
              <a:gd name="connsiteY1930" fmla="*/ 50817 h 609800"/>
              <a:gd name="connsiteX1931" fmla="*/ 10225237 w 12248682"/>
              <a:gd name="connsiteY1931" fmla="*/ 27719 h 609800"/>
              <a:gd name="connsiteX1932" fmla="*/ 9112431 w 12248682"/>
              <a:gd name="connsiteY1932" fmla="*/ 27719 h 609800"/>
              <a:gd name="connsiteX1933" fmla="*/ 9135530 w 12248682"/>
              <a:gd name="connsiteY1933" fmla="*/ 50817 h 609800"/>
              <a:gd name="connsiteX1934" fmla="*/ 9112431 w 12248682"/>
              <a:gd name="connsiteY1934" fmla="*/ 73916 h 609800"/>
              <a:gd name="connsiteX1935" fmla="*/ 9089332 w 12248682"/>
              <a:gd name="connsiteY1935" fmla="*/ 50817 h 609800"/>
              <a:gd name="connsiteX1936" fmla="*/ 9112431 w 12248682"/>
              <a:gd name="connsiteY1936" fmla="*/ 27719 h 609800"/>
              <a:gd name="connsiteX1937" fmla="*/ 7994456 w 12248682"/>
              <a:gd name="connsiteY1937" fmla="*/ 27719 h 609800"/>
              <a:gd name="connsiteX1938" fmla="*/ 8017555 w 12248682"/>
              <a:gd name="connsiteY1938" fmla="*/ 50817 h 609800"/>
              <a:gd name="connsiteX1939" fmla="*/ 7994456 w 12248682"/>
              <a:gd name="connsiteY1939" fmla="*/ 73916 h 609800"/>
              <a:gd name="connsiteX1940" fmla="*/ 7971356 w 12248682"/>
              <a:gd name="connsiteY1940" fmla="*/ 50817 h 609800"/>
              <a:gd name="connsiteX1941" fmla="*/ 7994456 w 12248682"/>
              <a:gd name="connsiteY1941" fmla="*/ 27719 h 609800"/>
              <a:gd name="connsiteX1942" fmla="*/ 6737887 w 12248682"/>
              <a:gd name="connsiteY1942" fmla="*/ 27719 h 609800"/>
              <a:gd name="connsiteX1943" fmla="*/ 6760986 w 12248682"/>
              <a:gd name="connsiteY1943" fmla="*/ 50817 h 609800"/>
              <a:gd name="connsiteX1944" fmla="*/ 6737887 w 12248682"/>
              <a:gd name="connsiteY1944" fmla="*/ 73916 h 609800"/>
              <a:gd name="connsiteX1945" fmla="*/ 6714789 w 12248682"/>
              <a:gd name="connsiteY1945" fmla="*/ 50817 h 609800"/>
              <a:gd name="connsiteX1946" fmla="*/ 6737887 w 12248682"/>
              <a:gd name="connsiteY1946" fmla="*/ 27719 h 609800"/>
              <a:gd name="connsiteX1947" fmla="*/ 5619912 w 12248682"/>
              <a:gd name="connsiteY1947" fmla="*/ 27719 h 609800"/>
              <a:gd name="connsiteX1948" fmla="*/ 5643008 w 12248682"/>
              <a:gd name="connsiteY1948" fmla="*/ 50817 h 609800"/>
              <a:gd name="connsiteX1949" fmla="*/ 5619912 w 12248682"/>
              <a:gd name="connsiteY1949" fmla="*/ 73916 h 609800"/>
              <a:gd name="connsiteX1950" fmla="*/ 5596812 w 12248682"/>
              <a:gd name="connsiteY1950" fmla="*/ 50817 h 609800"/>
              <a:gd name="connsiteX1951" fmla="*/ 5619912 w 12248682"/>
              <a:gd name="connsiteY1951" fmla="*/ 27719 h 609800"/>
              <a:gd name="connsiteX1952" fmla="*/ 4499625 w 12248682"/>
              <a:gd name="connsiteY1952" fmla="*/ 27719 h 609800"/>
              <a:gd name="connsiteX1953" fmla="*/ 4522722 w 12248682"/>
              <a:gd name="connsiteY1953" fmla="*/ 50817 h 609800"/>
              <a:gd name="connsiteX1954" fmla="*/ 4499625 w 12248682"/>
              <a:gd name="connsiteY1954" fmla="*/ 73916 h 609800"/>
              <a:gd name="connsiteX1955" fmla="*/ 4476525 w 12248682"/>
              <a:gd name="connsiteY1955" fmla="*/ 50817 h 609800"/>
              <a:gd name="connsiteX1956" fmla="*/ 4499625 w 12248682"/>
              <a:gd name="connsiteY1956" fmla="*/ 27719 h 609800"/>
              <a:gd name="connsiteX1957" fmla="*/ 3381648 w 12248682"/>
              <a:gd name="connsiteY1957" fmla="*/ 27719 h 609800"/>
              <a:gd name="connsiteX1958" fmla="*/ 3404746 w 12248682"/>
              <a:gd name="connsiteY1958" fmla="*/ 50817 h 609800"/>
              <a:gd name="connsiteX1959" fmla="*/ 3381648 w 12248682"/>
              <a:gd name="connsiteY1959" fmla="*/ 73916 h 609800"/>
              <a:gd name="connsiteX1960" fmla="*/ 3358549 w 12248682"/>
              <a:gd name="connsiteY1960" fmla="*/ 50817 h 609800"/>
              <a:gd name="connsiteX1961" fmla="*/ 3381648 w 12248682"/>
              <a:gd name="connsiteY1961" fmla="*/ 27719 h 609800"/>
              <a:gd name="connsiteX1962" fmla="*/ 2125079 w 12248682"/>
              <a:gd name="connsiteY1962" fmla="*/ 27719 h 609800"/>
              <a:gd name="connsiteX1963" fmla="*/ 2148178 w 12248682"/>
              <a:gd name="connsiteY1963" fmla="*/ 50817 h 609800"/>
              <a:gd name="connsiteX1964" fmla="*/ 2125079 w 12248682"/>
              <a:gd name="connsiteY1964" fmla="*/ 73916 h 609800"/>
              <a:gd name="connsiteX1965" fmla="*/ 2101980 w 12248682"/>
              <a:gd name="connsiteY1965" fmla="*/ 50817 h 609800"/>
              <a:gd name="connsiteX1966" fmla="*/ 2125079 w 12248682"/>
              <a:gd name="connsiteY1966" fmla="*/ 27719 h 609800"/>
              <a:gd name="connsiteX1967" fmla="*/ 1007103 w 12248682"/>
              <a:gd name="connsiteY1967" fmla="*/ 27719 h 609800"/>
              <a:gd name="connsiteX1968" fmla="*/ 1030201 w 12248682"/>
              <a:gd name="connsiteY1968" fmla="*/ 50817 h 609800"/>
              <a:gd name="connsiteX1969" fmla="*/ 1007103 w 12248682"/>
              <a:gd name="connsiteY1969" fmla="*/ 73916 h 609800"/>
              <a:gd name="connsiteX1970" fmla="*/ 984004 w 12248682"/>
              <a:gd name="connsiteY1970" fmla="*/ 50817 h 609800"/>
              <a:gd name="connsiteX1971" fmla="*/ 1007103 w 12248682"/>
              <a:gd name="connsiteY1971" fmla="*/ 27719 h 609800"/>
              <a:gd name="connsiteX1972" fmla="*/ 11203466 w 12248682"/>
              <a:gd name="connsiteY1972" fmla="*/ 21945 h 609800"/>
              <a:gd name="connsiteX1973" fmla="*/ 11232339 w 12248682"/>
              <a:gd name="connsiteY1973" fmla="*/ 50817 h 609800"/>
              <a:gd name="connsiteX1974" fmla="*/ 11203466 w 12248682"/>
              <a:gd name="connsiteY1974" fmla="*/ 79691 h 609800"/>
              <a:gd name="connsiteX1975" fmla="*/ 11174593 w 12248682"/>
              <a:gd name="connsiteY1975" fmla="*/ 50817 h 609800"/>
              <a:gd name="connsiteX1976" fmla="*/ 11203466 w 12248682"/>
              <a:gd name="connsiteY1976" fmla="*/ 21945 h 609800"/>
              <a:gd name="connsiteX1977" fmla="*/ 10085490 w 12248682"/>
              <a:gd name="connsiteY1977" fmla="*/ 21945 h 609800"/>
              <a:gd name="connsiteX1978" fmla="*/ 10114363 w 12248682"/>
              <a:gd name="connsiteY1978" fmla="*/ 51973 h 609800"/>
              <a:gd name="connsiteX1979" fmla="*/ 10085490 w 12248682"/>
              <a:gd name="connsiteY1979" fmla="*/ 80846 h 609800"/>
              <a:gd name="connsiteX1980" fmla="*/ 10056616 w 12248682"/>
              <a:gd name="connsiteY1980" fmla="*/ 50817 h 609800"/>
              <a:gd name="connsiteX1981" fmla="*/ 10085490 w 12248682"/>
              <a:gd name="connsiteY1981" fmla="*/ 21945 h 609800"/>
              <a:gd name="connsiteX1982" fmla="*/ 9247008 w 12248682"/>
              <a:gd name="connsiteY1982" fmla="*/ 21945 h 609800"/>
              <a:gd name="connsiteX1983" fmla="*/ 9275881 w 12248682"/>
              <a:gd name="connsiteY1983" fmla="*/ 50817 h 609800"/>
              <a:gd name="connsiteX1984" fmla="*/ 9247008 w 12248682"/>
              <a:gd name="connsiteY1984" fmla="*/ 80846 h 609800"/>
              <a:gd name="connsiteX1985" fmla="*/ 9218134 w 12248682"/>
              <a:gd name="connsiteY1985" fmla="*/ 50817 h 609800"/>
              <a:gd name="connsiteX1986" fmla="*/ 9247008 w 12248682"/>
              <a:gd name="connsiteY1986" fmla="*/ 21945 h 609800"/>
              <a:gd name="connsiteX1987" fmla="*/ 8972685 w 12248682"/>
              <a:gd name="connsiteY1987" fmla="*/ 21945 h 609800"/>
              <a:gd name="connsiteX1988" fmla="*/ 9001557 w 12248682"/>
              <a:gd name="connsiteY1988" fmla="*/ 50817 h 609800"/>
              <a:gd name="connsiteX1989" fmla="*/ 8972685 w 12248682"/>
              <a:gd name="connsiteY1989" fmla="*/ 79691 h 609800"/>
              <a:gd name="connsiteX1990" fmla="*/ 8943811 w 12248682"/>
              <a:gd name="connsiteY1990" fmla="*/ 50817 h 609800"/>
              <a:gd name="connsiteX1991" fmla="*/ 8972685 w 12248682"/>
              <a:gd name="connsiteY1991" fmla="*/ 21945 h 609800"/>
              <a:gd name="connsiteX1992" fmla="*/ 8134203 w 12248682"/>
              <a:gd name="connsiteY1992" fmla="*/ 21945 h 609800"/>
              <a:gd name="connsiteX1993" fmla="*/ 8163075 w 12248682"/>
              <a:gd name="connsiteY1993" fmla="*/ 50817 h 609800"/>
              <a:gd name="connsiteX1994" fmla="*/ 8134203 w 12248682"/>
              <a:gd name="connsiteY1994" fmla="*/ 79691 h 609800"/>
              <a:gd name="connsiteX1995" fmla="*/ 8105330 w 12248682"/>
              <a:gd name="connsiteY1995" fmla="*/ 50817 h 609800"/>
              <a:gd name="connsiteX1996" fmla="*/ 8134203 w 12248682"/>
              <a:gd name="connsiteY1996" fmla="*/ 21945 h 609800"/>
              <a:gd name="connsiteX1997" fmla="*/ 6598140 w 12248682"/>
              <a:gd name="connsiteY1997" fmla="*/ 21945 h 609800"/>
              <a:gd name="connsiteX1998" fmla="*/ 6627013 w 12248682"/>
              <a:gd name="connsiteY1998" fmla="*/ 50817 h 609800"/>
              <a:gd name="connsiteX1999" fmla="*/ 6598140 w 12248682"/>
              <a:gd name="connsiteY1999" fmla="*/ 79691 h 609800"/>
              <a:gd name="connsiteX2000" fmla="*/ 6569267 w 12248682"/>
              <a:gd name="connsiteY2000" fmla="*/ 50817 h 609800"/>
              <a:gd name="connsiteX2001" fmla="*/ 6598140 w 12248682"/>
              <a:gd name="connsiteY2001" fmla="*/ 21945 h 609800"/>
              <a:gd name="connsiteX2002" fmla="*/ 5480165 w 12248682"/>
              <a:gd name="connsiteY2002" fmla="*/ 21945 h 609800"/>
              <a:gd name="connsiteX2003" fmla="*/ 5509037 w 12248682"/>
              <a:gd name="connsiteY2003" fmla="*/ 50817 h 609800"/>
              <a:gd name="connsiteX2004" fmla="*/ 5480165 w 12248682"/>
              <a:gd name="connsiteY2004" fmla="*/ 79691 h 609800"/>
              <a:gd name="connsiteX2005" fmla="*/ 5451289 w 12248682"/>
              <a:gd name="connsiteY2005" fmla="*/ 50817 h 609800"/>
              <a:gd name="connsiteX2006" fmla="*/ 5480165 w 12248682"/>
              <a:gd name="connsiteY2006" fmla="*/ 21945 h 609800"/>
              <a:gd name="connsiteX2007" fmla="*/ 4641682 w 12248682"/>
              <a:gd name="connsiteY2007" fmla="*/ 21945 h 609800"/>
              <a:gd name="connsiteX2008" fmla="*/ 4670555 w 12248682"/>
              <a:gd name="connsiteY2008" fmla="*/ 50817 h 609800"/>
              <a:gd name="connsiteX2009" fmla="*/ 4641682 w 12248682"/>
              <a:gd name="connsiteY2009" fmla="*/ 79691 h 609800"/>
              <a:gd name="connsiteX2010" fmla="*/ 4612809 w 12248682"/>
              <a:gd name="connsiteY2010" fmla="*/ 50817 h 609800"/>
              <a:gd name="connsiteX2011" fmla="*/ 4641682 w 12248682"/>
              <a:gd name="connsiteY2011" fmla="*/ 21945 h 609800"/>
              <a:gd name="connsiteX2012" fmla="*/ 4359878 w 12248682"/>
              <a:gd name="connsiteY2012" fmla="*/ 21945 h 609800"/>
              <a:gd name="connsiteX2013" fmla="*/ 4388751 w 12248682"/>
              <a:gd name="connsiteY2013" fmla="*/ 50817 h 609800"/>
              <a:gd name="connsiteX2014" fmla="*/ 4359878 w 12248682"/>
              <a:gd name="connsiteY2014" fmla="*/ 79691 h 609800"/>
              <a:gd name="connsiteX2015" fmla="*/ 4331004 w 12248682"/>
              <a:gd name="connsiteY2015" fmla="*/ 50817 h 609800"/>
              <a:gd name="connsiteX2016" fmla="*/ 4359878 w 12248682"/>
              <a:gd name="connsiteY2016" fmla="*/ 21945 h 609800"/>
              <a:gd name="connsiteX2017" fmla="*/ 3521396 w 12248682"/>
              <a:gd name="connsiteY2017" fmla="*/ 21945 h 609800"/>
              <a:gd name="connsiteX2018" fmla="*/ 3550268 w 12248682"/>
              <a:gd name="connsiteY2018" fmla="*/ 50817 h 609800"/>
              <a:gd name="connsiteX2019" fmla="*/ 3521396 w 12248682"/>
              <a:gd name="connsiteY2019" fmla="*/ 79691 h 609800"/>
              <a:gd name="connsiteX2020" fmla="*/ 3492521 w 12248682"/>
              <a:gd name="connsiteY2020" fmla="*/ 50817 h 609800"/>
              <a:gd name="connsiteX2021" fmla="*/ 3521396 w 12248682"/>
              <a:gd name="connsiteY2021" fmla="*/ 21945 h 609800"/>
              <a:gd name="connsiteX2022" fmla="*/ 1985333 w 12248682"/>
              <a:gd name="connsiteY2022" fmla="*/ 21945 h 609800"/>
              <a:gd name="connsiteX2023" fmla="*/ 2014205 w 12248682"/>
              <a:gd name="connsiteY2023" fmla="*/ 50817 h 609800"/>
              <a:gd name="connsiteX2024" fmla="*/ 1985333 w 12248682"/>
              <a:gd name="connsiteY2024" fmla="*/ 79691 h 609800"/>
              <a:gd name="connsiteX2025" fmla="*/ 1956459 w 12248682"/>
              <a:gd name="connsiteY2025" fmla="*/ 50817 h 609800"/>
              <a:gd name="connsiteX2026" fmla="*/ 1985333 w 12248682"/>
              <a:gd name="connsiteY2026" fmla="*/ 21945 h 609800"/>
              <a:gd name="connsiteX2027" fmla="*/ 867356 w 12248682"/>
              <a:gd name="connsiteY2027" fmla="*/ 21945 h 609800"/>
              <a:gd name="connsiteX2028" fmla="*/ 896229 w 12248682"/>
              <a:gd name="connsiteY2028" fmla="*/ 51973 h 609800"/>
              <a:gd name="connsiteX2029" fmla="*/ 867356 w 12248682"/>
              <a:gd name="connsiteY2029" fmla="*/ 80846 h 609800"/>
              <a:gd name="connsiteX2030" fmla="*/ 838482 w 12248682"/>
              <a:gd name="connsiteY2030" fmla="*/ 50817 h 609800"/>
              <a:gd name="connsiteX2031" fmla="*/ 867356 w 12248682"/>
              <a:gd name="connsiteY2031" fmla="*/ 21945 h 609800"/>
              <a:gd name="connsiteX2032" fmla="*/ 28874 w 12248682"/>
              <a:gd name="connsiteY2032" fmla="*/ 21945 h 609800"/>
              <a:gd name="connsiteX2033" fmla="*/ 57747 w 12248682"/>
              <a:gd name="connsiteY2033" fmla="*/ 50817 h 609800"/>
              <a:gd name="connsiteX2034" fmla="*/ 28874 w 12248682"/>
              <a:gd name="connsiteY2034" fmla="*/ 80846 h 609800"/>
              <a:gd name="connsiteX2035" fmla="*/ 0 w 12248682"/>
              <a:gd name="connsiteY2035" fmla="*/ 50817 h 609800"/>
              <a:gd name="connsiteX2036" fmla="*/ 28874 w 12248682"/>
              <a:gd name="connsiteY2036" fmla="*/ 21945 h 609800"/>
              <a:gd name="connsiteX2037" fmla="*/ 11063719 w 12248682"/>
              <a:gd name="connsiteY2037" fmla="*/ 16169 h 609800"/>
              <a:gd name="connsiteX2038" fmla="*/ 11098367 w 12248682"/>
              <a:gd name="connsiteY2038" fmla="*/ 50817 h 609800"/>
              <a:gd name="connsiteX2039" fmla="*/ 11063719 w 12248682"/>
              <a:gd name="connsiteY2039" fmla="*/ 85465 h 609800"/>
              <a:gd name="connsiteX2040" fmla="*/ 11029071 w 12248682"/>
              <a:gd name="connsiteY2040" fmla="*/ 50817 h 609800"/>
              <a:gd name="connsiteX2041" fmla="*/ 11063719 w 12248682"/>
              <a:gd name="connsiteY2041" fmla="*/ 16169 h 609800"/>
              <a:gd name="connsiteX2042" fmla="*/ 9945743 w 12248682"/>
              <a:gd name="connsiteY2042" fmla="*/ 16169 h 609800"/>
              <a:gd name="connsiteX2043" fmla="*/ 9980391 w 12248682"/>
              <a:gd name="connsiteY2043" fmla="*/ 50817 h 609800"/>
              <a:gd name="connsiteX2044" fmla="*/ 9945743 w 12248682"/>
              <a:gd name="connsiteY2044" fmla="*/ 85465 h 609800"/>
              <a:gd name="connsiteX2045" fmla="*/ 9911094 w 12248682"/>
              <a:gd name="connsiteY2045" fmla="*/ 50817 h 609800"/>
              <a:gd name="connsiteX2046" fmla="*/ 9945743 w 12248682"/>
              <a:gd name="connsiteY2046" fmla="*/ 16169 h 609800"/>
              <a:gd name="connsiteX2047" fmla="*/ 9386754 w 12248682"/>
              <a:gd name="connsiteY2047" fmla="*/ 16169 h 609800"/>
              <a:gd name="connsiteX2048" fmla="*/ 9421402 w 12248682"/>
              <a:gd name="connsiteY2048" fmla="*/ 50817 h 609800"/>
              <a:gd name="connsiteX2049" fmla="*/ 9386754 w 12248682"/>
              <a:gd name="connsiteY2049" fmla="*/ 85465 h 609800"/>
              <a:gd name="connsiteX2050" fmla="*/ 9352106 w 12248682"/>
              <a:gd name="connsiteY2050" fmla="*/ 50817 h 609800"/>
              <a:gd name="connsiteX2051" fmla="*/ 9386754 w 12248682"/>
              <a:gd name="connsiteY2051" fmla="*/ 16169 h 609800"/>
              <a:gd name="connsiteX2052" fmla="*/ 8832937 w 12248682"/>
              <a:gd name="connsiteY2052" fmla="*/ 16169 h 609800"/>
              <a:gd name="connsiteX2053" fmla="*/ 8867585 w 12248682"/>
              <a:gd name="connsiteY2053" fmla="*/ 50817 h 609800"/>
              <a:gd name="connsiteX2054" fmla="*/ 8832937 w 12248682"/>
              <a:gd name="connsiteY2054" fmla="*/ 85465 h 609800"/>
              <a:gd name="connsiteX2055" fmla="*/ 8798289 w 12248682"/>
              <a:gd name="connsiteY2055" fmla="*/ 50817 h 609800"/>
              <a:gd name="connsiteX2056" fmla="*/ 8832937 w 12248682"/>
              <a:gd name="connsiteY2056" fmla="*/ 16169 h 609800"/>
              <a:gd name="connsiteX2057" fmla="*/ 8273949 w 12248682"/>
              <a:gd name="connsiteY2057" fmla="*/ 16169 h 609800"/>
              <a:gd name="connsiteX2058" fmla="*/ 8308598 w 12248682"/>
              <a:gd name="connsiteY2058" fmla="*/ 50817 h 609800"/>
              <a:gd name="connsiteX2059" fmla="*/ 8273949 w 12248682"/>
              <a:gd name="connsiteY2059" fmla="*/ 85465 h 609800"/>
              <a:gd name="connsiteX2060" fmla="*/ 8239301 w 12248682"/>
              <a:gd name="connsiteY2060" fmla="*/ 50817 h 609800"/>
              <a:gd name="connsiteX2061" fmla="*/ 8273949 w 12248682"/>
              <a:gd name="connsiteY2061" fmla="*/ 16169 h 609800"/>
              <a:gd name="connsiteX2062" fmla="*/ 6458393 w 12248682"/>
              <a:gd name="connsiteY2062" fmla="*/ 16169 h 609800"/>
              <a:gd name="connsiteX2063" fmla="*/ 6493041 w 12248682"/>
              <a:gd name="connsiteY2063" fmla="*/ 50817 h 609800"/>
              <a:gd name="connsiteX2064" fmla="*/ 6458393 w 12248682"/>
              <a:gd name="connsiteY2064" fmla="*/ 85465 h 609800"/>
              <a:gd name="connsiteX2065" fmla="*/ 6423745 w 12248682"/>
              <a:gd name="connsiteY2065" fmla="*/ 50817 h 609800"/>
              <a:gd name="connsiteX2066" fmla="*/ 6458393 w 12248682"/>
              <a:gd name="connsiteY2066" fmla="*/ 16169 h 609800"/>
              <a:gd name="connsiteX2067" fmla="*/ 5340416 w 12248682"/>
              <a:gd name="connsiteY2067" fmla="*/ 16169 h 609800"/>
              <a:gd name="connsiteX2068" fmla="*/ 5375064 w 12248682"/>
              <a:gd name="connsiteY2068" fmla="*/ 50817 h 609800"/>
              <a:gd name="connsiteX2069" fmla="*/ 5340416 w 12248682"/>
              <a:gd name="connsiteY2069" fmla="*/ 85465 h 609800"/>
              <a:gd name="connsiteX2070" fmla="*/ 5305769 w 12248682"/>
              <a:gd name="connsiteY2070" fmla="*/ 50817 h 609800"/>
              <a:gd name="connsiteX2071" fmla="*/ 5340416 w 12248682"/>
              <a:gd name="connsiteY2071" fmla="*/ 16169 h 609800"/>
              <a:gd name="connsiteX2072" fmla="*/ 4781429 w 12248682"/>
              <a:gd name="connsiteY2072" fmla="*/ 16169 h 609800"/>
              <a:gd name="connsiteX2073" fmla="*/ 4816075 w 12248682"/>
              <a:gd name="connsiteY2073" fmla="*/ 50817 h 609800"/>
              <a:gd name="connsiteX2074" fmla="*/ 4781429 w 12248682"/>
              <a:gd name="connsiteY2074" fmla="*/ 85465 h 609800"/>
              <a:gd name="connsiteX2075" fmla="*/ 4746781 w 12248682"/>
              <a:gd name="connsiteY2075" fmla="*/ 50817 h 609800"/>
              <a:gd name="connsiteX2076" fmla="*/ 4781429 w 12248682"/>
              <a:gd name="connsiteY2076" fmla="*/ 16169 h 609800"/>
              <a:gd name="connsiteX2077" fmla="*/ 4220129 w 12248682"/>
              <a:gd name="connsiteY2077" fmla="*/ 16169 h 609800"/>
              <a:gd name="connsiteX2078" fmla="*/ 4254779 w 12248682"/>
              <a:gd name="connsiteY2078" fmla="*/ 50817 h 609800"/>
              <a:gd name="connsiteX2079" fmla="*/ 4220129 w 12248682"/>
              <a:gd name="connsiteY2079" fmla="*/ 85465 h 609800"/>
              <a:gd name="connsiteX2080" fmla="*/ 4185482 w 12248682"/>
              <a:gd name="connsiteY2080" fmla="*/ 50817 h 609800"/>
              <a:gd name="connsiteX2081" fmla="*/ 4220129 w 12248682"/>
              <a:gd name="connsiteY2081" fmla="*/ 16169 h 609800"/>
              <a:gd name="connsiteX2082" fmla="*/ 3661142 w 12248682"/>
              <a:gd name="connsiteY2082" fmla="*/ 16169 h 609800"/>
              <a:gd name="connsiteX2083" fmla="*/ 3695791 w 12248682"/>
              <a:gd name="connsiteY2083" fmla="*/ 50817 h 609800"/>
              <a:gd name="connsiteX2084" fmla="*/ 3661142 w 12248682"/>
              <a:gd name="connsiteY2084" fmla="*/ 85465 h 609800"/>
              <a:gd name="connsiteX2085" fmla="*/ 3626494 w 12248682"/>
              <a:gd name="connsiteY2085" fmla="*/ 50817 h 609800"/>
              <a:gd name="connsiteX2086" fmla="*/ 3661142 w 12248682"/>
              <a:gd name="connsiteY2086" fmla="*/ 16169 h 609800"/>
              <a:gd name="connsiteX2087" fmla="*/ 1845585 w 12248682"/>
              <a:gd name="connsiteY2087" fmla="*/ 16169 h 609800"/>
              <a:gd name="connsiteX2088" fmla="*/ 1880233 w 12248682"/>
              <a:gd name="connsiteY2088" fmla="*/ 50817 h 609800"/>
              <a:gd name="connsiteX2089" fmla="*/ 1845585 w 12248682"/>
              <a:gd name="connsiteY2089" fmla="*/ 85465 h 609800"/>
              <a:gd name="connsiteX2090" fmla="*/ 1810937 w 12248682"/>
              <a:gd name="connsiteY2090" fmla="*/ 50817 h 609800"/>
              <a:gd name="connsiteX2091" fmla="*/ 1845585 w 12248682"/>
              <a:gd name="connsiteY2091" fmla="*/ 16169 h 609800"/>
              <a:gd name="connsiteX2092" fmla="*/ 727609 w 12248682"/>
              <a:gd name="connsiteY2092" fmla="*/ 16169 h 609800"/>
              <a:gd name="connsiteX2093" fmla="*/ 762257 w 12248682"/>
              <a:gd name="connsiteY2093" fmla="*/ 50817 h 609800"/>
              <a:gd name="connsiteX2094" fmla="*/ 727609 w 12248682"/>
              <a:gd name="connsiteY2094" fmla="*/ 85465 h 609800"/>
              <a:gd name="connsiteX2095" fmla="*/ 692961 w 12248682"/>
              <a:gd name="connsiteY2095" fmla="*/ 50817 h 609800"/>
              <a:gd name="connsiteX2096" fmla="*/ 727609 w 12248682"/>
              <a:gd name="connsiteY2096" fmla="*/ 16169 h 609800"/>
              <a:gd name="connsiteX2097" fmla="*/ 168621 w 12248682"/>
              <a:gd name="connsiteY2097" fmla="*/ 16169 h 609800"/>
              <a:gd name="connsiteX2098" fmla="*/ 203269 w 12248682"/>
              <a:gd name="connsiteY2098" fmla="*/ 50817 h 609800"/>
              <a:gd name="connsiteX2099" fmla="*/ 168621 w 12248682"/>
              <a:gd name="connsiteY2099" fmla="*/ 85465 h 609800"/>
              <a:gd name="connsiteX2100" fmla="*/ 133973 w 12248682"/>
              <a:gd name="connsiteY2100" fmla="*/ 50817 h 609800"/>
              <a:gd name="connsiteX2101" fmla="*/ 168621 w 12248682"/>
              <a:gd name="connsiteY2101" fmla="*/ 16169 h 609800"/>
              <a:gd name="connsiteX2102" fmla="*/ 10923972 w 12248682"/>
              <a:gd name="connsiteY2102" fmla="*/ 10395 h 609800"/>
              <a:gd name="connsiteX2103" fmla="*/ 10964394 w 12248682"/>
              <a:gd name="connsiteY2103" fmla="*/ 50817 h 609800"/>
              <a:gd name="connsiteX2104" fmla="*/ 10923972 w 12248682"/>
              <a:gd name="connsiteY2104" fmla="*/ 91241 h 609800"/>
              <a:gd name="connsiteX2105" fmla="*/ 10883549 w 12248682"/>
              <a:gd name="connsiteY2105" fmla="*/ 50817 h 609800"/>
              <a:gd name="connsiteX2106" fmla="*/ 10923972 w 12248682"/>
              <a:gd name="connsiteY2106" fmla="*/ 10395 h 609800"/>
              <a:gd name="connsiteX2107" fmla="*/ 9805996 w 12248682"/>
              <a:gd name="connsiteY2107" fmla="*/ 10395 h 609800"/>
              <a:gd name="connsiteX2108" fmla="*/ 9846418 w 12248682"/>
              <a:gd name="connsiteY2108" fmla="*/ 51973 h 609800"/>
              <a:gd name="connsiteX2109" fmla="*/ 9805996 w 12248682"/>
              <a:gd name="connsiteY2109" fmla="*/ 92395 h 609800"/>
              <a:gd name="connsiteX2110" fmla="*/ 9765573 w 12248682"/>
              <a:gd name="connsiteY2110" fmla="*/ 50817 h 609800"/>
              <a:gd name="connsiteX2111" fmla="*/ 9805996 w 12248682"/>
              <a:gd name="connsiteY2111" fmla="*/ 10395 h 609800"/>
              <a:gd name="connsiteX2112" fmla="*/ 9526502 w 12248682"/>
              <a:gd name="connsiteY2112" fmla="*/ 10395 h 609800"/>
              <a:gd name="connsiteX2113" fmla="*/ 9566924 w 12248682"/>
              <a:gd name="connsiteY2113" fmla="*/ 51973 h 609800"/>
              <a:gd name="connsiteX2114" fmla="*/ 9526502 w 12248682"/>
              <a:gd name="connsiteY2114" fmla="*/ 92395 h 609800"/>
              <a:gd name="connsiteX2115" fmla="*/ 9486079 w 12248682"/>
              <a:gd name="connsiteY2115" fmla="*/ 50817 h 609800"/>
              <a:gd name="connsiteX2116" fmla="*/ 9526502 w 12248682"/>
              <a:gd name="connsiteY2116" fmla="*/ 10395 h 609800"/>
              <a:gd name="connsiteX2117" fmla="*/ 8693190 w 12248682"/>
              <a:gd name="connsiteY2117" fmla="*/ 10395 h 609800"/>
              <a:gd name="connsiteX2118" fmla="*/ 8733613 w 12248682"/>
              <a:gd name="connsiteY2118" fmla="*/ 50817 h 609800"/>
              <a:gd name="connsiteX2119" fmla="*/ 8693190 w 12248682"/>
              <a:gd name="connsiteY2119" fmla="*/ 91241 h 609800"/>
              <a:gd name="connsiteX2120" fmla="*/ 8652767 w 12248682"/>
              <a:gd name="connsiteY2120" fmla="*/ 50817 h 609800"/>
              <a:gd name="connsiteX2121" fmla="*/ 8693190 w 12248682"/>
              <a:gd name="connsiteY2121" fmla="*/ 10395 h 609800"/>
              <a:gd name="connsiteX2122" fmla="*/ 8413696 w 12248682"/>
              <a:gd name="connsiteY2122" fmla="*/ 10395 h 609800"/>
              <a:gd name="connsiteX2123" fmla="*/ 8454118 w 12248682"/>
              <a:gd name="connsiteY2123" fmla="*/ 50817 h 609800"/>
              <a:gd name="connsiteX2124" fmla="*/ 8413696 w 12248682"/>
              <a:gd name="connsiteY2124" fmla="*/ 91241 h 609800"/>
              <a:gd name="connsiteX2125" fmla="*/ 8373274 w 12248682"/>
              <a:gd name="connsiteY2125" fmla="*/ 50817 h 609800"/>
              <a:gd name="connsiteX2126" fmla="*/ 8413696 w 12248682"/>
              <a:gd name="connsiteY2126" fmla="*/ 10395 h 609800"/>
              <a:gd name="connsiteX2127" fmla="*/ 6318647 w 12248682"/>
              <a:gd name="connsiteY2127" fmla="*/ 10395 h 609800"/>
              <a:gd name="connsiteX2128" fmla="*/ 6359068 w 12248682"/>
              <a:gd name="connsiteY2128" fmla="*/ 50817 h 609800"/>
              <a:gd name="connsiteX2129" fmla="*/ 6318647 w 12248682"/>
              <a:gd name="connsiteY2129" fmla="*/ 91241 h 609800"/>
              <a:gd name="connsiteX2130" fmla="*/ 6278223 w 12248682"/>
              <a:gd name="connsiteY2130" fmla="*/ 50817 h 609800"/>
              <a:gd name="connsiteX2131" fmla="*/ 6318647 w 12248682"/>
              <a:gd name="connsiteY2131" fmla="*/ 10395 h 609800"/>
              <a:gd name="connsiteX2132" fmla="*/ 5200670 w 12248682"/>
              <a:gd name="connsiteY2132" fmla="*/ 10395 h 609800"/>
              <a:gd name="connsiteX2133" fmla="*/ 5241093 w 12248682"/>
              <a:gd name="connsiteY2133" fmla="*/ 50817 h 609800"/>
              <a:gd name="connsiteX2134" fmla="*/ 5200670 w 12248682"/>
              <a:gd name="connsiteY2134" fmla="*/ 91241 h 609800"/>
              <a:gd name="connsiteX2135" fmla="*/ 5160247 w 12248682"/>
              <a:gd name="connsiteY2135" fmla="*/ 50817 h 609800"/>
              <a:gd name="connsiteX2136" fmla="*/ 5200670 w 12248682"/>
              <a:gd name="connsiteY2136" fmla="*/ 10395 h 609800"/>
              <a:gd name="connsiteX2137" fmla="*/ 4921176 w 12248682"/>
              <a:gd name="connsiteY2137" fmla="*/ 10395 h 609800"/>
              <a:gd name="connsiteX2138" fmla="*/ 4961598 w 12248682"/>
              <a:gd name="connsiteY2138" fmla="*/ 50817 h 609800"/>
              <a:gd name="connsiteX2139" fmla="*/ 4921176 w 12248682"/>
              <a:gd name="connsiteY2139" fmla="*/ 91241 h 609800"/>
              <a:gd name="connsiteX2140" fmla="*/ 4880752 w 12248682"/>
              <a:gd name="connsiteY2140" fmla="*/ 50817 h 609800"/>
              <a:gd name="connsiteX2141" fmla="*/ 4921176 w 12248682"/>
              <a:gd name="connsiteY2141" fmla="*/ 10395 h 609800"/>
              <a:gd name="connsiteX2142" fmla="*/ 4080383 w 12248682"/>
              <a:gd name="connsiteY2142" fmla="*/ 10395 h 609800"/>
              <a:gd name="connsiteX2143" fmla="*/ 4120806 w 12248682"/>
              <a:gd name="connsiteY2143" fmla="*/ 50817 h 609800"/>
              <a:gd name="connsiteX2144" fmla="*/ 4080383 w 12248682"/>
              <a:gd name="connsiteY2144" fmla="*/ 91241 h 609800"/>
              <a:gd name="connsiteX2145" fmla="*/ 4039961 w 12248682"/>
              <a:gd name="connsiteY2145" fmla="*/ 50817 h 609800"/>
              <a:gd name="connsiteX2146" fmla="*/ 4080383 w 12248682"/>
              <a:gd name="connsiteY2146" fmla="*/ 10395 h 609800"/>
              <a:gd name="connsiteX2147" fmla="*/ 3800889 w 12248682"/>
              <a:gd name="connsiteY2147" fmla="*/ 10395 h 609800"/>
              <a:gd name="connsiteX2148" fmla="*/ 3841311 w 12248682"/>
              <a:gd name="connsiteY2148" fmla="*/ 50817 h 609800"/>
              <a:gd name="connsiteX2149" fmla="*/ 3800889 w 12248682"/>
              <a:gd name="connsiteY2149" fmla="*/ 91241 h 609800"/>
              <a:gd name="connsiteX2150" fmla="*/ 3760466 w 12248682"/>
              <a:gd name="connsiteY2150" fmla="*/ 50817 h 609800"/>
              <a:gd name="connsiteX2151" fmla="*/ 3800889 w 12248682"/>
              <a:gd name="connsiteY2151" fmla="*/ 10395 h 609800"/>
              <a:gd name="connsiteX2152" fmla="*/ 1705839 w 12248682"/>
              <a:gd name="connsiteY2152" fmla="*/ 10395 h 609800"/>
              <a:gd name="connsiteX2153" fmla="*/ 1746261 w 12248682"/>
              <a:gd name="connsiteY2153" fmla="*/ 50817 h 609800"/>
              <a:gd name="connsiteX2154" fmla="*/ 1705839 w 12248682"/>
              <a:gd name="connsiteY2154" fmla="*/ 91241 h 609800"/>
              <a:gd name="connsiteX2155" fmla="*/ 1665415 w 12248682"/>
              <a:gd name="connsiteY2155" fmla="*/ 50817 h 609800"/>
              <a:gd name="connsiteX2156" fmla="*/ 1705839 w 12248682"/>
              <a:gd name="connsiteY2156" fmla="*/ 10395 h 609800"/>
              <a:gd name="connsiteX2157" fmla="*/ 587862 w 12248682"/>
              <a:gd name="connsiteY2157" fmla="*/ 10395 h 609800"/>
              <a:gd name="connsiteX2158" fmla="*/ 628284 w 12248682"/>
              <a:gd name="connsiteY2158" fmla="*/ 51973 h 609800"/>
              <a:gd name="connsiteX2159" fmla="*/ 587862 w 12248682"/>
              <a:gd name="connsiteY2159" fmla="*/ 92395 h 609800"/>
              <a:gd name="connsiteX2160" fmla="*/ 547439 w 12248682"/>
              <a:gd name="connsiteY2160" fmla="*/ 50817 h 609800"/>
              <a:gd name="connsiteX2161" fmla="*/ 587862 w 12248682"/>
              <a:gd name="connsiteY2161" fmla="*/ 10395 h 609800"/>
              <a:gd name="connsiteX2162" fmla="*/ 308368 w 12248682"/>
              <a:gd name="connsiteY2162" fmla="*/ 10395 h 609800"/>
              <a:gd name="connsiteX2163" fmla="*/ 348790 w 12248682"/>
              <a:gd name="connsiteY2163" fmla="*/ 51973 h 609800"/>
              <a:gd name="connsiteX2164" fmla="*/ 308368 w 12248682"/>
              <a:gd name="connsiteY2164" fmla="*/ 92395 h 609800"/>
              <a:gd name="connsiteX2165" fmla="*/ 267945 w 12248682"/>
              <a:gd name="connsiteY2165" fmla="*/ 50817 h 609800"/>
              <a:gd name="connsiteX2166" fmla="*/ 308368 w 12248682"/>
              <a:gd name="connsiteY2166" fmla="*/ 10395 h 609800"/>
              <a:gd name="connsiteX2167" fmla="*/ 10784225 w 12248682"/>
              <a:gd name="connsiteY2167" fmla="*/ 0 h 609800"/>
              <a:gd name="connsiteX2168" fmla="*/ 10835042 w 12248682"/>
              <a:gd name="connsiteY2168" fmla="*/ 50817 h 609800"/>
              <a:gd name="connsiteX2169" fmla="*/ 10784225 w 12248682"/>
              <a:gd name="connsiteY2169" fmla="*/ 101634 h 609800"/>
              <a:gd name="connsiteX2170" fmla="*/ 10733408 w 12248682"/>
              <a:gd name="connsiteY2170" fmla="*/ 50817 h 609800"/>
              <a:gd name="connsiteX2171" fmla="*/ 10784225 w 12248682"/>
              <a:gd name="connsiteY2171" fmla="*/ 0 h 609800"/>
              <a:gd name="connsiteX2172" fmla="*/ 9666248 w 12248682"/>
              <a:gd name="connsiteY2172" fmla="*/ 0 h 609800"/>
              <a:gd name="connsiteX2173" fmla="*/ 9717066 w 12248682"/>
              <a:gd name="connsiteY2173" fmla="*/ 50817 h 609800"/>
              <a:gd name="connsiteX2174" fmla="*/ 9666248 w 12248682"/>
              <a:gd name="connsiteY2174" fmla="*/ 101634 h 609800"/>
              <a:gd name="connsiteX2175" fmla="*/ 9615431 w 12248682"/>
              <a:gd name="connsiteY2175" fmla="*/ 50817 h 609800"/>
              <a:gd name="connsiteX2176" fmla="*/ 9666248 w 12248682"/>
              <a:gd name="connsiteY2176" fmla="*/ 0 h 609800"/>
              <a:gd name="connsiteX2177" fmla="*/ 8553443 w 12248682"/>
              <a:gd name="connsiteY2177" fmla="*/ 0 h 609800"/>
              <a:gd name="connsiteX2178" fmla="*/ 8604260 w 12248682"/>
              <a:gd name="connsiteY2178" fmla="*/ 50817 h 609800"/>
              <a:gd name="connsiteX2179" fmla="*/ 8553443 w 12248682"/>
              <a:gd name="connsiteY2179" fmla="*/ 101634 h 609800"/>
              <a:gd name="connsiteX2180" fmla="*/ 8502626 w 12248682"/>
              <a:gd name="connsiteY2180" fmla="*/ 50817 h 609800"/>
              <a:gd name="connsiteX2181" fmla="*/ 8553443 w 12248682"/>
              <a:gd name="connsiteY2181" fmla="*/ 0 h 609800"/>
              <a:gd name="connsiteX2182" fmla="*/ 6178898 w 12248682"/>
              <a:gd name="connsiteY2182" fmla="*/ 0 h 609800"/>
              <a:gd name="connsiteX2183" fmla="*/ 6229715 w 12248682"/>
              <a:gd name="connsiteY2183" fmla="*/ 50817 h 609800"/>
              <a:gd name="connsiteX2184" fmla="*/ 6178898 w 12248682"/>
              <a:gd name="connsiteY2184" fmla="*/ 101634 h 609800"/>
              <a:gd name="connsiteX2185" fmla="*/ 6128081 w 12248682"/>
              <a:gd name="connsiteY2185" fmla="*/ 50817 h 609800"/>
              <a:gd name="connsiteX2186" fmla="*/ 6178898 w 12248682"/>
              <a:gd name="connsiteY2186" fmla="*/ 0 h 609800"/>
              <a:gd name="connsiteX2187" fmla="*/ 5060922 w 12248682"/>
              <a:gd name="connsiteY2187" fmla="*/ 0 h 609800"/>
              <a:gd name="connsiteX2188" fmla="*/ 5111740 w 12248682"/>
              <a:gd name="connsiteY2188" fmla="*/ 50817 h 609800"/>
              <a:gd name="connsiteX2189" fmla="*/ 5060922 w 12248682"/>
              <a:gd name="connsiteY2189" fmla="*/ 101634 h 609800"/>
              <a:gd name="connsiteX2190" fmla="*/ 5010105 w 12248682"/>
              <a:gd name="connsiteY2190" fmla="*/ 50817 h 609800"/>
              <a:gd name="connsiteX2191" fmla="*/ 5060922 w 12248682"/>
              <a:gd name="connsiteY2191" fmla="*/ 0 h 609800"/>
              <a:gd name="connsiteX2192" fmla="*/ 3940636 w 12248682"/>
              <a:gd name="connsiteY2192" fmla="*/ 0 h 609800"/>
              <a:gd name="connsiteX2193" fmla="*/ 3991453 w 12248682"/>
              <a:gd name="connsiteY2193" fmla="*/ 50817 h 609800"/>
              <a:gd name="connsiteX2194" fmla="*/ 3940636 w 12248682"/>
              <a:gd name="connsiteY2194" fmla="*/ 101634 h 609800"/>
              <a:gd name="connsiteX2195" fmla="*/ 3889819 w 12248682"/>
              <a:gd name="connsiteY2195" fmla="*/ 50817 h 609800"/>
              <a:gd name="connsiteX2196" fmla="*/ 3940636 w 12248682"/>
              <a:gd name="connsiteY2196" fmla="*/ 0 h 609800"/>
              <a:gd name="connsiteX2197" fmla="*/ 1566091 w 12248682"/>
              <a:gd name="connsiteY2197" fmla="*/ 0 h 609800"/>
              <a:gd name="connsiteX2198" fmla="*/ 1616908 w 12248682"/>
              <a:gd name="connsiteY2198" fmla="*/ 50817 h 609800"/>
              <a:gd name="connsiteX2199" fmla="*/ 1566091 w 12248682"/>
              <a:gd name="connsiteY2199" fmla="*/ 101634 h 609800"/>
              <a:gd name="connsiteX2200" fmla="*/ 1515274 w 12248682"/>
              <a:gd name="connsiteY2200" fmla="*/ 50817 h 609800"/>
              <a:gd name="connsiteX2201" fmla="*/ 1566091 w 12248682"/>
              <a:gd name="connsiteY2201" fmla="*/ 0 h 609800"/>
              <a:gd name="connsiteX2202" fmla="*/ 448115 w 12248682"/>
              <a:gd name="connsiteY2202" fmla="*/ 0 h 609800"/>
              <a:gd name="connsiteX2203" fmla="*/ 498932 w 12248682"/>
              <a:gd name="connsiteY2203" fmla="*/ 50817 h 609800"/>
              <a:gd name="connsiteX2204" fmla="*/ 448115 w 12248682"/>
              <a:gd name="connsiteY2204" fmla="*/ 101634 h 609800"/>
              <a:gd name="connsiteX2205" fmla="*/ 397298 w 12248682"/>
              <a:gd name="connsiteY2205" fmla="*/ 50817 h 609800"/>
              <a:gd name="connsiteX2206" fmla="*/ 448115 w 12248682"/>
              <a:gd name="connsiteY2206" fmla="*/ 0 h 6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</a:cxnLst>
            <a:rect l="l" t="t" r="r" b="b"/>
            <a:pathLst>
              <a:path w="12248682" h="609800">
                <a:moveTo>
                  <a:pt x="12227892" y="608651"/>
                </a:moveTo>
                <a:lnTo>
                  <a:pt x="12230601" y="609800"/>
                </a:lnTo>
                <a:lnTo>
                  <a:pt x="12225102" y="609800"/>
                </a:lnTo>
                <a:close/>
                <a:moveTo>
                  <a:pt x="12091610" y="608651"/>
                </a:moveTo>
                <a:lnTo>
                  <a:pt x="12094400" y="609800"/>
                </a:lnTo>
                <a:lnTo>
                  <a:pt x="12088820" y="609800"/>
                </a:lnTo>
                <a:close/>
                <a:moveTo>
                  <a:pt x="11956484" y="608651"/>
                </a:moveTo>
                <a:lnTo>
                  <a:pt x="11959274" y="609800"/>
                </a:lnTo>
                <a:lnTo>
                  <a:pt x="11953693" y="609800"/>
                </a:lnTo>
                <a:close/>
                <a:moveTo>
                  <a:pt x="11821356" y="608651"/>
                </a:moveTo>
                <a:lnTo>
                  <a:pt x="11824146" y="609800"/>
                </a:lnTo>
                <a:lnTo>
                  <a:pt x="11818565" y="609800"/>
                </a:lnTo>
                <a:close/>
                <a:moveTo>
                  <a:pt x="11685074" y="608651"/>
                </a:moveTo>
                <a:lnTo>
                  <a:pt x="11687864" y="609800"/>
                </a:lnTo>
                <a:lnTo>
                  <a:pt x="11682283" y="609800"/>
                </a:lnTo>
                <a:close/>
                <a:moveTo>
                  <a:pt x="10736873" y="608651"/>
                </a:moveTo>
                <a:lnTo>
                  <a:pt x="10739663" y="609800"/>
                </a:lnTo>
                <a:lnTo>
                  <a:pt x="10734082" y="609800"/>
                </a:lnTo>
                <a:close/>
                <a:moveTo>
                  <a:pt x="10601745" y="608651"/>
                </a:moveTo>
                <a:lnTo>
                  <a:pt x="10604536" y="609800"/>
                </a:lnTo>
                <a:lnTo>
                  <a:pt x="10598955" y="609800"/>
                </a:lnTo>
                <a:close/>
                <a:moveTo>
                  <a:pt x="8027949" y="608651"/>
                </a:moveTo>
                <a:lnTo>
                  <a:pt x="8030740" y="609800"/>
                </a:lnTo>
                <a:lnTo>
                  <a:pt x="8025159" y="609800"/>
                </a:lnTo>
                <a:close/>
                <a:moveTo>
                  <a:pt x="7892822" y="608651"/>
                </a:moveTo>
                <a:lnTo>
                  <a:pt x="7895613" y="609800"/>
                </a:lnTo>
                <a:lnTo>
                  <a:pt x="7890031" y="609800"/>
                </a:lnTo>
                <a:close/>
                <a:moveTo>
                  <a:pt x="7757693" y="608651"/>
                </a:moveTo>
                <a:lnTo>
                  <a:pt x="7760484" y="609800"/>
                </a:lnTo>
                <a:lnTo>
                  <a:pt x="7754903" y="609800"/>
                </a:lnTo>
                <a:close/>
                <a:moveTo>
                  <a:pt x="7622566" y="608651"/>
                </a:moveTo>
                <a:lnTo>
                  <a:pt x="7625275" y="609800"/>
                </a:lnTo>
                <a:lnTo>
                  <a:pt x="7619776" y="609800"/>
                </a:lnTo>
                <a:close/>
                <a:moveTo>
                  <a:pt x="7486284" y="608651"/>
                </a:moveTo>
                <a:lnTo>
                  <a:pt x="7489075" y="609800"/>
                </a:lnTo>
                <a:lnTo>
                  <a:pt x="7483494" y="609800"/>
                </a:lnTo>
                <a:close/>
                <a:moveTo>
                  <a:pt x="7351157" y="608651"/>
                </a:moveTo>
                <a:lnTo>
                  <a:pt x="7353948" y="609800"/>
                </a:lnTo>
                <a:lnTo>
                  <a:pt x="7348367" y="609800"/>
                </a:lnTo>
                <a:close/>
                <a:moveTo>
                  <a:pt x="7216030" y="608651"/>
                </a:moveTo>
                <a:lnTo>
                  <a:pt x="7218821" y="609800"/>
                </a:lnTo>
                <a:lnTo>
                  <a:pt x="7213240" y="609800"/>
                </a:lnTo>
                <a:close/>
                <a:moveTo>
                  <a:pt x="7079748" y="608651"/>
                </a:moveTo>
                <a:lnTo>
                  <a:pt x="7082539" y="609800"/>
                </a:lnTo>
                <a:lnTo>
                  <a:pt x="7076958" y="609800"/>
                </a:lnTo>
                <a:close/>
                <a:moveTo>
                  <a:pt x="6131548" y="608651"/>
                </a:moveTo>
                <a:lnTo>
                  <a:pt x="6134339" y="609800"/>
                </a:lnTo>
                <a:lnTo>
                  <a:pt x="6128758" y="609800"/>
                </a:lnTo>
                <a:close/>
                <a:moveTo>
                  <a:pt x="5996418" y="608651"/>
                </a:moveTo>
                <a:lnTo>
                  <a:pt x="5999209" y="609800"/>
                </a:lnTo>
                <a:lnTo>
                  <a:pt x="5993628" y="609800"/>
                </a:lnTo>
                <a:close/>
                <a:moveTo>
                  <a:pt x="3415142" y="608651"/>
                </a:moveTo>
                <a:lnTo>
                  <a:pt x="3417933" y="609800"/>
                </a:lnTo>
                <a:lnTo>
                  <a:pt x="3412352" y="609800"/>
                </a:lnTo>
                <a:close/>
                <a:moveTo>
                  <a:pt x="3280013" y="608651"/>
                </a:moveTo>
                <a:lnTo>
                  <a:pt x="3282804" y="609800"/>
                </a:lnTo>
                <a:lnTo>
                  <a:pt x="3277223" y="609800"/>
                </a:lnTo>
                <a:close/>
                <a:moveTo>
                  <a:pt x="3144887" y="608651"/>
                </a:moveTo>
                <a:lnTo>
                  <a:pt x="3147678" y="609800"/>
                </a:lnTo>
                <a:lnTo>
                  <a:pt x="3142097" y="609800"/>
                </a:lnTo>
                <a:close/>
                <a:moveTo>
                  <a:pt x="3009759" y="608651"/>
                </a:moveTo>
                <a:lnTo>
                  <a:pt x="3012468" y="609800"/>
                </a:lnTo>
                <a:lnTo>
                  <a:pt x="3006969" y="609800"/>
                </a:lnTo>
                <a:close/>
                <a:moveTo>
                  <a:pt x="2873476" y="608651"/>
                </a:moveTo>
                <a:lnTo>
                  <a:pt x="2876267" y="609800"/>
                </a:lnTo>
                <a:lnTo>
                  <a:pt x="2870686" y="609800"/>
                </a:lnTo>
                <a:close/>
                <a:moveTo>
                  <a:pt x="2738350" y="608651"/>
                </a:moveTo>
                <a:lnTo>
                  <a:pt x="2741141" y="609800"/>
                </a:lnTo>
                <a:lnTo>
                  <a:pt x="2735560" y="609800"/>
                </a:lnTo>
                <a:close/>
                <a:moveTo>
                  <a:pt x="2603222" y="608651"/>
                </a:moveTo>
                <a:lnTo>
                  <a:pt x="2606013" y="609800"/>
                </a:lnTo>
                <a:lnTo>
                  <a:pt x="2600432" y="609800"/>
                </a:lnTo>
                <a:close/>
                <a:moveTo>
                  <a:pt x="2466940" y="608651"/>
                </a:moveTo>
                <a:lnTo>
                  <a:pt x="2469731" y="609800"/>
                </a:lnTo>
                <a:lnTo>
                  <a:pt x="2464150" y="609800"/>
                </a:lnTo>
                <a:close/>
                <a:moveTo>
                  <a:pt x="1518739" y="608651"/>
                </a:moveTo>
                <a:lnTo>
                  <a:pt x="1521530" y="609800"/>
                </a:lnTo>
                <a:lnTo>
                  <a:pt x="1515949" y="609800"/>
                </a:lnTo>
                <a:close/>
                <a:moveTo>
                  <a:pt x="1383611" y="608651"/>
                </a:moveTo>
                <a:lnTo>
                  <a:pt x="1386402" y="609800"/>
                </a:lnTo>
                <a:lnTo>
                  <a:pt x="1380821" y="609800"/>
                </a:lnTo>
                <a:close/>
                <a:moveTo>
                  <a:pt x="11549947" y="606341"/>
                </a:moveTo>
                <a:lnTo>
                  <a:pt x="11558263" y="609800"/>
                </a:lnTo>
                <a:lnTo>
                  <a:pt x="11541630" y="609800"/>
                </a:lnTo>
                <a:close/>
                <a:moveTo>
                  <a:pt x="10466618" y="606341"/>
                </a:moveTo>
                <a:lnTo>
                  <a:pt x="10474935" y="609800"/>
                </a:lnTo>
                <a:lnTo>
                  <a:pt x="10458302" y="609800"/>
                </a:lnTo>
                <a:close/>
                <a:moveTo>
                  <a:pt x="9244698" y="606341"/>
                </a:moveTo>
                <a:lnTo>
                  <a:pt x="9256325" y="609800"/>
                </a:lnTo>
                <a:lnTo>
                  <a:pt x="9238257" y="609800"/>
                </a:lnTo>
                <a:close/>
                <a:moveTo>
                  <a:pt x="8164231" y="606341"/>
                </a:moveTo>
                <a:lnTo>
                  <a:pt x="8172548" y="609800"/>
                </a:lnTo>
                <a:lnTo>
                  <a:pt x="8155915" y="609800"/>
                </a:lnTo>
                <a:close/>
                <a:moveTo>
                  <a:pt x="6944621" y="606341"/>
                </a:moveTo>
                <a:lnTo>
                  <a:pt x="6952937" y="609800"/>
                </a:lnTo>
                <a:lnTo>
                  <a:pt x="6936304" y="609800"/>
                </a:lnTo>
                <a:close/>
                <a:moveTo>
                  <a:pt x="5861292" y="606341"/>
                </a:moveTo>
                <a:lnTo>
                  <a:pt x="5869609" y="609800"/>
                </a:lnTo>
                <a:lnTo>
                  <a:pt x="5852976" y="609800"/>
                </a:lnTo>
                <a:close/>
                <a:moveTo>
                  <a:pt x="4639374" y="606341"/>
                </a:moveTo>
                <a:lnTo>
                  <a:pt x="4651000" y="609800"/>
                </a:lnTo>
                <a:lnTo>
                  <a:pt x="4632932" y="609800"/>
                </a:lnTo>
                <a:close/>
                <a:moveTo>
                  <a:pt x="3551423" y="606341"/>
                </a:moveTo>
                <a:lnTo>
                  <a:pt x="3559740" y="609800"/>
                </a:lnTo>
                <a:lnTo>
                  <a:pt x="3543107" y="609800"/>
                </a:lnTo>
                <a:close/>
                <a:moveTo>
                  <a:pt x="2331813" y="606341"/>
                </a:moveTo>
                <a:lnTo>
                  <a:pt x="2340130" y="609800"/>
                </a:lnTo>
                <a:lnTo>
                  <a:pt x="2323497" y="609800"/>
                </a:lnTo>
                <a:close/>
                <a:moveTo>
                  <a:pt x="1248485" y="606341"/>
                </a:moveTo>
                <a:lnTo>
                  <a:pt x="1256801" y="609800"/>
                </a:lnTo>
                <a:lnTo>
                  <a:pt x="1240169" y="609800"/>
                </a:lnTo>
                <a:close/>
                <a:moveTo>
                  <a:pt x="26564" y="606341"/>
                </a:moveTo>
                <a:lnTo>
                  <a:pt x="38192" y="609800"/>
                </a:lnTo>
                <a:lnTo>
                  <a:pt x="20123" y="609800"/>
                </a:lnTo>
                <a:close/>
                <a:moveTo>
                  <a:pt x="11414819" y="600566"/>
                </a:moveTo>
                <a:cubicBezTo>
                  <a:pt x="11422904" y="600566"/>
                  <a:pt x="11430122" y="603742"/>
                  <a:pt x="11435319" y="608940"/>
                </a:cubicBezTo>
                <a:lnTo>
                  <a:pt x="11435671" y="609800"/>
                </a:lnTo>
                <a:lnTo>
                  <a:pt x="11393968" y="609800"/>
                </a:lnTo>
                <a:lnTo>
                  <a:pt x="11394319" y="608940"/>
                </a:lnTo>
                <a:cubicBezTo>
                  <a:pt x="11399516" y="603742"/>
                  <a:pt x="11406734" y="600566"/>
                  <a:pt x="11414819" y="600566"/>
                </a:cubicBezTo>
                <a:close/>
                <a:moveTo>
                  <a:pt x="10330336" y="600566"/>
                </a:moveTo>
                <a:cubicBezTo>
                  <a:pt x="10338420" y="600566"/>
                  <a:pt x="10345639" y="603742"/>
                  <a:pt x="10350836" y="608940"/>
                </a:cubicBezTo>
                <a:lnTo>
                  <a:pt x="10351187" y="609800"/>
                </a:lnTo>
                <a:lnTo>
                  <a:pt x="10309484" y="609800"/>
                </a:lnTo>
                <a:lnTo>
                  <a:pt x="10309836" y="608940"/>
                </a:lnTo>
                <a:cubicBezTo>
                  <a:pt x="10315033" y="603742"/>
                  <a:pt x="10322251" y="600566"/>
                  <a:pt x="10330336" y="600566"/>
                </a:cubicBezTo>
                <a:close/>
                <a:moveTo>
                  <a:pt x="9382135" y="600566"/>
                </a:moveTo>
                <a:cubicBezTo>
                  <a:pt x="9390220" y="600566"/>
                  <a:pt x="9397438" y="603742"/>
                  <a:pt x="9402635" y="608940"/>
                </a:cubicBezTo>
                <a:lnTo>
                  <a:pt x="9402987" y="609800"/>
                </a:lnTo>
                <a:lnTo>
                  <a:pt x="9361284" y="609800"/>
                </a:lnTo>
                <a:lnTo>
                  <a:pt x="9361635" y="608940"/>
                </a:lnTo>
                <a:cubicBezTo>
                  <a:pt x="9366832" y="603742"/>
                  <a:pt x="9374051" y="600566"/>
                  <a:pt x="9382135" y="600566"/>
                </a:cubicBezTo>
                <a:close/>
                <a:moveTo>
                  <a:pt x="9112431" y="600566"/>
                </a:moveTo>
                <a:cubicBezTo>
                  <a:pt x="9120516" y="600566"/>
                  <a:pt x="9127734" y="603742"/>
                  <a:pt x="9132931" y="608940"/>
                </a:cubicBezTo>
                <a:lnTo>
                  <a:pt x="9133283" y="609800"/>
                </a:lnTo>
                <a:lnTo>
                  <a:pt x="9091580" y="609800"/>
                </a:lnTo>
                <a:lnTo>
                  <a:pt x="9091931" y="608940"/>
                </a:lnTo>
                <a:cubicBezTo>
                  <a:pt x="9097128" y="603742"/>
                  <a:pt x="9104347" y="600566"/>
                  <a:pt x="9112431" y="600566"/>
                </a:cubicBezTo>
                <a:close/>
                <a:moveTo>
                  <a:pt x="8299358" y="600566"/>
                </a:moveTo>
                <a:cubicBezTo>
                  <a:pt x="8307442" y="600566"/>
                  <a:pt x="8314660" y="603742"/>
                  <a:pt x="8319858" y="608940"/>
                </a:cubicBezTo>
                <a:lnTo>
                  <a:pt x="8320209" y="609800"/>
                </a:lnTo>
                <a:lnTo>
                  <a:pt x="8278507" y="609800"/>
                </a:lnTo>
                <a:lnTo>
                  <a:pt x="8278858" y="608940"/>
                </a:lnTo>
                <a:cubicBezTo>
                  <a:pt x="8284055" y="603742"/>
                  <a:pt x="8291274" y="600566"/>
                  <a:pt x="8299358" y="600566"/>
                </a:cubicBezTo>
                <a:close/>
                <a:moveTo>
                  <a:pt x="6809492" y="600566"/>
                </a:moveTo>
                <a:cubicBezTo>
                  <a:pt x="6817577" y="600566"/>
                  <a:pt x="6824796" y="603742"/>
                  <a:pt x="6829993" y="608940"/>
                </a:cubicBezTo>
                <a:lnTo>
                  <a:pt x="6830345" y="609800"/>
                </a:lnTo>
                <a:lnTo>
                  <a:pt x="6788642" y="609800"/>
                </a:lnTo>
                <a:lnTo>
                  <a:pt x="6788993" y="608940"/>
                </a:lnTo>
                <a:cubicBezTo>
                  <a:pt x="6794190" y="603742"/>
                  <a:pt x="6801408" y="600566"/>
                  <a:pt x="6809492" y="600566"/>
                </a:cubicBezTo>
                <a:close/>
                <a:moveTo>
                  <a:pt x="5726165" y="600566"/>
                </a:moveTo>
                <a:cubicBezTo>
                  <a:pt x="5733672" y="600566"/>
                  <a:pt x="5740890" y="603742"/>
                  <a:pt x="5746232" y="608940"/>
                </a:cubicBezTo>
                <a:lnTo>
                  <a:pt x="5746601" y="609800"/>
                </a:lnTo>
                <a:lnTo>
                  <a:pt x="5705314" y="609800"/>
                </a:lnTo>
                <a:lnTo>
                  <a:pt x="5705666" y="608940"/>
                </a:lnTo>
                <a:cubicBezTo>
                  <a:pt x="5710863" y="603742"/>
                  <a:pt x="5718081" y="600566"/>
                  <a:pt x="5726165" y="600566"/>
                </a:cubicBezTo>
                <a:close/>
                <a:moveTo>
                  <a:pt x="4776809" y="600566"/>
                </a:moveTo>
                <a:cubicBezTo>
                  <a:pt x="4784894" y="600566"/>
                  <a:pt x="4792112" y="603742"/>
                  <a:pt x="4797309" y="608940"/>
                </a:cubicBezTo>
                <a:lnTo>
                  <a:pt x="4797661" y="609800"/>
                </a:lnTo>
                <a:lnTo>
                  <a:pt x="4755958" y="609800"/>
                </a:lnTo>
                <a:lnTo>
                  <a:pt x="4756310" y="608940"/>
                </a:lnTo>
                <a:cubicBezTo>
                  <a:pt x="4761507" y="603742"/>
                  <a:pt x="4768725" y="600566"/>
                  <a:pt x="4776809" y="600566"/>
                </a:cubicBezTo>
                <a:close/>
                <a:moveTo>
                  <a:pt x="4499625" y="600566"/>
                </a:moveTo>
                <a:cubicBezTo>
                  <a:pt x="4507709" y="600566"/>
                  <a:pt x="4514928" y="603742"/>
                  <a:pt x="4520126" y="608940"/>
                </a:cubicBezTo>
                <a:lnTo>
                  <a:pt x="4520477" y="609800"/>
                </a:lnTo>
                <a:lnTo>
                  <a:pt x="4478774" y="609800"/>
                </a:lnTo>
                <a:lnTo>
                  <a:pt x="4479126" y="608940"/>
                </a:lnTo>
                <a:cubicBezTo>
                  <a:pt x="4484323" y="603742"/>
                  <a:pt x="4491541" y="600566"/>
                  <a:pt x="4499625" y="600566"/>
                </a:cubicBezTo>
                <a:close/>
                <a:moveTo>
                  <a:pt x="3686551" y="600566"/>
                </a:moveTo>
                <a:cubicBezTo>
                  <a:pt x="3694635" y="600566"/>
                  <a:pt x="3701854" y="603742"/>
                  <a:pt x="3707051" y="608940"/>
                </a:cubicBezTo>
                <a:lnTo>
                  <a:pt x="3707402" y="609800"/>
                </a:lnTo>
                <a:lnTo>
                  <a:pt x="3665699" y="609800"/>
                </a:lnTo>
                <a:lnTo>
                  <a:pt x="3666051" y="608940"/>
                </a:lnTo>
                <a:cubicBezTo>
                  <a:pt x="3671248" y="603742"/>
                  <a:pt x="3678466" y="600566"/>
                  <a:pt x="3686551" y="600566"/>
                </a:cubicBezTo>
                <a:close/>
                <a:moveTo>
                  <a:pt x="2196685" y="600566"/>
                </a:moveTo>
                <a:cubicBezTo>
                  <a:pt x="2204770" y="600566"/>
                  <a:pt x="2211988" y="603742"/>
                  <a:pt x="2217186" y="608940"/>
                </a:cubicBezTo>
                <a:lnTo>
                  <a:pt x="2217537" y="609800"/>
                </a:lnTo>
                <a:lnTo>
                  <a:pt x="2175835" y="609800"/>
                </a:lnTo>
                <a:lnTo>
                  <a:pt x="2176186" y="608940"/>
                </a:lnTo>
                <a:cubicBezTo>
                  <a:pt x="2181383" y="603742"/>
                  <a:pt x="2188601" y="600566"/>
                  <a:pt x="2196685" y="600566"/>
                </a:cubicBezTo>
                <a:close/>
                <a:moveTo>
                  <a:pt x="1112202" y="600566"/>
                </a:moveTo>
                <a:cubicBezTo>
                  <a:pt x="1120287" y="600566"/>
                  <a:pt x="1127505" y="603742"/>
                  <a:pt x="1132702" y="608940"/>
                </a:cubicBezTo>
                <a:lnTo>
                  <a:pt x="1133053" y="609800"/>
                </a:lnTo>
                <a:lnTo>
                  <a:pt x="1091351" y="609800"/>
                </a:lnTo>
                <a:lnTo>
                  <a:pt x="1091702" y="608940"/>
                </a:lnTo>
                <a:cubicBezTo>
                  <a:pt x="1096899" y="603742"/>
                  <a:pt x="1104118" y="600566"/>
                  <a:pt x="1112202" y="600566"/>
                </a:cubicBezTo>
                <a:close/>
                <a:moveTo>
                  <a:pt x="164001" y="600566"/>
                </a:moveTo>
                <a:cubicBezTo>
                  <a:pt x="172086" y="600566"/>
                  <a:pt x="179304" y="603742"/>
                  <a:pt x="184502" y="608940"/>
                </a:cubicBezTo>
                <a:lnTo>
                  <a:pt x="184853" y="609800"/>
                </a:lnTo>
                <a:lnTo>
                  <a:pt x="143150" y="609800"/>
                </a:lnTo>
                <a:lnTo>
                  <a:pt x="143501" y="608940"/>
                </a:lnTo>
                <a:cubicBezTo>
                  <a:pt x="148698" y="603742"/>
                  <a:pt x="155917" y="600566"/>
                  <a:pt x="164001" y="600566"/>
                </a:cubicBezTo>
                <a:close/>
                <a:moveTo>
                  <a:pt x="11279692" y="594792"/>
                </a:moveTo>
                <a:cubicBezTo>
                  <a:pt x="11288931" y="594792"/>
                  <a:pt x="11297593" y="598835"/>
                  <a:pt x="11303946" y="605187"/>
                </a:cubicBezTo>
                <a:lnTo>
                  <a:pt x="11305923" y="609800"/>
                </a:lnTo>
                <a:lnTo>
                  <a:pt x="11253110" y="609800"/>
                </a:lnTo>
                <a:lnTo>
                  <a:pt x="11255005" y="605187"/>
                </a:lnTo>
                <a:cubicBezTo>
                  <a:pt x="11261213" y="598835"/>
                  <a:pt x="11269875" y="594792"/>
                  <a:pt x="11279692" y="594792"/>
                </a:cubicBezTo>
                <a:close/>
                <a:moveTo>
                  <a:pt x="10195208" y="594792"/>
                </a:moveTo>
                <a:cubicBezTo>
                  <a:pt x="10205025" y="594792"/>
                  <a:pt x="10213687" y="598835"/>
                  <a:pt x="10219895" y="605187"/>
                </a:cubicBezTo>
                <a:lnTo>
                  <a:pt x="10221790" y="609800"/>
                </a:lnTo>
                <a:lnTo>
                  <a:pt x="10168627" y="609800"/>
                </a:lnTo>
                <a:lnTo>
                  <a:pt x="10170522" y="605187"/>
                </a:lnTo>
                <a:cubicBezTo>
                  <a:pt x="10176730" y="598835"/>
                  <a:pt x="10185392" y="594792"/>
                  <a:pt x="10195208" y="594792"/>
                </a:cubicBezTo>
                <a:close/>
                <a:moveTo>
                  <a:pt x="9518417" y="594792"/>
                </a:moveTo>
                <a:cubicBezTo>
                  <a:pt x="9527657" y="594792"/>
                  <a:pt x="9536319" y="598835"/>
                  <a:pt x="9542671" y="605187"/>
                </a:cubicBezTo>
                <a:lnTo>
                  <a:pt x="9544648" y="609800"/>
                </a:lnTo>
                <a:lnTo>
                  <a:pt x="9491836" y="609800"/>
                </a:lnTo>
                <a:lnTo>
                  <a:pt x="9493731" y="605187"/>
                </a:lnTo>
                <a:cubicBezTo>
                  <a:pt x="9499938" y="598835"/>
                  <a:pt x="9508600" y="594792"/>
                  <a:pt x="9518417" y="594792"/>
                </a:cubicBezTo>
                <a:close/>
                <a:moveTo>
                  <a:pt x="8977304" y="594792"/>
                </a:moveTo>
                <a:cubicBezTo>
                  <a:pt x="8986543" y="594792"/>
                  <a:pt x="8995205" y="598835"/>
                  <a:pt x="9001558" y="605187"/>
                </a:cubicBezTo>
                <a:lnTo>
                  <a:pt x="9003535" y="609800"/>
                </a:lnTo>
                <a:lnTo>
                  <a:pt x="8950722" y="609800"/>
                </a:lnTo>
                <a:lnTo>
                  <a:pt x="8952617" y="605187"/>
                </a:lnTo>
                <a:cubicBezTo>
                  <a:pt x="8958825" y="598835"/>
                  <a:pt x="8967487" y="594792"/>
                  <a:pt x="8977304" y="594792"/>
                </a:cubicBezTo>
                <a:close/>
                <a:moveTo>
                  <a:pt x="8434485" y="594792"/>
                </a:moveTo>
                <a:cubicBezTo>
                  <a:pt x="8444302" y="594792"/>
                  <a:pt x="8452964" y="598835"/>
                  <a:pt x="8459172" y="605187"/>
                </a:cubicBezTo>
                <a:lnTo>
                  <a:pt x="8461066" y="609800"/>
                </a:lnTo>
                <a:lnTo>
                  <a:pt x="8407903" y="609800"/>
                </a:lnTo>
                <a:lnTo>
                  <a:pt x="8409798" y="605187"/>
                </a:lnTo>
                <a:cubicBezTo>
                  <a:pt x="8416006" y="598835"/>
                  <a:pt x="8424668" y="594792"/>
                  <a:pt x="8434485" y="594792"/>
                </a:cubicBezTo>
                <a:close/>
                <a:moveTo>
                  <a:pt x="6674366" y="594792"/>
                </a:moveTo>
                <a:cubicBezTo>
                  <a:pt x="6683606" y="594792"/>
                  <a:pt x="6692268" y="598835"/>
                  <a:pt x="6698620" y="605187"/>
                </a:cubicBezTo>
                <a:lnTo>
                  <a:pt x="6700597" y="609800"/>
                </a:lnTo>
                <a:lnTo>
                  <a:pt x="6647784" y="609800"/>
                </a:lnTo>
                <a:lnTo>
                  <a:pt x="6649679" y="605187"/>
                </a:lnTo>
                <a:cubicBezTo>
                  <a:pt x="6655887" y="598835"/>
                  <a:pt x="6664549" y="594792"/>
                  <a:pt x="6674366" y="594792"/>
                </a:cubicBezTo>
                <a:close/>
                <a:moveTo>
                  <a:pt x="5589882" y="594792"/>
                </a:moveTo>
                <a:cubicBezTo>
                  <a:pt x="5599699" y="594792"/>
                  <a:pt x="5608362" y="598835"/>
                  <a:pt x="5614570" y="605187"/>
                </a:cubicBezTo>
                <a:lnTo>
                  <a:pt x="5616465" y="609800"/>
                </a:lnTo>
                <a:lnTo>
                  <a:pt x="5563301" y="609800"/>
                </a:lnTo>
                <a:lnTo>
                  <a:pt x="5565196" y="605187"/>
                </a:lnTo>
                <a:cubicBezTo>
                  <a:pt x="5571404" y="598835"/>
                  <a:pt x="5580066" y="594792"/>
                  <a:pt x="5589882" y="594792"/>
                </a:cubicBezTo>
                <a:close/>
                <a:moveTo>
                  <a:pt x="4913091" y="594792"/>
                </a:moveTo>
                <a:cubicBezTo>
                  <a:pt x="4922330" y="594792"/>
                  <a:pt x="4930992" y="598835"/>
                  <a:pt x="4937345" y="605187"/>
                </a:cubicBezTo>
                <a:lnTo>
                  <a:pt x="4939322" y="609800"/>
                </a:lnTo>
                <a:lnTo>
                  <a:pt x="4886510" y="609800"/>
                </a:lnTo>
                <a:lnTo>
                  <a:pt x="4888405" y="605187"/>
                </a:lnTo>
                <a:cubicBezTo>
                  <a:pt x="4894613" y="598835"/>
                  <a:pt x="4903275" y="594792"/>
                  <a:pt x="4913091" y="594792"/>
                </a:cubicBezTo>
                <a:close/>
                <a:moveTo>
                  <a:pt x="4364499" y="594792"/>
                </a:moveTo>
                <a:cubicBezTo>
                  <a:pt x="4373738" y="594792"/>
                  <a:pt x="4382400" y="598835"/>
                  <a:pt x="4388752" y="605187"/>
                </a:cubicBezTo>
                <a:lnTo>
                  <a:pt x="4390729" y="609800"/>
                </a:lnTo>
                <a:lnTo>
                  <a:pt x="4337917" y="609800"/>
                </a:lnTo>
                <a:lnTo>
                  <a:pt x="4339811" y="605187"/>
                </a:lnTo>
                <a:cubicBezTo>
                  <a:pt x="4346019" y="598835"/>
                  <a:pt x="4354681" y="594792"/>
                  <a:pt x="4364499" y="594792"/>
                </a:cubicBezTo>
                <a:close/>
                <a:moveTo>
                  <a:pt x="3821678" y="594792"/>
                </a:moveTo>
                <a:cubicBezTo>
                  <a:pt x="3831495" y="594792"/>
                  <a:pt x="3840157" y="598835"/>
                  <a:pt x="3846365" y="605187"/>
                </a:cubicBezTo>
                <a:lnTo>
                  <a:pt x="3848260" y="609800"/>
                </a:lnTo>
                <a:lnTo>
                  <a:pt x="3795097" y="609800"/>
                </a:lnTo>
                <a:lnTo>
                  <a:pt x="3796992" y="605187"/>
                </a:lnTo>
                <a:cubicBezTo>
                  <a:pt x="3803200" y="598835"/>
                  <a:pt x="3811862" y="594792"/>
                  <a:pt x="3821678" y="594792"/>
                </a:cubicBezTo>
                <a:close/>
                <a:moveTo>
                  <a:pt x="2061558" y="594792"/>
                </a:moveTo>
                <a:cubicBezTo>
                  <a:pt x="2070798" y="594792"/>
                  <a:pt x="2079460" y="598835"/>
                  <a:pt x="2085812" y="605187"/>
                </a:cubicBezTo>
                <a:lnTo>
                  <a:pt x="2087789" y="609800"/>
                </a:lnTo>
                <a:lnTo>
                  <a:pt x="2034977" y="609800"/>
                </a:lnTo>
                <a:lnTo>
                  <a:pt x="2036871" y="605187"/>
                </a:lnTo>
                <a:cubicBezTo>
                  <a:pt x="2043079" y="598835"/>
                  <a:pt x="2051741" y="594792"/>
                  <a:pt x="2061558" y="594792"/>
                </a:cubicBezTo>
                <a:close/>
                <a:moveTo>
                  <a:pt x="977075" y="594792"/>
                </a:moveTo>
                <a:cubicBezTo>
                  <a:pt x="986892" y="594792"/>
                  <a:pt x="995554" y="598835"/>
                  <a:pt x="1001762" y="605187"/>
                </a:cubicBezTo>
                <a:lnTo>
                  <a:pt x="1003657" y="609800"/>
                </a:lnTo>
                <a:lnTo>
                  <a:pt x="950494" y="609800"/>
                </a:lnTo>
                <a:lnTo>
                  <a:pt x="952388" y="605187"/>
                </a:lnTo>
                <a:cubicBezTo>
                  <a:pt x="958596" y="598835"/>
                  <a:pt x="967258" y="594792"/>
                  <a:pt x="977075" y="594792"/>
                </a:cubicBezTo>
                <a:close/>
                <a:moveTo>
                  <a:pt x="300283" y="594792"/>
                </a:moveTo>
                <a:cubicBezTo>
                  <a:pt x="309523" y="594792"/>
                  <a:pt x="318185" y="598835"/>
                  <a:pt x="324537" y="605187"/>
                </a:cubicBezTo>
                <a:lnTo>
                  <a:pt x="326514" y="609800"/>
                </a:lnTo>
                <a:lnTo>
                  <a:pt x="273702" y="609800"/>
                </a:lnTo>
                <a:lnTo>
                  <a:pt x="275597" y="605187"/>
                </a:lnTo>
                <a:cubicBezTo>
                  <a:pt x="281805" y="598835"/>
                  <a:pt x="290467" y="594792"/>
                  <a:pt x="300283" y="594792"/>
                </a:cubicBezTo>
                <a:close/>
                <a:moveTo>
                  <a:pt x="11143410" y="589016"/>
                </a:moveTo>
                <a:cubicBezTo>
                  <a:pt x="11154959" y="589016"/>
                  <a:pt x="11165065" y="593636"/>
                  <a:pt x="11172283" y="600999"/>
                </a:cubicBezTo>
                <a:lnTo>
                  <a:pt x="11175857" y="609800"/>
                </a:lnTo>
                <a:lnTo>
                  <a:pt x="11111262" y="609800"/>
                </a:lnTo>
                <a:lnTo>
                  <a:pt x="11114970" y="600999"/>
                </a:lnTo>
                <a:cubicBezTo>
                  <a:pt x="11122332" y="593636"/>
                  <a:pt x="11132438" y="589016"/>
                  <a:pt x="11143410" y="589016"/>
                </a:cubicBezTo>
                <a:close/>
                <a:moveTo>
                  <a:pt x="10873155" y="589016"/>
                </a:moveTo>
                <a:cubicBezTo>
                  <a:pt x="10884126" y="589016"/>
                  <a:pt x="10894232" y="593636"/>
                  <a:pt x="10901595" y="600999"/>
                </a:cubicBezTo>
                <a:lnTo>
                  <a:pt x="10905303" y="609800"/>
                </a:lnTo>
                <a:lnTo>
                  <a:pt x="10841006" y="609800"/>
                </a:lnTo>
                <a:lnTo>
                  <a:pt x="10844715" y="600999"/>
                </a:lnTo>
                <a:cubicBezTo>
                  <a:pt x="10852077" y="593636"/>
                  <a:pt x="10862183" y="589016"/>
                  <a:pt x="10873155" y="589016"/>
                </a:cubicBezTo>
                <a:close/>
                <a:moveTo>
                  <a:pt x="10060082" y="589016"/>
                </a:moveTo>
                <a:cubicBezTo>
                  <a:pt x="10071053" y="589016"/>
                  <a:pt x="10081159" y="593636"/>
                  <a:pt x="10088522" y="600999"/>
                </a:cubicBezTo>
                <a:lnTo>
                  <a:pt x="10092230" y="609800"/>
                </a:lnTo>
                <a:lnTo>
                  <a:pt x="10027932" y="609800"/>
                </a:lnTo>
                <a:lnTo>
                  <a:pt x="10031640" y="600999"/>
                </a:lnTo>
                <a:cubicBezTo>
                  <a:pt x="10039003" y="593636"/>
                  <a:pt x="10049109" y="589016"/>
                  <a:pt x="10060082" y="589016"/>
                </a:cubicBezTo>
                <a:close/>
                <a:moveTo>
                  <a:pt x="9653545" y="589016"/>
                </a:moveTo>
                <a:cubicBezTo>
                  <a:pt x="9664516" y="589016"/>
                  <a:pt x="9674622" y="593636"/>
                  <a:pt x="9681985" y="600999"/>
                </a:cubicBezTo>
                <a:lnTo>
                  <a:pt x="9685693" y="609800"/>
                </a:lnTo>
                <a:lnTo>
                  <a:pt x="9621396" y="609800"/>
                </a:lnTo>
                <a:lnTo>
                  <a:pt x="9625104" y="600999"/>
                </a:lnTo>
                <a:cubicBezTo>
                  <a:pt x="9632467" y="593636"/>
                  <a:pt x="9642573" y="589016"/>
                  <a:pt x="9653545" y="589016"/>
                </a:cubicBezTo>
                <a:close/>
                <a:moveTo>
                  <a:pt x="8841022" y="589016"/>
                </a:moveTo>
                <a:cubicBezTo>
                  <a:pt x="8852572" y="589016"/>
                  <a:pt x="8862677" y="593636"/>
                  <a:pt x="8869895" y="600999"/>
                </a:cubicBezTo>
                <a:lnTo>
                  <a:pt x="8873469" y="609800"/>
                </a:lnTo>
                <a:lnTo>
                  <a:pt x="8808873" y="609800"/>
                </a:lnTo>
                <a:lnTo>
                  <a:pt x="8812582" y="600999"/>
                </a:lnTo>
                <a:cubicBezTo>
                  <a:pt x="8819944" y="593636"/>
                  <a:pt x="8830050" y="589016"/>
                  <a:pt x="8841022" y="589016"/>
                </a:cubicBezTo>
                <a:close/>
                <a:moveTo>
                  <a:pt x="8570767" y="589016"/>
                </a:moveTo>
                <a:cubicBezTo>
                  <a:pt x="8581739" y="589016"/>
                  <a:pt x="8591845" y="593636"/>
                  <a:pt x="8599207" y="600999"/>
                </a:cubicBezTo>
                <a:lnTo>
                  <a:pt x="8602916" y="609800"/>
                </a:lnTo>
                <a:lnTo>
                  <a:pt x="8538618" y="609800"/>
                </a:lnTo>
                <a:lnTo>
                  <a:pt x="8542327" y="600999"/>
                </a:lnTo>
                <a:cubicBezTo>
                  <a:pt x="8549689" y="593636"/>
                  <a:pt x="8559795" y="589016"/>
                  <a:pt x="8570767" y="589016"/>
                </a:cubicBezTo>
                <a:close/>
                <a:moveTo>
                  <a:pt x="6538083" y="589016"/>
                </a:moveTo>
                <a:cubicBezTo>
                  <a:pt x="6549633" y="589016"/>
                  <a:pt x="6559739" y="593636"/>
                  <a:pt x="6566958" y="600999"/>
                </a:cubicBezTo>
                <a:lnTo>
                  <a:pt x="6570532" y="609800"/>
                </a:lnTo>
                <a:lnTo>
                  <a:pt x="6505935" y="609800"/>
                </a:lnTo>
                <a:lnTo>
                  <a:pt x="6509643" y="600999"/>
                </a:lnTo>
                <a:cubicBezTo>
                  <a:pt x="6517006" y="593636"/>
                  <a:pt x="6527111" y="589016"/>
                  <a:pt x="6538083" y="589016"/>
                </a:cubicBezTo>
                <a:close/>
                <a:moveTo>
                  <a:pt x="6267830" y="589016"/>
                </a:moveTo>
                <a:cubicBezTo>
                  <a:pt x="6278801" y="589016"/>
                  <a:pt x="6288907" y="593636"/>
                  <a:pt x="6296269" y="600999"/>
                </a:cubicBezTo>
                <a:lnTo>
                  <a:pt x="6299977" y="609800"/>
                </a:lnTo>
                <a:lnTo>
                  <a:pt x="6235681" y="609800"/>
                </a:lnTo>
                <a:lnTo>
                  <a:pt x="6239389" y="600999"/>
                </a:lnTo>
                <a:cubicBezTo>
                  <a:pt x="6246752" y="593636"/>
                  <a:pt x="6256858" y="589016"/>
                  <a:pt x="6267830" y="589016"/>
                </a:cubicBezTo>
                <a:close/>
                <a:moveTo>
                  <a:pt x="5454756" y="589016"/>
                </a:moveTo>
                <a:cubicBezTo>
                  <a:pt x="5465727" y="589016"/>
                  <a:pt x="5475833" y="593636"/>
                  <a:pt x="5483196" y="600999"/>
                </a:cubicBezTo>
                <a:lnTo>
                  <a:pt x="5486904" y="609800"/>
                </a:lnTo>
                <a:lnTo>
                  <a:pt x="5422607" y="609800"/>
                </a:lnTo>
                <a:lnTo>
                  <a:pt x="5426315" y="600999"/>
                </a:lnTo>
                <a:cubicBezTo>
                  <a:pt x="5433678" y="593636"/>
                  <a:pt x="5443784" y="589016"/>
                  <a:pt x="5454756" y="589016"/>
                </a:cubicBezTo>
                <a:close/>
                <a:moveTo>
                  <a:pt x="5048218" y="589016"/>
                </a:moveTo>
                <a:cubicBezTo>
                  <a:pt x="5059190" y="589016"/>
                  <a:pt x="5069296" y="593636"/>
                  <a:pt x="5076659" y="600999"/>
                </a:cubicBezTo>
                <a:lnTo>
                  <a:pt x="5080367" y="609800"/>
                </a:lnTo>
                <a:lnTo>
                  <a:pt x="5016070" y="609800"/>
                </a:lnTo>
                <a:lnTo>
                  <a:pt x="5019778" y="600999"/>
                </a:lnTo>
                <a:cubicBezTo>
                  <a:pt x="5027141" y="593636"/>
                  <a:pt x="5037246" y="589016"/>
                  <a:pt x="5048218" y="589016"/>
                </a:cubicBezTo>
                <a:close/>
                <a:moveTo>
                  <a:pt x="4228217" y="589016"/>
                </a:moveTo>
                <a:cubicBezTo>
                  <a:pt x="4239766" y="589016"/>
                  <a:pt x="4249871" y="593636"/>
                  <a:pt x="4257089" y="600999"/>
                </a:cubicBezTo>
                <a:lnTo>
                  <a:pt x="4260663" y="609800"/>
                </a:lnTo>
                <a:lnTo>
                  <a:pt x="4196067" y="609800"/>
                </a:lnTo>
                <a:lnTo>
                  <a:pt x="4199775" y="600999"/>
                </a:lnTo>
                <a:cubicBezTo>
                  <a:pt x="4207138" y="593636"/>
                  <a:pt x="4217244" y="589016"/>
                  <a:pt x="4228217" y="589016"/>
                </a:cubicBezTo>
                <a:close/>
                <a:moveTo>
                  <a:pt x="3957960" y="589016"/>
                </a:moveTo>
                <a:cubicBezTo>
                  <a:pt x="3968932" y="589016"/>
                  <a:pt x="3979038" y="593636"/>
                  <a:pt x="3986400" y="600999"/>
                </a:cubicBezTo>
                <a:lnTo>
                  <a:pt x="3990108" y="609800"/>
                </a:lnTo>
                <a:lnTo>
                  <a:pt x="3925812" y="609800"/>
                </a:lnTo>
                <a:lnTo>
                  <a:pt x="3929520" y="600999"/>
                </a:lnTo>
                <a:cubicBezTo>
                  <a:pt x="3936883" y="593636"/>
                  <a:pt x="3946988" y="589016"/>
                  <a:pt x="3957960" y="589016"/>
                </a:cubicBezTo>
                <a:close/>
                <a:moveTo>
                  <a:pt x="1925276" y="589016"/>
                </a:moveTo>
                <a:cubicBezTo>
                  <a:pt x="1936826" y="589016"/>
                  <a:pt x="1946931" y="593636"/>
                  <a:pt x="1954149" y="600999"/>
                </a:cubicBezTo>
                <a:lnTo>
                  <a:pt x="1957723" y="609800"/>
                </a:lnTo>
                <a:lnTo>
                  <a:pt x="1893128" y="609800"/>
                </a:lnTo>
                <a:lnTo>
                  <a:pt x="1896836" y="600999"/>
                </a:lnTo>
                <a:cubicBezTo>
                  <a:pt x="1904199" y="593636"/>
                  <a:pt x="1914304" y="589016"/>
                  <a:pt x="1925276" y="589016"/>
                </a:cubicBezTo>
                <a:close/>
                <a:moveTo>
                  <a:pt x="1655022" y="589016"/>
                </a:moveTo>
                <a:cubicBezTo>
                  <a:pt x="1665994" y="589016"/>
                  <a:pt x="1676099" y="593636"/>
                  <a:pt x="1683462" y="600999"/>
                </a:cubicBezTo>
                <a:lnTo>
                  <a:pt x="1687170" y="609800"/>
                </a:lnTo>
                <a:lnTo>
                  <a:pt x="1622873" y="609800"/>
                </a:lnTo>
                <a:lnTo>
                  <a:pt x="1626581" y="600999"/>
                </a:lnTo>
                <a:cubicBezTo>
                  <a:pt x="1633944" y="593636"/>
                  <a:pt x="1644050" y="589016"/>
                  <a:pt x="1655022" y="589016"/>
                </a:cubicBezTo>
                <a:close/>
                <a:moveTo>
                  <a:pt x="841948" y="589016"/>
                </a:moveTo>
                <a:cubicBezTo>
                  <a:pt x="852920" y="589016"/>
                  <a:pt x="863025" y="593636"/>
                  <a:pt x="870388" y="600999"/>
                </a:cubicBezTo>
                <a:lnTo>
                  <a:pt x="874096" y="609800"/>
                </a:lnTo>
                <a:lnTo>
                  <a:pt x="809800" y="609800"/>
                </a:lnTo>
                <a:lnTo>
                  <a:pt x="813508" y="600999"/>
                </a:lnTo>
                <a:cubicBezTo>
                  <a:pt x="820871" y="593636"/>
                  <a:pt x="830976" y="589016"/>
                  <a:pt x="841948" y="589016"/>
                </a:cubicBezTo>
                <a:close/>
                <a:moveTo>
                  <a:pt x="435411" y="589016"/>
                </a:moveTo>
                <a:cubicBezTo>
                  <a:pt x="446383" y="589016"/>
                  <a:pt x="456488" y="593636"/>
                  <a:pt x="463851" y="600999"/>
                </a:cubicBezTo>
                <a:lnTo>
                  <a:pt x="467559" y="609800"/>
                </a:lnTo>
                <a:lnTo>
                  <a:pt x="403263" y="609800"/>
                </a:lnTo>
                <a:lnTo>
                  <a:pt x="406971" y="600999"/>
                </a:lnTo>
                <a:cubicBezTo>
                  <a:pt x="414333" y="593636"/>
                  <a:pt x="424439" y="589016"/>
                  <a:pt x="435411" y="589016"/>
                </a:cubicBezTo>
                <a:close/>
                <a:moveTo>
                  <a:pt x="11008282" y="577467"/>
                </a:moveTo>
                <a:cubicBezTo>
                  <a:pt x="11022141" y="577467"/>
                  <a:pt x="11034845" y="583242"/>
                  <a:pt x="11044085" y="592481"/>
                </a:cubicBezTo>
                <a:lnTo>
                  <a:pt x="11051348" y="609800"/>
                </a:lnTo>
                <a:lnTo>
                  <a:pt x="10964993" y="609800"/>
                </a:lnTo>
                <a:lnTo>
                  <a:pt x="10972046" y="592481"/>
                </a:lnTo>
                <a:cubicBezTo>
                  <a:pt x="10981141" y="583242"/>
                  <a:pt x="10993845" y="577467"/>
                  <a:pt x="11008282" y="577467"/>
                </a:cubicBezTo>
                <a:close/>
                <a:moveTo>
                  <a:pt x="9924954" y="577467"/>
                </a:moveTo>
                <a:cubicBezTo>
                  <a:pt x="9938813" y="577467"/>
                  <a:pt x="9951517" y="583242"/>
                  <a:pt x="9960757" y="592481"/>
                </a:cubicBezTo>
                <a:lnTo>
                  <a:pt x="9968020" y="609800"/>
                </a:lnTo>
                <a:lnTo>
                  <a:pt x="9881665" y="609800"/>
                </a:lnTo>
                <a:lnTo>
                  <a:pt x="9888718" y="592481"/>
                </a:lnTo>
                <a:cubicBezTo>
                  <a:pt x="9897813" y="583242"/>
                  <a:pt x="9910518" y="577467"/>
                  <a:pt x="9924954" y="577467"/>
                </a:cubicBezTo>
                <a:close/>
                <a:moveTo>
                  <a:pt x="9788672" y="577467"/>
                </a:moveTo>
                <a:cubicBezTo>
                  <a:pt x="9803109" y="577467"/>
                  <a:pt x="9815813" y="583531"/>
                  <a:pt x="9824908" y="593059"/>
                </a:cubicBezTo>
                <a:lnTo>
                  <a:pt x="9831618" y="609800"/>
                </a:lnTo>
                <a:lnTo>
                  <a:pt x="9745864" y="609800"/>
                </a:lnTo>
                <a:lnTo>
                  <a:pt x="9752868" y="592626"/>
                </a:lnTo>
                <a:cubicBezTo>
                  <a:pt x="9762108" y="583242"/>
                  <a:pt x="9774813" y="577467"/>
                  <a:pt x="9788672" y="577467"/>
                </a:cubicBezTo>
                <a:close/>
                <a:moveTo>
                  <a:pt x="8705894" y="577467"/>
                </a:moveTo>
                <a:cubicBezTo>
                  <a:pt x="8719753" y="577467"/>
                  <a:pt x="8732458" y="583242"/>
                  <a:pt x="8741697" y="592481"/>
                </a:cubicBezTo>
                <a:lnTo>
                  <a:pt x="8748960" y="609800"/>
                </a:lnTo>
                <a:lnTo>
                  <a:pt x="8662605" y="609800"/>
                </a:lnTo>
                <a:lnTo>
                  <a:pt x="8669658" y="592481"/>
                </a:lnTo>
                <a:cubicBezTo>
                  <a:pt x="8678753" y="583242"/>
                  <a:pt x="8691458" y="577467"/>
                  <a:pt x="8705894" y="577467"/>
                </a:cubicBezTo>
                <a:close/>
                <a:moveTo>
                  <a:pt x="6402956" y="577467"/>
                </a:moveTo>
                <a:cubicBezTo>
                  <a:pt x="6417393" y="577467"/>
                  <a:pt x="6430097" y="583242"/>
                  <a:pt x="6439192" y="592481"/>
                </a:cubicBezTo>
                <a:lnTo>
                  <a:pt x="6446246" y="609800"/>
                </a:lnTo>
                <a:lnTo>
                  <a:pt x="6359667" y="609800"/>
                </a:lnTo>
                <a:lnTo>
                  <a:pt x="6366721" y="592481"/>
                </a:lnTo>
                <a:cubicBezTo>
                  <a:pt x="6375816" y="583242"/>
                  <a:pt x="6388520" y="577467"/>
                  <a:pt x="6402956" y="577467"/>
                </a:cubicBezTo>
                <a:close/>
                <a:moveTo>
                  <a:pt x="5319628" y="577467"/>
                </a:moveTo>
                <a:cubicBezTo>
                  <a:pt x="5333487" y="577467"/>
                  <a:pt x="5346192" y="583242"/>
                  <a:pt x="5355431" y="592481"/>
                </a:cubicBezTo>
                <a:lnTo>
                  <a:pt x="5362693" y="609800"/>
                </a:lnTo>
                <a:lnTo>
                  <a:pt x="5276339" y="609800"/>
                </a:lnTo>
                <a:lnTo>
                  <a:pt x="5283392" y="592481"/>
                </a:lnTo>
                <a:cubicBezTo>
                  <a:pt x="5292488" y="583242"/>
                  <a:pt x="5305192" y="577467"/>
                  <a:pt x="5319628" y="577467"/>
                </a:cubicBezTo>
                <a:close/>
                <a:moveTo>
                  <a:pt x="5183346" y="577467"/>
                </a:moveTo>
                <a:cubicBezTo>
                  <a:pt x="5197783" y="577467"/>
                  <a:pt x="5210487" y="583242"/>
                  <a:pt x="5219582" y="592481"/>
                </a:cubicBezTo>
                <a:lnTo>
                  <a:pt x="5226635" y="609800"/>
                </a:lnTo>
                <a:lnTo>
                  <a:pt x="5140056" y="609800"/>
                </a:lnTo>
                <a:lnTo>
                  <a:pt x="5147110" y="592481"/>
                </a:lnTo>
                <a:cubicBezTo>
                  <a:pt x="5156205" y="583242"/>
                  <a:pt x="5168909" y="577467"/>
                  <a:pt x="5183346" y="577467"/>
                </a:cubicBezTo>
                <a:close/>
                <a:moveTo>
                  <a:pt x="4093087" y="577467"/>
                </a:moveTo>
                <a:cubicBezTo>
                  <a:pt x="4106947" y="577467"/>
                  <a:pt x="4119651" y="583242"/>
                  <a:pt x="4128890" y="592481"/>
                </a:cubicBezTo>
                <a:lnTo>
                  <a:pt x="4136153" y="609800"/>
                </a:lnTo>
                <a:lnTo>
                  <a:pt x="4049798" y="609800"/>
                </a:lnTo>
                <a:lnTo>
                  <a:pt x="4056851" y="592481"/>
                </a:lnTo>
                <a:cubicBezTo>
                  <a:pt x="4065947" y="583242"/>
                  <a:pt x="4078651" y="577467"/>
                  <a:pt x="4093087" y="577467"/>
                </a:cubicBezTo>
                <a:close/>
                <a:moveTo>
                  <a:pt x="1790148" y="577467"/>
                </a:moveTo>
                <a:cubicBezTo>
                  <a:pt x="1804008" y="577467"/>
                  <a:pt x="1816712" y="583242"/>
                  <a:pt x="1825951" y="592481"/>
                </a:cubicBezTo>
                <a:lnTo>
                  <a:pt x="1833214" y="609800"/>
                </a:lnTo>
                <a:lnTo>
                  <a:pt x="1746859" y="609800"/>
                </a:lnTo>
                <a:lnTo>
                  <a:pt x="1753912" y="592481"/>
                </a:lnTo>
                <a:cubicBezTo>
                  <a:pt x="1763007" y="583242"/>
                  <a:pt x="1775712" y="577467"/>
                  <a:pt x="1790148" y="577467"/>
                </a:cubicBezTo>
                <a:close/>
                <a:moveTo>
                  <a:pt x="706820" y="577467"/>
                </a:moveTo>
                <a:cubicBezTo>
                  <a:pt x="720679" y="577467"/>
                  <a:pt x="733383" y="583242"/>
                  <a:pt x="742623" y="592481"/>
                </a:cubicBezTo>
                <a:lnTo>
                  <a:pt x="749886" y="609800"/>
                </a:lnTo>
                <a:lnTo>
                  <a:pt x="663531" y="609800"/>
                </a:lnTo>
                <a:lnTo>
                  <a:pt x="670584" y="592481"/>
                </a:lnTo>
                <a:cubicBezTo>
                  <a:pt x="679679" y="583242"/>
                  <a:pt x="692384" y="577467"/>
                  <a:pt x="706820" y="577467"/>
                </a:cubicBezTo>
                <a:close/>
                <a:moveTo>
                  <a:pt x="570538" y="577467"/>
                </a:moveTo>
                <a:cubicBezTo>
                  <a:pt x="584975" y="577467"/>
                  <a:pt x="597679" y="583531"/>
                  <a:pt x="606775" y="593059"/>
                </a:cubicBezTo>
                <a:lnTo>
                  <a:pt x="613484" y="609800"/>
                </a:lnTo>
                <a:lnTo>
                  <a:pt x="527731" y="609800"/>
                </a:lnTo>
                <a:lnTo>
                  <a:pt x="534735" y="592626"/>
                </a:lnTo>
                <a:cubicBezTo>
                  <a:pt x="543974" y="583242"/>
                  <a:pt x="556679" y="577467"/>
                  <a:pt x="570538" y="577467"/>
                </a:cubicBezTo>
                <a:close/>
                <a:moveTo>
                  <a:pt x="12180541" y="464284"/>
                </a:moveTo>
                <a:cubicBezTo>
                  <a:pt x="12192090" y="464284"/>
                  <a:pt x="12201330" y="473523"/>
                  <a:pt x="12201330" y="485072"/>
                </a:cubicBezTo>
                <a:cubicBezTo>
                  <a:pt x="12201330" y="496622"/>
                  <a:pt x="12192090" y="505861"/>
                  <a:pt x="12180541" y="505861"/>
                </a:cubicBezTo>
                <a:cubicBezTo>
                  <a:pt x="12168992" y="505861"/>
                  <a:pt x="12159752" y="496622"/>
                  <a:pt x="12159752" y="485072"/>
                </a:cubicBezTo>
                <a:cubicBezTo>
                  <a:pt x="12159752" y="473523"/>
                  <a:pt x="12168992" y="464284"/>
                  <a:pt x="12180541" y="464284"/>
                </a:cubicBezTo>
                <a:close/>
                <a:moveTo>
                  <a:pt x="12040793" y="464284"/>
                </a:moveTo>
                <a:cubicBezTo>
                  <a:pt x="12052342" y="464284"/>
                  <a:pt x="12061582" y="473523"/>
                  <a:pt x="12061582" y="485072"/>
                </a:cubicBezTo>
                <a:cubicBezTo>
                  <a:pt x="12061582" y="496622"/>
                  <a:pt x="12052342" y="505861"/>
                  <a:pt x="12040793" y="505861"/>
                </a:cubicBezTo>
                <a:cubicBezTo>
                  <a:pt x="12029244" y="505861"/>
                  <a:pt x="12020004" y="496622"/>
                  <a:pt x="12020004" y="485072"/>
                </a:cubicBezTo>
                <a:cubicBezTo>
                  <a:pt x="12020004" y="473523"/>
                  <a:pt x="12029244" y="464284"/>
                  <a:pt x="12040793" y="464284"/>
                </a:cubicBezTo>
                <a:close/>
                <a:moveTo>
                  <a:pt x="11901047" y="464284"/>
                </a:moveTo>
                <a:cubicBezTo>
                  <a:pt x="11912596" y="464284"/>
                  <a:pt x="11921836" y="473523"/>
                  <a:pt x="11921836" y="485072"/>
                </a:cubicBezTo>
                <a:cubicBezTo>
                  <a:pt x="11921836" y="496622"/>
                  <a:pt x="11912596" y="505861"/>
                  <a:pt x="11901047" y="505861"/>
                </a:cubicBezTo>
                <a:cubicBezTo>
                  <a:pt x="11889498" y="505861"/>
                  <a:pt x="11880258" y="496622"/>
                  <a:pt x="11880258" y="485072"/>
                </a:cubicBezTo>
                <a:cubicBezTo>
                  <a:pt x="11880258" y="473523"/>
                  <a:pt x="11889498" y="464284"/>
                  <a:pt x="11901047" y="464284"/>
                </a:cubicBezTo>
                <a:close/>
                <a:moveTo>
                  <a:pt x="11761299" y="464284"/>
                </a:moveTo>
                <a:cubicBezTo>
                  <a:pt x="11772848" y="464284"/>
                  <a:pt x="11782088" y="473523"/>
                  <a:pt x="11782088" y="485072"/>
                </a:cubicBezTo>
                <a:cubicBezTo>
                  <a:pt x="11782088" y="496622"/>
                  <a:pt x="11772848" y="505861"/>
                  <a:pt x="11761299" y="505861"/>
                </a:cubicBezTo>
                <a:cubicBezTo>
                  <a:pt x="11749750" y="505861"/>
                  <a:pt x="11740510" y="496622"/>
                  <a:pt x="11740510" y="485072"/>
                </a:cubicBezTo>
                <a:cubicBezTo>
                  <a:pt x="11740510" y="473523"/>
                  <a:pt x="11749750" y="464284"/>
                  <a:pt x="11761299" y="464284"/>
                </a:cubicBezTo>
                <a:close/>
                <a:moveTo>
                  <a:pt x="11621553" y="464284"/>
                </a:moveTo>
                <a:cubicBezTo>
                  <a:pt x="11633102" y="464284"/>
                  <a:pt x="11642342" y="473523"/>
                  <a:pt x="11642342" y="485072"/>
                </a:cubicBezTo>
                <a:cubicBezTo>
                  <a:pt x="11642342" y="496622"/>
                  <a:pt x="11633102" y="505861"/>
                  <a:pt x="11621553" y="505861"/>
                </a:cubicBezTo>
                <a:cubicBezTo>
                  <a:pt x="11610003" y="505861"/>
                  <a:pt x="11600764" y="496622"/>
                  <a:pt x="11600764" y="485072"/>
                </a:cubicBezTo>
                <a:cubicBezTo>
                  <a:pt x="11600764" y="473523"/>
                  <a:pt x="11610003" y="464284"/>
                  <a:pt x="11621553" y="464284"/>
                </a:cubicBezTo>
                <a:close/>
                <a:moveTo>
                  <a:pt x="11481805" y="464284"/>
                </a:moveTo>
                <a:cubicBezTo>
                  <a:pt x="11493354" y="464284"/>
                  <a:pt x="11502594" y="473523"/>
                  <a:pt x="11502594" y="485072"/>
                </a:cubicBezTo>
                <a:cubicBezTo>
                  <a:pt x="11502594" y="496622"/>
                  <a:pt x="11493354" y="505861"/>
                  <a:pt x="11481805" y="505861"/>
                </a:cubicBezTo>
                <a:cubicBezTo>
                  <a:pt x="11470256" y="505861"/>
                  <a:pt x="11461016" y="496622"/>
                  <a:pt x="11461016" y="485072"/>
                </a:cubicBezTo>
                <a:cubicBezTo>
                  <a:pt x="11461016" y="473523"/>
                  <a:pt x="11470256" y="464284"/>
                  <a:pt x="11481805" y="464284"/>
                </a:cubicBezTo>
                <a:close/>
                <a:moveTo>
                  <a:pt x="10644478" y="464284"/>
                </a:moveTo>
                <a:cubicBezTo>
                  <a:pt x="10656028" y="464284"/>
                  <a:pt x="10665267" y="473523"/>
                  <a:pt x="10665267" y="485072"/>
                </a:cubicBezTo>
                <a:cubicBezTo>
                  <a:pt x="10665267" y="496622"/>
                  <a:pt x="10656028" y="505861"/>
                  <a:pt x="10644478" y="505861"/>
                </a:cubicBezTo>
                <a:cubicBezTo>
                  <a:pt x="10632929" y="505861"/>
                  <a:pt x="10623690" y="496622"/>
                  <a:pt x="10623690" y="485072"/>
                </a:cubicBezTo>
                <a:cubicBezTo>
                  <a:pt x="10623690" y="473523"/>
                  <a:pt x="10632929" y="464284"/>
                  <a:pt x="10644478" y="464284"/>
                </a:cubicBezTo>
                <a:close/>
                <a:moveTo>
                  <a:pt x="10504731" y="464284"/>
                </a:moveTo>
                <a:cubicBezTo>
                  <a:pt x="10516280" y="464284"/>
                  <a:pt x="10525520" y="473523"/>
                  <a:pt x="10525520" y="485072"/>
                </a:cubicBezTo>
                <a:cubicBezTo>
                  <a:pt x="10525520" y="496622"/>
                  <a:pt x="10516280" y="505861"/>
                  <a:pt x="10504731" y="505861"/>
                </a:cubicBezTo>
                <a:cubicBezTo>
                  <a:pt x="10493181" y="505861"/>
                  <a:pt x="10483942" y="496622"/>
                  <a:pt x="10483942" y="485072"/>
                </a:cubicBezTo>
                <a:cubicBezTo>
                  <a:pt x="10483942" y="473523"/>
                  <a:pt x="10493181" y="464284"/>
                  <a:pt x="10504731" y="464284"/>
                </a:cubicBezTo>
                <a:close/>
                <a:moveTo>
                  <a:pt x="10364984" y="464284"/>
                </a:moveTo>
                <a:cubicBezTo>
                  <a:pt x="10376534" y="464284"/>
                  <a:pt x="10385773" y="473523"/>
                  <a:pt x="10385773" y="485072"/>
                </a:cubicBezTo>
                <a:cubicBezTo>
                  <a:pt x="10385773" y="496622"/>
                  <a:pt x="10376534" y="505861"/>
                  <a:pt x="10364984" y="505861"/>
                </a:cubicBezTo>
                <a:cubicBezTo>
                  <a:pt x="10353435" y="505861"/>
                  <a:pt x="10344196" y="496622"/>
                  <a:pt x="10344196" y="485072"/>
                </a:cubicBezTo>
                <a:cubicBezTo>
                  <a:pt x="10344196" y="473523"/>
                  <a:pt x="10353435" y="464284"/>
                  <a:pt x="10364984" y="464284"/>
                </a:cubicBezTo>
                <a:close/>
                <a:moveTo>
                  <a:pt x="7854709" y="464284"/>
                </a:moveTo>
                <a:cubicBezTo>
                  <a:pt x="7866258" y="464284"/>
                  <a:pt x="7875498" y="473523"/>
                  <a:pt x="7875498" y="485072"/>
                </a:cubicBezTo>
                <a:cubicBezTo>
                  <a:pt x="7875498" y="496622"/>
                  <a:pt x="7866258" y="505861"/>
                  <a:pt x="7854709" y="505861"/>
                </a:cubicBezTo>
                <a:cubicBezTo>
                  <a:pt x="7843160" y="505861"/>
                  <a:pt x="7833921" y="496622"/>
                  <a:pt x="7833921" y="485072"/>
                </a:cubicBezTo>
                <a:cubicBezTo>
                  <a:pt x="7833921" y="473523"/>
                  <a:pt x="7843160" y="464284"/>
                  <a:pt x="7854709" y="464284"/>
                </a:cubicBezTo>
                <a:close/>
                <a:moveTo>
                  <a:pt x="7714960" y="464284"/>
                </a:moveTo>
                <a:cubicBezTo>
                  <a:pt x="7726511" y="464284"/>
                  <a:pt x="7735749" y="473523"/>
                  <a:pt x="7735749" y="485072"/>
                </a:cubicBezTo>
                <a:cubicBezTo>
                  <a:pt x="7735749" y="496622"/>
                  <a:pt x="7726511" y="505861"/>
                  <a:pt x="7714960" y="505861"/>
                </a:cubicBezTo>
                <a:cubicBezTo>
                  <a:pt x="7703411" y="505861"/>
                  <a:pt x="7694172" y="496622"/>
                  <a:pt x="7694172" y="485072"/>
                </a:cubicBezTo>
                <a:cubicBezTo>
                  <a:pt x="7694172" y="473523"/>
                  <a:pt x="7703411" y="464284"/>
                  <a:pt x="7714960" y="464284"/>
                </a:cubicBezTo>
                <a:close/>
                <a:moveTo>
                  <a:pt x="7575214" y="464284"/>
                </a:moveTo>
                <a:cubicBezTo>
                  <a:pt x="7586765" y="464284"/>
                  <a:pt x="7596004" y="473523"/>
                  <a:pt x="7596004" y="485072"/>
                </a:cubicBezTo>
                <a:cubicBezTo>
                  <a:pt x="7596004" y="496622"/>
                  <a:pt x="7586765" y="505861"/>
                  <a:pt x="7575214" y="505861"/>
                </a:cubicBezTo>
                <a:cubicBezTo>
                  <a:pt x="7563665" y="505861"/>
                  <a:pt x="7554427" y="496622"/>
                  <a:pt x="7554427" y="485072"/>
                </a:cubicBezTo>
                <a:cubicBezTo>
                  <a:pt x="7554427" y="473523"/>
                  <a:pt x="7563665" y="464284"/>
                  <a:pt x="7575214" y="464284"/>
                </a:cubicBezTo>
                <a:close/>
                <a:moveTo>
                  <a:pt x="7435467" y="464284"/>
                </a:moveTo>
                <a:cubicBezTo>
                  <a:pt x="7447016" y="464284"/>
                  <a:pt x="7456257" y="473523"/>
                  <a:pt x="7456257" y="485072"/>
                </a:cubicBezTo>
                <a:cubicBezTo>
                  <a:pt x="7456257" y="496622"/>
                  <a:pt x="7447016" y="505861"/>
                  <a:pt x="7435467" y="505861"/>
                </a:cubicBezTo>
                <a:cubicBezTo>
                  <a:pt x="7423918" y="505861"/>
                  <a:pt x="7414678" y="496622"/>
                  <a:pt x="7414678" y="485072"/>
                </a:cubicBezTo>
                <a:cubicBezTo>
                  <a:pt x="7414678" y="473523"/>
                  <a:pt x="7423918" y="464284"/>
                  <a:pt x="7435467" y="464284"/>
                </a:cubicBezTo>
                <a:close/>
                <a:moveTo>
                  <a:pt x="7295720" y="464284"/>
                </a:moveTo>
                <a:cubicBezTo>
                  <a:pt x="7307271" y="464284"/>
                  <a:pt x="7316509" y="473523"/>
                  <a:pt x="7316509" y="485072"/>
                </a:cubicBezTo>
                <a:cubicBezTo>
                  <a:pt x="7316509" y="496622"/>
                  <a:pt x="7307271" y="505861"/>
                  <a:pt x="7295720" y="505861"/>
                </a:cubicBezTo>
                <a:cubicBezTo>
                  <a:pt x="7284172" y="505861"/>
                  <a:pt x="7274932" y="496622"/>
                  <a:pt x="7274932" y="485072"/>
                </a:cubicBezTo>
                <a:cubicBezTo>
                  <a:pt x="7274932" y="473523"/>
                  <a:pt x="7284172" y="464284"/>
                  <a:pt x="7295720" y="464284"/>
                </a:cubicBezTo>
                <a:close/>
                <a:moveTo>
                  <a:pt x="7155974" y="464284"/>
                </a:moveTo>
                <a:cubicBezTo>
                  <a:pt x="7167522" y="464284"/>
                  <a:pt x="7176762" y="473523"/>
                  <a:pt x="7176762" y="485072"/>
                </a:cubicBezTo>
                <a:cubicBezTo>
                  <a:pt x="7176762" y="496622"/>
                  <a:pt x="7167522" y="505861"/>
                  <a:pt x="7155974" y="505861"/>
                </a:cubicBezTo>
                <a:cubicBezTo>
                  <a:pt x="7144423" y="505861"/>
                  <a:pt x="7135183" y="496622"/>
                  <a:pt x="7135183" y="485072"/>
                </a:cubicBezTo>
                <a:cubicBezTo>
                  <a:pt x="7135183" y="473523"/>
                  <a:pt x="7144423" y="464284"/>
                  <a:pt x="7155974" y="464284"/>
                </a:cubicBezTo>
                <a:close/>
                <a:moveTo>
                  <a:pt x="7016227" y="464284"/>
                </a:moveTo>
                <a:cubicBezTo>
                  <a:pt x="7027776" y="464284"/>
                  <a:pt x="7037016" y="473523"/>
                  <a:pt x="7037016" y="485072"/>
                </a:cubicBezTo>
                <a:cubicBezTo>
                  <a:pt x="7037016" y="496622"/>
                  <a:pt x="7027776" y="505861"/>
                  <a:pt x="7016227" y="505861"/>
                </a:cubicBezTo>
                <a:cubicBezTo>
                  <a:pt x="7004678" y="505861"/>
                  <a:pt x="6995438" y="496622"/>
                  <a:pt x="6995438" y="485072"/>
                </a:cubicBezTo>
                <a:cubicBezTo>
                  <a:pt x="6995438" y="473523"/>
                  <a:pt x="7004678" y="464284"/>
                  <a:pt x="7016227" y="464284"/>
                </a:cubicBezTo>
                <a:close/>
                <a:moveTo>
                  <a:pt x="6877634" y="464284"/>
                </a:moveTo>
                <a:cubicBezTo>
                  <a:pt x="6888028" y="464284"/>
                  <a:pt x="6898424" y="473523"/>
                  <a:pt x="6898424" y="485072"/>
                </a:cubicBezTo>
                <a:cubicBezTo>
                  <a:pt x="6898424" y="496622"/>
                  <a:pt x="6889184" y="505861"/>
                  <a:pt x="6877634" y="505861"/>
                </a:cubicBezTo>
                <a:cubicBezTo>
                  <a:pt x="6866085" y="505861"/>
                  <a:pt x="6856845" y="496622"/>
                  <a:pt x="6856845" y="485072"/>
                </a:cubicBezTo>
                <a:cubicBezTo>
                  <a:pt x="6856845" y="473523"/>
                  <a:pt x="6866085" y="464284"/>
                  <a:pt x="6877634" y="464284"/>
                </a:cubicBezTo>
                <a:close/>
                <a:moveTo>
                  <a:pt x="6039151" y="464284"/>
                </a:moveTo>
                <a:cubicBezTo>
                  <a:pt x="6050702" y="464284"/>
                  <a:pt x="6059942" y="473523"/>
                  <a:pt x="6059942" y="485072"/>
                </a:cubicBezTo>
                <a:cubicBezTo>
                  <a:pt x="6059942" y="496622"/>
                  <a:pt x="6050702" y="505861"/>
                  <a:pt x="6039151" y="505861"/>
                </a:cubicBezTo>
                <a:cubicBezTo>
                  <a:pt x="6027603" y="505861"/>
                  <a:pt x="6018363" y="496622"/>
                  <a:pt x="6018363" y="485072"/>
                </a:cubicBezTo>
                <a:cubicBezTo>
                  <a:pt x="6018363" y="473523"/>
                  <a:pt x="6027603" y="464284"/>
                  <a:pt x="6039151" y="464284"/>
                </a:cubicBezTo>
                <a:close/>
                <a:moveTo>
                  <a:pt x="5899406" y="464284"/>
                </a:moveTo>
                <a:cubicBezTo>
                  <a:pt x="5910953" y="464284"/>
                  <a:pt x="5920193" y="473523"/>
                  <a:pt x="5920193" y="485072"/>
                </a:cubicBezTo>
                <a:cubicBezTo>
                  <a:pt x="5920193" y="496622"/>
                  <a:pt x="5910953" y="505861"/>
                  <a:pt x="5899406" y="505861"/>
                </a:cubicBezTo>
                <a:cubicBezTo>
                  <a:pt x="5887855" y="505861"/>
                  <a:pt x="5878616" y="496622"/>
                  <a:pt x="5878616" y="485072"/>
                </a:cubicBezTo>
                <a:cubicBezTo>
                  <a:pt x="5878616" y="473523"/>
                  <a:pt x="5887855" y="464284"/>
                  <a:pt x="5899406" y="464284"/>
                </a:cubicBezTo>
                <a:close/>
                <a:moveTo>
                  <a:pt x="5759658" y="464284"/>
                </a:moveTo>
                <a:cubicBezTo>
                  <a:pt x="5771207" y="464284"/>
                  <a:pt x="5780448" y="473523"/>
                  <a:pt x="5780448" y="485072"/>
                </a:cubicBezTo>
                <a:cubicBezTo>
                  <a:pt x="5780448" y="496622"/>
                  <a:pt x="5771207" y="505861"/>
                  <a:pt x="5759658" y="505861"/>
                </a:cubicBezTo>
                <a:cubicBezTo>
                  <a:pt x="5748109" y="505861"/>
                  <a:pt x="5738869" y="496622"/>
                  <a:pt x="5738869" y="485072"/>
                </a:cubicBezTo>
                <a:cubicBezTo>
                  <a:pt x="5738869" y="473523"/>
                  <a:pt x="5748109" y="464284"/>
                  <a:pt x="5759658" y="464284"/>
                </a:cubicBezTo>
                <a:close/>
                <a:moveTo>
                  <a:pt x="3241901" y="464284"/>
                </a:moveTo>
                <a:cubicBezTo>
                  <a:pt x="3253450" y="464284"/>
                  <a:pt x="3262690" y="473523"/>
                  <a:pt x="3262690" y="485072"/>
                </a:cubicBezTo>
                <a:cubicBezTo>
                  <a:pt x="3262690" y="496622"/>
                  <a:pt x="3253450" y="505861"/>
                  <a:pt x="3241901" y="505861"/>
                </a:cubicBezTo>
                <a:cubicBezTo>
                  <a:pt x="3230352" y="505861"/>
                  <a:pt x="3221112" y="496622"/>
                  <a:pt x="3221112" y="485072"/>
                </a:cubicBezTo>
                <a:cubicBezTo>
                  <a:pt x="3221112" y="473523"/>
                  <a:pt x="3230352" y="464284"/>
                  <a:pt x="3241901" y="464284"/>
                </a:cubicBezTo>
                <a:close/>
                <a:moveTo>
                  <a:pt x="3102153" y="464284"/>
                </a:moveTo>
                <a:cubicBezTo>
                  <a:pt x="3113703" y="464284"/>
                  <a:pt x="3122942" y="473523"/>
                  <a:pt x="3122942" y="485072"/>
                </a:cubicBezTo>
                <a:cubicBezTo>
                  <a:pt x="3122942" y="496622"/>
                  <a:pt x="3113703" y="505861"/>
                  <a:pt x="3102153" y="505861"/>
                </a:cubicBezTo>
                <a:cubicBezTo>
                  <a:pt x="3090605" y="505861"/>
                  <a:pt x="3081365" y="496622"/>
                  <a:pt x="3081365" y="485072"/>
                </a:cubicBezTo>
                <a:cubicBezTo>
                  <a:pt x="3081365" y="473523"/>
                  <a:pt x="3090605" y="464284"/>
                  <a:pt x="3102153" y="464284"/>
                </a:cubicBezTo>
                <a:close/>
                <a:moveTo>
                  <a:pt x="2962407" y="464284"/>
                </a:moveTo>
                <a:cubicBezTo>
                  <a:pt x="2973956" y="464284"/>
                  <a:pt x="2983196" y="473523"/>
                  <a:pt x="2983196" y="485072"/>
                </a:cubicBezTo>
                <a:cubicBezTo>
                  <a:pt x="2983196" y="496622"/>
                  <a:pt x="2973956" y="505861"/>
                  <a:pt x="2962407" y="505861"/>
                </a:cubicBezTo>
                <a:cubicBezTo>
                  <a:pt x="2950858" y="505861"/>
                  <a:pt x="2941618" y="496622"/>
                  <a:pt x="2941618" y="485072"/>
                </a:cubicBezTo>
                <a:cubicBezTo>
                  <a:pt x="2941618" y="473523"/>
                  <a:pt x="2950858" y="464284"/>
                  <a:pt x="2962407" y="464284"/>
                </a:cubicBezTo>
                <a:close/>
                <a:moveTo>
                  <a:pt x="2822659" y="464284"/>
                </a:moveTo>
                <a:cubicBezTo>
                  <a:pt x="2834209" y="464284"/>
                  <a:pt x="2843448" y="473523"/>
                  <a:pt x="2843448" y="485072"/>
                </a:cubicBezTo>
                <a:cubicBezTo>
                  <a:pt x="2843448" y="496622"/>
                  <a:pt x="2834209" y="505861"/>
                  <a:pt x="2822659" y="505861"/>
                </a:cubicBezTo>
                <a:cubicBezTo>
                  <a:pt x="2811110" y="505861"/>
                  <a:pt x="2801871" y="496622"/>
                  <a:pt x="2801871" y="485072"/>
                </a:cubicBezTo>
                <a:cubicBezTo>
                  <a:pt x="2801871" y="473523"/>
                  <a:pt x="2811110" y="464284"/>
                  <a:pt x="2822659" y="464284"/>
                </a:cubicBezTo>
                <a:close/>
                <a:moveTo>
                  <a:pt x="2682913" y="464284"/>
                </a:moveTo>
                <a:cubicBezTo>
                  <a:pt x="2694462" y="464284"/>
                  <a:pt x="2703702" y="473523"/>
                  <a:pt x="2703702" y="485072"/>
                </a:cubicBezTo>
                <a:cubicBezTo>
                  <a:pt x="2703702" y="496622"/>
                  <a:pt x="2694462" y="505861"/>
                  <a:pt x="2682913" y="505861"/>
                </a:cubicBezTo>
                <a:cubicBezTo>
                  <a:pt x="2671365" y="505861"/>
                  <a:pt x="2662124" y="496622"/>
                  <a:pt x="2662124" y="485072"/>
                </a:cubicBezTo>
                <a:cubicBezTo>
                  <a:pt x="2662124" y="473523"/>
                  <a:pt x="2671365" y="464284"/>
                  <a:pt x="2682913" y="464284"/>
                </a:cubicBezTo>
                <a:close/>
                <a:moveTo>
                  <a:pt x="2543167" y="464284"/>
                </a:moveTo>
                <a:cubicBezTo>
                  <a:pt x="2554715" y="464284"/>
                  <a:pt x="2563954" y="473523"/>
                  <a:pt x="2563954" y="485072"/>
                </a:cubicBezTo>
                <a:cubicBezTo>
                  <a:pt x="2563954" y="496622"/>
                  <a:pt x="2554715" y="505861"/>
                  <a:pt x="2543167" y="505861"/>
                </a:cubicBezTo>
                <a:cubicBezTo>
                  <a:pt x="2531616" y="505861"/>
                  <a:pt x="2522376" y="496622"/>
                  <a:pt x="2522376" y="485072"/>
                </a:cubicBezTo>
                <a:cubicBezTo>
                  <a:pt x="2522376" y="473523"/>
                  <a:pt x="2531616" y="464284"/>
                  <a:pt x="2543167" y="464284"/>
                </a:cubicBezTo>
                <a:close/>
                <a:moveTo>
                  <a:pt x="2403419" y="464284"/>
                </a:moveTo>
                <a:cubicBezTo>
                  <a:pt x="2414969" y="464284"/>
                  <a:pt x="2424209" y="473523"/>
                  <a:pt x="2424209" y="485072"/>
                </a:cubicBezTo>
                <a:cubicBezTo>
                  <a:pt x="2424209" y="496622"/>
                  <a:pt x="2414969" y="505861"/>
                  <a:pt x="2403419" y="505861"/>
                </a:cubicBezTo>
                <a:cubicBezTo>
                  <a:pt x="2391869" y="505861"/>
                  <a:pt x="2382630" y="496622"/>
                  <a:pt x="2382630" y="485072"/>
                </a:cubicBezTo>
                <a:cubicBezTo>
                  <a:pt x="2382630" y="473523"/>
                  <a:pt x="2391869" y="464284"/>
                  <a:pt x="2403419" y="464284"/>
                </a:cubicBezTo>
                <a:close/>
                <a:moveTo>
                  <a:pt x="2263671" y="464284"/>
                </a:moveTo>
                <a:cubicBezTo>
                  <a:pt x="2275221" y="464284"/>
                  <a:pt x="2284460" y="473523"/>
                  <a:pt x="2284460" y="485072"/>
                </a:cubicBezTo>
                <a:cubicBezTo>
                  <a:pt x="2284460" y="496622"/>
                  <a:pt x="2275221" y="505861"/>
                  <a:pt x="2263671" y="505861"/>
                </a:cubicBezTo>
                <a:cubicBezTo>
                  <a:pt x="2252122" y="505861"/>
                  <a:pt x="2242883" y="496622"/>
                  <a:pt x="2242883" y="485072"/>
                </a:cubicBezTo>
                <a:cubicBezTo>
                  <a:pt x="2242883" y="473523"/>
                  <a:pt x="2252122" y="464284"/>
                  <a:pt x="2263671" y="464284"/>
                </a:cubicBezTo>
                <a:close/>
                <a:moveTo>
                  <a:pt x="1426344" y="464284"/>
                </a:moveTo>
                <a:cubicBezTo>
                  <a:pt x="1437894" y="464284"/>
                  <a:pt x="1447133" y="473523"/>
                  <a:pt x="1447133" y="485072"/>
                </a:cubicBezTo>
                <a:cubicBezTo>
                  <a:pt x="1447133" y="496622"/>
                  <a:pt x="1437894" y="505861"/>
                  <a:pt x="1426344" y="505861"/>
                </a:cubicBezTo>
                <a:cubicBezTo>
                  <a:pt x="1414795" y="505861"/>
                  <a:pt x="1405556" y="496622"/>
                  <a:pt x="1405556" y="485072"/>
                </a:cubicBezTo>
                <a:cubicBezTo>
                  <a:pt x="1405556" y="473523"/>
                  <a:pt x="1414795" y="464284"/>
                  <a:pt x="1426344" y="464284"/>
                </a:cubicBezTo>
                <a:close/>
                <a:moveTo>
                  <a:pt x="1286597" y="464284"/>
                </a:moveTo>
                <a:cubicBezTo>
                  <a:pt x="1298146" y="464284"/>
                  <a:pt x="1307386" y="473523"/>
                  <a:pt x="1307386" y="485072"/>
                </a:cubicBezTo>
                <a:cubicBezTo>
                  <a:pt x="1307386" y="496622"/>
                  <a:pt x="1298146" y="505861"/>
                  <a:pt x="1286597" y="505861"/>
                </a:cubicBezTo>
                <a:cubicBezTo>
                  <a:pt x="1275048" y="505861"/>
                  <a:pt x="1265808" y="496622"/>
                  <a:pt x="1265808" y="485072"/>
                </a:cubicBezTo>
                <a:cubicBezTo>
                  <a:pt x="1265808" y="473523"/>
                  <a:pt x="1275048" y="464284"/>
                  <a:pt x="1286597" y="464284"/>
                </a:cubicBezTo>
                <a:close/>
                <a:moveTo>
                  <a:pt x="1146851" y="464284"/>
                </a:moveTo>
                <a:cubicBezTo>
                  <a:pt x="1158400" y="464284"/>
                  <a:pt x="1167639" y="473523"/>
                  <a:pt x="1167639" y="485072"/>
                </a:cubicBezTo>
                <a:cubicBezTo>
                  <a:pt x="1167639" y="496622"/>
                  <a:pt x="1158400" y="505861"/>
                  <a:pt x="1146851" y="505861"/>
                </a:cubicBezTo>
                <a:cubicBezTo>
                  <a:pt x="1135301" y="505861"/>
                  <a:pt x="1126062" y="496622"/>
                  <a:pt x="1126062" y="485072"/>
                </a:cubicBezTo>
                <a:cubicBezTo>
                  <a:pt x="1126062" y="473523"/>
                  <a:pt x="1135301" y="464284"/>
                  <a:pt x="1146851" y="464284"/>
                </a:cubicBezTo>
                <a:close/>
                <a:moveTo>
                  <a:pt x="11343213" y="461974"/>
                </a:moveTo>
                <a:cubicBezTo>
                  <a:pt x="11355918" y="461974"/>
                  <a:pt x="11366312" y="472369"/>
                  <a:pt x="11366312" y="485072"/>
                </a:cubicBezTo>
                <a:cubicBezTo>
                  <a:pt x="11366312" y="497777"/>
                  <a:pt x="11355918" y="508171"/>
                  <a:pt x="11343213" y="508171"/>
                </a:cubicBezTo>
                <a:cubicBezTo>
                  <a:pt x="11330509" y="508171"/>
                  <a:pt x="11320114" y="497777"/>
                  <a:pt x="11320114" y="485072"/>
                </a:cubicBezTo>
                <a:cubicBezTo>
                  <a:pt x="11320114" y="472369"/>
                  <a:pt x="11330509" y="461974"/>
                  <a:pt x="11343213" y="461974"/>
                </a:cubicBezTo>
                <a:close/>
                <a:moveTo>
                  <a:pt x="10225237" y="461974"/>
                </a:moveTo>
                <a:cubicBezTo>
                  <a:pt x="10237942" y="461974"/>
                  <a:pt x="10248335" y="472369"/>
                  <a:pt x="10248335" y="485072"/>
                </a:cubicBezTo>
                <a:cubicBezTo>
                  <a:pt x="10248335" y="497777"/>
                  <a:pt x="10237942" y="508171"/>
                  <a:pt x="10225237" y="508171"/>
                </a:cubicBezTo>
                <a:cubicBezTo>
                  <a:pt x="10212533" y="508171"/>
                  <a:pt x="10202138" y="497777"/>
                  <a:pt x="10202138" y="485072"/>
                </a:cubicBezTo>
                <a:cubicBezTo>
                  <a:pt x="10202138" y="472369"/>
                  <a:pt x="10212533" y="461974"/>
                  <a:pt x="10225237" y="461974"/>
                </a:cubicBezTo>
                <a:close/>
                <a:moveTo>
                  <a:pt x="9112431" y="461974"/>
                </a:moveTo>
                <a:cubicBezTo>
                  <a:pt x="9125136" y="461974"/>
                  <a:pt x="9135530" y="472369"/>
                  <a:pt x="9135530" y="485072"/>
                </a:cubicBezTo>
                <a:cubicBezTo>
                  <a:pt x="9135530" y="497777"/>
                  <a:pt x="9125136" y="508171"/>
                  <a:pt x="9112431" y="508171"/>
                </a:cubicBezTo>
                <a:cubicBezTo>
                  <a:pt x="9099727" y="508171"/>
                  <a:pt x="9089332" y="497777"/>
                  <a:pt x="9089332" y="485072"/>
                </a:cubicBezTo>
                <a:cubicBezTo>
                  <a:pt x="9089332" y="472369"/>
                  <a:pt x="9099727" y="461974"/>
                  <a:pt x="9112431" y="461974"/>
                </a:cubicBezTo>
                <a:close/>
                <a:moveTo>
                  <a:pt x="7994456" y="461974"/>
                </a:moveTo>
                <a:cubicBezTo>
                  <a:pt x="8007160" y="461974"/>
                  <a:pt x="8017555" y="472369"/>
                  <a:pt x="8017555" y="485072"/>
                </a:cubicBezTo>
                <a:cubicBezTo>
                  <a:pt x="8017555" y="497777"/>
                  <a:pt x="8007160" y="508171"/>
                  <a:pt x="7994456" y="508171"/>
                </a:cubicBezTo>
                <a:cubicBezTo>
                  <a:pt x="7981752" y="508171"/>
                  <a:pt x="7971356" y="497777"/>
                  <a:pt x="7971356" y="485072"/>
                </a:cubicBezTo>
                <a:cubicBezTo>
                  <a:pt x="7971356" y="472369"/>
                  <a:pt x="7981752" y="461974"/>
                  <a:pt x="7994456" y="461974"/>
                </a:cubicBezTo>
                <a:close/>
                <a:moveTo>
                  <a:pt x="6737887" y="461974"/>
                </a:moveTo>
                <a:cubicBezTo>
                  <a:pt x="6750591" y="461974"/>
                  <a:pt x="6760986" y="472369"/>
                  <a:pt x="6760986" y="485072"/>
                </a:cubicBezTo>
                <a:cubicBezTo>
                  <a:pt x="6760986" y="497777"/>
                  <a:pt x="6750591" y="508171"/>
                  <a:pt x="6737887" y="508171"/>
                </a:cubicBezTo>
                <a:cubicBezTo>
                  <a:pt x="6725183" y="508171"/>
                  <a:pt x="6714789" y="497777"/>
                  <a:pt x="6714789" y="485072"/>
                </a:cubicBezTo>
                <a:cubicBezTo>
                  <a:pt x="6714789" y="472369"/>
                  <a:pt x="6725183" y="461974"/>
                  <a:pt x="6737887" y="461974"/>
                </a:cubicBezTo>
                <a:close/>
                <a:moveTo>
                  <a:pt x="5619912" y="461974"/>
                </a:moveTo>
                <a:cubicBezTo>
                  <a:pt x="5632617" y="461974"/>
                  <a:pt x="5643008" y="472369"/>
                  <a:pt x="5643008" y="485072"/>
                </a:cubicBezTo>
                <a:cubicBezTo>
                  <a:pt x="5643008" y="497777"/>
                  <a:pt x="5632617" y="508171"/>
                  <a:pt x="5619912" y="508171"/>
                </a:cubicBezTo>
                <a:cubicBezTo>
                  <a:pt x="5607207" y="508171"/>
                  <a:pt x="5596812" y="497777"/>
                  <a:pt x="5596812" y="485072"/>
                </a:cubicBezTo>
                <a:cubicBezTo>
                  <a:pt x="5596812" y="472369"/>
                  <a:pt x="5607207" y="461974"/>
                  <a:pt x="5619912" y="461974"/>
                </a:cubicBezTo>
                <a:close/>
                <a:moveTo>
                  <a:pt x="4499625" y="461974"/>
                </a:moveTo>
                <a:cubicBezTo>
                  <a:pt x="4512330" y="461974"/>
                  <a:pt x="4522722" y="472369"/>
                  <a:pt x="4522722" y="485072"/>
                </a:cubicBezTo>
                <a:cubicBezTo>
                  <a:pt x="4522722" y="497777"/>
                  <a:pt x="4512330" y="508171"/>
                  <a:pt x="4499625" y="508171"/>
                </a:cubicBezTo>
                <a:cubicBezTo>
                  <a:pt x="4486920" y="508171"/>
                  <a:pt x="4476525" y="497777"/>
                  <a:pt x="4476525" y="485072"/>
                </a:cubicBezTo>
                <a:cubicBezTo>
                  <a:pt x="4476525" y="472369"/>
                  <a:pt x="4486920" y="461974"/>
                  <a:pt x="4499625" y="461974"/>
                </a:cubicBezTo>
                <a:close/>
                <a:moveTo>
                  <a:pt x="3381648" y="461974"/>
                </a:moveTo>
                <a:cubicBezTo>
                  <a:pt x="3394352" y="461974"/>
                  <a:pt x="3404746" y="472369"/>
                  <a:pt x="3404746" y="485072"/>
                </a:cubicBezTo>
                <a:cubicBezTo>
                  <a:pt x="3404746" y="497777"/>
                  <a:pt x="3394352" y="508171"/>
                  <a:pt x="3381648" y="508171"/>
                </a:cubicBezTo>
                <a:cubicBezTo>
                  <a:pt x="3368944" y="508171"/>
                  <a:pt x="3358549" y="497777"/>
                  <a:pt x="3358549" y="485072"/>
                </a:cubicBezTo>
                <a:cubicBezTo>
                  <a:pt x="3358549" y="472369"/>
                  <a:pt x="3368944" y="461974"/>
                  <a:pt x="3381648" y="461974"/>
                </a:cubicBezTo>
                <a:close/>
                <a:moveTo>
                  <a:pt x="2125079" y="461974"/>
                </a:moveTo>
                <a:cubicBezTo>
                  <a:pt x="2137784" y="461974"/>
                  <a:pt x="2148178" y="472369"/>
                  <a:pt x="2148178" y="485072"/>
                </a:cubicBezTo>
                <a:cubicBezTo>
                  <a:pt x="2148178" y="497777"/>
                  <a:pt x="2137784" y="508171"/>
                  <a:pt x="2125079" y="508171"/>
                </a:cubicBezTo>
                <a:cubicBezTo>
                  <a:pt x="2112376" y="508171"/>
                  <a:pt x="2101980" y="497777"/>
                  <a:pt x="2101980" y="485072"/>
                </a:cubicBezTo>
                <a:cubicBezTo>
                  <a:pt x="2101980" y="472369"/>
                  <a:pt x="2112376" y="461974"/>
                  <a:pt x="2125079" y="461974"/>
                </a:cubicBezTo>
                <a:close/>
                <a:moveTo>
                  <a:pt x="1007103" y="461974"/>
                </a:moveTo>
                <a:cubicBezTo>
                  <a:pt x="1019808" y="461974"/>
                  <a:pt x="1030201" y="472369"/>
                  <a:pt x="1030201" y="485072"/>
                </a:cubicBezTo>
                <a:cubicBezTo>
                  <a:pt x="1030201" y="497777"/>
                  <a:pt x="1019808" y="508171"/>
                  <a:pt x="1007103" y="508171"/>
                </a:cubicBezTo>
                <a:cubicBezTo>
                  <a:pt x="994399" y="508171"/>
                  <a:pt x="984004" y="497777"/>
                  <a:pt x="984004" y="485072"/>
                </a:cubicBezTo>
                <a:cubicBezTo>
                  <a:pt x="984004" y="472369"/>
                  <a:pt x="994399" y="461974"/>
                  <a:pt x="1007103" y="461974"/>
                </a:cubicBezTo>
                <a:close/>
                <a:moveTo>
                  <a:pt x="11203466" y="456200"/>
                </a:moveTo>
                <a:cubicBezTo>
                  <a:pt x="11218480" y="456200"/>
                  <a:pt x="11232339" y="468903"/>
                  <a:pt x="11232339" y="485072"/>
                </a:cubicBezTo>
                <a:cubicBezTo>
                  <a:pt x="11232339" y="501241"/>
                  <a:pt x="11219636" y="513946"/>
                  <a:pt x="11203466" y="513946"/>
                </a:cubicBezTo>
                <a:cubicBezTo>
                  <a:pt x="11187298" y="513946"/>
                  <a:pt x="11174593" y="501241"/>
                  <a:pt x="11174593" y="485072"/>
                </a:cubicBezTo>
                <a:cubicBezTo>
                  <a:pt x="11174593" y="468903"/>
                  <a:pt x="11187298" y="456200"/>
                  <a:pt x="11203466" y="456200"/>
                </a:cubicBezTo>
                <a:close/>
                <a:moveTo>
                  <a:pt x="10085490" y="456200"/>
                </a:moveTo>
                <a:cubicBezTo>
                  <a:pt x="10101659" y="456200"/>
                  <a:pt x="10114363" y="468903"/>
                  <a:pt x="10114363" y="485072"/>
                </a:cubicBezTo>
                <a:cubicBezTo>
                  <a:pt x="10114363" y="501241"/>
                  <a:pt x="10101659" y="513946"/>
                  <a:pt x="10085490" y="513946"/>
                </a:cubicBezTo>
                <a:cubicBezTo>
                  <a:pt x="10069321" y="513946"/>
                  <a:pt x="10056616" y="501241"/>
                  <a:pt x="10056616" y="485072"/>
                </a:cubicBezTo>
                <a:cubicBezTo>
                  <a:pt x="10056616" y="468903"/>
                  <a:pt x="10069321" y="456200"/>
                  <a:pt x="10085490" y="456200"/>
                </a:cubicBezTo>
                <a:close/>
                <a:moveTo>
                  <a:pt x="9247008" y="456200"/>
                </a:moveTo>
                <a:cubicBezTo>
                  <a:pt x="9263177" y="456200"/>
                  <a:pt x="9275881" y="468903"/>
                  <a:pt x="9275881" y="485072"/>
                </a:cubicBezTo>
                <a:cubicBezTo>
                  <a:pt x="9275881" y="501241"/>
                  <a:pt x="9263177" y="513946"/>
                  <a:pt x="9247008" y="513946"/>
                </a:cubicBezTo>
                <a:cubicBezTo>
                  <a:pt x="9230839" y="513946"/>
                  <a:pt x="9218134" y="501241"/>
                  <a:pt x="9218134" y="485072"/>
                </a:cubicBezTo>
                <a:cubicBezTo>
                  <a:pt x="9218134" y="468903"/>
                  <a:pt x="9230839" y="456200"/>
                  <a:pt x="9247008" y="456200"/>
                </a:cubicBezTo>
                <a:close/>
                <a:moveTo>
                  <a:pt x="8972685" y="456200"/>
                </a:moveTo>
                <a:cubicBezTo>
                  <a:pt x="8988854" y="456200"/>
                  <a:pt x="9001557" y="468903"/>
                  <a:pt x="9001557" y="485072"/>
                </a:cubicBezTo>
                <a:cubicBezTo>
                  <a:pt x="9001557" y="501241"/>
                  <a:pt x="8988854" y="513946"/>
                  <a:pt x="8972685" y="513946"/>
                </a:cubicBezTo>
                <a:cubicBezTo>
                  <a:pt x="8956515" y="513946"/>
                  <a:pt x="8943811" y="501241"/>
                  <a:pt x="8943811" y="485072"/>
                </a:cubicBezTo>
                <a:cubicBezTo>
                  <a:pt x="8943811" y="468903"/>
                  <a:pt x="8956515" y="456200"/>
                  <a:pt x="8972685" y="456200"/>
                </a:cubicBezTo>
                <a:close/>
                <a:moveTo>
                  <a:pt x="8134203" y="456200"/>
                </a:moveTo>
                <a:cubicBezTo>
                  <a:pt x="8150373" y="456200"/>
                  <a:pt x="8163075" y="468903"/>
                  <a:pt x="8163075" y="485072"/>
                </a:cubicBezTo>
                <a:cubicBezTo>
                  <a:pt x="8163075" y="501241"/>
                  <a:pt x="8150373" y="513946"/>
                  <a:pt x="8134203" y="513946"/>
                </a:cubicBezTo>
                <a:cubicBezTo>
                  <a:pt x="8118034" y="513946"/>
                  <a:pt x="8105330" y="501241"/>
                  <a:pt x="8105330" y="485072"/>
                </a:cubicBezTo>
                <a:cubicBezTo>
                  <a:pt x="8105330" y="468903"/>
                  <a:pt x="8118034" y="456200"/>
                  <a:pt x="8134203" y="456200"/>
                </a:cubicBezTo>
                <a:close/>
                <a:moveTo>
                  <a:pt x="6598140" y="456200"/>
                </a:moveTo>
                <a:cubicBezTo>
                  <a:pt x="6613155" y="456200"/>
                  <a:pt x="6627013" y="468903"/>
                  <a:pt x="6627013" y="485072"/>
                </a:cubicBezTo>
                <a:cubicBezTo>
                  <a:pt x="6627013" y="501241"/>
                  <a:pt x="6614309" y="513946"/>
                  <a:pt x="6598140" y="513946"/>
                </a:cubicBezTo>
                <a:cubicBezTo>
                  <a:pt x="6581971" y="513946"/>
                  <a:pt x="6569267" y="501241"/>
                  <a:pt x="6569267" y="485072"/>
                </a:cubicBezTo>
                <a:cubicBezTo>
                  <a:pt x="6569267" y="468903"/>
                  <a:pt x="6581971" y="456200"/>
                  <a:pt x="6598140" y="456200"/>
                </a:cubicBezTo>
                <a:close/>
                <a:moveTo>
                  <a:pt x="5480165" y="456200"/>
                </a:moveTo>
                <a:cubicBezTo>
                  <a:pt x="5496333" y="456200"/>
                  <a:pt x="5509037" y="468903"/>
                  <a:pt x="5509037" y="485072"/>
                </a:cubicBezTo>
                <a:cubicBezTo>
                  <a:pt x="5509037" y="501241"/>
                  <a:pt x="5496333" y="513946"/>
                  <a:pt x="5480165" y="513946"/>
                </a:cubicBezTo>
                <a:cubicBezTo>
                  <a:pt x="5463996" y="513946"/>
                  <a:pt x="5451289" y="501241"/>
                  <a:pt x="5451289" y="485072"/>
                </a:cubicBezTo>
                <a:cubicBezTo>
                  <a:pt x="5451289" y="468903"/>
                  <a:pt x="5463996" y="456200"/>
                  <a:pt x="5480165" y="456200"/>
                </a:cubicBezTo>
                <a:close/>
                <a:moveTo>
                  <a:pt x="4641682" y="456200"/>
                </a:moveTo>
                <a:cubicBezTo>
                  <a:pt x="4657851" y="456200"/>
                  <a:pt x="4670555" y="468903"/>
                  <a:pt x="4670555" y="485072"/>
                </a:cubicBezTo>
                <a:cubicBezTo>
                  <a:pt x="4670555" y="501241"/>
                  <a:pt x="4657851" y="513946"/>
                  <a:pt x="4641682" y="513946"/>
                </a:cubicBezTo>
                <a:cubicBezTo>
                  <a:pt x="4625513" y="513946"/>
                  <a:pt x="4612809" y="501241"/>
                  <a:pt x="4612809" y="485072"/>
                </a:cubicBezTo>
                <a:cubicBezTo>
                  <a:pt x="4612809" y="468903"/>
                  <a:pt x="4625513" y="456200"/>
                  <a:pt x="4641682" y="456200"/>
                </a:cubicBezTo>
                <a:close/>
                <a:moveTo>
                  <a:pt x="4359878" y="456200"/>
                </a:moveTo>
                <a:cubicBezTo>
                  <a:pt x="4376046" y="456200"/>
                  <a:pt x="4388751" y="468903"/>
                  <a:pt x="4388751" y="485072"/>
                </a:cubicBezTo>
                <a:cubicBezTo>
                  <a:pt x="4388751" y="501241"/>
                  <a:pt x="4376046" y="513946"/>
                  <a:pt x="4359878" y="513946"/>
                </a:cubicBezTo>
                <a:cubicBezTo>
                  <a:pt x="4343709" y="513946"/>
                  <a:pt x="4331004" y="501241"/>
                  <a:pt x="4331004" y="485072"/>
                </a:cubicBezTo>
                <a:cubicBezTo>
                  <a:pt x="4331004" y="468903"/>
                  <a:pt x="4343709" y="456200"/>
                  <a:pt x="4359878" y="456200"/>
                </a:cubicBezTo>
                <a:close/>
                <a:moveTo>
                  <a:pt x="3521396" y="456200"/>
                </a:moveTo>
                <a:cubicBezTo>
                  <a:pt x="3537564" y="456200"/>
                  <a:pt x="3550268" y="468903"/>
                  <a:pt x="3550268" y="485072"/>
                </a:cubicBezTo>
                <a:cubicBezTo>
                  <a:pt x="3550268" y="501241"/>
                  <a:pt x="3537564" y="513946"/>
                  <a:pt x="3521396" y="513946"/>
                </a:cubicBezTo>
                <a:cubicBezTo>
                  <a:pt x="3505226" y="513946"/>
                  <a:pt x="3492521" y="501241"/>
                  <a:pt x="3492521" y="485072"/>
                </a:cubicBezTo>
                <a:cubicBezTo>
                  <a:pt x="3492521" y="468903"/>
                  <a:pt x="3505226" y="456200"/>
                  <a:pt x="3521396" y="456200"/>
                </a:cubicBezTo>
                <a:close/>
                <a:moveTo>
                  <a:pt x="1985333" y="456200"/>
                </a:moveTo>
                <a:cubicBezTo>
                  <a:pt x="2000346" y="456200"/>
                  <a:pt x="2014205" y="468903"/>
                  <a:pt x="2014205" y="485072"/>
                </a:cubicBezTo>
                <a:cubicBezTo>
                  <a:pt x="2014205" y="501241"/>
                  <a:pt x="2001502" y="513946"/>
                  <a:pt x="1985333" y="513946"/>
                </a:cubicBezTo>
                <a:cubicBezTo>
                  <a:pt x="1969164" y="513946"/>
                  <a:pt x="1956459" y="501241"/>
                  <a:pt x="1956459" y="485072"/>
                </a:cubicBezTo>
                <a:cubicBezTo>
                  <a:pt x="1956459" y="468903"/>
                  <a:pt x="1969164" y="456200"/>
                  <a:pt x="1985333" y="456200"/>
                </a:cubicBezTo>
                <a:close/>
                <a:moveTo>
                  <a:pt x="867356" y="456200"/>
                </a:moveTo>
                <a:cubicBezTo>
                  <a:pt x="883525" y="456200"/>
                  <a:pt x="896229" y="468903"/>
                  <a:pt x="896229" y="485072"/>
                </a:cubicBezTo>
                <a:cubicBezTo>
                  <a:pt x="896229" y="501241"/>
                  <a:pt x="883525" y="513946"/>
                  <a:pt x="867356" y="513946"/>
                </a:cubicBezTo>
                <a:cubicBezTo>
                  <a:pt x="851187" y="513946"/>
                  <a:pt x="838482" y="501241"/>
                  <a:pt x="838482" y="485072"/>
                </a:cubicBezTo>
                <a:cubicBezTo>
                  <a:pt x="838482" y="468903"/>
                  <a:pt x="851187" y="456200"/>
                  <a:pt x="867356" y="456200"/>
                </a:cubicBezTo>
                <a:close/>
                <a:moveTo>
                  <a:pt x="28874" y="456200"/>
                </a:moveTo>
                <a:cubicBezTo>
                  <a:pt x="45043" y="456200"/>
                  <a:pt x="57747" y="468903"/>
                  <a:pt x="57747" y="485072"/>
                </a:cubicBezTo>
                <a:cubicBezTo>
                  <a:pt x="57747" y="501241"/>
                  <a:pt x="45043" y="513946"/>
                  <a:pt x="28874" y="513946"/>
                </a:cubicBezTo>
                <a:cubicBezTo>
                  <a:pt x="12705" y="513946"/>
                  <a:pt x="0" y="501241"/>
                  <a:pt x="0" y="485072"/>
                </a:cubicBezTo>
                <a:cubicBezTo>
                  <a:pt x="0" y="468903"/>
                  <a:pt x="12705" y="456200"/>
                  <a:pt x="28874" y="456200"/>
                </a:cubicBezTo>
                <a:close/>
                <a:moveTo>
                  <a:pt x="11063719" y="449270"/>
                </a:moveTo>
                <a:cubicBezTo>
                  <a:pt x="11082198" y="449270"/>
                  <a:pt x="11098367" y="465439"/>
                  <a:pt x="11098367" y="483918"/>
                </a:cubicBezTo>
                <a:cubicBezTo>
                  <a:pt x="11098367" y="502397"/>
                  <a:pt x="11083353" y="518566"/>
                  <a:pt x="11063719" y="518566"/>
                </a:cubicBezTo>
                <a:cubicBezTo>
                  <a:pt x="11045240" y="518566"/>
                  <a:pt x="11029071" y="502397"/>
                  <a:pt x="11029071" y="483918"/>
                </a:cubicBezTo>
                <a:cubicBezTo>
                  <a:pt x="11029071" y="465439"/>
                  <a:pt x="11044086" y="449270"/>
                  <a:pt x="11063719" y="449270"/>
                </a:cubicBezTo>
                <a:close/>
                <a:moveTo>
                  <a:pt x="9945743" y="449270"/>
                </a:moveTo>
                <a:cubicBezTo>
                  <a:pt x="9965377" y="449270"/>
                  <a:pt x="9980391" y="465439"/>
                  <a:pt x="9980391" y="483918"/>
                </a:cubicBezTo>
                <a:cubicBezTo>
                  <a:pt x="9980391" y="502397"/>
                  <a:pt x="9964222" y="518566"/>
                  <a:pt x="9945743" y="518566"/>
                </a:cubicBezTo>
                <a:cubicBezTo>
                  <a:pt x="9927264" y="518566"/>
                  <a:pt x="9911094" y="502397"/>
                  <a:pt x="9911094" y="483918"/>
                </a:cubicBezTo>
                <a:cubicBezTo>
                  <a:pt x="9911094" y="465439"/>
                  <a:pt x="9926109" y="449270"/>
                  <a:pt x="9945743" y="449270"/>
                </a:cubicBezTo>
                <a:close/>
                <a:moveTo>
                  <a:pt x="9386754" y="449270"/>
                </a:moveTo>
                <a:cubicBezTo>
                  <a:pt x="9406389" y="449270"/>
                  <a:pt x="9421402" y="465439"/>
                  <a:pt x="9421402" y="483918"/>
                </a:cubicBezTo>
                <a:cubicBezTo>
                  <a:pt x="9421402" y="502397"/>
                  <a:pt x="9405233" y="518566"/>
                  <a:pt x="9386754" y="518566"/>
                </a:cubicBezTo>
                <a:cubicBezTo>
                  <a:pt x="9368275" y="518566"/>
                  <a:pt x="9352106" y="502397"/>
                  <a:pt x="9352106" y="483918"/>
                </a:cubicBezTo>
                <a:cubicBezTo>
                  <a:pt x="9352106" y="465439"/>
                  <a:pt x="9367121" y="449270"/>
                  <a:pt x="9386754" y="449270"/>
                </a:cubicBezTo>
                <a:close/>
                <a:moveTo>
                  <a:pt x="8832937" y="449270"/>
                </a:moveTo>
                <a:cubicBezTo>
                  <a:pt x="8852571" y="449270"/>
                  <a:pt x="8867585" y="465439"/>
                  <a:pt x="8867585" y="483918"/>
                </a:cubicBezTo>
                <a:cubicBezTo>
                  <a:pt x="8867585" y="502397"/>
                  <a:pt x="8852571" y="518566"/>
                  <a:pt x="8832937" y="518566"/>
                </a:cubicBezTo>
                <a:cubicBezTo>
                  <a:pt x="8814458" y="518566"/>
                  <a:pt x="8798289" y="502397"/>
                  <a:pt x="8798289" y="483918"/>
                </a:cubicBezTo>
                <a:cubicBezTo>
                  <a:pt x="8798289" y="465439"/>
                  <a:pt x="8813304" y="449270"/>
                  <a:pt x="8832937" y="449270"/>
                </a:cubicBezTo>
                <a:close/>
                <a:moveTo>
                  <a:pt x="8273949" y="449270"/>
                </a:moveTo>
                <a:cubicBezTo>
                  <a:pt x="8293584" y="449270"/>
                  <a:pt x="8308598" y="465439"/>
                  <a:pt x="8308598" y="483918"/>
                </a:cubicBezTo>
                <a:cubicBezTo>
                  <a:pt x="8308598" y="502397"/>
                  <a:pt x="8293584" y="518566"/>
                  <a:pt x="8273949" y="518566"/>
                </a:cubicBezTo>
                <a:cubicBezTo>
                  <a:pt x="8255471" y="518566"/>
                  <a:pt x="8239301" y="502397"/>
                  <a:pt x="8239301" y="483918"/>
                </a:cubicBezTo>
                <a:cubicBezTo>
                  <a:pt x="8239301" y="465439"/>
                  <a:pt x="8254316" y="449270"/>
                  <a:pt x="8273949" y="449270"/>
                </a:cubicBezTo>
                <a:close/>
                <a:moveTo>
                  <a:pt x="6458393" y="449270"/>
                </a:moveTo>
                <a:cubicBezTo>
                  <a:pt x="6476871" y="449270"/>
                  <a:pt x="6493041" y="465439"/>
                  <a:pt x="6493041" y="483918"/>
                </a:cubicBezTo>
                <a:cubicBezTo>
                  <a:pt x="6493041" y="502397"/>
                  <a:pt x="6476871" y="518566"/>
                  <a:pt x="6458393" y="518566"/>
                </a:cubicBezTo>
                <a:cubicBezTo>
                  <a:pt x="6439914" y="518566"/>
                  <a:pt x="6423745" y="502397"/>
                  <a:pt x="6423745" y="483918"/>
                </a:cubicBezTo>
                <a:cubicBezTo>
                  <a:pt x="6423745" y="465439"/>
                  <a:pt x="6438760" y="449270"/>
                  <a:pt x="6458393" y="449270"/>
                </a:cubicBezTo>
                <a:close/>
                <a:moveTo>
                  <a:pt x="5340416" y="449270"/>
                </a:moveTo>
                <a:cubicBezTo>
                  <a:pt x="5360051" y="449270"/>
                  <a:pt x="5375064" y="465439"/>
                  <a:pt x="5375064" y="483918"/>
                </a:cubicBezTo>
                <a:cubicBezTo>
                  <a:pt x="5375064" y="502397"/>
                  <a:pt x="5358895" y="518566"/>
                  <a:pt x="5340416" y="518566"/>
                </a:cubicBezTo>
                <a:cubicBezTo>
                  <a:pt x="5321939" y="518566"/>
                  <a:pt x="5305769" y="502397"/>
                  <a:pt x="5305769" y="483918"/>
                </a:cubicBezTo>
                <a:cubicBezTo>
                  <a:pt x="5305769" y="465439"/>
                  <a:pt x="5320783" y="449270"/>
                  <a:pt x="5340416" y="449270"/>
                </a:cubicBezTo>
                <a:close/>
                <a:moveTo>
                  <a:pt x="4781429" y="449270"/>
                </a:moveTo>
                <a:cubicBezTo>
                  <a:pt x="4801062" y="449270"/>
                  <a:pt x="4816075" y="465439"/>
                  <a:pt x="4816075" y="483918"/>
                </a:cubicBezTo>
                <a:cubicBezTo>
                  <a:pt x="4816075" y="502397"/>
                  <a:pt x="4799906" y="518566"/>
                  <a:pt x="4781429" y="518566"/>
                </a:cubicBezTo>
                <a:cubicBezTo>
                  <a:pt x="4762949" y="518566"/>
                  <a:pt x="4746781" y="502397"/>
                  <a:pt x="4746781" y="483918"/>
                </a:cubicBezTo>
                <a:cubicBezTo>
                  <a:pt x="4746781" y="465439"/>
                  <a:pt x="4761794" y="449270"/>
                  <a:pt x="4781429" y="449270"/>
                </a:cubicBezTo>
                <a:close/>
                <a:moveTo>
                  <a:pt x="4220129" y="449270"/>
                </a:moveTo>
                <a:cubicBezTo>
                  <a:pt x="4239764" y="449270"/>
                  <a:pt x="4254779" y="465439"/>
                  <a:pt x="4254779" y="483918"/>
                </a:cubicBezTo>
                <a:cubicBezTo>
                  <a:pt x="4254779" y="502397"/>
                  <a:pt x="4239764" y="518566"/>
                  <a:pt x="4220129" y="518566"/>
                </a:cubicBezTo>
                <a:cubicBezTo>
                  <a:pt x="4201651" y="518566"/>
                  <a:pt x="4185482" y="502397"/>
                  <a:pt x="4185482" y="483918"/>
                </a:cubicBezTo>
                <a:cubicBezTo>
                  <a:pt x="4185482" y="465439"/>
                  <a:pt x="4200498" y="449270"/>
                  <a:pt x="4220129" y="449270"/>
                </a:cubicBezTo>
                <a:close/>
                <a:moveTo>
                  <a:pt x="3661142" y="449270"/>
                </a:moveTo>
                <a:cubicBezTo>
                  <a:pt x="3680776" y="449270"/>
                  <a:pt x="3695791" y="465439"/>
                  <a:pt x="3695791" y="483918"/>
                </a:cubicBezTo>
                <a:cubicBezTo>
                  <a:pt x="3695791" y="502397"/>
                  <a:pt x="3680776" y="518566"/>
                  <a:pt x="3661142" y="518566"/>
                </a:cubicBezTo>
                <a:cubicBezTo>
                  <a:pt x="3642663" y="518566"/>
                  <a:pt x="3626494" y="502397"/>
                  <a:pt x="3626494" y="483918"/>
                </a:cubicBezTo>
                <a:cubicBezTo>
                  <a:pt x="3626494" y="465439"/>
                  <a:pt x="3641508" y="449270"/>
                  <a:pt x="3661142" y="449270"/>
                </a:cubicBezTo>
                <a:close/>
                <a:moveTo>
                  <a:pt x="1845585" y="449270"/>
                </a:moveTo>
                <a:cubicBezTo>
                  <a:pt x="1864064" y="449270"/>
                  <a:pt x="1880233" y="465439"/>
                  <a:pt x="1880233" y="483918"/>
                </a:cubicBezTo>
                <a:cubicBezTo>
                  <a:pt x="1880233" y="502397"/>
                  <a:pt x="1865220" y="518566"/>
                  <a:pt x="1845585" y="518566"/>
                </a:cubicBezTo>
                <a:cubicBezTo>
                  <a:pt x="1827106" y="518566"/>
                  <a:pt x="1810937" y="502397"/>
                  <a:pt x="1810937" y="483918"/>
                </a:cubicBezTo>
                <a:cubicBezTo>
                  <a:pt x="1810937" y="465439"/>
                  <a:pt x="1825952" y="449270"/>
                  <a:pt x="1845585" y="449270"/>
                </a:cubicBezTo>
                <a:close/>
                <a:moveTo>
                  <a:pt x="727609" y="449270"/>
                </a:moveTo>
                <a:cubicBezTo>
                  <a:pt x="747243" y="449270"/>
                  <a:pt x="762257" y="465439"/>
                  <a:pt x="762257" y="483918"/>
                </a:cubicBezTo>
                <a:cubicBezTo>
                  <a:pt x="762257" y="502397"/>
                  <a:pt x="746088" y="518566"/>
                  <a:pt x="727609" y="518566"/>
                </a:cubicBezTo>
                <a:cubicBezTo>
                  <a:pt x="709130" y="518566"/>
                  <a:pt x="692961" y="502397"/>
                  <a:pt x="692961" y="483918"/>
                </a:cubicBezTo>
                <a:cubicBezTo>
                  <a:pt x="692961" y="465439"/>
                  <a:pt x="707976" y="449270"/>
                  <a:pt x="727609" y="449270"/>
                </a:cubicBezTo>
                <a:close/>
                <a:moveTo>
                  <a:pt x="168621" y="449270"/>
                </a:moveTo>
                <a:cubicBezTo>
                  <a:pt x="188255" y="449270"/>
                  <a:pt x="203269" y="465439"/>
                  <a:pt x="203269" y="483918"/>
                </a:cubicBezTo>
                <a:cubicBezTo>
                  <a:pt x="203269" y="502397"/>
                  <a:pt x="187100" y="518566"/>
                  <a:pt x="168621" y="518566"/>
                </a:cubicBezTo>
                <a:cubicBezTo>
                  <a:pt x="150142" y="518566"/>
                  <a:pt x="133973" y="502397"/>
                  <a:pt x="133973" y="483918"/>
                </a:cubicBezTo>
                <a:cubicBezTo>
                  <a:pt x="133973" y="465439"/>
                  <a:pt x="148988" y="449270"/>
                  <a:pt x="168621" y="449270"/>
                </a:cubicBezTo>
                <a:close/>
                <a:moveTo>
                  <a:pt x="10923972" y="443495"/>
                </a:moveTo>
                <a:cubicBezTo>
                  <a:pt x="10945916" y="443495"/>
                  <a:pt x="10964394" y="461974"/>
                  <a:pt x="10964394" y="483918"/>
                </a:cubicBezTo>
                <a:cubicBezTo>
                  <a:pt x="10964394" y="505861"/>
                  <a:pt x="10945916" y="524340"/>
                  <a:pt x="10923972" y="524340"/>
                </a:cubicBezTo>
                <a:cubicBezTo>
                  <a:pt x="10902028" y="524340"/>
                  <a:pt x="10883549" y="505861"/>
                  <a:pt x="10883549" y="483918"/>
                </a:cubicBezTo>
                <a:cubicBezTo>
                  <a:pt x="10883549" y="461974"/>
                  <a:pt x="10902028" y="443495"/>
                  <a:pt x="10923972" y="443495"/>
                </a:cubicBezTo>
                <a:close/>
                <a:moveTo>
                  <a:pt x="9805996" y="443495"/>
                </a:moveTo>
                <a:cubicBezTo>
                  <a:pt x="9827939" y="443495"/>
                  <a:pt x="9846418" y="461974"/>
                  <a:pt x="9846418" y="483918"/>
                </a:cubicBezTo>
                <a:cubicBezTo>
                  <a:pt x="9846418" y="505861"/>
                  <a:pt x="9827939" y="524340"/>
                  <a:pt x="9805996" y="524340"/>
                </a:cubicBezTo>
                <a:cubicBezTo>
                  <a:pt x="9784052" y="524340"/>
                  <a:pt x="9765573" y="505861"/>
                  <a:pt x="9765573" y="483918"/>
                </a:cubicBezTo>
                <a:cubicBezTo>
                  <a:pt x="9765573" y="461974"/>
                  <a:pt x="9784052" y="443495"/>
                  <a:pt x="9805996" y="443495"/>
                </a:cubicBezTo>
                <a:close/>
                <a:moveTo>
                  <a:pt x="9526502" y="443495"/>
                </a:moveTo>
                <a:cubicBezTo>
                  <a:pt x="9548445" y="443495"/>
                  <a:pt x="9566924" y="461974"/>
                  <a:pt x="9566924" y="483918"/>
                </a:cubicBezTo>
                <a:cubicBezTo>
                  <a:pt x="9566924" y="505861"/>
                  <a:pt x="9548445" y="524340"/>
                  <a:pt x="9526502" y="524340"/>
                </a:cubicBezTo>
                <a:cubicBezTo>
                  <a:pt x="9504558" y="524340"/>
                  <a:pt x="9486079" y="505861"/>
                  <a:pt x="9486079" y="483918"/>
                </a:cubicBezTo>
                <a:cubicBezTo>
                  <a:pt x="9486079" y="461974"/>
                  <a:pt x="9504558" y="443495"/>
                  <a:pt x="9526502" y="443495"/>
                </a:cubicBezTo>
                <a:close/>
                <a:moveTo>
                  <a:pt x="8693190" y="443495"/>
                </a:moveTo>
                <a:cubicBezTo>
                  <a:pt x="8715134" y="443495"/>
                  <a:pt x="8733613" y="461974"/>
                  <a:pt x="8733613" y="483918"/>
                </a:cubicBezTo>
                <a:cubicBezTo>
                  <a:pt x="8733613" y="505861"/>
                  <a:pt x="8715134" y="524340"/>
                  <a:pt x="8693190" y="524340"/>
                </a:cubicBezTo>
                <a:cubicBezTo>
                  <a:pt x="8671246" y="524340"/>
                  <a:pt x="8652767" y="505861"/>
                  <a:pt x="8652767" y="483918"/>
                </a:cubicBezTo>
                <a:cubicBezTo>
                  <a:pt x="8652767" y="461974"/>
                  <a:pt x="8671246" y="443495"/>
                  <a:pt x="8693190" y="443495"/>
                </a:cubicBezTo>
                <a:close/>
                <a:moveTo>
                  <a:pt x="8413696" y="443495"/>
                </a:moveTo>
                <a:cubicBezTo>
                  <a:pt x="8435640" y="443495"/>
                  <a:pt x="8454118" y="461974"/>
                  <a:pt x="8454118" y="483918"/>
                </a:cubicBezTo>
                <a:cubicBezTo>
                  <a:pt x="8454118" y="505861"/>
                  <a:pt x="8435640" y="524340"/>
                  <a:pt x="8413696" y="524340"/>
                </a:cubicBezTo>
                <a:cubicBezTo>
                  <a:pt x="8391752" y="524340"/>
                  <a:pt x="8373274" y="505861"/>
                  <a:pt x="8373274" y="483918"/>
                </a:cubicBezTo>
                <a:cubicBezTo>
                  <a:pt x="8373274" y="461974"/>
                  <a:pt x="8391752" y="443495"/>
                  <a:pt x="8413696" y="443495"/>
                </a:cubicBezTo>
                <a:close/>
                <a:moveTo>
                  <a:pt x="6318647" y="443495"/>
                </a:moveTo>
                <a:cubicBezTo>
                  <a:pt x="6340589" y="443495"/>
                  <a:pt x="6359068" y="461974"/>
                  <a:pt x="6359068" y="483918"/>
                </a:cubicBezTo>
                <a:cubicBezTo>
                  <a:pt x="6359068" y="505861"/>
                  <a:pt x="6340589" y="524340"/>
                  <a:pt x="6318647" y="524340"/>
                </a:cubicBezTo>
                <a:cubicBezTo>
                  <a:pt x="6296702" y="524340"/>
                  <a:pt x="6278223" y="505861"/>
                  <a:pt x="6278223" y="483918"/>
                </a:cubicBezTo>
                <a:cubicBezTo>
                  <a:pt x="6278223" y="461974"/>
                  <a:pt x="6296702" y="443495"/>
                  <a:pt x="6318647" y="443495"/>
                </a:cubicBezTo>
                <a:close/>
                <a:moveTo>
                  <a:pt x="5200670" y="443495"/>
                </a:moveTo>
                <a:cubicBezTo>
                  <a:pt x="5222613" y="443495"/>
                  <a:pt x="5241093" y="461974"/>
                  <a:pt x="5241093" y="483918"/>
                </a:cubicBezTo>
                <a:cubicBezTo>
                  <a:pt x="5241093" y="505861"/>
                  <a:pt x="5222613" y="524340"/>
                  <a:pt x="5200670" y="524340"/>
                </a:cubicBezTo>
                <a:cubicBezTo>
                  <a:pt x="5178725" y="524340"/>
                  <a:pt x="5160247" y="505861"/>
                  <a:pt x="5160247" y="483918"/>
                </a:cubicBezTo>
                <a:cubicBezTo>
                  <a:pt x="5160247" y="461974"/>
                  <a:pt x="5178725" y="443495"/>
                  <a:pt x="5200670" y="443495"/>
                </a:cubicBezTo>
                <a:close/>
                <a:moveTo>
                  <a:pt x="4921176" y="443495"/>
                </a:moveTo>
                <a:cubicBezTo>
                  <a:pt x="4944275" y="443495"/>
                  <a:pt x="4961598" y="461974"/>
                  <a:pt x="4961598" y="483918"/>
                </a:cubicBezTo>
                <a:cubicBezTo>
                  <a:pt x="4961598" y="505861"/>
                  <a:pt x="4943120" y="524340"/>
                  <a:pt x="4921176" y="524340"/>
                </a:cubicBezTo>
                <a:cubicBezTo>
                  <a:pt x="4899233" y="524340"/>
                  <a:pt x="4880752" y="505861"/>
                  <a:pt x="4880752" y="483918"/>
                </a:cubicBezTo>
                <a:cubicBezTo>
                  <a:pt x="4880752" y="461974"/>
                  <a:pt x="4899233" y="443495"/>
                  <a:pt x="4921176" y="443495"/>
                </a:cubicBezTo>
                <a:close/>
                <a:moveTo>
                  <a:pt x="4080383" y="443495"/>
                </a:moveTo>
                <a:cubicBezTo>
                  <a:pt x="4102326" y="443495"/>
                  <a:pt x="4120806" y="461974"/>
                  <a:pt x="4120806" y="483918"/>
                </a:cubicBezTo>
                <a:cubicBezTo>
                  <a:pt x="4120806" y="505861"/>
                  <a:pt x="4102326" y="524340"/>
                  <a:pt x="4080383" y="524340"/>
                </a:cubicBezTo>
                <a:cubicBezTo>
                  <a:pt x="4058439" y="524340"/>
                  <a:pt x="4039961" y="505861"/>
                  <a:pt x="4039961" y="483918"/>
                </a:cubicBezTo>
                <a:cubicBezTo>
                  <a:pt x="4039961" y="461974"/>
                  <a:pt x="4058439" y="443495"/>
                  <a:pt x="4080383" y="443495"/>
                </a:cubicBezTo>
                <a:close/>
                <a:moveTo>
                  <a:pt x="3800889" y="443495"/>
                </a:moveTo>
                <a:cubicBezTo>
                  <a:pt x="3822833" y="443495"/>
                  <a:pt x="3841311" y="461974"/>
                  <a:pt x="3841311" y="483918"/>
                </a:cubicBezTo>
                <a:cubicBezTo>
                  <a:pt x="3841311" y="505861"/>
                  <a:pt x="3822833" y="524340"/>
                  <a:pt x="3800889" y="524340"/>
                </a:cubicBezTo>
                <a:cubicBezTo>
                  <a:pt x="3778945" y="524340"/>
                  <a:pt x="3760466" y="505861"/>
                  <a:pt x="3760466" y="483918"/>
                </a:cubicBezTo>
                <a:cubicBezTo>
                  <a:pt x="3760466" y="461974"/>
                  <a:pt x="3778945" y="443495"/>
                  <a:pt x="3800889" y="443495"/>
                </a:cubicBezTo>
                <a:close/>
                <a:moveTo>
                  <a:pt x="1705839" y="443495"/>
                </a:moveTo>
                <a:cubicBezTo>
                  <a:pt x="1727782" y="443495"/>
                  <a:pt x="1746261" y="461974"/>
                  <a:pt x="1746261" y="483918"/>
                </a:cubicBezTo>
                <a:cubicBezTo>
                  <a:pt x="1746261" y="505861"/>
                  <a:pt x="1727782" y="524340"/>
                  <a:pt x="1705839" y="524340"/>
                </a:cubicBezTo>
                <a:cubicBezTo>
                  <a:pt x="1683894" y="524340"/>
                  <a:pt x="1665415" y="505861"/>
                  <a:pt x="1665415" y="483918"/>
                </a:cubicBezTo>
                <a:cubicBezTo>
                  <a:pt x="1665415" y="461974"/>
                  <a:pt x="1683894" y="443495"/>
                  <a:pt x="1705839" y="443495"/>
                </a:cubicBezTo>
                <a:close/>
                <a:moveTo>
                  <a:pt x="587862" y="443495"/>
                </a:moveTo>
                <a:cubicBezTo>
                  <a:pt x="609806" y="443495"/>
                  <a:pt x="628284" y="461974"/>
                  <a:pt x="628284" y="483918"/>
                </a:cubicBezTo>
                <a:cubicBezTo>
                  <a:pt x="628284" y="505861"/>
                  <a:pt x="609806" y="524340"/>
                  <a:pt x="587862" y="524340"/>
                </a:cubicBezTo>
                <a:cubicBezTo>
                  <a:pt x="565918" y="524340"/>
                  <a:pt x="547439" y="505861"/>
                  <a:pt x="547439" y="483918"/>
                </a:cubicBezTo>
                <a:cubicBezTo>
                  <a:pt x="547439" y="461974"/>
                  <a:pt x="565918" y="443495"/>
                  <a:pt x="587862" y="443495"/>
                </a:cubicBezTo>
                <a:close/>
                <a:moveTo>
                  <a:pt x="308368" y="443495"/>
                </a:moveTo>
                <a:cubicBezTo>
                  <a:pt x="330311" y="443495"/>
                  <a:pt x="348790" y="461974"/>
                  <a:pt x="348790" y="483918"/>
                </a:cubicBezTo>
                <a:cubicBezTo>
                  <a:pt x="348790" y="505861"/>
                  <a:pt x="330311" y="524340"/>
                  <a:pt x="308368" y="524340"/>
                </a:cubicBezTo>
                <a:cubicBezTo>
                  <a:pt x="286424" y="524340"/>
                  <a:pt x="267945" y="505861"/>
                  <a:pt x="267945" y="483918"/>
                </a:cubicBezTo>
                <a:cubicBezTo>
                  <a:pt x="267945" y="461974"/>
                  <a:pt x="286424" y="443495"/>
                  <a:pt x="308368" y="443495"/>
                </a:cubicBezTo>
                <a:close/>
                <a:moveTo>
                  <a:pt x="10784225" y="433101"/>
                </a:moveTo>
                <a:cubicBezTo>
                  <a:pt x="10811943" y="433101"/>
                  <a:pt x="10835042" y="456200"/>
                  <a:pt x="10835042" y="483918"/>
                </a:cubicBezTo>
                <a:cubicBezTo>
                  <a:pt x="10835042" y="511636"/>
                  <a:pt x="10811943" y="534735"/>
                  <a:pt x="10784225" y="534735"/>
                </a:cubicBezTo>
                <a:cubicBezTo>
                  <a:pt x="10756506" y="534735"/>
                  <a:pt x="10733408" y="511636"/>
                  <a:pt x="10733408" y="483918"/>
                </a:cubicBezTo>
                <a:cubicBezTo>
                  <a:pt x="10733408" y="456200"/>
                  <a:pt x="10755352" y="433101"/>
                  <a:pt x="10784225" y="433101"/>
                </a:cubicBezTo>
                <a:close/>
                <a:moveTo>
                  <a:pt x="9666248" y="433101"/>
                </a:moveTo>
                <a:cubicBezTo>
                  <a:pt x="9695122" y="433101"/>
                  <a:pt x="9717066" y="456200"/>
                  <a:pt x="9717066" y="483918"/>
                </a:cubicBezTo>
                <a:cubicBezTo>
                  <a:pt x="9717066" y="511636"/>
                  <a:pt x="9695122" y="534735"/>
                  <a:pt x="9666248" y="534735"/>
                </a:cubicBezTo>
                <a:cubicBezTo>
                  <a:pt x="9638530" y="534735"/>
                  <a:pt x="9615431" y="511636"/>
                  <a:pt x="9615431" y="483918"/>
                </a:cubicBezTo>
                <a:cubicBezTo>
                  <a:pt x="9615431" y="456200"/>
                  <a:pt x="9637376" y="433101"/>
                  <a:pt x="9666248" y="433101"/>
                </a:cubicBezTo>
                <a:close/>
                <a:moveTo>
                  <a:pt x="8553443" y="433101"/>
                </a:moveTo>
                <a:cubicBezTo>
                  <a:pt x="8582317" y="433101"/>
                  <a:pt x="8604260" y="456200"/>
                  <a:pt x="8604260" y="483918"/>
                </a:cubicBezTo>
                <a:cubicBezTo>
                  <a:pt x="8604260" y="511636"/>
                  <a:pt x="8582317" y="534735"/>
                  <a:pt x="8553443" y="534735"/>
                </a:cubicBezTo>
                <a:cubicBezTo>
                  <a:pt x="8525724" y="534735"/>
                  <a:pt x="8502626" y="511636"/>
                  <a:pt x="8502626" y="483918"/>
                </a:cubicBezTo>
                <a:cubicBezTo>
                  <a:pt x="8502626" y="456200"/>
                  <a:pt x="8524570" y="433101"/>
                  <a:pt x="8553443" y="433101"/>
                </a:cubicBezTo>
                <a:close/>
                <a:moveTo>
                  <a:pt x="6178898" y="433101"/>
                </a:moveTo>
                <a:cubicBezTo>
                  <a:pt x="6206618" y="433101"/>
                  <a:pt x="6229715" y="456200"/>
                  <a:pt x="6229715" y="483918"/>
                </a:cubicBezTo>
                <a:cubicBezTo>
                  <a:pt x="6229715" y="511636"/>
                  <a:pt x="6206618" y="534735"/>
                  <a:pt x="6178898" y="534735"/>
                </a:cubicBezTo>
                <a:cubicBezTo>
                  <a:pt x="6151180" y="534735"/>
                  <a:pt x="6128081" y="511636"/>
                  <a:pt x="6128081" y="483918"/>
                </a:cubicBezTo>
                <a:cubicBezTo>
                  <a:pt x="6128081" y="456200"/>
                  <a:pt x="6150025" y="433101"/>
                  <a:pt x="6178898" y="433101"/>
                </a:cubicBezTo>
                <a:close/>
                <a:moveTo>
                  <a:pt x="5060922" y="433101"/>
                </a:moveTo>
                <a:cubicBezTo>
                  <a:pt x="5089795" y="433101"/>
                  <a:pt x="5111740" y="456200"/>
                  <a:pt x="5111740" y="483918"/>
                </a:cubicBezTo>
                <a:cubicBezTo>
                  <a:pt x="5111740" y="511636"/>
                  <a:pt x="5088641" y="534735"/>
                  <a:pt x="5060922" y="534735"/>
                </a:cubicBezTo>
                <a:cubicBezTo>
                  <a:pt x="5033205" y="534735"/>
                  <a:pt x="5010105" y="511636"/>
                  <a:pt x="5010105" y="483918"/>
                </a:cubicBezTo>
                <a:cubicBezTo>
                  <a:pt x="5010105" y="456200"/>
                  <a:pt x="5032050" y="433101"/>
                  <a:pt x="5060922" y="433101"/>
                </a:cubicBezTo>
                <a:close/>
                <a:moveTo>
                  <a:pt x="3940636" y="433101"/>
                </a:moveTo>
                <a:cubicBezTo>
                  <a:pt x="3969510" y="433101"/>
                  <a:pt x="3991453" y="456200"/>
                  <a:pt x="3991453" y="483918"/>
                </a:cubicBezTo>
                <a:cubicBezTo>
                  <a:pt x="3991453" y="511636"/>
                  <a:pt x="3969510" y="534735"/>
                  <a:pt x="3940636" y="534735"/>
                </a:cubicBezTo>
                <a:cubicBezTo>
                  <a:pt x="3912917" y="534735"/>
                  <a:pt x="3889819" y="511636"/>
                  <a:pt x="3889819" y="483918"/>
                </a:cubicBezTo>
                <a:cubicBezTo>
                  <a:pt x="3889819" y="456200"/>
                  <a:pt x="3911763" y="433101"/>
                  <a:pt x="3940636" y="433101"/>
                </a:cubicBezTo>
                <a:close/>
                <a:moveTo>
                  <a:pt x="1566091" y="433101"/>
                </a:moveTo>
                <a:cubicBezTo>
                  <a:pt x="1593810" y="433101"/>
                  <a:pt x="1616908" y="456200"/>
                  <a:pt x="1616908" y="483918"/>
                </a:cubicBezTo>
                <a:cubicBezTo>
                  <a:pt x="1616908" y="511636"/>
                  <a:pt x="1593810" y="534735"/>
                  <a:pt x="1566091" y="534735"/>
                </a:cubicBezTo>
                <a:cubicBezTo>
                  <a:pt x="1538373" y="534735"/>
                  <a:pt x="1515274" y="511636"/>
                  <a:pt x="1515274" y="483918"/>
                </a:cubicBezTo>
                <a:cubicBezTo>
                  <a:pt x="1515274" y="456200"/>
                  <a:pt x="1537218" y="433101"/>
                  <a:pt x="1566091" y="433101"/>
                </a:cubicBezTo>
                <a:close/>
                <a:moveTo>
                  <a:pt x="448115" y="433101"/>
                </a:moveTo>
                <a:cubicBezTo>
                  <a:pt x="476989" y="433101"/>
                  <a:pt x="498932" y="456200"/>
                  <a:pt x="498932" y="483918"/>
                </a:cubicBezTo>
                <a:cubicBezTo>
                  <a:pt x="498932" y="511636"/>
                  <a:pt x="476989" y="534735"/>
                  <a:pt x="448115" y="534735"/>
                </a:cubicBezTo>
                <a:cubicBezTo>
                  <a:pt x="420396" y="534735"/>
                  <a:pt x="397298" y="511636"/>
                  <a:pt x="397298" y="483918"/>
                </a:cubicBezTo>
                <a:cubicBezTo>
                  <a:pt x="397298" y="456200"/>
                  <a:pt x="419242" y="433101"/>
                  <a:pt x="448115" y="433101"/>
                </a:cubicBezTo>
                <a:close/>
                <a:moveTo>
                  <a:pt x="12210569" y="319917"/>
                </a:moveTo>
                <a:cubicBezTo>
                  <a:pt x="12220963" y="319917"/>
                  <a:pt x="12231358" y="329157"/>
                  <a:pt x="12231358" y="340706"/>
                </a:cubicBezTo>
                <a:cubicBezTo>
                  <a:pt x="12231358" y="352256"/>
                  <a:pt x="12222118" y="361495"/>
                  <a:pt x="12210569" y="361495"/>
                </a:cubicBezTo>
                <a:cubicBezTo>
                  <a:pt x="12199020" y="361495"/>
                  <a:pt x="12189780" y="352256"/>
                  <a:pt x="12189780" y="340706"/>
                </a:cubicBezTo>
                <a:cubicBezTo>
                  <a:pt x="12189780" y="329157"/>
                  <a:pt x="12199020" y="319917"/>
                  <a:pt x="12210569" y="319917"/>
                </a:cubicBezTo>
                <a:close/>
                <a:moveTo>
                  <a:pt x="12071977" y="319917"/>
                </a:moveTo>
                <a:cubicBezTo>
                  <a:pt x="12083526" y="319917"/>
                  <a:pt x="12092766" y="329157"/>
                  <a:pt x="12092766" y="340706"/>
                </a:cubicBezTo>
                <a:cubicBezTo>
                  <a:pt x="12092766" y="352256"/>
                  <a:pt x="12083526" y="361495"/>
                  <a:pt x="12071977" y="361495"/>
                </a:cubicBezTo>
                <a:cubicBezTo>
                  <a:pt x="12060428" y="361495"/>
                  <a:pt x="12051188" y="352256"/>
                  <a:pt x="12051188" y="340706"/>
                </a:cubicBezTo>
                <a:cubicBezTo>
                  <a:pt x="12051188" y="329157"/>
                  <a:pt x="12060428" y="319917"/>
                  <a:pt x="12071977" y="319917"/>
                </a:cubicBezTo>
                <a:close/>
                <a:moveTo>
                  <a:pt x="11934539" y="319917"/>
                </a:moveTo>
                <a:cubicBezTo>
                  <a:pt x="11946088" y="319917"/>
                  <a:pt x="11955328" y="329157"/>
                  <a:pt x="11955328" y="340706"/>
                </a:cubicBezTo>
                <a:cubicBezTo>
                  <a:pt x="11955328" y="352256"/>
                  <a:pt x="11946088" y="361495"/>
                  <a:pt x="11934539" y="361495"/>
                </a:cubicBezTo>
                <a:cubicBezTo>
                  <a:pt x="11922990" y="361495"/>
                  <a:pt x="11913750" y="352256"/>
                  <a:pt x="11913750" y="340706"/>
                </a:cubicBezTo>
                <a:cubicBezTo>
                  <a:pt x="11913750" y="329157"/>
                  <a:pt x="11922990" y="319917"/>
                  <a:pt x="11934539" y="319917"/>
                </a:cubicBezTo>
                <a:close/>
                <a:moveTo>
                  <a:pt x="11797103" y="319917"/>
                </a:moveTo>
                <a:cubicBezTo>
                  <a:pt x="11808652" y="319917"/>
                  <a:pt x="11817892" y="329157"/>
                  <a:pt x="11817892" y="340706"/>
                </a:cubicBezTo>
                <a:cubicBezTo>
                  <a:pt x="11817892" y="352256"/>
                  <a:pt x="11808652" y="361495"/>
                  <a:pt x="11797103" y="361495"/>
                </a:cubicBezTo>
                <a:cubicBezTo>
                  <a:pt x="11785553" y="361495"/>
                  <a:pt x="11776314" y="352256"/>
                  <a:pt x="11776314" y="340706"/>
                </a:cubicBezTo>
                <a:cubicBezTo>
                  <a:pt x="11776314" y="329157"/>
                  <a:pt x="11785553" y="319917"/>
                  <a:pt x="11797103" y="319917"/>
                </a:cubicBezTo>
                <a:close/>
                <a:moveTo>
                  <a:pt x="10645633" y="319917"/>
                </a:moveTo>
                <a:cubicBezTo>
                  <a:pt x="10657182" y="319917"/>
                  <a:pt x="10666422" y="329157"/>
                  <a:pt x="10666422" y="340706"/>
                </a:cubicBezTo>
                <a:cubicBezTo>
                  <a:pt x="10666422" y="352256"/>
                  <a:pt x="10657182" y="361495"/>
                  <a:pt x="10645633" y="361495"/>
                </a:cubicBezTo>
                <a:cubicBezTo>
                  <a:pt x="10634083" y="361495"/>
                  <a:pt x="10624844" y="352256"/>
                  <a:pt x="10624844" y="340706"/>
                </a:cubicBezTo>
                <a:cubicBezTo>
                  <a:pt x="10624844" y="329157"/>
                  <a:pt x="10634083" y="319917"/>
                  <a:pt x="10645633" y="319917"/>
                </a:cubicBezTo>
                <a:close/>
                <a:moveTo>
                  <a:pt x="9247008" y="319917"/>
                </a:moveTo>
                <a:cubicBezTo>
                  <a:pt x="9258557" y="319917"/>
                  <a:pt x="9267797" y="329157"/>
                  <a:pt x="9267797" y="340706"/>
                </a:cubicBezTo>
                <a:cubicBezTo>
                  <a:pt x="9267797" y="352256"/>
                  <a:pt x="9258557" y="361495"/>
                  <a:pt x="9247008" y="361495"/>
                </a:cubicBezTo>
                <a:cubicBezTo>
                  <a:pt x="9235459" y="361495"/>
                  <a:pt x="9226219" y="352256"/>
                  <a:pt x="9226219" y="340706"/>
                </a:cubicBezTo>
                <a:cubicBezTo>
                  <a:pt x="9226219" y="329157"/>
                  <a:pt x="9235459" y="319917"/>
                  <a:pt x="9247008" y="319917"/>
                </a:cubicBezTo>
                <a:close/>
                <a:moveTo>
                  <a:pt x="8148062" y="319917"/>
                </a:moveTo>
                <a:cubicBezTo>
                  <a:pt x="8158457" y="319917"/>
                  <a:pt x="8168851" y="329157"/>
                  <a:pt x="8168851" y="340706"/>
                </a:cubicBezTo>
                <a:cubicBezTo>
                  <a:pt x="8168851" y="352256"/>
                  <a:pt x="8159611" y="361495"/>
                  <a:pt x="8148062" y="361495"/>
                </a:cubicBezTo>
                <a:cubicBezTo>
                  <a:pt x="8136513" y="361495"/>
                  <a:pt x="8127274" y="352256"/>
                  <a:pt x="8127274" y="340706"/>
                </a:cubicBezTo>
                <a:cubicBezTo>
                  <a:pt x="8127274" y="329157"/>
                  <a:pt x="8136513" y="319917"/>
                  <a:pt x="8148062" y="319917"/>
                </a:cubicBezTo>
                <a:close/>
                <a:moveTo>
                  <a:pt x="8009471" y="319917"/>
                </a:moveTo>
                <a:cubicBezTo>
                  <a:pt x="8021020" y="319917"/>
                  <a:pt x="8030259" y="329157"/>
                  <a:pt x="8030259" y="340706"/>
                </a:cubicBezTo>
                <a:cubicBezTo>
                  <a:pt x="8030259" y="352256"/>
                  <a:pt x="8021020" y="361495"/>
                  <a:pt x="8009471" y="361495"/>
                </a:cubicBezTo>
                <a:cubicBezTo>
                  <a:pt x="7997920" y="361495"/>
                  <a:pt x="7988682" y="352256"/>
                  <a:pt x="7988682" y="340706"/>
                </a:cubicBezTo>
                <a:cubicBezTo>
                  <a:pt x="7988682" y="329157"/>
                  <a:pt x="7997920" y="319917"/>
                  <a:pt x="8009471" y="319917"/>
                </a:cubicBezTo>
                <a:close/>
                <a:moveTo>
                  <a:pt x="7872031" y="319917"/>
                </a:moveTo>
                <a:cubicBezTo>
                  <a:pt x="7883582" y="319917"/>
                  <a:pt x="7892822" y="329157"/>
                  <a:pt x="7892822" y="340706"/>
                </a:cubicBezTo>
                <a:cubicBezTo>
                  <a:pt x="7892822" y="352256"/>
                  <a:pt x="7883582" y="361495"/>
                  <a:pt x="7872031" y="361495"/>
                </a:cubicBezTo>
                <a:cubicBezTo>
                  <a:pt x="7860484" y="361495"/>
                  <a:pt x="7851244" y="352256"/>
                  <a:pt x="7851244" y="340706"/>
                </a:cubicBezTo>
                <a:cubicBezTo>
                  <a:pt x="7851244" y="329157"/>
                  <a:pt x="7860484" y="319917"/>
                  <a:pt x="7872031" y="319917"/>
                </a:cubicBezTo>
                <a:close/>
                <a:moveTo>
                  <a:pt x="7713807" y="319917"/>
                </a:moveTo>
                <a:cubicBezTo>
                  <a:pt x="7725356" y="319917"/>
                  <a:pt x="7734596" y="329157"/>
                  <a:pt x="7734596" y="340706"/>
                </a:cubicBezTo>
                <a:cubicBezTo>
                  <a:pt x="7734596" y="352256"/>
                  <a:pt x="7725356" y="361495"/>
                  <a:pt x="7713807" y="361495"/>
                </a:cubicBezTo>
                <a:cubicBezTo>
                  <a:pt x="7702258" y="361495"/>
                  <a:pt x="7693019" y="352256"/>
                  <a:pt x="7693019" y="340706"/>
                </a:cubicBezTo>
                <a:cubicBezTo>
                  <a:pt x="7693019" y="329157"/>
                  <a:pt x="7702258" y="319917"/>
                  <a:pt x="7713807" y="319917"/>
                </a:cubicBezTo>
                <a:close/>
                <a:moveTo>
                  <a:pt x="7605244" y="319917"/>
                </a:moveTo>
                <a:cubicBezTo>
                  <a:pt x="7616793" y="319917"/>
                  <a:pt x="7626031" y="329157"/>
                  <a:pt x="7626031" y="340706"/>
                </a:cubicBezTo>
                <a:cubicBezTo>
                  <a:pt x="7626031" y="352256"/>
                  <a:pt x="7616793" y="361495"/>
                  <a:pt x="7605244" y="361495"/>
                </a:cubicBezTo>
                <a:cubicBezTo>
                  <a:pt x="7593693" y="361495"/>
                  <a:pt x="7584454" y="352256"/>
                  <a:pt x="7584454" y="340706"/>
                </a:cubicBezTo>
                <a:cubicBezTo>
                  <a:pt x="7584454" y="329157"/>
                  <a:pt x="7593693" y="319917"/>
                  <a:pt x="7605244" y="319917"/>
                </a:cubicBezTo>
                <a:close/>
                <a:moveTo>
                  <a:pt x="7466651" y="319917"/>
                </a:moveTo>
                <a:cubicBezTo>
                  <a:pt x="7478200" y="319917"/>
                  <a:pt x="7487439" y="329157"/>
                  <a:pt x="7487439" y="340706"/>
                </a:cubicBezTo>
                <a:cubicBezTo>
                  <a:pt x="7487439" y="352256"/>
                  <a:pt x="7478200" y="361495"/>
                  <a:pt x="7466651" y="361495"/>
                </a:cubicBezTo>
                <a:cubicBezTo>
                  <a:pt x="7455102" y="361495"/>
                  <a:pt x="7445863" y="352256"/>
                  <a:pt x="7445863" y="340706"/>
                </a:cubicBezTo>
                <a:cubicBezTo>
                  <a:pt x="7445863" y="329157"/>
                  <a:pt x="7455102" y="319917"/>
                  <a:pt x="7466651" y="319917"/>
                </a:cubicBezTo>
                <a:close/>
                <a:moveTo>
                  <a:pt x="7329213" y="319917"/>
                </a:moveTo>
                <a:cubicBezTo>
                  <a:pt x="7340762" y="319917"/>
                  <a:pt x="7350002" y="329157"/>
                  <a:pt x="7350002" y="340706"/>
                </a:cubicBezTo>
                <a:cubicBezTo>
                  <a:pt x="7350002" y="352256"/>
                  <a:pt x="7340762" y="361495"/>
                  <a:pt x="7329213" y="361495"/>
                </a:cubicBezTo>
                <a:cubicBezTo>
                  <a:pt x="7317664" y="361495"/>
                  <a:pt x="7308425" y="352256"/>
                  <a:pt x="7308425" y="340706"/>
                </a:cubicBezTo>
                <a:cubicBezTo>
                  <a:pt x="7308425" y="329157"/>
                  <a:pt x="7317664" y="319917"/>
                  <a:pt x="7329213" y="319917"/>
                </a:cubicBezTo>
                <a:close/>
                <a:moveTo>
                  <a:pt x="7191777" y="319917"/>
                </a:moveTo>
                <a:cubicBezTo>
                  <a:pt x="7203326" y="319917"/>
                  <a:pt x="7212566" y="329157"/>
                  <a:pt x="7212566" y="340706"/>
                </a:cubicBezTo>
                <a:cubicBezTo>
                  <a:pt x="7212566" y="352256"/>
                  <a:pt x="7203326" y="361495"/>
                  <a:pt x="7191777" y="361495"/>
                </a:cubicBezTo>
                <a:cubicBezTo>
                  <a:pt x="7180226" y="361495"/>
                  <a:pt x="7170987" y="352256"/>
                  <a:pt x="7170987" y="340706"/>
                </a:cubicBezTo>
                <a:cubicBezTo>
                  <a:pt x="7170987" y="329157"/>
                  <a:pt x="7180226" y="319917"/>
                  <a:pt x="7191777" y="319917"/>
                </a:cubicBezTo>
                <a:close/>
                <a:moveTo>
                  <a:pt x="6040307" y="319917"/>
                </a:moveTo>
                <a:cubicBezTo>
                  <a:pt x="6051855" y="319917"/>
                  <a:pt x="6061095" y="329157"/>
                  <a:pt x="6061095" y="340706"/>
                </a:cubicBezTo>
                <a:cubicBezTo>
                  <a:pt x="6061095" y="352256"/>
                  <a:pt x="6051855" y="361495"/>
                  <a:pt x="6040307" y="361495"/>
                </a:cubicBezTo>
                <a:cubicBezTo>
                  <a:pt x="6028758" y="361495"/>
                  <a:pt x="6019518" y="352256"/>
                  <a:pt x="6019518" y="340706"/>
                </a:cubicBezTo>
                <a:cubicBezTo>
                  <a:pt x="6019518" y="329157"/>
                  <a:pt x="6028758" y="319917"/>
                  <a:pt x="6040307" y="319917"/>
                </a:cubicBezTo>
                <a:close/>
                <a:moveTo>
                  <a:pt x="4641682" y="319917"/>
                </a:moveTo>
                <a:cubicBezTo>
                  <a:pt x="4653231" y="319917"/>
                  <a:pt x="4662472" y="329157"/>
                  <a:pt x="4662472" y="340706"/>
                </a:cubicBezTo>
                <a:cubicBezTo>
                  <a:pt x="4662472" y="352256"/>
                  <a:pt x="4653231" y="361495"/>
                  <a:pt x="4641682" y="361495"/>
                </a:cubicBezTo>
                <a:cubicBezTo>
                  <a:pt x="4630133" y="361495"/>
                  <a:pt x="4620893" y="352256"/>
                  <a:pt x="4620893" y="340706"/>
                </a:cubicBezTo>
                <a:cubicBezTo>
                  <a:pt x="4620893" y="329157"/>
                  <a:pt x="4630133" y="319917"/>
                  <a:pt x="4641682" y="319917"/>
                </a:cubicBezTo>
                <a:close/>
                <a:moveTo>
                  <a:pt x="3535254" y="319917"/>
                </a:moveTo>
                <a:cubicBezTo>
                  <a:pt x="3545648" y="319917"/>
                  <a:pt x="3556043" y="329157"/>
                  <a:pt x="3556043" y="340706"/>
                </a:cubicBezTo>
                <a:cubicBezTo>
                  <a:pt x="3556043" y="352256"/>
                  <a:pt x="3546804" y="361495"/>
                  <a:pt x="3535254" y="361495"/>
                </a:cubicBezTo>
                <a:cubicBezTo>
                  <a:pt x="3523705" y="361495"/>
                  <a:pt x="3514466" y="352256"/>
                  <a:pt x="3514466" y="340706"/>
                </a:cubicBezTo>
                <a:cubicBezTo>
                  <a:pt x="3514466" y="329157"/>
                  <a:pt x="3523705" y="319917"/>
                  <a:pt x="3535254" y="319917"/>
                </a:cubicBezTo>
                <a:close/>
                <a:moveTo>
                  <a:pt x="3396662" y="319917"/>
                </a:moveTo>
                <a:cubicBezTo>
                  <a:pt x="3408212" y="319917"/>
                  <a:pt x="3417451" y="329157"/>
                  <a:pt x="3417451" y="340706"/>
                </a:cubicBezTo>
                <a:cubicBezTo>
                  <a:pt x="3417451" y="352256"/>
                  <a:pt x="3408212" y="361495"/>
                  <a:pt x="3396662" y="361495"/>
                </a:cubicBezTo>
                <a:cubicBezTo>
                  <a:pt x="3385113" y="361495"/>
                  <a:pt x="3375874" y="352256"/>
                  <a:pt x="3375874" y="340706"/>
                </a:cubicBezTo>
                <a:cubicBezTo>
                  <a:pt x="3375874" y="329157"/>
                  <a:pt x="3385113" y="319917"/>
                  <a:pt x="3396662" y="319917"/>
                </a:cubicBezTo>
                <a:close/>
                <a:moveTo>
                  <a:pt x="3259224" y="319917"/>
                </a:moveTo>
                <a:cubicBezTo>
                  <a:pt x="3270774" y="319917"/>
                  <a:pt x="3280013" y="329157"/>
                  <a:pt x="3280013" y="340706"/>
                </a:cubicBezTo>
                <a:cubicBezTo>
                  <a:pt x="3280013" y="352256"/>
                  <a:pt x="3270774" y="361495"/>
                  <a:pt x="3259224" y="361495"/>
                </a:cubicBezTo>
                <a:cubicBezTo>
                  <a:pt x="3247675" y="361495"/>
                  <a:pt x="3238436" y="352256"/>
                  <a:pt x="3238436" y="340706"/>
                </a:cubicBezTo>
                <a:cubicBezTo>
                  <a:pt x="3238436" y="329157"/>
                  <a:pt x="3247675" y="319917"/>
                  <a:pt x="3259224" y="319917"/>
                </a:cubicBezTo>
                <a:close/>
                <a:moveTo>
                  <a:pt x="3100999" y="319917"/>
                </a:moveTo>
                <a:cubicBezTo>
                  <a:pt x="3112549" y="319917"/>
                  <a:pt x="3121789" y="329157"/>
                  <a:pt x="3121789" y="340706"/>
                </a:cubicBezTo>
                <a:cubicBezTo>
                  <a:pt x="3121789" y="352256"/>
                  <a:pt x="3112549" y="361495"/>
                  <a:pt x="3100999" y="361495"/>
                </a:cubicBezTo>
                <a:cubicBezTo>
                  <a:pt x="3089450" y="361495"/>
                  <a:pt x="3080212" y="352256"/>
                  <a:pt x="3080212" y="340706"/>
                </a:cubicBezTo>
                <a:cubicBezTo>
                  <a:pt x="3080212" y="329157"/>
                  <a:pt x="3089450" y="319917"/>
                  <a:pt x="3100999" y="319917"/>
                </a:cubicBezTo>
                <a:close/>
                <a:moveTo>
                  <a:pt x="2992435" y="319917"/>
                </a:moveTo>
                <a:cubicBezTo>
                  <a:pt x="3002829" y="319917"/>
                  <a:pt x="3013224" y="329157"/>
                  <a:pt x="3013224" y="340706"/>
                </a:cubicBezTo>
                <a:cubicBezTo>
                  <a:pt x="3013224" y="352256"/>
                  <a:pt x="3003985" y="361495"/>
                  <a:pt x="2992435" y="361495"/>
                </a:cubicBezTo>
                <a:cubicBezTo>
                  <a:pt x="2980886" y="361495"/>
                  <a:pt x="2971647" y="352256"/>
                  <a:pt x="2971647" y="340706"/>
                </a:cubicBezTo>
                <a:cubicBezTo>
                  <a:pt x="2971647" y="329157"/>
                  <a:pt x="2980886" y="319917"/>
                  <a:pt x="2992435" y="319917"/>
                </a:cubicBezTo>
                <a:close/>
                <a:moveTo>
                  <a:pt x="2853843" y="319917"/>
                </a:moveTo>
                <a:cubicBezTo>
                  <a:pt x="2865393" y="319917"/>
                  <a:pt x="2874633" y="329157"/>
                  <a:pt x="2874633" y="340706"/>
                </a:cubicBezTo>
                <a:cubicBezTo>
                  <a:pt x="2874633" y="352256"/>
                  <a:pt x="2865393" y="361495"/>
                  <a:pt x="2853843" y="361495"/>
                </a:cubicBezTo>
                <a:cubicBezTo>
                  <a:pt x="2842294" y="361495"/>
                  <a:pt x="2833056" y="352256"/>
                  <a:pt x="2833056" y="340706"/>
                </a:cubicBezTo>
                <a:cubicBezTo>
                  <a:pt x="2833056" y="329157"/>
                  <a:pt x="2842294" y="319917"/>
                  <a:pt x="2853843" y="319917"/>
                </a:cubicBezTo>
                <a:close/>
                <a:moveTo>
                  <a:pt x="2716405" y="319917"/>
                </a:moveTo>
                <a:cubicBezTo>
                  <a:pt x="2727955" y="319917"/>
                  <a:pt x="2737195" y="329157"/>
                  <a:pt x="2737195" y="340706"/>
                </a:cubicBezTo>
                <a:cubicBezTo>
                  <a:pt x="2737195" y="352256"/>
                  <a:pt x="2727955" y="361495"/>
                  <a:pt x="2716405" y="361495"/>
                </a:cubicBezTo>
                <a:cubicBezTo>
                  <a:pt x="2704856" y="361495"/>
                  <a:pt x="2695618" y="352256"/>
                  <a:pt x="2695618" y="340706"/>
                </a:cubicBezTo>
                <a:cubicBezTo>
                  <a:pt x="2695618" y="329157"/>
                  <a:pt x="2704856" y="319917"/>
                  <a:pt x="2716405" y="319917"/>
                </a:cubicBezTo>
                <a:close/>
                <a:moveTo>
                  <a:pt x="2578969" y="319917"/>
                </a:moveTo>
                <a:cubicBezTo>
                  <a:pt x="2590518" y="319917"/>
                  <a:pt x="2599758" y="329157"/>
                  <a:pt x="2599758" y="340706"/>
                </a:cubicBezTo>
                <a:cubicBezTo>
                  <a:pt x="2599758" y="352256"/>
                  <a:pt x="2590518" y="361495"/>
                  <a:pt x="2578969" y="361495"/>
                </a:cubicBezTo>
                <a:cubicBezTo>
                  <a:pt x="2567420" y="361495"/>
                  <a:pt x="2558180" y="352256"/>
                  <a:pt x="2558180" y="340706"/>
                </a:cubicBezTo>
                <a:cubicBezTo>
                  <a:pt x="2558180" y="329157"/>
                  <a:pt x="2567420" y="319917"/>
                  <a:pt x="2578969" y="319917"/>
                </a:cubicBezTo>
                <a:close/>
                <a:moveTo>
                  <a:pt x="1427499" y="319917"/>
                </a:moveTo>
                <a:cubicBezTo>
                  <a:pt x="1439048" y="319917"/>
                  <a:pt x="1448288" y="329157"/>
                  <a:pt x="1448288" y="340706"/>
                </a:cubicBezTo>
                <a:cubicBezTo>
                  <a:pt x="1448288" y="352256"/>
                  <a:pt x="1439048" y="361495"/>
                  <a:pt x="1427499" y="361495"/>
                </a:cubicBezTo>
                <a:cubicBezTo>
                  <a:pt x="1415950" y="361495"/>
                  <a:pt x="1406710" y="352256"/>
                  <a:pt x="1406710" y="340706"/>
                </a:cubicBezTo>
                <a:cubicBezTo>
                  <a:pt x="1406710" y="329157"/>
                  <a:pt x="1415950" y="319917"/>
                  <a:pt x="1427499" y="319917"/>
                </a:cubicBezTo>
                <a:close/>
                <a:moveTo>
                  <a:pt x="28874" y="319917"/>
                </a:moveTo>
                <a:cubicBezTo>
                  <a:pt x="40424" y="319917"/>
                  <a:pt x="49663" y="329157"/>
                  <a:pt x="49663" y="340706"/>
                </a:cubicBezTo>
                <a:cubicBezTo>
                  <a:pt x="49663" y="352256"/>
                  <a:pt x="40424" y="361495"/>
                  <a:pt x="28874" y="361495"/>
                </a:cubicBezTo>
                <a:cubicBezTo>
                  <a:pt x="17325" y="361495"/>
                  <a:pt x="8085" y="352256"/>
                  <a:pt x="8085" y="340706"/>
                </a:cubicBezTo>
                <a:cubicBezTo>
                  <a:pt x="8085" y="329157"/>
                  <a:pt x="17325" y="319917"/>
                  <a:pt x="28874" y="319917"/>
                </a:cubicBezTo>
                <a:close/>
                <a:moveTo>
                  <a:pt x="11658510" y="316452"/>
                </a:moveTo>
                <a:cubicBezTo>
                  <a:pt x="11671214" y="316452"/>
                  <a:pt x="11681609" y="326847"/>
                  <a:pt x="11681609" y="339551"/>
                </a:cubicBezTo>
                <a:cubicBezTo>
                  <a:pt x="11681609" y="352256"/>
                  <a:pt x="11671214" y="362649"/>
                  <a:pt x="11658510" y="362649"/>
                </a:cubicBezTo>
                <a:cubicBezTo>
                  <a:pt x="11645806" y="362649"/>
                  <a:pt x="11635412" y="352256"/>
                  <a:pt x="11635412" y="339551"/>
                </a:cubicBezTo>
                <a:cubicBezTo>
                  <a:pt x="11635412" y="326847"/>
                  <a:pt x="11645806" y="316452"/>
                  <a:pt x="11658510" y="316452"/>
                </a:cubicBezTo>
                <a:close/>
                <a:moveTo>
                  <a:pt x="10508196" y="316452"/>
                </a:moveTo>
                <a:cubicBezTo>
                  <a:pt x="10520900" y="316452"/>
                  <a:pt x="10531295" y="326847"/>
                  <a:pt x="10531295" y="339551"/>
                </a:cubicBezTo>
                <a:cubicBezTo>
                  <a:pt x="10531295" y="352256"/>
                  <a:pt x="10520900" y="362649"/>
                  <a:pt x="10508196" y="362649"/>
                </a:cubicBezTo>
                <a:cubicBezTo>
                  <a:pt x="10495491" y="362649"/>
                  <a:pt x="10485098" y="352256"/>
                  <a:pt x="10485098" y="339551"/>
                </a:cubicBezTo>
                <a:cubicBezTo>
                  <a:pt x="10485098" y="326847"/>
                  <a:pt x="10495491" y="316452"/>
                  <a:pt x="10508196" y="316452"/>
                </a:cubicBezTo>
                <a:close/>
                <a:moveTo>
                  <a:pt x="9405233" y="316452"/>
                </a:moveTo>
                <a:cubicBezTo>
                  <a:pt x="9417938" y="316452"/>
                  <a:pt x="9428332" y="326847"/>
                  <a:pt x="9428332" y="339551"/>
                </a:cubicBezTo>
                <a:cubicBezTo>
                  <a:pt x="9428332" y="352256"/>
                  <a:pt x="9417938" y="362649"/>
                  <a:pt x="9405233" y="362649"/>
                </a:cubicBezTo>
                <a:cubicBezTo>
                  <a:pt x="9392530" y="362649"/>
                  <a:pt x="9382135" y="352256"/>
                  <a:pt x="9382135" y="339551"/>
                </a:cubicBezTo>
                <a:cubicBezTo>
                  <a:pt x="9382135" y="326847"/>
                  <a:pt x="9392530" y="316452"/>
                  <a:pt x="9405233" y="316452"/>
                </a:cubicBezTo>
                <a:close/>
                <a:moveTo>
                  <a:pt x="8285498" y="316452"/>
                </a:moveTo>
                <a:cubicBezTo>
                  <a:pt x="8298204" y="316452"/>
                  <a:pt x="8308598" y="326847"/>
                  <a:pt x="8308598" y="339551"/>
                </a:cubicBezTo>
                <a:cubicBezTo>
                  <a:pt x="8308598" y="352256"/>
                  <a:pt x="8298204" y="362649"/>
                  <a:pt x="8285498" y="362649"/>
                </a:cubicBezTo>
                <a:cubicBezTo>
                  <a:pt x="8272794" y="362649"/>
                  <a:pt x="8262401" y="352256"/>
                  <a:pt x="8262401" y="339551"/>
                </a:cubicBezTo>
                <a:cubicBezTo>
                  <a:pt x="8262401" y="326847"/>
                  <a:pt x="8272794" y="316452"/>
                  <a:pt x="8285498" y="316452"/>
                </a:cubicBezTo>
                <a:close/>
                <a:moveTo>
                  <a:pt x="7053184" y="316452"/>
                </a:moveTo>
                <a:cubicBezTo>
                  <a:pt x="7067044" y="316452"/>
                  <a:pt x="7076283" y="326847"/>
                  <a:pt x="7076283" y="339551"/>
                </a:cubicBezTo>
                <a:cubicBezTo>
                  <a:pt x="7076283" y="352256"/>
                  <a:pt x="7065888" y="362649"/>
                  <a:pt x="7053184" y="362649"/>
                </a:cubicBezTo>
                <a:cubicBezTo>
                  <a:pt x="7040480" y="362649"/>
                  <a:pt x="7030086" y="352256"/>
                  <a:pt x="7030086" y="339551"/>
                </a:cubicBezTo>
                <a:cubicBezTo>
                  <a:pt x="7030086" y="326847"/>
                  <a:pt x="7040480" y="316452"/>
                  <a:pt x="7053184" y="316452"/>
                </a:cubicBezTo>
                <a:close/>
                <a:moveTo>
                  <a:pt x="5902869" y="316452"/>
                </a:moveTo>
                <a:cubicBezTo>
                  <a:pt x="5915573" y="316452"/>
                  <a:pt x="5925969" y="326847"/>
                  <a:pt x="5925969" y="339551"/>
                </a:cubicBezTo>
                <a:cubicBezTo>
                  <a:pt x="5925969" y="352256"/>
                  <a:pt x="5915573" y="362649"/>
                  <a:pt x="5902869" y="362649"/>
                </a:cubicBezTo>
                <a:cubicBezTo>
                  <a:pt x="5890165" y="362649"/>
                  <a:pt x="5879771" y="352256"/>
                  <a:pt x="5879771" y="339551"/>
                </a:cubicBezTo>
                <a:cubicBezTo>
                  <a:pt x="5879771" y="326847"/>
                  <a:pt x="5890165" y="316452"/>
                  <a:pt x="5902869" y="316452"/>
                </a:cubicBezTo>
                <a:close/>
                <a:moveTo>
                  <a:pt x="4799906" y="316452"/>
                </a:moveTo>
                <a:cubicBezTo>
                  <a:pt x="4812611" y="316452"/>
                  <a:pt x="4823006" y="326847"/>
                  <a:pt x="4823006" y="339551"/>
                </a:cubicBezTo>
                <a:cubicBezTo>
                  <a:pt x="4823006" y="352256"/>
                  <a:pt x="4812611" y="362649"/>
                  <a:pt x="4799906" y="362649"/>
                </a:cubicBezTo>
                <a:cubicBezTo>
                  <a:pt x="4787205" y="362649"/>
                  <a:pt x="4776809" y="352256"/>
                  <a:pt x="4776809" y="339551"/>
                </a:cubicBezTo>
                <a:cubicBezTo>
                  <a:pt x="4776809" y="326847"/>
                  <a:pt x="4787205" y="316452"/>
                  <a:pt x="4799906" y="316452"/>
                </a:cubicBezTo>
                <a:close/>
                <a:moveTo>
                  <a:pt x="3672691" y="316452"/>
                </a:moveTo>
                <a:cubicBezTo>
                  <a:pt x="3685396" y="316452"/>
                  <a:pt x="3695791" y="326847"/>
                  <a:pt x="3695791" y="339551"/>
                </a:cubicBezTo>
                <a:cubicBezTo>
                  <a:pt x="3695791" y="352256"/>
                  <a:pt x="3685396" y="362649"/>
                  <a:pt x="3672691" y="362649"/>
                </a:cubicBezTo>
                <a:cubicBezTo>
                  <a:pt x="3659987" y="362649"/>
                  <a:pt x="3649592" y="352256"/>
                  <a:pt x="3649592" y="339551"/>
                </a:cubicBezTo>
                <a:cubicBezTo>
                  <a:pt x="3649592" y="326847"/>
                  <a:pt x="3659987" y="316452"/>
                  <a:pt x="3672691" y="316452"/>
                </a:cubicBezTo>
                <a:close/>
                <a:moveTo>
                  <a:pt x="2440377" y="316452"/>
                </a:moveTo>
                <a:cubicBezTo>
                  <a:pt x="2453080" y="316452"/>
                  <a:pt x="2463475" y="326847"/>
                  <a:pt x="2463475" y="339551"/>
                </a:cubicBezTo>
                <a:cubicBezTo>
                  <a:pt x="2463475" y="352256"/>
                  <a:pt x="2453080" y="362649"/>
                  <a:pt x="2440377" y="362649"/>
                </a:cubicBezTo>
                <a:cubicBezTo>
                  <a:pt x="2427672" y="362649"/>
                  <a:pt x="2417278" y="352256"/>
                  <a:pt x="2417278" y="339551"/>
                </a:cubicBezTo>
                <a:cubicBezTo>
                  <a:pt x="2417278" y="326847"/>
                  <a:pt x="2427672" y="316452"/>
                  <a:pt x="2440377" y="316452"/>
                </a:cubicBezTo>
                <a:close/>
                <a:moveTo>
                  <a:pt x="1290062" y="316452"/>
                </a:moveTo>
                <a:cubicBezTo>
                  <a:pt x="1302766" y="316452"/>
                  <a:pt x="1313161" y="326847"/>
                  <a:pt x="1313161" y="339551"/>
                </a:cubicBezTo>
                <a:cubicBezTo>
                  <a:pt x="1313161" y="352256"/>
                  <a:pt x="1302766" y="362649"/>
                  <a:pt x="1290062" y="362649"/>
                </a:cubicBezTo>
                <a:cubicBezTo>
                  <a:pt x="1277357" y="362649"/>
                  <a:pt x="1266964" y="352256"/>
                  <a:pt x="1266964" y="339551"/>
                </a:cubicBezTo>
                <a:cubicBezTo>
                  <a:pt x="1266964" y="326847"/>
                  <a:pt x="1277357" y="316452"/>
                  <a:pt x="1290062" y="316452"/>
                </a:cubicBezTo>
                <a:close/>
                <a:moveTo>
                  <a:pt x="187100" y="316452"/>
                </a:moveTo>
                <a:cubicBezTo>
                  <a:pt x="199805" y="316452"/>
                  <a:pt x="210198" y="326847"/>
                  <a:pt x="210198" y="339551"/>
                </a:cubicBezTo>
                <a:cubicBezTo>
                  <a:pt x="210198" y="352256"/>
                  <a:pt x="199805" y="362649"/>
                  <a:pt x="187100" y="362649"/>
                </a:cubicBezTo>
                <a:cubicBezTo>
                  <a:pt x="174396" y="362649"/>
                  <a:pt x="164001" y="352256"/>
                  <a:pt x="164001" y="339551"/>
                </a:cubicBezTo>
                <a:cubicBezTo>
                  <a:pt x="164001" y="326847"/>
                  <a:pt x="174396" y="316452"/>
                  <a:pt x="187100" y="316452"/>
                </a:cubicBezTo>
                <a:close/>
                <a:moveTo>
                  <a:pt x="11521073" y="310678"/>
                </a:moveTo>
                <a:cubicBezTo>
                  <a:pt x="11537242" y="310678"/>
                  <a:pt x="11549947" y="323382"/>
                  <a:pt x="11549947" y="339551"/>
                </a:cubicBezTo>
                <a:cubicBezTo>
                  <a:pt x="11549947" y="355720"/>
                  <a:pt x="11537242" y="368425"/>
                  <a:pt x="11521073" y="368425"/>
                </a:cubicBezTo>
                <a:cubicBezTo>
                  <a:pt x="11504904" y="368425"/>
                  <a:pt x="11492200" y="355720"/>
                  <a:pt x="11492200" y="339551"/>
                </a:cubicBezTo>
                <a:cubicBezTo>
                  <a:pt x="11492200" y="323382"/>
                  <a:pt x="11504904" y="310678"/>
                  <a:pt x="11521073" y="310678"/>
                </a:cubicBezTo>
                <a:close/>
                <a:moveTo>
                  <a:pt x="10369604" y="310678"/>
                </a:moveTo>
                <a:cubicBezTo>
                  <a:pt x="10385773" y="310678"/>
                  <a:pt x="10398477" y="323382"/>
                  <a:pt x="10398477" y="339551"/>
                </a:cubicBezTo>
                <a:cubicBezTo>
                  <a:pt x="10398477" y="355720"/>
                  <a:pt x="10385773" y="368425"/>
                  <a:pt x="10369604" y="368425"/>
                </a:cubicBezTo>
                <a:cubicBezTo>
                  <a:pt x="10353435" y="368425"/>
                  <a:pt x="10340730" y="355720"/>
                  <a:pt x="10340730" y="339551"/>
                </a:cubicBezTo>
                <a:cubicBezTo>
                  <a:pt x="10340730" y="323382"/>
                  <a:pt x="10353435" y="310678"/>
                  <a:pt x="10369604" y="310678"/>
                </a:cubicBezTo>
                <a:close/>
                <a:moveTo>
                  <a:pt x="9543825" y="310678"/>
                </a:moveTo>
                <a:cubicBezTo>
                  <a:pt x="9558840" y="310678"/>
                  <a:pt x="9572699" y="323382"/>
                  <a:pt x="9572699" y="339551"/>
                </a:cubicBezTo>
                <a:cubicBezTo>
                  <a:pt x="9572699" y="355720"/>
                  <a:pt x="9559995" y="368425"/>
                  <a:pt x="9543825" y="368425"/>
                </a:cubicBezTo>
                <a:cubicBezTo>
                  <a:pt x="9527656" y="368425"/>
                  <a:pt x="9514953" y="355720"/>
                  <a:pt x="9514953" y="339551"/>
                </a:cubicBezTo>
                <a:cubicBezTo>
                  <a:pt x="9514953" y="323382"/>
                  <a:pt x="9527656" y="310678"/>
                  <a:pt x="9543825" y="310678"/>
                </a:cubicBezTo>
                <a:close/>
                <a:moveTo>
                  <a:pt x="8422936" y="310678"/>
                </a:moveTo>
                <a:cubicBezTo>
                  <a:pt x="8439105" y="310678"/>
                  <a:pt x="8451809" y="323382"/>
                  <a:pt x="8451809" y="339551"/>
                </a:cubicBezTo>
                <a:cubicBezTo>
                  <a:pt x="8451809" y="355720"/>
                  <a:pt x="8439105" y="368425"/>
                  <a:pt x="8422936" y="368425"/>
                </a:cubicBezTo>
                <a:cubicBezTo>
                  <a:pt x="8406767" y="368425"/>
                  <a:pt x="8394062" y="355720"/>
                  <a:pt x="8394062" y="339551"/>
                </a:cubicBezTo>
                <a:cubicBezTo>
                  <a:pt x="8394062" y="323382"/>
                  <a:pt x="8406767" y="310678"/>
                  <a:pt x="8422936" y="310678"/>
                </a:cubicBezTo>
                <a:close/>
                <a:moveTo>
                  <a:pt x="6915746" y="310678"/>
                </a:moveTo>
                <a:cubicBezTo>
                  <a:pt x="6931915" y="310678"/>
                  <a:pt x="6944621" y="323382"/>
                  <a:pt x="6944621" y="339551"/>
                </a:cubicBezTo>
                <a:cubicBezTo>
                  <a:pt x="6944621" y="355720"/>
                  <a:pt x="6931915" y="368425"/>
                  <a:pt x="6915746" y="368425"/>
                </a:cubicBezTo>
                <a:cubicBezTo>
                  <a:pt x="6899578" y="368425"/>
                  <a:pt x="6886873" y="355720"/>
                  <a:pt x="6886873" y="339551"/>
                </a:cubicBezTo>
                <a:cubicBezTo>
                  <a:pt x="6886873" y="323382"/>
                  <a:pt x="6899578" y="310678"/>
                  <a:pt x="6915746" y="310678"/>
                </a:cubicBezTo>
                <a:close/>
                <a:moveTo>
                  <a:pt x="5764278" y="310678"/>
                </a:moveTo>
                <a:cubicBezTo>
                  <a:pt x="5780448" y="310678"/>
                  <a:pt x="5793151" y="323382"/>
                  <a:pt x="5793151" y="339551"/>
                </a:cubicBezTo>
                <a:cubicBezTo>
                  <a:pt x="5793151" y="355720"/>
                  <a:pt x="5780448" y="368425"/>
                  <a:pt x="5764278" y="368425"/>
                </a:cubicBezTo>
                <a:cubicBezTo>
                  <a:pt x="5748109" y="368425"/>
                  <a:pt x="5735405" y="355720"/>
                  <a:pt x="5735405" y="339551"/>
                </a:cubicBezTo>
                <a:cubicBezTo>
                  <a:pt x="5735405" y="323382"/>
                  <a:pt x="5748109" y="310678"/>
                  <a:pt x="5764278" y="310678"/>
                </a:cubicBezTo>
                <a:close/>
                <a:moveTo>
                  <a:pt x="4938500" y="310678"/>
                </a:moveTo>
                <a:cubicBezTo>
                  <a:pt x="4953513" y="310678"/>
                  <a:pt x="4967373" y="323382"/>
                  <a:pt x="4967373" y="339551"/>
                </a:cubicBezTo>
                <a:cubicBezTo>
                  <a:pt x="4967373" y="355720"/>
                  <a:pt x="4954668" y="368425"/>
                  <a:pt x="4938500" y="368425"/>
                </a:cubicBezTo>
                <a:cubicBezTo>
                  <a:pt x="4922331" y="368425"/>
                  <a:pt x="4909627" y="355720"/>
                  <a:pt x="4909627" y="339551"/>
                </a:cubicBezTo>
                <a:cubicBezTo>
                  <a:pt x="4909627" y="323382"/>
                  <a:pt x="4922331" y="310678"/>
                  <a:pt x="4938500" y="310678"/>
                </a:cubicBezTo>
                <a:close/>
                <a:moveTo>
                  <a:pt x="3810129" y="310678"/>
                </a:moveTo>
                <a:cubicBezTo>
                  <a:pt x="3826298" y="310678"/>
                  <a:pt x="3839002" y="323382"/>
                  <a:pt x="3839002" y="339551"/>
                </a:cubicBezTo>
                <a:cubicBezTo>
                  <a:pt x="3839002" y="355720"/>
                  <a:pt x="3826298" y="368425"/>
                  <a:pt x="3810129" y="368425"/>
                </a:cubicBezTo>
                <a:cubicBezTo>
                  <a:pt x="3793960" y="368425"/>
                  <a:pt x="3781255" y="355720"/>
                  <a:pt x="3781255" y="339551"/>
                </a:cubicBezTo>
                <a:cubicBezTo>
                  <a:pt x="3781255" y="323382"/>
                  <a:pt x="3793960" y="310678"/>
                  <a:pt x="3810129" y="310678"/>
                </a:cubicBezTo>
                <a:close/>
                <a:moveTo>
                  <a:pt x="2302939" y="310678"/>
                </a:moveTo>
                <a:cubicBezTo>
                  <a:pt x="2319108" y="310678"/>
                  <a:pt x="2331813" y="323382"/>
                  <a:pt x="2331813" y="339551"/>
                </a:cubicBezTo>
                <a:cubicBezTo>
                  <a:pt x="2331813" y="355720"/>
                  <a:pt x="2319108" y="368425"/>
                  <a:pt x="2302939" y="368425"/>
                </a:cubicBezTo>
                <a:cubicBezTo>
                  <a:pt x="2286771" y="368425"/>
                  <a:pt x="2274067" y="355720"/>
                  <a:pt x="2274067" y="339551"/>
                </a:cubicBezTo>
                <a:cubicBezTo>
                  <a:pt x="2274067" y="323382"/>
                  <a:pt x="2286771" y="310678"/>
                  <a:pt x="2302939" y="310678"/>
                </a:cubicBezTo>
                <a:close/>
                <a:moveTo>
                  <a:pt x="1151470" y="310678"/>
                </a:moveTo>
                <a:cubicBezTo>
                  <a:pt x="1167639" y="310678"/>
                  <a:pt x="1180343" y="323382"/>
                  <a:pt x="1180343" y="339551"/>
                </a:cubicBezTo>
                <a:cubicBezTo>
                  <a:pt x="1180343" y="355720"/>
                  <a:pt x="1167639" y="368425"/>
                  <a:pt x="1151470" y="368425"/>
                </a:cubicBezTo>
                <a:cubicBezTo>
                  <a:pt x="1135301" y="368425"/>
                  <a:pt x="1122596" y="355720"/>
                  <a:pt x="1122596" y="339551"/>
                </a:cubicBezTo>
                <a:cubicBezTo>
                  <a:pt x="1122596" y="323382"/>
                  <a:pt x="1135301" y="310678"/>
                  <a:pt x="1151470" y="310678"/>
                </a:cubicBezTo>
                <a:close/>
                <a:moveTo>
                  <a:pt x="325692" y="310678"/>
                </a:moveTo>
                <a:cubicBezTo>
                  <a:pt x="340706" y="310678"/>
                  <a:pt x="354566" y="323382"/>
                  <a:pt x="354566" y="339551"/>
                </a:cubicBezTo>
                <a:cubicBezTo>
                  <a:pt x="354566" y="355720"/>
                  <a:pt x="341861" y="368425"/>
                  <a:pt x="325692" y="368425"/>
                </a:cubicBezTo>
                <a:cubicBezTo>
                  <a:pt x="309523" y="368425"/>
                  <a:pt x="296819" y="355720"/>
                  <a:pt x="296819" y="339551"/>
                </a:cubicBezTo>
                <a:cubicBezTo>
                  <a:pt x="296819" y="323382"/>
                  <a:pt x="309523" y="310678"/>
                  <a:pt x="325692" y="310678"/>
                </a:cubicBezTo>
                <a:close/>
                <a:moveTo>
                  <a:pt x="11383636" y="304903"/>
                </a:moveTo>
                <a:cubicBezTo>
                  <a:pt x="11402115" y="304903"/>
                  <a:pt x="11418284" y="321072"/>
                  <a:pt x="11418284" y="339551"/>
                </a:cubicBezTo>
                <a:cubicBezTo>
                  <a:pt x="11418284" y="358030"/>
                  <a:pt x="11403270" y="374199"/>
                  <a:pt x="11383636" y="374199"/>
                </a:cubicBezTo>
                <a:cubicBezTo>
                  <a:pt x="11365157" y="374199"/>
                  <a:pt x="11348988" y="358030"/>
                  <a:pt x="11348988" y="339551"/>
                </a:cubicBezTo>
                <a:cubicBezTo>
                  <a:pt x="11348988" y="321072"/>
                  <a:pt x="11364002" y="304903"/>
                  <a:pt x="11383636" y="304903"/>
                </a:cubicBezTo>
                <a:close/>
                <a:moveTo>
                  <a:pt x="10811943" y="304903"/>
                </a:moveTo>
                <a:cubicBezTo>
                  <a:pt x="10830422" y="304903"/>
                  <a:pt x="10846591" y="321072"/>
                  <a:pt x="10846591" y="339551"/>
                </a:cubicBezTo>
                <a:cubicBezTo>
                  <a:pt x="10846591" y="358030"/>
                  <a:pt x="10831578" y="374199"/>
                  <a:pt x="10811943" y="374199"/>
                </a:cubicBezTo>
                <a:cubicBezTo>
                  <a:pt x="10793464" y="374199"/>
                  <a:pt x="10777295" y="358030"/>
                  <a:pt x="10777295" y="339551"/>
                </a:cubicBezTo>
                <a:cubicBezTo>
                  <a:pt x="10777295" y="321072"/>
                  <a:pt x="10792310" y="304903"/>
                  <a:pt x="10811943" y="304903"/>
                </a:cubicBezTo>
                <a:close/>
                <a:moveTo>
                  <a:pt x="10232166" y="304903"/>
                </a:moveTo>
                <a:cubicBezTo>
                  <a:pt x="10251801" y="304903"/>
                  <a:pt x="10266814" y="321072"/>
                  <a:pt x="10266814" y="339551"/>
                </a:cubicBezTo>
                <a:cubicBezTo>
                  <a:pt x="10266814" y="358030"/>
                  <a:pt x="10250645" y="374199"/>
                  <a:pt x="10232166" y="374199"/>
                </a:cubicBezTo>
                <a:cubicBezTo>
                  <a:pt x="10213687" y="374199"/>
                  <a:pt x="10197518" y="358030"/>
                  <a:pt x="10197518" y="339551"/>
                </a:cubicBezTo>
                <a:cubicBezTo>
                  <a:pt x="10197518" y="321072"/>
                  <a:pt x="10212533" y="304903"/>
                  <a:pt x="10232166" y="304903"/>
                </a:cubicBezTo>
                <a:close/>
                <a:moveTo>
                  <a:pt x="9681263" y="304903"/>
                </a:moveTo>
                <a:cubicBezTo>
                  <a:pt x="9700896" y="304903"/>
                  <a:pt x="9715911" y="321072"/>
                  <a:pt x="9715911" y="339551"/>
                </a:cubicBezTo>
                <a:cubicBezTo>
                  <a:pt x="9715911" y="358030"/>
                  <a:pt x="9699742" y="374199"/>
                  <a:pt x="9681263" y="374199"/>
                </a:cubicBezTo>
                <a:cubicBezTo>
                  <a:pt x="9662784" y="374199"/>
                  <a:pt x="9646615" y="358030"/>
                  <a:pt x="9646615" y="339551"/>
                </a:cubicBezTo>
                <a:cubicBezTo>
                  <a:pt x="9646615" y="321072"/>
                  <a:pt x="9661629" y="304903"/>
                  <a:pt x="9681263" y="304903"/>
                </a:cubicBezTo>
                <a:close/>
                <a:moveTo>
                  <a:pt x="9112431" y="304903"/>
                </a:moveTo>
                <a:cubicBezTo>
                  <a:pt x="9130910" y="304903"/>
                  <a:pt x="9147079" y="321072"/>
                  <a:pt x="9147079" y="339551"/>
                </a:cubicBezTo>
                <a:cubicBezTo>
                  <a:pt x="9147079" y="358030"/>
                  <a:pt x="9132065" y="374199"/>
                  <a:pt x="9112431" y="374199"/>
                </a:cubicBezTo>
                <a:cubicBezTo>
                  <a:pt x="9093952" y="374199"/>
                  <a:pt x="9077783" y="358030"/>
                  <a:pt x="9077783" y="339551"/>
                </a:cubicBezTo>
                <a:cubicBezTo>
                  <a:pt x="9077783" y="321072"/>
                  <a:pt x="9092798" y="304903"/>
                  <a:pt x="9112431" y="304903"/>
                </a:cubicBezTo>
                <a:close/>
                <a:moveTo>
                  <a:pt x="8561528" y="304903"/>
                </a:moveTo>
                <a:cubicBezTo>
                  <a:pt x="8580007" y="304903"/>
                  <a:pt x="8596176" y="321072"/>
                  <a:pt x="8596176" y="339551"/>
                </a:cubicBezTo>
                <a:cubicBezTo>
                  <a:pt x="8596176" y="358030"/>
                  <a:pt x="8581161" y="374199"/>
                  <a:pt x="8561528" y="374199"/>
                </a:cubicBezTo>
                <a:cubicBezTo>
                  <a:pt x="8543049" y="374199"/>
                  <a:pt x="8526880" y="358030"/>
                  <a:pt x="8526880" y="339551"/>
                </a:cubicBezTo>
                <a:cubicBezTo>
                  <a:pt x="8526880" y="321072"/>
                  <a:pt x="8541893" y="304903"/>
                  <a:pt x="8561528" y="304903"/>
                </a:cubicBezTo>
                <a:close/>
                <a:moveTo>
                  <a:pt x="6778310" y="304903"/>
                </a:moveTo>
                <a:cubicBezTo>
                  <a:pt x="6796790" y="304903"/>
                  <a:pt x="6812959" y="321072"/>
                  <a:pt x="6812959" y="339551"/>
                </a:cubicBezTo>
                <a:cubicBezTo>
                  <a:pt x="6812959" y="358030"/>
                  <a:pt x="6796790" y="374199"/>
                  <a:pt x="6778310" y="374199"/>
                </a:cubicBezTo>
                <a:cubicBezTo>
                  <a:pt x="6759831" y="374199"/>
                  <a:pt x="6743662" y="358030"/>
                  <a:pt x="6743662" y="339551"/>
                </a:cubicBezTo>
                <a:cubicBezTo>
                  <a:pt x="6743662" y="321072"/>
                  <a:pt x="6758675" y="304903"/>
                  <a:pt x="6778310" y="304903"/>
                </a:cubicBezTo>
                <a:close/>
                <a:moveTo>
                  <a:pt x="6206618" y="304903"/>
                </a:moveTo>
                <a:cubicBezTo>
                  <a:pt x="6225097" y="304903"/>
                  <a:pt x="6241265" y="321072"/>
                  <a:pt x="6241265" y="339551"/>
                </a:cubicBezTo>
                <a:cubicBezTo>
                  <a:pt x="6241265" y="358030"/>
                  <a:pt x="6226251" y="374199"/>
                  <a:pt x="6206618" y="374199"/>
                </a:cubicBezTo>
                <a:cubicBezTo>
                  <a:pt x="6188138" y="374199"/>
                  <a:pt x="6171969" y="358030"/>
                  <a:pt x="6171969" y="339551"/>
                </a:cubicBezTo>
                <a:cubicBezTo>
                  <a:pt x="6171969" y="321072"/>
                  <a:pt x="6186984" y="304903"/>
                  <a:pt x="6206618" y="304903"/>
                </a:cubicBezTo>
                <a:close/>
                <a:moveTo>
                  <a:pt x="5626840" y="304903"/>
                </a:moveTo>
                <a:cubicBezTo>
                  <a:pt x="5646475" y="304903"/>
                  <a:pt x="5661488" y="321072"/>
                  <a:pt x="5661488" y="339551"/>
                </a:cubicBezTo>
                <a:cubicBezTo>
                  <a:pt x="5661488" y="358030"/>
                  <a:pt x="5646475" y="374199"/>
                  <a:pt x="5626840" y="374199"/>
                </a:cubicBezTo>
                <a:cubicBezTo>
                  <a:pt x="5608360" y="374199"/>
                  <a:pt x="5592192" y="358030"/>
                  <a:pt x="5592192" y="339551"/>
                </a:cubicBezTo>
                <a:cubicBezTo>
                  <a:pt x="5592192" y="321072"/>
                  <a:pt x="5607207" y="304903"/>
                  <a:pt x="5626840" y="304903"/>
                </a:cubicBezTo>
                <a:close/>
                <a:moveTo>
                  <a:pt x="5075938" y="304903"/>
                </a:moveTo>
                <a:cubicBezTo>
                  <a:pt x="5095572" y="304903"/>
                  <a:pt x="5110584" y="321072"/>
                  <a:pt x="5110584" y="339551"/>
                </a:cubicBezTo>
                <a:cubicBezTo>
                  <a:pt x="5110584" y="358030"/>
                  <a:pt x="5095572" y="374199"/>
                  <a:pt x="5075938" y="374199"/>
                </a:cubicBezTo>
                <a:cubicBezTo>
                  <a:pt x="5057458" y="374199"/>
                  <a:pt x="5041289" y="358030"/>
                  <a:pt x="5041289" y="339551"/>
                </a:cubicBezTo>
                <a:cubicBezTo>
                  <a:pt x="5041289" y="321072"/>
                  <a:pt x="5056302" y="304903"/>
                  <a:pt x="5075938" y="304903"/>
                </a:cubicBezTo>
                <a:close/>
                <a:moveTo>
                  <a:pt x="4499625" y="304903"/>
                </a:moveTo>
                <a:cubicBezTo>
                  <a:pt x="4518102" y="304903"/>
                  <a:pt x="4534273" y="321072"/>
                  <a:pt x="4534273" y="339551"/>
                </a:cubicBezTo>
                <a:cubicBezTo>
                  <a:pt x="4534273" y="358030"/>
                  <a:pt x="4519258" y="374199"/>
                  <a:pt x="4499625" y="374199"/>
                </a:cubicBezTo>
                <a:cubicBezTo>
                  <a:pt x="4481146" y="374199"/>
                  <a:pt x="4464976" y="358030"/>
                  <a:pt x="4464976" y="339551"/>
                </a:cubicBezTo>
                <a:cubicBezTo>
                  <a:pt x="4464976" y="321072"/>
                  <a:pt x="4479992" y="304903"/>
                  <a:pt x="4499625" y="304903"/>
                </a:cubicBezTo>
                <a:close/>
                <a:moveTo>
                  <a:pt x="3948721" y="304903"/>
                </a:moveTo>
                <a:cubicBezTo>
                  <a:pt x="3967200" y="304903"/>
                  <a:pt x="3983369" y="321072"/>
                  <a:pt x="3983369" y="339551"/>
                </a:cubicBezTo>
                <a:cubicBezTo>
                  <a:pt x="3983369" y="358030"/>
                  <a:pt x="3968354" y="374199"/>
                  <a:pt x="3948721" y="374199"/>
                </a:cubicBezTo>
                <a:cubicBezTo>
                  <a:pt x="3930243" y="374199"/>
                  <a:pt x="3914073" y="358030"/>
                  <a:pt x="3914073" y="339551"/>
                </a:cubicBezTo>
                <a:cubicBezTo>
                  <a:pt x="3914073" y="321072"/>
                  <a:pt x="3929086" y="304903"/>
                  <a:pt x="3948721" y="304903"/>
                </a:cubicBezTo>
                <a:close/>
                <a:moveTo>
                  <a:pt x="2165502" y="304903"/>
                </a:moveTo>
                <a:cubicBezTo>
                  <a:pt x="2183981" y="304903"/>
                  <a:pt x="2200150" y="321072"/>
                  <a:pt x="2200150" y="339551"/>
                </a:cubicBezTo>
                <a:cubicBezTo>
                  <a:pt x="2200150" y="358030"/>
                  <a:pt x="2185137" y="374199"/>
                  <a:pt x="2165502" y="374199"/>
                </a:cubicBezTo>
                <a:cubicBezTo>
                  <a:pt x="2147023" y="374199"/>
                  <a:pt x="2130854" y="358030"/>
                  <a:pt x="2130854" y="339551"/>
                </a:cubicBezTo>
                <a:cubicBezTo>
                  <a:pt x="2130854" y="321072"/>
                  <a:pt x="2145868" y="304903"/>
                  <a:pt x="2165502" y="304903"/>
                </a:cubicBezTo>
                <a:close/>
                <a:moveTo>
                  <a:pt x="1593810" y="304903"/>
                </a:moveTo>
                <a:cubicBezTo>
                  <a:pt x="1612288" y="304903"/>
                  <a:pt x="1628457" y="321072"/>
                  <a:pt x="1628457" y="339551"/>
                </a:cubicBezTo>
                <a:cubicBezTo>
                  <a:pt x="1628457" y="358030"/>
                  <a:pt x="1613444" y="374199"/>
                  <a:pt x="1593810" y="374199"/>
                </a:cubicBezTo>
                <a:cubicBezTo>
                  <a:pt x="1575330" y="374199"/>
                  <a:pt x="1559161" y="358030"/>
                  <a:pt x="1559161" y="339551"/>
                </a:cubicBezTo>
                <a:cubicBezTo>
                  <a:pt x="1559161" y="321072"/>
                  <a:pt x="1574176" y="304903"/>
                  <a:pt x="1593810" y="304903"/>
                </a:cubicBezTo>
                <a:close/>
                <a:moveTo>
                  <a:pt x="1014032" y="304903"/>
                </a:moveTo>
                <a:cubicBezTo>
                  <a:pt x="1033667" y="304903"/>
                  <a:pt x="1048681" y="321072"/>
                  <a:pt x="1048681" y="339551"/>
                </a:cubicBezTo>
                <a:cubicBezTo>
                  <a:pt x="1048681" y="358030"/>
                  <a:pt x="1032511" y="374199"/>
                  <a:pt x="1014032" y="374199"/>
                </a:cubicBezTo>
                <a:cubicBezTo>
                  <a:pt x="995554" y="374199"/>
                  <a:pt x="979384" y="358030"/>
                  <a:pt x="979384" y="339551"/>
                </a:cubicBezTo>
                <a:cubicBezTo>
                  <a:pt x="979384" y="321072"/>
                  <a:pt x="994399" y="304903"/>
                  <a:pt x="1014032" y="304903"/>
                </a:cubicBezTo>
                <a:close/>
                <a:moveTo>
                  <a:pt x="463129" y="304903"/>
                </a:moveTo>
                <a:cubicBezTo>
                  <a:pt x="482763" y="304903"/>
                  <a:pt x="497778" y="321072"/>
                  <a:pt x="497778" y="339551"/>
                </a:cubicBezTo>
                <a:cubicBezTo>
                  <a:pt x="497778" y="358030"/>
                  <a:pt x="481608" y="374199"/>
                  <a:pt x="463129" y="374199"/>
                </a:cubicBezTo>
                <a:cubicBezTo>
                  <a:pt x="444651" y="374199"/>
                  <a:pt x="428481" y="358030"/>
                  <a:pt x="428481" y="339551"/>
                </a:cubicBezTo>
                <a:cubicBezTo>
                  <a:pt x="428481" y="321072"/>
                  <a:pt x="443495" y="304903"/>
                  <a:pt x="463129" y="304903"/>
                </a:cubicBezTo>
                <a:close/>
                <a:moveTo>
                  <a:pt x="11245044" y="299129"/>
                </a:moveTo>
                <a:cubicBezTo>
                  <a:pt x="11268143" y="299129"/>
                  <a:pt x="11285466" y="317608"/>
                  <a:pt x="11285466" y="339551"/>
                </a:cubicBezTo>
                <a:cubicBezTo>
                  <a:pt x="11285466" y="361495"/>
                  <a:pt x="11266987" y="379974"/>
                  <a:pt x="11245044" y="379974"/>
                </a:cubicBezTo>
                <a:cubicBezTo>
                  <a:pt x="11223100" y="379974"/>
                  <a:pt x="11204621" y="361495"/>
                  <a:pt x="11204621" y="339551"/>
                </a:cubicBezTo>
                <a:cubicBezTo>
                  <a:pt x="11204621" y="317608"/>
                  <a:pt x="11223100" y="299129"/>
                  <a:pt x="11245044" y="299129"/>
                </a:cubicBezTo>
                <a:close/>
                <a:moveTo>
                  <a:pt x="10970170" y="299129"/>
                </a:moveTo>
                <a:cubicBezTo>
                  <a:pt x="10992113" y="299129"/>
                  <a:pt x="11010592" y="317608"/>
                  <a:pt x="11010592" y="339551"/>
                </a:cubicBezTo>
                <a:cubicBezTo>
                  <a:pt x="11010592" y="361495"/>
                  <a:pt x="10992113" y="379974"/>
                  <a:pt x="10970170" y="379974"/>
                </a:cubicBezTo>
                <a:cubicBezTo>
                  <a:pt x="10948226" y="379974"/>
                  <a:pt x="10929746" y="361495"/>
                  <a:pt x="10929746" y="339551"/>
                </a:cubicBezTo>
                <a:cubicBezTo>
                  <a:pt x="10929746" y="317608"/>
                  <a:pt x="10948226" y="299129"/>
                  <a:pt x="10970170" y="299129"/>
                </a:cubicBezTo>
                <a:close/>
                <a:moveTo>
                  <a:pt x="10094730" y="299129"/>
                </a:moveTo>
                <a:cubicBezTo>
                  <a:pt x="10116673" y="299129"/>
                  <a:pt x="10135152" y="317608"/>
                  <a:pt x="10135152" y="339551"/>
                </a:cubicBezTo>
                <a:cubicBezTo>
                  <a:pt x="10135152" y="361495"/>
                  <a:pt x="10116673" y="379974"/>
                  <a:pt x="10094730" y="379974"/>
                </a:cubicBezTo>
                <a:cubicBezTo>
                  <a:pt x="10072785" y="379974"/>
                  <a:pt x="10054306" y="361495"/>
                  <a:pt x="10054306" y="339551"/>
                </a:cubicBezTo>
                <a:cubicBezTo>
                  <a:pt x="10054306" y="317608"/>
                  <a:pt x="10072785" y="299129"/>
                  <a:pt x="10094730" y="299129"/>
                </a:cubicBezTo>
                <a:close/>
                <a:moveTo>
                  <a:pt x="9818700" y="299129"/>
                </a:moveTo>
                <a:cubicBezTo>
                  <a:pt x="9841798" y="299129"/>
                  <a:pt x="9859123" y="318762"/>
                  <a:pt x="9859123" y="340706"/>
                </a:cubicBezTo>
                <a:cubicBezTo>
                  <a:pt x="9859123" y="362649"/>
                  <a:pt x="9840644" y="381128"/>
                  <a:pt x="9818700" y="381128"/>
                </a:cubicBezTo>
                <a:cubicBezTo>
                  <a:pt x="9796757" y="381128"/>
                  <a:pt x="9778278" y="361495"/>
                  <a:pt x="9778278" y="339551"/>
                </a:cubicBezTo>
                <a:cubicBezTo>
                  <a:pt x="9778278" y="317608"/>
                  <a:pt x="9796757" y="299129"/>
                  <a:pt x="9818700" y="299129"/>
                </a:cubicBezTo>
                <a:close/>
                <a:moveTo>
                  <a:pt x="8974994" y="299129"/>
                </a:moveTo>
                <a:cubicBezTo>
                  <a:pt x="8996938" y="299129"/>
                  <a:pt x="9015416" y="317608"/>
                  <a:pt x="9015416" y="339551"/>
                </a:cubicBezTo>
                <a:cubicBezTo>
                  <a:pt x="9015416" y="361495"/>
                  <a:pt x="8996938" y="379974"/>
                  <a:pt x="8974994" y="379974"/>
                </a:cubicBezTo>
                <a:cubicBezTo>
                  <a:pt x="8953050" y="379974"/>
                  <a:pt x="8934571" y="361495"/>
                  <a:pt x="8934571" y="339551"/>
                </a:cubicBezTo>
                <a:cubicBezTo>
                  <a:pt x="8934571" y="317608"/>
                  <a:pt x="8953050" y="299129"/>
                  <a:pt x="8974994" y="299129"/>
                </a:cubicBezTo>
                <a:close/>
                <a:moveTo>
                  <a:pt x="8698965" y="299129"/>
                </a:moveTo>
                <a:cubicBezTo>
                  <a:pt x="8720909" y="299129"/>
                  <a:pt x="8739388" y="317608"/>
                  <a:pt x="8739388" y="339551"/>
                </a:cubicBezTo>
                <a:cubicBezTo>
                  <a:pt x="8739388" y="361495"/>
                  <a:pt x="8720909" y="379974"/>
                  <a:pt x="8698965" y="379974"/>
                </a:cubicBezTo>
                <a:cubicBezTo>
                  <a:pt x="8677021" y="379974"/>
                  <a:pt x="8658542" y="361495"/>
                  <a:pt x="8658542" y="339551"/>
                </a:cubicBezTo>
                <a:cubicBezTo>
                  <a:pt x="8658542" y="317608"/>
                  <a:pt x="8677021" y="299129"/>
                  <a:pt x="8698965" y="299129"/>
                </a:cubicBezTo>
                <a:close/>
                <a:moveTo>
                  <a:pt x="6639717" y="299129"/>
                </a:moveTo>
                <a:cubicBezTo>
                  <a:pt x="6662817" y="299129"/>
                  <a:pt x="6680139" y="317608"/>
                  <a:pt x="6680139" y="339551"/>
                </a:cubicBezTo>
                <a:cubicBezTo>
                  <a:pt x="6680139" y="361495"/>
                  <a:pt x="6661661" y="379974"/>
                  <a:pt x="6639717" y="379974"/>
                </a:cubicBezTo>
                <a:cubicBezTo>
                  <a:pt x="6617773" y="379974"/>
                  <a:pt x="6599295" y="361495"/>
                  <a:pt x="6599295" y="339551"/>
                </a:cubicBezTo>
                <a:cubicBezTo>
                  <a:pt x="6599295" y="317608"/>
                  <a:pt x="6617773" y="299129"/>
                  <a:pt x="6639717" y="299129"/>
                </a:cubicBezTo>
                <a:close/>
                <a:moveTo>
                  <a:pt x="6364844" y="299129"/>
                </a:moveTo>
                <a:cubicBezTo>
                  <a:pt x="6386786" y="299129"/>
                  <a:pt x="6405265" y="317608"/>
                  <a:pt x="6405265" y="339551"/>
                </a:cubicBezTo>
                <a:cubicBezTo>
                  <a:pt x="6405265" y="361495"/>
                  <a:pt x="6386786" y="379974"/>
                  <a:pt x="6364844" y="379974"/>
                </a:cubicBezTo>
                <a:cubicBezTo>
                  <a:pt x="6342899" y="379974"/>
                  <a:pt x="6324420" y="361495"/>
                  <a:pt x="6324420" y="339551"/>
                </a:cubicBezTo>
                <a:cubicBezTo>
                  <a:pt x="6324420" y="317608"/>
                  <a:pt x="6342899" y="299129"/>
                  <a:pt x="6364844" y="299129"/>
                </a:cubicBezTo>
                <a:close/>
                <a:moveTo>
                  <a:pt x="5489405" y="299129"/>
                </a:moveTo>
                <a:cubicBezTo>
                  <a:pt x="5511346" y="299129"/>
                  <a:pt x="5529827" y="317608"/>
                  <a:pt x="5529827" y="339551"/>
                </a:cubicBezTo>
                <a:cubicBezTo>
                  <a:pt x="5529827" y="361495"/>
                  <a:pt x="5511346" y="379974"/>
                  <a:pt x="5489405" y="379974"/>
                </a:cubicBezTo>
                <a:cubicBezTo>
                  <a:pt x="5467460" y="379974"/>
                  <a:pt x="5448980" y="361495"/>
                  <a:pt x="5448980" y="339551"/>
                </a:cubicBezTo>
                <a:cubicBezTo>
                  <a:pt x="5448980" y="317608"/>
                  <a:pt x="5467460" y="299129"/>
                  <a:pt x="5489405" y="299129"/>
                </a:cubicBezTo>
                <a:close/>
                <a:moveTo>
                  <a:pt x="5213373" y="299129"/>
                </a:moveTo>
                <a:cubicBezTo>
                  <a:pt x="5236473" y="299129"/>
                  <a:pt x="5253797" y="317608"/>
                  <a:pt x="5253797" y="339551"/>
                </a:cubicBezTo>
                <a:cubicBezTo>
                  <a:pt x="5253797" y="361495"/>
                  <a:pt x="5235320" y="379974"/>
                  <a:pt x="5213373" y="379974"/>
                </a:cubicBezTo>
                <a:cubicBezTo>
                  <a:pt x="5191431" y="379974"/>
                  <a:pt x="5172952" y="361495"/>
                  <a:pt x="5172952" y="339551"/>
                </a:cubicBezTo>
                <a:cubicBezTo>
                  <a:pt x="5172952" y="317608"/>
                  <a:pt x="5191431" y="299129"/>
                  <a:pt x="5213373" y="299129"/>
                </a:cubicBezTo>
                <a:close/>
                <a:moveTo>
                  <a:pt x="4361031" y="299129"/>
                </a:moveTo>
                <a:cubicBezTo>
                  <a:pt x="4384131" y="299129"/>
                  <a:pt x="4401455" y="317608"/>
                  <a:pt x="4401455" y="339551"/>
                </a:cubicBezTo>
                <a:cubicBezTo>
                  <a:pt x="4401455" y="361495"/>
                  <a:pt x="4382977" y="379974"/>
                  <a:pt x="4361031" y="379974"/>
                </a:cubicBezTo>
                <a:cubicBezTo>
                  <a:pt x="4339089" y="379974"/>
                  <a:pt x="4320610" y="361495"/>
                  <a:pt x="4320610" y="339551"/>
                </a:cubicBezTo>
                <a:cubicBezTo>
                  <a:pt x="4320610" y="317608"/>
                  <a:pt x="4339089" y="299129"/>
                  <a:pt x="4361031" y="299129"/>
                </a:cubicBezTo>
                <a:close/>
                <a:moveTo>
                  <a:pt x="4086158" y="299129"/>
                </a:moveTo>
                <a:cubicBezTo>
                  <a:pt x="4108102" y="299129"/>
                  <a:pt x="4126582" y="317608"/>
                  <a:pt x="4126582" y="339551"/>
                </a:cubicBezTo>
                <a:cubicBezTo>
                  <a:pt x="4126582" y="361495"/>
                  <a:pt x="4108102" y="379974"/>
                  <a:pt x="4086158" y="379974"/>
                </a:cubicBezTo>
                <a:cubicBezTo>
                  <a:pt x="4064214" y="379974"/>
                  <a:pt x="4045735" y="361495"/>
                  <a:pt x="4045735" y="339551"/>
                </a:cubicBezTo>
                <a:cubicBezTo>
                  <a:pt x="4045735" y="317608"/>
                  <a:pt x="4064214" y="299129"/>
                  <a:pt x="4086158" y="299129"/>
                </a:cubicBezTo>
                <a:close/>
                <a:moveTo>
                  <a:pt x="2026910" y="299129"/>
                </a:moveTo>
                <a:cubicBezTo>
                  <a:pt x="2050009" y="299129"/>
                  <a:pt x="2067332" y="317608"/>
                  <a:pt x="2067332" y="339551"/>
                </a:cubicBezTo>
                <a:cubicBezTo>
                  <a:pt x="2067332" y="361495"/>
                  <a:pt x="2048854" y="379974"/>
                  <a:pt x="2026910" y="379974"/>
                </a:cubicBezTo>
                <a:cubicBezTo>
                  <a:pt x="2004966" y="379974"/>
                  <a:pt x="1986487" y="361495"/>
                  <a:pt x="1986487" y="339551"/>
                </a:cubicBezTo>
                <a:cubicBezTo>
                  <a:pt x="1986487" y="317608"/>
                  <a:pt x="2004966" y="299129"/>
                  <a:pt x="2026910" y="299129"/>
                </a:cubicBezTo>
                <a:close/>
                <a:moveTo>
                  <a:pt x="1752036" y="299129"/>
                </a:moveTo>
                <a:cubicBezTo>
                  <a:pt x="1773979" y="299129"/>
                  <a:pt x="1792458" y="317608"/>
                  <a:pt x="1792458" y="339551"/>
                </a:cubicBezTo>
                <a:cubicBezTo>
                  <a:pt x="1792458" y="361495"/>
                  <a:pt x="1773979" y="379974"/>
                  <a:pt x="1752036" y="379974"/>
                </a:cubicBezTo>
                <a:cubicBezTo>
                  <a:pt x="1730092" y="379974"/>
                  <a:pt x="1711613" y="361495"/>
                  <a:pt x="1711613" y="339551"/>
                </a:cubicBezTo>
                <a:cubicBezTo>
                  <a:pt x="1711613" y="317608"/>
                  <a:pt x="1730092" y="299129"/>
                  <a:pt x="1752036" y="299129"/>
                </a:cubicBezTo>
                <a:close/>
                <a:moveTo>
                  <a:pt x="876596" y="299129"/>
                </a:moveTo>
                <a:cubicBezTo>
                  <a:pt x="898539" y="299129"/>
                  <a:pt x="917018" y="317608"/>
                  <a:pt x="917018" y="339551"/>
                </a:cubicBezTo>
                <a:cubicBezTo>
                  <a:pt x="917018" y="361495"/>
                  <a:pt x="898539" y="379974"/>
                  <a:pt x="876596" y="379974"/>
                </a:cubicBezTo>
                <a:cubicBezTo>
                  <a:pt x="854652" y="379974"/>
                  <a:pt x="836172" y="361495"/>
                  <a:pt x="836172" y="339551"/>
                </a:cubicBezTo>
                <a:cubicBezTo>
                  <a:pt x="836172" y="317608"/>
                  <a:pt x="854652" y="299129"/>
                  <a:pt x="876596" y="299129"/>
                </a:cubicBezTo>
                <a:close/>
                <a:moveTo>
                  <a:pt x="600566" y="299129"/>
                </a:moveTo>
                <a:cubicBezTo>
                  <a:pt x="623665" y="299129"/>
                  <a:pt x="640989" y="318762"/>
                  <a:pt x="640989" y="340706"/>
                </a:cubicBezTo>
                <a:cubicBezTo>
                  <a:pt x="640989" y="362649"/>
                  <a:pt x="622510" y="381128"/>
                  <a:pt x="600566" y="381128"/>
                </a:cubicBezTo>
                <a:cubicBezTo>
                  <a:pt x="578623" y="381128"/>
                  <a:pt x="560144" y="361495"/>
                  <a:pt x="560144" y="339551"/>
                </a:cubicBezTo>
                <a:cubicBezTo>
                  <a:pt x="560144" y="317608"/>
                  <a:pt x="578623" y="299129"/>
                  <a:pt x="600566" y="299129"/>
                </a:cubicBezTo>
                <a:close/>
                <a:moveTo>
                  <a:pt x="11107606" y="288734"/>
                </a:moveTo>
                <a:cubicBezTo>
                  <a:pt x="11136480" y="288734"/>
                  <a:pt x="11158424" y="311832"/>
                  <a:pt x="11158424" y="339551"/>
                </a:cubicBezTo>
                <a:cubicBezTo>
                  <a:pt x="11158424" y="367269"/>
                  <a:pt x="11136480" y="390368"/>
                  <a:pt x="11107606" y="390368"/>
                </a:cubicBezTo>
                <a:cubicBezTo>
                  <a:pt x="11079888" y="390368"/>
                  <a:pt x="11056789" y="367269"/>
                  <a:pt x="11056789" y="339551"/>
                </a:cubicBezTo>
                <a:cubicBezTo>
                  <a:pt x="11056789" y="311832"/>
                  <a:pt x="11078734" y="288734"/>
                  <a:pt x="11107606" y="288734"/>
                </a:cubicBezTo>
                <a:close/>
                <a:moveTo>
                  <a:pt x="9957292" y="288734"/>
                </a:moveTo>
                <a:cubicBezTo>
                  <a:pt x="9985010" y="288734"/>
                  <a:pt x="10008109" y="311832"/>
                  <a:pt x="10008109" y="339551"/>
                </a:cubicBezTo>
                <a:cubicBezTo>
                  <a:pt x="10008109" y="367269"/>
                  <a:pt x="9985010" y="390368"/>
                  <a:pt x="9957292" y="390368"/>
                </a:cubicBezTo>
                <a:cubicBezTo>
                  <a:pt x="9929574" y="390368"/>
                  <a:pt x="9906475" y="367269"/>
                  <a:pt x="9906475" y="339551"/>
                </a:cubicBezTo>
                <a:cubicBezTo>
                  <a:pt x="9906475" y="311832"/>
                  <a:pt x="9928419" y="288734"/>
                  <a:pt x="9957292" y="288734"/>
                </a:cubicBezTo>
                <a:close/>
                <a:moveTo>
                  <a:pt x="8836402" y="288734"/>
                </a:moveTo>
                <a:cubicBezTo>
                  <a:pt x="8865275" y="288734"/>
                  <a:pt x="8887219" y="311832"/>
                  <a:pt x="8887219" y="339551"/>
                </a:cubicBezTo>
                <a:cubicBezTo>
                  <a:pt x="8887219" y="367269"/>
                  <a:pt x="8864121" y="390368"/>
                  <a:pt x="8836402" y="390368"/>
                </a:cubicBezTo>
                <a:cubicBezTo>
                  <a:pt x="8808684" y="390368"/>
                  <a:pt x="8785585" y="367269"/>
                  <a:pt x="8785585" y="339551"/>
                </a:cubicBezTo>
                <a:cubicBezTo>
                  <a:pt x="8785585" y="311832"/>
                  <a:pt x="8807528" y="288734"/>
                  <a:pt x="8836402" y="288734"/>
                </a:cubicBezTo>
                <a:close/>
                <a:moveTo>
                  <a:pt x="6502281" y="288734"/>
                </a:moveTo>
                <a:cubicBezTo>
                  <a:pt x="6531154" y="288734"/>
                  <a:pt x="6553098" y="311832"/>
                  <a:pt x="6553098" y="339551"/>
                </a:cubicBezTo>
                <a:cubicBezTo>
                  <a:pt x="6553098" y="367269"/>
                  <a:pt x="6531154" y="390368"/>
                  <a:pt x="6502281" y="390368"/>
                </a:cubicBezTo>
                <a:cubicBezTo>
                  <a:pt x="6474562" y="390368"/>
                  <a:pt x="6451462" y="367269"/>
                  <a:pt x="6451462" y="339551"/>
                </a:cubicBezTo>
                <a:cubicBezTo>
                  <a:pt x="6451462" y="311832"/>
                  <a:pt x="6473407" y="288734"/>
                  <a:pt x="6502281" y="288734"/>
                </a:cubicBezTo>
                <a:close/>
                <a:moveTo>
                  <a:pt x="5351966" y="288734"/>
                </a:moveTo>
                <a:cubicBezTo>
                  <a:pt x="5379685" y="288734"/>
                  <a:pt x="5402784" y="311832"/>
                  <a:pt x="5402784" y="339551"/>
                </a:cubicBezTo>
                <a:cubicBezTo>
                  <a:pt x="5402784" y="367269"/>
                  <a:pt x="5380840" y="390368"/>
                  <a:pt x="5351966" y="390368"/>
                </a:cubicBezTo>
                <a:cubicBezTo>
                  <a:pt x="5324247" y="390368"/>
                  <a:pt x="5301149" y="367269"/>
                  <a:pt x="5301149" y="339551"/>
                </a:cubicBezTo>
                <a:cubicBezTo>
                  <a:pt x="5301149" y="311832"/>
                  <a:pt x="5323094" y="288734"/>
                  <a:pt x="5351966" y="288734"/>
                </a:cubicBezTo>
                <a:close/>
                <a:moveTo>
                  <a:pt x="4223596" y="288734"/>
                </a:moveTo>
                <a:cubicBezTo>
                  <a:pt x="4252468" y="288734"/>
                  <a:pt x="4274414" y="311832"/>
                  <a:pt x="4274414" y="339551"/>
                </a:cubicBezTo>
                <a:cubicBezTo>
                  <a:pt x="4274414" y="367269"/>
                  <a:pt x="4251315" y="390368"/>
                  <a:pt x="4223596" y="390368"/>
                </a:cubicBezTo>
                <a:cubicBezTo>
                  <a:pt x="4195877" y="390368"/>
                  <a:pt x="4172779" y="367269"/>
                  <a:pt x="4172779" y="339551"/>
                </a:cubicBezTo>
                <a:cubicBezTo>
                  <a:pt x="4172779" y="311832"/>
                  <a:pt x="4194721" y="288734"/>
                  <a:pt x="4223596" y="288734"/>
                </a:cubicBezTo>
                <a:close/>
                <a:moveTo>
                  <a:pt x="1889473" y="288734"/>
                </a:moveTo>
                <a:cubicBezTo>
                  <a:pt x="1918346" y="288734"/>
                  <a:pt x="1940290" y="311832"/>
                  <a:pt x="1940290" y="339551"/>
                </a:cubicBezTo>
                <a:cubicBezTo>
                  <a:pt x="1940290" y="367269"/>
                  <a:pt x="1918346" y="390368"/>
                  <a:pt x="1889473" y="390368"/>
                </a:cubicBezTo>
                <a:cubicBezTo>
                  <a:pt x="1861754" y="390368"/>
                  <a:pt x="1838656" y="367269"/>
                  <a:pt x="1838656" y="339551"/>
                </a:cubicBezTo>
                <a:cubicBezTo>
                  <a:pt x="1838656" y="311832"/>
                  <a:pt x="1860600" y="288734"/>
                  <a:pt x="1889473" y="288734"/>
                </a:cubicBezTo>
                <a:close/>
                <a:moveTo>
                  <a:pt x="739158" y="288734"/>
                </a:moveTo>
                <a:cubicBezTo>
                  <a:pt x="766877" y="288734"/>
                  <a:pt x="789975" y="311832"/>
                  <a:pt x="789975" y="339551"/>
                </a:cubicBezTo>
                <a:cubicBezTo>
                  <a:pt x="789975" y="367269"/>
                  <a:pt x="766877" y="390368"/>
                  <a:pt x="739158" y="390368"/>
                </a:cubicBezTo>
                <a:cubicBezTo>
                  <a:pt x="711440" y="390368"/>
                  <a:pt x="688341" y="367269"/>
                  <a:pt x="688341" y="339551"/>
                </a:cubicBezTo>
                <a:cubicBezTo>
                  <a:pt x="688341" y="311832"/>
                  <a:pt x="710285" y="288734"/>
                  <a:pt x="739158" y="288734"/>
                </a:cubicBezTo>
                <a:close/>
                <a:moveTo>
                  <a:pt x="12227892" y="175550"/>
                </a:moveTo>
                <a:cubicBezTo>
                  <a:pt x="12238288" y="175550"/>
                  <a:pt x="12248682" y="184790"/>
                  <a:pt x="12248682" y="196339"/>
                </a:cubicBezTo>
                <a:cubicBezTo>
                  <a:pt x="12248682" y="207888"/>
                  <a:pt x="12239442" y="217128"/>
                  <a:pt x="12227892" y="217128"/>
                </a:cubicBezTo>
                <a:cubicBezTo>
                  <a:pt x="12216343" y="217128"/>
                  <a:pt x="12207104" y="207888"/>
                  <a:pt x="12207104" y="196339"/>
                </a:cubicBezTo>
                <a:cubicBezTo>
                  <a:pt x="12207104" y="184790"/>
                  <a:pt x="12216343" y="175550"/>
                  <a:pt x="12227892" y="175550"/>
                </a:cubicBezTo>
                <a:close/>
                <a:moveTo>
                  <a:pt x="12091610" y="175550"/>
                </a:moveTo>
                <a:cubicBezTo>
                  <a:pt x="12103160" y="175550"/>
                  <a:pt x="12112399" y="184790"/>
                  <a:pt x="12112399" y="196339"/>
                </a:cubicBezTo>
                <a:cubicBezTo>
                  <a:pt x="12112399" y="207888"/>
                  <a:pt x="12103160" y="217128"/>
                  <a:pt x="12091610" y="217128"/>
                </a:cubicBezTo>
                <a:cubicBezTo>
                  <a:pt x="12080061" y="217128"/>
                  <a:pt x="12070822" y="207888"/>
                  <a:pt x="12070822" y="196339"/>
                </a:cubicBezTo>
                <a:cubicBezTo>
                  <a:pt x="12070822" y="184790"/>
                  <a:pt x="12080061" y="175550"/>
                  <a:pt x="12091610" y="175550"/>
                </a:cubicBezTo>
                <a:close/>
                <a:moveTo>
                  <a:pt x="11956484" y="175550"/>
                </a:moveTo>
                <a:cubicBezTo>
                  <a:pt x="11968033" y="175550"/>
                  <a:pt x="11977272" y="184790"/>
                  <a:pt x="11977272" y="196339"/>
                </a:cubicBezTo>
                <a:cubicBezTo>
                  <a:pt x="11977272" y="207888"/>
                  <a:pt x="11968033" y="217128"/>
                  <a:pt x="11956484" y="217128"/>
                </a:cubicBezTo>
                <a:cubicBezTo>
                  <a:pt x="11944934" y="217128"/>
                  <a:pt x="11935695" y="207888"/>
                  <a:pt x="11935695" y="196339"/>
                </a:cubicBezTo>
                <a:cubicBezTo>
                  <a:pt x="11935695" y="184790"/>
                  <a:pt x="11944934" y="175550"/>
                  <a:pt x="11956484" y="175550"/>
                </a:cubicBezTo>
                <a:close/>
                <a:moveTo>
                  <a:pt x="11821356" y="175550"/>
                </a:moveTo>
                <a:cubicBezTo>
                  <a:pt x="11832905" y="175550"/>
                  <a:pt x="11842144" y="184790"/>
                  <a:pt x="11842144" y="196339"/>
                </a:cubicBezTo>
                <a:cubicBezTo>
                  <a:pt x="11842144" y="207888"/>
                  <a:pt x="11832905" y="217128"/>
                  <a:pt x="11821356" y="217128"/>
                </a:cubicBezTo>
                <a:cubicBezTo>
                  <a:pt x="11809806" y="217128"/>
                  <a:pt x="11800567" y="207888"/>
                  <a:pt x="11800567" y="196339"/>
                </a:cubicBezTo>
                <a:cubicBezTo>
                  <a:pt x="11800567" y="184790"/>
                  <a:pt x="11809806" y="175550"/>
                  <a:pt x="11821356" y="175550"/>
                </a:cubicBezTo>
                <a:close/>
                <a:moveTo>
                  <a:pt x="11685074" y="175550"/>
                </a:moveTo>
                <a:cubicBezTo>
                  <a:pt x="11696623" y="175550"/>
                  <a:pt x="11705862" y="184790"/>
                  <a:pt x="11705862" y="196339"/>
                </a:cubicBezTo>
                <a:cubicBezTo>
                  <a:pt x="11705862" y="207888"/>
                  <a:pt x="11696623" y="217128"/>
                  <a:pt x="11685074" y="217128"/>
                </a:cubicBezTo>
                <a:cubicBezTo>
                  <a:pt x="11673524" y="217128"/>
                  <a:pt x="11664285" y="207888"/>
                  <a:pt x="11664285" y="196339"/>
                </a:cubicBezTo>
                <a:cubicBezTo>
                  <a:pt x="11664285" y="184790"/>
                  <a:pt x="11673524" y="175550"/>
                  <a:pt x="11685074" y="175550"/>
                </a:cubicBezTo>
                <a:close/>
                <a:moveTo>
                  <a:pt x="10736873" y="175550"/>
                </a:moveTo>
                <a:cubicBezTo>
                  <a:pt x="10748422" y="175550"/>
                  <a:pt x="10757662" y="184790"/>
                  <a:pt x="10757662" y="196339"/>
                </a:cubicBezTo>
                <a:cubicBezTo>
                  <a:pt x="10757662" y="207888"/>
                  <a:pt x="10748422" y="217128"/>
                  <a:pt x="10736873" y="217128"/>
                </a:cubicBezTo>
                <a:cubicBezTo>
                  <a:pt x="10725324" y="217128"/>
                  <a:pt x="10716084" y="207888"/>
                  <a:pt x="10716084" y="196339"/>
                </a:cubicBezTo>
                <a:cubicBezTo>
                  <a:pt x="10716084" y="184790"/>
                  <a:pt x="10725324" y="175550"/>
                  <a:pt x="10736873" y="175550"/>
                </a:cubicBezTo>
                <a:close/>
                <a:moveTo>
                  <a:pt x="10601745" y="175550"/>
                </a:moveTo>
                <a:cubicBezTo>
                  <a:pt x="10613294" y="175550"/>
                  <a:pt x="10622534" y="184790"/>
                  <a:pt x="10622534" y="196339"/>
                </a:cubicBezTo>
                <a:cubicBezTo>
                  <a:pt x="10622534" y="207888"/>
                  <a:pt x="10613294" y="217128"/>
                  <a:pt x="10601745" y="217128"/>
                </a:cubicBezTo>
                <a:cubicBezTo>
                  <a:pt x="10590196" y="217128"/>
                  <a:pt x="10580956" y="207888"/>
                  <a:pt x="10580956" y="196339"/>
                </a:cubicBezTo>
                <a:cubicBezTo>
                  <a:pt x="10580956" y="184790"/>
                  <a:pt x="10590196" y="175550"/>
                  <a:pt x="10601745" y="175550"/>
                </a:cubicBezTo>
                <a:close/>
                <a:moveTo>
                  <a:pt x="8027949" y="175550"/>
                </a:moveTo>
                <a:cubicBezTo>
                  <a:pt x="8039499" y="175550"/>
                  <a:pt x="8048737" y="184790"/>
                  <a:pt x="8048737" y="196339"/>
                </a:cubicBezTo>
                <a:cubicBezTo>
                  <a:pt x="8048737" y="207888"/>
                  <a:pt x="8039499" y="217128"/>
                  <a:pt x="8027949" y="217128"/>
                </a:cubicBezTo>
                <a:cubicBezTo>
                  <a:pt x="8016400" y="217128"/>
                  <a:pt x="8007160" y="207888"/>
                  <a:pt x="8007160" y="196339"/>
                </a:cubicBezTo>
                <a:cubicBezTo>
                  <a:pt x="8007160" y="184790"/>
                  <a:pt x="8016400" y="175550"/>
                  <a:pt x="8027949" y="175550"/>
                </a:cubicBezTo>
                <a:close/>
                <a:moveTo>
                  <a:pt x="7892822" y="175550"/>
                </a:moveTo>
                <a:cubicBezTo>
                  <a:pt x="7904371" y="175550"/>
                  <a:pt x="7913611" y="184790"/>
                  <a:pt x="7913611" y="196339"/>
                </a:cubicBezTo>
                <a:cubicBezTo>
                  <a:pt x="7913611" y="207888"/>
                  <a:pt x="7904371" y="217128"/>
                  <a:pt x="7892822" y="217128"/>
                </a:cubicBezTo>
                <a:cubicBezTo>
                  <a:pt x="7881271" y="217128"/>
                  <a:pt x="7872031" y="207888"/>
                  <a:pt x="7872031" y="196339"/>
                </a:cubicBezTo>
                <a:cubicBezTo>
                  <a:pt x="7872031" y="184790"/>
                  <a:pt x="7881271" y="175550"/>
                  <a:pt x="7892822" y="175550"/>
                </a:cubicBezTo>
                <a:close/>
                <a:moveTo>
                  <a:pt x="7757693" y="175550"/>
                </a:moveTo>
                <a:cubicBezTo>
                  <a:pt x="7769244" y="175550"/>
                  <a:pt x="7778483" y="184790"/>
                  <a:pt x="7778483" y="196339"/>
                </a:cubicBezTo>
                <a:cubicBezTo>
                  <a:pt x="7778483" y="207888"/>
                  <a:pt x="7769244" y="217128"/>
                  <a:pt x="7757693" y="217128"/>
                </a:cubicBezTo>
                <a:cubicBezTo>
                  <a:pt x="7746146" y="217128"/>
                  <a:pt x="7736906" y="207888"/>
                  <a:pt x="7736906" y="196339"/>
                </a:cubicBezTo>
                <a:cubicBezTo>
                  <a:pt x="7736906" y="184790"/>
                  <a:pt x="7746146" y="175550"/>
                  <a:pt x="7757693" y="175550"/>
                </a:cubicBezTo>
                <a:close/>
                <a:moveTo>
                  <a:pt x="7622566" y="175550"/>
                </a:moveTo>
                <a:cubicBezTo>
                  <a:pt x="7632962" y="175550"/>
                  <a:pt x="7643355" y="184790"/>
                  <a:pt x="7643355" y="196339"/>
                </a:cubicBezTo>
                <a:cubicBezTo>
                  <a:pt x="7643355" y="207888"/>
                  <a:pt x="7634115" y="217128"/>
                  <a:pt x="7622566" y="217128"/>
                </a:cubicBezTo>
                <a:cubicBezTo>
                  <a:pt x="7611018" y="217128"/>
                  <a:pt x="7601778" y="207888"/>
                  <a:pt x="7601778" y="196339"/>
                </a:cubicBezTo>
                <a:cubicBezTo>
                  <a:pt x="7601778" y="184790"/>
                  <a:pt x="7611018" y="175550"/>
                  <a:pt x="7622566" y="175550"/>
                </a:cubicBezTo>
                <a:close/>
                <a:moveTo>
                  <a:pt x="7486284" y="175550"/>
                </a:moveTo>
                <a:cubicBezTo>
                  <a:pt x="7497834" y="175550"/>
                  <a:pt x="7507074" y="184790"/>
                  <a:pt x="7507074" y="196339"/>
                </a:cubicBezTo>
                <a:cubicBezTo>
                  <a:pt x="7507074" y="207888"/>
                  <a:pt x="7497834" y="217128"/>
                  <a:pt x="7486284" y="217128"/>
                </a:cubicBezTo>
                <a:cubicBezTo>
                  <a:pt x="7474735" y="217128"/>
                  <a:pt x="7465495" y="207888"/>
                  <a:pt x="7465495" y="196339"/>
                </a:cubicBezTo>
                <a:cubicBezTo>
                  <a:pt x="7465495" y="184790"/>
                  <a:pt x="7474735" y="175550"/>
                  <a:pt x="7486284" y="175550"/>
                </a:cubicBezTo>
                <a:close/>
                <a:moveTo>
                  <a:pt x="7351157" y="175550"/>
                </a:moveTo>
                <a:cubicBezTo>
                  <a:pt x="7362706" y="175550"/>
                  <a:pt x="7371946" y="184790"/>
                  <a:pt x="7371946" y="196339"/>
                </a:cubicBezTo>
                <a:cubicBezTo>
                  <a:pt x="7371946" y="207888"/>
                  <a:pt x="7362706" y="217128"/>
                  <a:pt x="7351157" y="217128"/>
                </a:cubicBezTo>
                <a:cubicBezTo>
                  <a:pt x="7339609" y="217128"/>
                  <a:pt x="7330369" y="207888"/>
                  <a:pt x="7330369" y="196339"/>
                </a:cubicBezTo>
                <a:cubicBezTo>
                  <a:pt x="7330369" y="184790"/>
                  <a:pt x="7339609" y="175550"/>
                  <a:pt x="7351157" y="175550"/>
                </a:cubicBezTo>
                <a:close/>
                <a:moveTo>
                  <a:pt x="7216030" y="175550"/>
                </a:moveTo>
                <a:cubicBezTo>
                  <a:pt x="7227579" y="175550"/>
                  <a:pt x="7236819" y="184790"/>
                  <a:pt x="7236819" y="196339"/>
                </a:cubicBezTo>
                <a:cubicBezTo>
                  <a:pt x="7236819" y="207888"/>
                  <a:pt x="7227579" y="217128"/>
                  <a:pt x="7216030" y="217128"/>
                </a:cubicBezTo>
                <a:cubicBezTo>
                  <a:pt x="7204481" y="217128"/>
                  <a:pt x="7195241" y="207888"/>
                  <a:pt x="7195241" y="196339"/>
                </a:cubicBezTo>
                <a:cubicBezTo>
                  <a:pt x="7195241" y="184790"/>
                  <a:pt x="7204481" y="175550"/>
                  <a:pt x="7216030" y="175550"/>
                </a:cubicBezTo>
                <a:close/>
                <a:moveTo>
                  <a:pt x="7079748" y="175550"/>
                </a:moveTo>
                <a:cubicBezTo>
                  <a:pt x="7091297" y="175550"/>
                  <a:pt x="7100537" y="184790"/>
                  <a:pt x="7100537" y="196339"/>
                </a:cubicBezTo>
                <a:cubicBezTo>
                  <a:pt x="7100537" y="207888"/>
                  <a:pt x="7091297" y="217128"/>
                  <a:pt x="7079748" y="217128"/>
                </a:cubicBezTo>
                <a:cubicBezTo>
                  <a:pt x="7068199" y="217128"/>
                  <a:pt x="7058959" y="207888"/>
                  <a:pt x="7058959" y="196339"/>
                </a:cubicBezTo>
                <a:cubicBezTo>
                  <a:pt x="7058959" y="184790"/>
                  <a:pt x="7068199" y="175550"/>
                  <a:pt x="7079748" y="175550"/>
                </a:cubicBezTo>
                <a:close/>
                <a:moveTo>
                  <a:pt x="6131548" y="175550"/>
                </a:moveTo>
                <a:cubicBezTo>
                  <a:pt x="6143096" y="175550"/>
                  <a:pt x="6152336" y="184790"/>
                  <a:pt x="6152336" y="196339"/>
                </a:cubicBezTo>
                <a:cubicBezTo>
                  <a:pt x="6152336" y="207888"/>
                  <a:pt x="6143096" y="217128"/>
                  <a:pt x="6131548" y="217128"/>
                </a:cubicBezTo>
                <a:cubicBezTo>
                  <a:pt x="6119997" y="217128"/>
                  <a:pt x="6110759" y="207888"/>
                  <a:pt x="6110759" y="196339"/>
                </a:cubicBezTo>
                <a:cubicBezTo>
                  <a:pt x="6110759" y="184790"/>
                  <a:pt x="6119997" y="175550"/>
                  <a:pt x="6131548" y="175550"/>
                </a:cubicBezTo>
                <a:close/>
                <a:moveTo>
                  <a:pt x="5996418" y="175550"/>
                </a:moveTo>
                <a:cubicBezTo>
                  <a:pt x="6007969" y="175550"/>
                  <a:pt x="6017209" y="184790"/>
                  <a:pt x="6017209" y="196339"/>
                </a:cubicBezTo>
                <a:cubicBezTo>
                  <a:pt x="6017209" y="207888"/>
                  <a:pt x="6007969" y="217128"/>
                  <a:pt x="5996418" y="217128"/>
                </a:cubicBezTo>
                <a:cubicBezTo>
                  <a:pt x="5984870" y="217128"/>
                  <a:pt x="5975631" y="207888"/>
                  <a:pt x="5975631" y="196339"/>
                </a:cubicBezTo>
                <a:cubicBezTo>
                  <a:pt x="5975631" y="184790"/>
                  <a:pt x="5984870" y="175550"/>
                  <a:pt x="5996418" y="175550"/>
                </a:cubicBezTo>
                <a:close/>
                <a:moveTo>
                  <a:pt x="3415142" y="175550"/>
                </a:moveTo>
                <a:cubicBezTo>
                  <a:pt x="3426691" y="175550"/>
                  <a:pt x="3435930" y="184790"/>
                  <a:pt x="3435930" y="196339"/>
                </a:cubicBezTo>
                <a:cubicBezTo>
                  <a:pt x="3435930" y="207888"/>
                  <a:pt x="3426691" y="217128"/>
                  <a:pt x="3415142" y="217128"/>
                </a:cubicBezTo>
                <a:cubicBezTo>
                  <a:pt x="3403592" y="217128"/>
                  <a:pt x="3394352" y="207888"/>
                  <a:pt x="3394352" y="196339"/>
                </a:cubicBezTo>
                <a:cubicBezTo>
                  <a:pt x="3394352" y="184790"/>
                  <a:pt x="3403592" y="175550"/>
                  <a:pt x="3415142" y="175550"/>
                </a:cubicBezTo>
                <a:close/>
                <a:moveTo>
                  <a:pt x="3280013" y="175550"/>
                </a:moveTo>
                <a:cubicBezTo>
                  <a:pt x="3291564" y="175550"/>
                  <a:pt x="3300802" y="184790"/>
                  <a:pt x="3300802" y="196339"/>
                </a:cubicBezTo>
                <a:cubicBezTo>
                  <a:pt x="3300802" y="207888"/>
                  <a:pt x="3291564" y="217128"/>
                  <a:pt x="3280013" y="217128"/>
                </a:cubicBezTo>
                <a:cubicBezTo>
                  <a:pt x="3268464" y="217128"/>
                  <a:pt x="3259224" y="207888"/>
                  <a:pt x="3259224" y="196339"/>
                </a:cubicBezTo>
                <a:cubicBezTo>
                  <a:pt x="3259224" y="184790"/>
                  <a:pt x="3268464" y="175550"/>
                  <a:pt x="3280013" y="175550"/>
                </a:cubicBezTo>
                <a:close/>
                <a:moveTo>
                  <a:pt x="3144887" y="175550"/>
                </a:moveTo>
                <a:cubicBezTo>
                  <a:pt x="3156436" y="175550"/>
                  <a:pt x="3165675" y="184790"/>
                  <a:pt x="3165675" y="196339"/>
                </a:cubicBezTo>
                <a:cubicBezTo>
                  <a:pt x="3165675" y="207888"/>
                  <a:pt x="3156436" y="217128"/>
                  <a:pt x="3144887" y="217128"/>
                </a:cubicBezTo>
                <a:cubicBezTo>
                  <a:pt x="3133338" y="217128"/>
                  <a:pt x="3124098" y="207888"/>
                  <a:pt x="3124098" y="196339"/>
                </a:cubicBezTo>
                <a:cubicBezTo>
                  <a:pt x="3124098" y="184790"/>
                  <a:pt x="3133338" y="175550"/>
                  <a:pt x="3144887" y="175550"/>
                </a:cubicBezTo>
                <a:close/>
                <a:moveTo>
                  <a:pt x="3009759" y="175550"/>
                </a:moveTo>
                <a:cubicBezTo>
                  <a:pt x="3020154" y="175550"/>
                  <a:pt x="3030548" y="184790"/>
                  <a:pt x="3030548" y="196339"/>
                </a:cubicBezTo>
                <a:cubicBezTo>
                  <a:pt x="3030548" y="207888"/>
                  <a:pt x="3021308" y="217128"/>
                  <a:pt x="3009759" y="217128"/>
                </a:cubicBezTo>
                <a:cubicBezTo>
                  <a:pt x="2998209" y="217128"/>
                  <a:pt x="2988971" y="207888"/>
                  <a:pt x="2988971" y="196339"/>
                </a:cubicBezTo>
                <a:cubicBezTo>
                  <a:pt x="2988971" y="184790"/>
                  <a:pt x="2998209" y="175550"/>
                  <a:pt x="3009759" y="175550"/>
                </a:cubicBezTo>
                <a:close/>
                <a:moveTo>
                  <a:pt x="2873476" y="175550"/>
                </a:moveTo>
                <a:cubicBezTo>
                  <a:pt x="2885026" y="175550"/>
                  <a:pt x="2894265" y="184790"/>
                  <a:pt x="2894265" y="196339"/>
                </a:cubicBezTo>
                <a:cubicBezTo>
                  <a:pt x="2894265" y="207888"/>
                  <a:pt x="2885026" y="217128"/>
                  <a:pt x="2873476" y="217128"/>
                </a:cubicBezTo>
                <a:cubicBezTo>
                  <a:pt x="2861927" y="217128"/>
                  <a:pt x="2852688" y="207888"/>
                  <a:pt x="2852688" y="196339"/>
                </a:cubicBezTo>
                <a:cubicBezTo>
                  <a:pt x="2852688" y="184790"/>
                  <a:pt x="2861927" y="175550"/>
                  <a:pt x="2873476" y="175550"/>
                </a:cubicBezTo>
                <a:close/>
                <a:moveTo>
                  <a:pt x="2738350" y="175550"/>
                </a:moveTo>
                <a:cubicBezTo>
                  <a:pt x="2749899" y="175550"/>
                  <a:pt x="2759139" y="184790"/>
                  <a:pt x="2759139" y="196339"/>
                </a:cubicBezTo>
                <a:cubicBezTo>
                  <a:pt x="2759139" y="207888"/>
                  <a:pt x="2749899" y="217128"/>
                  <a:pt x="2738350" y="217128"/>
                </a:cubicBezTo>
                <a:cubicBezTo>
                  <a:pt x="2726800" y="217128"/>
                  <a:pt x="2717562" y="207888"/>
                  <a:pt x="2717562" y="196339"/>
                </a:cubicBezTo>
                <a:cubicBezTo>
                  <a:pt x="2717562" y="184790"/>
                  <a:pt x="2726800" y="175550"/>
                  <a:pt x="2738350" y="175550"/>
                </a:cubicBezTo>
                <a:close/>
                <a:moveTo>
                  <a:pt x="2603222" y="175550"/>
                </a:moveTo>
                <a:cubicBezTo>
                  <a:pt x="2614771" y="175550"/>
                  <a:pt x="2624011" y="184790"/>
                  <a:pt x="2624011" y="196339"/>
                </a:cubicBezTo>
                <a:cubicBezTo>
                  <a:pt x="2624011" y="207888"/>
                  <a:pt x="2614771" y="217128"/>
                  <a:pt x="2603222" y="217128"/>
                </a:cubicBezTo>
                <a:cubicBezTo>
                  <a:pt x="2591673" y="217128"/>
                  <a:pt x="2582433" y="207888"/>
                  <a:pt x="2582433" y="196339"/>
                </a:cubicBezTo>
                <a:cubicBezTo>
                  <a:pt x="2582433" y="184790"/>
                  <a:pt x="2591673" y="175550"/>
                  <a:pt x="2603222" y="175550"/>
                </a:cubicBezTo>
                <a:close/>
                <a:moveTo>
                  <a:pt x="2466940" y="175550"/>
                </a:moveTo>
                <a:cubicBezTo>
                  <a:pt x="2478489" y="175550"/>
                  <a:pt x="2487729" y="184790"/>
                  <a:pt x="2487729" y="196339"/>
                </a:cubicBezTo>
                <a:cubicBezTo>
                  <a:pt x="2487729" y="207888"/>
                  <a:pt x="2478489" y="217128"/>
                  <a:pt x="2466940" y="217128"/>
                </a:cubicBezTo>
                <a:cubicBezTo>
                  <a:pt x="2455390" y="217128"/>
                  <a:pt x="2446151" y="207888"/>
                  <a:pt x="2446151" y="196339"/>
                </a:cubicBezTo>
                <a:cubicBezTo>
                  <a:pt x="2446151" y="184790"/>
                  <a:pt x="2455390" y="175550"/>
                  <a:pt x="2466940" y="175550"/>
                </a:cubicBezTo>
                <a:close/>
                <a:moveTo>
                  <a:pt x="1518739" y="175550"/>
                </a:moveTo>
                <a:cubicBezTo>
                  <a:pt x="1530289" y="175550"/>
                  <a:pt x="1539528" y="184790"/>
                  <a:pt x="1539528" y="196339"/>
                </a:cubicBezTo>
                <a:cubicBezTo>
                  <a:pt x="1539528" y="207888"/>
                  <a:pt x="1530289" y="217128"/>
                  <a:pt x="1518739" y="217128"/>
                </a:cubicBezTo>
                <a:cubicBezTo>
                  <a:pt x="1507190" y="217128"/>
                  <a:pt x="1497951" y="207888"/>
                  <a:pt x="1497951" y="196339"/>
                </a:cubicBezTo>
                <a:cubicBezTo>
                  <a:pt x="1497951" y="184790"/>
                  <a:pt x="1507190" y="175550"/>
                  <a:pt x="1518739" y="175550"/>
                </a:cubicBezTo>
                <a:close/>
                <a:moveTo>
                  <a:pt x="1383611" y="175550"/>
                </a:moveTo>
                <a:cubicBezTo>
                  <a:pt x="1395161" y="175550"/>
                  <a:pt x="1404400" y="184790"/>
                  <a:pt x="1404400" y="196339"/>
                </a:cubicBezTo>
                <a:cubicBezTo>
                  <a:pt x="1404400" y="207888"/>
                  <a:pt x="1395161" y="217128"/>
                  <a:pt x="1383611" y="217128"/>
                </a:cubicBezTo>
                <a:cubicBezTo>
                  <a:pt x="1372062" y="217128"/>
                  <a:pt x="1362823" y="207888"/>
                  <a:pt x="1362823" y="196339"/>
                </a:cubicBezTo>
                <a:cubicBezTo>
                  <a:pt x="1362823" y="184790"/>
                  <a:pt x="1372062" y="175550"/>
                  <a:pt x="1383611" y="175550"/>
                </a:cubicBezTo>
                <a:close/>
                <a:moveTo>
                  <a:pt x="11549947" y="172086"/>
                </a:moveTo>
                <a:cubicBezTo>
                  <a:pt x="11562650" y="172086"/>
                  <a:pt x="11573046" y="182480"/>
                  <a:pt x="11573046" y="195185"/>
                </a:cubicBezTo>
                <a:cubicBezTo>
                  <a:pt x="11573046" y="207888"/>
                  <a:pt x="11562650" y="218283"/>
                  <a:pt x="11549947" y="218283"/>
                </a:cubicBezTo>
                <a:cubicBezTo>
                  <a:pt x="11537242" y="218283"/>
                  <a:pt x="11526848" y="207888"/>
                  <a:pt x="11526848" y="195185"/>
                </a:cubicBezTo>
                <a:cubicBezTo>
                  <a:pt x="11526848" y="182480"/>
                  <a:pt x="11537242" y="172086"/>
                  <a:pt x="11549947" y="172086"/>
                </a:cubicBezTo>
                <a:close/>
                <a:moveTo>
                  <a:pt x="10466618" y="172086"/>
                </a:moveTo>
                <a:cubicBezTo>
                  <a:pt x="10479322" y="172086"/>
                  <a:pt x="10489717" y="182480"/>
                  <a:pt x="10489717" y="195185"/>
                </a:cubicBezTo>
                <a:cubicBezTo>
                  <a:pt x="10489717" y="207888"/>
                  <a:pt x="10479322" y="218283"/>
                  <a:pt x="10466618" y="218283"/>
                </a:cubicBezTo>
                <a:cubicBezTo>
                  <a:pt x="10453914" y="218283"/>
                  <a:pt x="10443520" y="207888"/>
                  <a:pt x="10443520" y="195185"/>
                </a:cubicBezTo>
                <a:cubicBezTo>
                  <a:pt x="10443520" y="182480"/>
                  <a:pt x="10453914" y="172086"/>
                  <a:pt x="10466618" y="172086"/>
                </a:cubicBezTo>
                <a:close/>
                <a:moveTo>
                  <a:pt x="9244698" y="172086"/>
                </a:moveTo>
                <a:cubicBezTo>
                  <a:pt x="9258557" y="172086"/>
                  <a:pt x="9268951" y="181325"/>
                  <a:pt x="9270107" y="194029"/>
                </a:cubicBezTo>
                <a:cubicBezTo>
                  <a:pt x="9271261" y="206734"/>
                  <a:pt x="9262022" y="219438"/>
                  <a:pt x="9249318" y="219438"/>
                </a:cubicBezTo>
                <a:cubicBezTo>
                  <a:pt x="9236613" y="219438"/>
                  <a:pt x="9225064" y="210198"/>
                  <a:pt x="9223909" y="197494"/>
                </a:cubicBezTo>
                <a:cubicBezTo>
                  <a:pt x="9222754" y="184790"/>
                  <a:pt x="9231993" y="173240"/>
                  <a:pt x="9244698" y="172086"/>
                </a:cubicBezTo>
                <a:close/>
                <a:moveTo>
                  <a:pt x="8164231" y="172086"/>
                </a:moveTo>
                <a:cubicBezTo>
                  <a:pt x="8176935" y="172086"/>
                  <a:pt x="8187331" y="182480"/>
                  <a:pt x="8187331" y="195185"/>
                </a:cubicBezTo>
                <a:cubicBezTo>
                  <a:pt x="8187331" y="207888"/>
                  <a:pt x="8176935" y="218283"/>
                  <a:pt x="8164231" y="218283"/>
                </a:cubicBezTo>
                <a:cubicBezTo>
                  <a:pt x="8151527" y="218283"/>
                  <a:pt x="8141133" y="207888"/>
                  <a:pt x="8141133" y="195185"/>
                </a:cubicBezTo>
                <a:cubicBezTo>
                  <a:pt x="8141133" y="182480"/>
                  <a:pt x="8151527" y="172086"/>
                  <a:pt x="8164231" y="172086"/>
                </a:cubicBezTo>
                <a:close/>
                <a:moveTo>
                  <a:pt x="6944621" y="172086"/>
                </a:moveTo>
                <a:cubicBezTo>
                  <a:pt x="6957325" y="172086"/>
                  <a:pt x="6967719" y="182480"/>
                  <a:pt x="6967719" y="195185"/>
                </a:cubicBezTo>
                <a:cubicBezTo>
                  <a:pt x="6967719" y="207888"/>
                  <a:pt x="6957325" y="218283"/>
                  <a:pt x="6944621" y="218283"/>
                </a:cubicBezTo>
                <a:cubicBezTo>
                  <a:pt x="6931915" y="218283"/>
                  <a:pt x="6921522" y="207888"/>
                  <a:pt x="6921522" y="195185"/>
                </a:cubicBezTo>
                <a:cubicBezTo>
                  <a:pt x="6921522" y="182480"/>
                  <a:pt x="6931915" y="172086"/>
                  <a:pt x="6944621" y="172086"/>
                </a:cubicBezTo>
                <a:close/>
                <a:moveTo>
                  <a:pt x="5861292" y="172086"/>
                </a:moveTo>
                <a:cubicBezTo>
                  <a:pt x="5873996" y="172086"/>
                  <a:pt x="5884392" y="182480"/>
                  <a:pt x="5884392" y="195185"/>
                </a:cubicBezTo>
                <a:cubicBezTo>
                  <a:pt x="5884392" y="207888"/>
                  <a:pt x="5873996" y="218283"/>
                  <a:pt x="5861292" y="218283"/>
                </a:cubicBezTo>
                <a:cubicBezTo>
                  <a:pt x="5848588" y="218283"/>
                  <a:pt x="5838194" y="207888"/>
                  <a:pt x="5838194" y="195185"/>
                </a:cubicBezTo>
                <a:cubicBezTo>
                  <a:pt x="5838194" y="182480"/>
                  <a:pt x="5848588" y="172086"/>
                  <a:pt x="5861292" y="172086"/>
                </a:cubicBezTo>
                <a:close/>
                <a:moveTo>
                  <a:pt x="4639374" y="172086"/>
                </a:moveTo>
                <a:cubicBezTo>
                  <a:pt x="4653231" y="172086"/>
                  <a:pt x="4663624" y="181325"/>
                  <a:pt x="4664780" y="192875"/>
                </a:cubicBezTo>
                <a:cubicBezTo>
                  <a:pt x="4665936" y="205578"/>
                  <a:pt x="4656695" y="217128"/>
                  <a:pt x="4643991" y="218283"/>
                </a:cubicBezTo>
                <a:cubicBezTo>
                  <a:pt x="4631287" y="219438"/>
                  <a:pt x="4619739" y="210198"/>
                  <a:pt x="4618583" y="197494"/>
                </a:cubicBezTo>
                <a:cubicBezTo>
                  <a:pt x="4617428" y="184790"/>
                  <a:pt x="4626667" y="173240"/>
                  <a:pt x="4639374" y="172086"/>
                </a:cubicBezTo>
                <a:close/>
                <a:moveTo>
                  <a:pt x="3551423" y="172086"/>
                </a:moveTo>
                <a:cubicBezTo>
                  <a:pt x="3564127" y="172086"/>
                  <a:pt x="3574522" y="182480"/>
                  <a:pt x="3574522" y="195185"/>
                </a:cubicBezTo>
                <a:cubicBezTo>
                  <a:pt x="3574522" y="207888"/>
                  <a:pt x="3564127" y="218283"/>
                  <a:pt x="3551423" y="218283"/>
                </a:cubicBezTo>
                <a:cubicBezTo>
                  <a:pt x="3538719" y="218283"/>
                  <a:pt x="3528325" y="207888"/>
                  <a:pt x="3528325" y="195185"/>
                </a:cubicBezTo>
                <a:cubicBezTo>
                  <a:pt x="3528325" y="182480"/>
                  <a:pt x="3538719" y="172086"/>
                  <a:pt x="3551423" y="172086"/>
                </a:cubicBezTo>
                <a:close/>
                <a:moveTo>
                  <a:pt x="2331813" y="172086"/>
                </a:moveTo>
                <a:cubicBezTo>
                  <a:pt x="2344517" y="172086"/>
                  <a:pt x="2354912" y="182480"/>
                  <a:pt x="2354912" y="195185"/>
                </a:cubicBezTo>
                <a:cubicBezTo>
                  <a:pt x="2354912" y="207888"/>
                  <a:pt x="2344517" y="218283"/>
                  <a:pt x="2331813" y="218283"/>
                </a:cubicBezTo>
                <a:cubicBezTo>
                  <a:pt x="2319108" y="218283"/>
                  <a:pt x="2308714" y="207888"/>
                  <a:pt x="2308714" y="195185"/>
                </a:cubicBezTo>
                <a:cubicBezTo>
                  <a:pt x="2308714" y="182480"/>
                  <a:pt x="2319108" y="172086"/>
                  <a:pt x="2331813" y="172086"/>
                </a:cubicBezTo>
                <a:close/>
                <a:moveTo>
                  <a:pt x="1248485" y="172086"/>
                </a:moveTo>
                <a:cubicBezTo>
                  <a:pt x="1261188" y="172086"/>
                  <a:pt x="1271583" y="182480"/>
                  <a:pt x="1271583" y="195185"/>
                </a:cubicBezTo>
                <a:cubicBezTo>
                  <a:pt x="1271583" y="207888"/>
                  <a:pt x="1261188" y="218283"/>
                  <a:pt x="1248485" y="218283"/>
                </a:cubicBezTo>
                <a:cubicBezTo>
                  <a:pt x="1235780" y="218283"/>
                  <a:pt x="1225386" y="207888"/>
                  <a:pt x="1225386" y="195185"/>
                </a:cubicBezTo>
                <a:cubicBezTo>
                  <a:pt x="1225386" y="182480"/>
                  <a:pt x="1235780" y="172086"/>
                  <a:pt x="1248485" y="172086"/>
                </a:cubicBezTo>
                <a:close/>
                <a:moveTo>
                  <a:pt x="26564" y="172086"/>
                </a:moveTo>
                <a:cubicBezTo>
                  <a:pt x="40424" y="172086"/>
                  <a:pt x="50817" y="181325"/>
                  <a:pt x="51973" y="194029"/>
                </a:cubicBezTo>
                <a:cubicBezTo>
                  <a:pt x="53127" y="206734"/>
                  <a:pt x="43888" y="219438"/>
                  <a:pt x="31184" y="219438"/>
                </a:cubicBezTo>
                <a:cubicBezTo>
                  <a:pt x="18479" y="219438"/>
                  <a:pt x="6930" y="210198"/>
                  <a:pt x="5776" y="197494"/>
                </a:cubicBezTo>
                <a:cubicBezTo>
                  <a:pt x="4620" y="184790"/>
                  <a:pt x="13860" y="173240"/>
                  <a:pt x="26564" y="172086"/>
                </a:cubicBezTo>
                <a:close/>
                <a:moveTo>
                  <a:pt x="11414819" y="166311"/>
                </a:moveTo>
                <a:cubicBezTo>
                  <a:pt x="11430988" y="166311"/>
                  <a:pt x="11443693" y="179016"/>
                  <a:pt x="11443693" y="195185"/>
                </a:cubicBezTo>
                <a:cubicBezTo>
                  <a:pt x="11443693" y="211354"/>
                  <a:pt x="11430988" y="224057"/>
                  <a:pt x="11414819" y="224057"/>
                </a:cubicBezTo>
                <a:cubicBezTo>
                  <a:pt x="11398650" y="224057"/>
                  <a:pt x="11385946" y="211354"/>
                  <a:pt x="11385946" y="195185"/>
                </a:cubicBezTo>
                <a:cubicBezTo>
                  <a:pt x="11385946" y="179016"/>
                  <a:pt x="11398650" y="166311"/>
                  <a:pt x="11414819" y="166311"/>
                </a:cubicBezTo>
                <a:close/>
                <a:moveTo>
                  <a:pt x="10330336" y="166311"/>
                </a:moveTo>
                <a:cubicBezTo>
                  <a:pt x="10346505" y="166311"/>
                  <a:pt x="10359209" y="179016"/>
                  <a:pt x="10359209" y="195185"/>
                </a:cubicBezTo>
                <a:cubicBezTo>
                  <a:pt x="10359209" y="211354"/>
                  <a:pt x="10346505" y="224057"/>
                  <a:pt x="10330336" y="224057"/>
                </a:cubicBezTo>
                <a:cubicBezTo>
                  <a:pt x="10314167" y="224057"/>
                  <a:pt x="10301462" y="211354"/>
                  <a:pt x="10301462" y="195185"/>
                </a:cubicBezTo>
                <a:cubicBezTo>
                  <a:pt x="10301462" y="179016"/>
                  <a:pt x="10314167" y="166311"/>
                  <a:pt x="10330336" y="166311"/>
                </a:cubicBezTo>
                <a:close/>
                <a:moveTo>
                  <a:pt x="9382135" y="166311"/>
                </a:moveTo>
                <a:cubicBezTo>
                  <a:pt x="9398304" y="166311"/>
                  <a:pt x="9411009" y="179016"/>
                  <a:pt x="9411009" y="195185"/>
                </a:cubicBezTo>
                <a:cubicBezTo>
                  <a:pt x="9411009" y="211354"/>
                  <a:pt x="9398304" y="224057"/>
                  <a:pt x="9382135" y="224057"/>
                </a:cubicBezTo>
                <a:cubicBezTo>
                  <a:pt x="9365966" y="224057"/>
                  <a:pt x="9353262" y="211354"/>
                  <a:pt x="9353262" y="195185"/>
                </a:cubicBezTo>
                <a:cubicBezTo>
                  <a:pt x="9353262" y="179016"/>
                  <a:pt x="9365966" y="166311"/>
                  <a:pt x="9382135" y="166311"/>
                </a:cubicBezTo>
                <a:close/>
                <a:moveTo>
                  <a:pt x="9112431" y="166311"/>
                </a:moveTo>
                <a:cubicBezTo>
                  <a:pt x="9128600" y="166311"/>
                  <a:pt x="9141305" y="179016"/>
                  <a:pt x="9141305" y="195185"/>
                </a:cubicBezTo>
                <a:cubicBezTo>
                  <a:pt x="9141305" y="211354"/>
                  <a:pt x="9128600" y="224057"/>
                  <a:pt x="9112431" y="224057"/>
                </a:cubicBezTo>
                <a:cubicBezTo>
                  <a:pt x="9096262" y="224057"/>
                  <a:pt x="9083558" y="211354"/>
                  <a:pt x="9083558" y="195185"/>
                </a:cubicBezTo>
                <a:cubicBezTo>
                  <a:pt x="9083558" y="179016"/>
                  <a:pt x="9096262" y="166311"/>
                  <a:pt x="9112431" y="166311"/>
                </a:cubicBezTo>
                <a:close/>
                <a:moveTo>
                  <a:pt x="8299358" y="166311"/>
                </a:moveTo>
                <a:cubicBezTo>
                  <a:pt x="8315526" y="166311"/>
                  <a:pt x="8328231" y="179016"/>
                  <a:pt x="8328231" y="195185"/>
                </a:cubicBezTo>
                <a:cubicBezTo>
                  <a:pt x="8328231" y="211354"/>
                  <a:pt x="8315526" y="224057"/>
                  <a:pt x="8299358" y="224057"/>
                </a:cubicBezTo>
                <a:cubicBezTo>
                  <a:pt x="8283189" y="224057"/>
                  <a:pt x="8270485" y="211354"/>
                  <a:pt x="8270485" y="195185"/>
                </a:cubicBezTo>
                <a:cubicBezTo>
                  <a:pt x="8270485" y="179016"/>
                  <a:pt x="8283189" y="166311"/>
                  <a:pt x="8299358" y="166311"/>
                </a:cubicBezTo>
                <a:close/>
                <a:moveTo>
                  <a:pt x="6809492" y="166311"/>
                </a:moveTo>
                <a:cubicBezTo>
                  <a:pt x="6825661" y="166311"/>
                  <a:pt x="6838367" y="179016"/>
                  <a:pt x="6838367" y="195185"/>
                </a:cubicBezTo>
                <a:cubicBezTo>
                  <a:pt x="6838367" y="211354"/>
                  <a:pt x="6825661" y="224057"/>
                  <a:pt x="6809492" y="224057"/>
                </a:cubicBezTo>
                <a:cubicBezTo>
                  <a:pt x="6793324" y="224057"/>
                  <a:pt x="6780620" y="211354"/>
                  <a:pt x="6780620" y="195185"/>
                </a:cubicBezTo>
                <a:cubicBezTo>
                  <a:pt x="6780620" y="179016"/>
                  <a:pt x="6793324" y="166311"/>
                  <a:pt x="6809492" y="166311"/>
                </a:cubicBezTo>
                <a:close/>
                <a:moveTo>
                  <a:pt x="5726165" y="166311"/>
                </a:moveTo>
                <a:cubicBezTo>
                  <a:pt x="5741178" y="166311"/>
                  <a:pt x="5755038" y="179016"/>
                  <a:pt x="5755038" y="195185"/>
                </a:cubicBezTo>
                <a:cubicBezTo>
                  <a:pt x="5755038" y="211354"/>
                  <a:pt x="5742334" y="224057"/>
                  <a:pt x="5726165" y="224057"/>
                </a:cubicBezTo>
                <a:cubicBezTo>
                  <a:pt x="5709996" y="224057"/>
                  <a:pt x="5697292" y="211354"/>
                  <a:pt x="5697292" y="195185"/>
                </a:cubicBezTo>
                <a:cubicBezTo>
                  <a:pt x="5697292" y="179016"/>
                  <a:pt x="5709996" y="166311"/>
                  <a:pt x="5726165" y="166311"/>
                </a:cubicBezTo>
                <a:close/>
                <a:moveTo>
                  <a:pt x="4776809" y="166311"/>
                </a:moveTo>
                <a:cubicBezTo>
                  <a:pt x="4792978" y="166311"/>
                  <a:pt x="4805682" y="179016"/>
                  <a:pt x="4805682" y="195185"/>
                </a:cubicBezTo>
                <a:cubicBezTo>
                  <a:pt x="4805682" y="211354"/>
                  <a:pt x="4792978" y="224057"/>
                  <a:pt x="4776809" y="224057"/>
                </a:cubicBezTo>
                <a:cubicBezTo>
                  <a:pt x="4760640" y="224057"/>
                  <a:pt x="4747936" y="211354"/>
                  <a:pt x="4747936" y="195185"/>
                </a:cubicBezTo>
                <a:cubicBezTo>
                  <a:pt x="4747936" y="179016"/>
                  <a:pt x="4760640" y="166311"/>
                  <a:pt x="4776809" y="166311"/>
                </a:cubicBezTo>
                <a:close/>
                <a:moveTo>
                  <a:pt x="4499625" y="166311"/>
                </a:moveTo>
                <a:cubicBezTo>
                  <a:pt x="4515793" y="166311"/>
                  <a:pt x="4528499" y="179016"/>
                  <a:pt x="4528499" y="195185"/>
                </a:cubicBezTo>
                <a:cubicBezTo>
                  <a:pt x="4528499" y="211354"/>
                  <a:pt x="4515793" y="224057"/>
                  <a:pt x="4499625" y="224057"/>
                </a:cubicBezTo>
                <a:cubicBezTo>
                  <a:pt x="4483457" y="224057"/>
                  <a:pt x="4470752" y="211354"/>
                  <a:pt x="4470752" y="195185"/>
                </a:cubicBezTo>
                <a:cubicBezTo>
                  <a:pt x="4470752" y="179016"/>
                  <a:pt x="4483457" y="166311"/>
                  <a:pt x="4499625" y="166311"/>
                </a:cubicBezTo>
                <a:close/>
                <a:moveTo>
                  <a:pt x="3686551" y="166311"/>
                </a:moveTo>
                <a:cubicBezTo>
                  <a:pt x="3702719" y="166311"/>
                  <a:pt x="3715424" y="179016"/>
                  <a:pt x="3715424" y="195185"/>
                </a:cubicBezTo>
                <a:cubicBezTo>
                  <a:pt x="3715424" y="211354"/>
                  <a:pt x="3702719" y="224057"/>
                  <a:pt x="3686551" y="224057"/>
                </a:cubicBezTo>
                <a:cubicBezTo>
                  <a:pt x="3670381" y="224057"/>
                  <a:pt x="3657677" y="211354"/>
                  <a:pt x="3657677" y="195185"/>
                </a:cubicBezTo>
                <a:cubicBezTo>
                  <a:pt x="3657677" y="179016"/>
                  <a:pt x="3670381" y="166311"/>
                  <a:pt x="3686551" y="166311"/>
                </a:cubicBezTo>
                <a:close/>
                <a:moveTo>
                  <a:pt x="2196685" y="166311"/>
                </a:moveTo>
                <a:cubicBezTo>
                  <a:pt x="2212854" y="166311"/>
                  <a:pt x="2225559" y="179016"/>
                  <a:pt x="2225559" y="195185"/>
                </a:cubicBezTo>
                <a:cubicBezTo>
                  <a:pt x="2225559" y="211354"/>
                  <a:pt x="2212854" y="224057"/>
                  <a:pt x="2196685" y="224057"/>
                </a:cubicBezTo>
                <a:cubicBezTo>
                  <a:pt x="2180516" y="224057"/>
                  <a:pt x="2167813" y="211354"/>
                  <a:pt x="2167813" y="195185"/>
                </a:cubicBezTo>
                <a:cubicBezTo>
                  <a:pt x="2167813" y="179016"/>
                  <a:pt x="2180516" y="166311"/>
                  <a:pt x="2196685" y="166311"/>
                </a:cubicBezTo>
                <a:close/>
                <a:moveTo>
                  <a:pt x="1112202" y="166311"/>
                </a:moveTo>
                <a:cubicBezTo>
                  <a:pt x="1128371" y="166311"/>
                  <a:pt x="1141075" y="179016"/>
                  <a:pt x="1141075" y="195185"/>
                </a:cubicBezTo>
                <a:cubicBezTo>
                  <a:pt x="1141075" y="211354"/>
                  <a:pt x="1128371" y="224057"/>
                  <a:pt x="1112202" y="224057"/>
                </a:cubicBezTo>
                <a:cubicBezTo>
                  <a:pt x="1096033" y="224057"/>
                  <a:pt x="1083328" y="211354"/>
                  <a:pt x="1083328" y="195185"/>
                </a:cubicBezTo>
                <a:cubicBezTo>
                  <a:pt x="1083328" y="179016"/>
                  <a:pt x="1096033" y="166311"/>
                  <a:pt x="1112202" y="166311"/>
                </a:cubicBezTo>
                <a:close/>
                <a:moveTo>
                  <a:pt x="164001" y="166311"/>
                </a:moveTo>
                <a:cubicBezTo>
                  <a:pt x="180170" y="166311"/>
                  <a:pt x="192875" y="179016"/>
                  <a:pt x="192875" y="195185"/>
                </a:cubicBezTo>
                <a:cubicBezTo>
                  <a:pt x="192875" y="211354"/>
                  <a:pt x="180170" y="224057"/>
                  <a:pt x="164001" y="224057"/>
                </a:cubicBezTo>
                <a:cubicBezTo>
                  <a:pt x="147832" y="224057"/>
                  <a:pt x="135128" y="211354"/>
                  <a:pt x="135128" y="195185"/>
                </a:cubicBezTo>
                <a:cubicBezTo>
                  <a:pt x="135128" y="179016"/>
                  <a:pt x="147832" y="166311"/>
                  <a:pt x="164001" y="166311"/>
                </a:cubicBezTo>
                <a:close/>
                <a:moveTo>
                  <a:pt x="11279692" y="160537"/>
                </a:moveTo>
                <a:cubicBezTo>
                  <a:pt x="11298171" y="160537"/>
                  <a:pt x="11314340" y="176706"/>
                  <a:pt x="11314340" y="195185"/>
                </a:cubicBezTo>
                <a:cubicBezTo>
                  <a:pt x="11314340" y="213664"/>
                  <a:pt x="11299326" y="229833"/>
                  <a:pt x="11279692" y="229833"/>
                </a:cubicBezTo>
                <a:cubicBezTo>
                  <a:pt x="11261213" y="229833"/>
                  <a:pt x="11245044" y="213664"/>
                  <a:pt x="11245044" y="195185"/>
                </a:cubicBezTo>
                <a:cubicBezTo>
                  <a:pt x="11245044" y="176706"/>
                  <a:pt x="11260058" y="160537"/>
                  <a:pt x="11279692" y="160537"/>
                </a:cubicBezTo>
                <a:close/>
                <a:moveTo>
                  <a:pt x="10195208" y="160537"/>
                </a:moveTo>
                <a:cubicBezTo>
                  <a:pt x="10214843" y="160537"/>
                  <a:pt x="10229856" y="176706"/>
                  <a:pt x="10229856" y="195185"/>
                </a:cubicBezTo>
                <a:cubicBezTo>
                  <a:pt x="10229856" y="213664"/>
                  <a:pt x="10213687" y="229833"/>
                  <a:pt x="10195208" y="229833"/>
                </a:cubicBezTo>
                <a:cubicBezTo>
                  <a:pt x="10176729" y="229833"/>
                  <a:pt x="10160560" y="213664"/>
                  <a:pt x="10160560" y="195185"/>
                </a:cubicBezTo>
                <a:cubicBezTo>
                  <a:pt x="10160560" y="176706"/>
                  <a:pt x="10175575" y="160537"/>
                  <a:pt x="10195208" y="160537"/>
                </a:cubicBezTo>
                <a:close/>
                <a:moveTo>
                  <a:pt x="9518417" y="160537"/>
                </a:moveTo>
                <a:cubicBezTo>
                  <a:pt x="9536896" y="160537"/>
                  <a:pt x="9553065" y="176706"/>
                  <a:pt x="9553065" y="195185"/>
                </a:cubicBezTo>
                <a:cubicBezTo>
                  <a:pt x="9553065" y="213664"/>
                  <a:pt x="9536896" y="229833"/>
                  <a:pt x="9518417" y="229833"/>
                </a:cubicBezTo>
                <a:cubicBezTo>
                  <a:pt x="9499938" y="229833"/>
                  <a:pt x="9483769" y="213664"/>
                  <a:pt x="9483769" y="195185"/>
                </a:cubicBezTo>
                <a:cubicBezTo>
                  <a:pt x="9483769" y="176706"/>
                  <a:pt x="9498784" y="160537"/>
                  <a:pt x="9518417" y="160537"/>
                </a:cubicBezTo>
                <a:close/>
                <a:moveTo>
                  <a:pt x="8977304" y="160537"/>
                </a:moveTo>
                <a:cubicBezTo>
                  <a:pt x="8995783" y="160537"/>
                  <a:pt x="9011952" y="176706"/>
                  <a:pt x="9011952" y="195185"/>
                </a:cubicBezTo>
                <a:cubicBezTo>
                  <a:pt x="9011952" y="213664"/>
                  <a:pt x="8996938" y="229833"/>
                  <a:pt x="8977304" y="229833"/>
                </a:cubicBezTo>
                <a:cubicBezTo>
                  <a:pt x="8958825" y="229833"/>
                  <a:pt x="8942656" y="213664"/>
                  <a:pt x="8942656" y="195185"/>
                </a:cubicBezTo>
                <a:cubicBezTo>
                  <a:pt x="8942656" y="176706"/>
                  <a:pt x="8957670" y="160537"/>
                  <a:pt x="8977304" y="160537"/>
                </a:cubicBezTo>
                <a:close/>
                <a:moveTo>
                  <a:pt x="8434485" y="160537"/>
                </a:moveTo>
                <a:cubicBezTo>
                  <a:pt x="8454118" y="160537"/>
                  <a:pt x="8469133" y="176706"/>
                  <a:pt x="8469133" y="195185"/>
                </a:cubicBezTo>
                <a:cubicBezTo>
                  <a:pt x="8469133" y="213664"/>
                  <a:pt x="8454118" y="229833"/>
                  <a:pt x="8434485" y="229833"/>
                </a:cubicBezTo>
                <a:cubicBezTo>
                  <a:pt x="8416006" y="229833"/>
                  <a:pt x="8399837" y="213664"/>
                  <a:pt x="8399837" y="195185"/>
                </a:cubicBezTo>
                <a:cubicBezTo>
                  <a:pt x="8399837" y="176706"/>
                  <a:pt x="8414851" y="160537"/>
                  <a:pt x="8434485" y="160537"/>
                </a:cubicBezTo>
                <a:close/>
                <a:moveTo>
                  <a:pt x="6674366" y="160537"/>
                </a:moveTo>
                <a:cubicBezTo>
                  <a:pt x="6692845" y="160537"/>
                  <a:pt x="6709014" y="176706"/>
                  <a:pt x="6709014" y="195185"/>
                </a:cubicBezTo>
                <a:cubicBezTo>
                  <a:pt x="6709014" y="213664"/>
                  <a:pt x="6692845" y="229833"/>
                  <a:pt x="6674366" y="229833"/>
                </a:cubicBezTo>
                <a:cubicBezTo>
                  <a:pt x="6655888" y="229833"/>
                  <a:pt x="6639717" y="213664"/>
                  <a:pt x="6639717" y="195185"/>
                </a:cubicBezTo>
                <a:cubicBezTo>
                  <a:pt x="6639717" y="176706"/>
                  <a:pt x="6654732" y="160537"/>
                  <a:pt x="6674366" y="160537"/>
                </a:cubicBezTo>
                <a:close/>
                <a:moveTo>
                  <a:pt x="5589882" y="160537"/>
                </a:moveTo>
                <a:cubicBezTo>
                  <a:pt x="5609516" y="160537"/>
                  <a:pt x="5624531" y="176706"/>
                  <a:pt x="5624531" y="195185"/>
                </a:cubicBezTo>
                <a:cubicBezTo>
                  <a:pt x="5624531" y="213664"/>
                  <a:pt x="5609516" y="229833"/>
                  <a:pt x="5589882" y="229833"/>
                </a:cubicBezTo>
                <a:cubicBezTo>
                  <a:pt x="5571403" y="229833"/>
                  <a:pt x="5555234" y="213664"/>
                  <a:pt x="5555234" y="195185"/>
                </a:cubicBezTo>
                <a:cubicBezTo>
                  <a:pt x="5555234" y="176706"/>
                  <a:pt x="5570250" y="160537"/>
                  <a:pt x="5589882" y="160537"/>
                </a:cubicBezTo>
                <a:close/>
                <a:moveTo>
                  <a:pt x="4913091" y="160537"/>
                </a:moveTo>
                <a:cubicBezTo>
                  <a:pt x="4931569" y="160537"/>
                  <a:pt x="4947739" y="176706"/>
                  <a:pt x="4947739" y="195185"/>
                </a:cubicBezTo>
                <a:cubicBezTo>
                  <a:pt x="4947739" y="213664"/>
                  <a:pt x="4932726" y="229833"/>
                  <a:pt x="4913091" y="229833"/>
                </a:cubicBezTo>
                <a:cubicBezTo>
                  <a:pt x="4894612" y="229833"/>
                  <a:pt x="4878443" y="213664"/>
                  <a:pt x="4878443" y="195185"/>
                </a:cubicBezTo>
                <a:cubicBezTo>
                  <a:pt x="4878443" y="176706"/>
                  <a:pt x="4893458" y="160537"/>
                  <a:pt x="4913091" y="160537"/>
                </a:cubicBezTo>
                <a:close/>
                <a:moveTo>
                  <a:pt x="4364499" y="160537"/>
                </a:moveTo>
                <a:cubicBezTo>
                  <a:pt x="4382977" y="160537"/>
                  <a:pt x="4399146" y="176706"/>
                  <a:pt x="4399146" y="195185"/>
                </a:cubicBezTo>
                <a:cubicBezTo>
                  <a:pt x="4399146" y="213664"/>
                  <a:pt x="4384131" y="229833"/>
                  <a:pt x="4364499" y="229833"/>
                </a:cubicBezTo>
                <a:cubicBezTo>
                  <a:pt x="4346018" y="229833"/>
                  <a:pt x="4329850" y="213664"/>
                  <a:pt x="4329850" y="195185"/>
                </a:cubicBezTo>
                <a:cubicBezTo>
                  <a:pt x="4329850" y="176706"/>
                  <a:pt x="4344863" y="160537"/>
                  <a:pt x="4364499" y="160537"/>
                </a:cubicBezTo>
                <a:close/>
                <a:moveTo>
                  <a:pt x="3821678" y="160537"/>
                </a:moveTo>
                <a:cubicBezTo>
                  <a:pt x="3841311" y="160537"/>
                  <a:pt x="3856326" y="176706"/>
                  <a:pt x="3856326" y="195185"/>
                </a:cubicBezTo>
                <a:cubicBezTo>
                  <a:pt x="3856326" y="213664"/>
                  <a:pt x="3841311" y="229833"/>
                  <a:pt x="3821678" y="229833"/>
                </a:cubicBezTo>
                <a:cubicBezTo>
                  <a:pt x="3803199" y="229833"/>
                  <a:pt x="3787030" y="213664"/>
                  <a:pt x="3787030" y="195185"/>
                </a:cubicBezTo>
                <a:cubicBezTo>
                  <a:pt x="3787030" y="176706"/>
                  <a:pt x="3802045" y="160537"/>
                  <a:pt x="3821678" y="160537"/>
                </a:cubicBezTo>
                <a:close/>
                <a:moveTo>
                  <a:pt x="2061558" y="160537"/>
                </a:moveTo>
                <a:cubicBezTo>
                  <a:pt x="2080037" y="160537"/>
                  <a:pt x="2096206" y="176706"/>
                  <a:pt x="2096206" y="195185"/>
                </a:cubicBezTo>
                <a:cubicBezTo>
                  <a:pt x="2096206" y="213664"/>
                  <a:pt x="2081192" y="229833"/>
                  <a:pt x="2061558" y="229833"/>
                </a:cubicBezTo>
                <a:cubicBezTo>
                  <a:pt x="2043080" y="229833"/>
                  <a:pt x="2026910" y="213664"/>
                  <a:pt x="2026910" y="195185"/>
                </a:cubicBezTo>
                <a:cubicBezTo>
                  <a:pt x="2026910" y="176706"/>
                  <a:pt x="2041924" y="160537"/>
                  <a:pt x="2061558" y="160537"/>
                </a:cubicBezTo>
                <a:close/>
                <a:moveTo>
                  <a:pt x="977075" y="160537"/>
                </a:moveTo>
                <a:cubicBezTo>
                  <a:pt x="996709" y="160537"/>
                  <a:pt x="1011723" y="176706"/>
                  <a:pt x="1011723" y="195185"/>
                </a:cubicBezTo>
                <a:cubicBezTo>
                  <a:pt x="1011723" y="213664"/>
                  <a:pt x="995554" y="229833"/>
                  <a:pt x="977075" y="229833"/>
                </a:cubicBezTo>
                <a:cubicBezTo>
                  <a:pt x="958596" y="229833"/>
                  <a:pt x="942427" y="213664"/>
                  <a:pt x="942427" y="195185"/>
                </a:cubicBezTo>
                <a:cubicBezTo>
                  <a:pt x="942427" y="176706"/>
                  <a:pt x="957441" y="160537"/>
                  <a:pt x="977075" y="160537"/>
                </a:cubicBezTo>
                <a:close/>
                <a:moveTo>
                  <a:pt x="300283" y="160537"/>
                </a:moveTo>
                <a:cubicBezTo>
                  <a:pt x="318762" y="160537"/>
                  <a:pt x="334931" y="176706"/>
                  <a:pt x="334931" y="195185"/>
                </a:cubicBezTo>
                <a:cubicBezTo>
                  <a:pt x="334931" y="213664"/>
                  <a:pt x="318762" y="229833"/>
                  <a:pt x="300283" y="229833"/>
                </a:cubicBezTo>
                <a:cubicBezTo>
                  <a:pt x="281804" y="229833"/>
                  <a:pt x="265635" y="213664"/>
                  <a:pt x="265635" y="195185"/>
                </a:cubicBezTo>
                <a:cubicBezTo>
                  <a:pt x="265635" y="176706"/>
                  <a:pt x="280650" y="160537"/>
                  <a:pt x="300283" y="160537"/>
                </a:cubicBezTo>
                <a:close/>
                <a:moveTo>
                  <a:pt x="11143410" y="154761"/>
                </a:moveTo>
                <a:cubicBezTo>
                  <a:pt x="11166509" y="154761"/>
                  <a:pt x="11183832" y="173240"/>
                  <a:pt x="11183832" y="195185"/>
                </a:cubicBezTo>
                <a:cubicBezTo>
                  <a:pt x="11183832" y="217128"/>
                  <a:pt x="11165353" y="235607"/>
                  <a:pt x="11143410" y="235607"/>
                </a:cubicBezTo>
                <a:cubicBezTo>
                  <a:pt x="11121466" y="235607"/>
                  <a:pt x="11102987" y="217128"/>
                  <a:pt x="11102987" y="195185"/>
                </a:cubicBezTo>
                <a:cubicBezTo>
                  <a:pt x="11102987" y="173240"/>
                  <a:pt x="11121466" y="154761"/>
                  <a:pt x="11143410" y="154761"/>
                </a:cubicBezTo>
                <a:close/>
                <a:moveTo>
                  <a:pt x="10873155" y="154761"/>
                </a:moveTo>
                <a:cubicBezTo>
                  <a:pt x="10895098" y="154761"/>
                  <a:pt x="10913577" y="173240"/>
                  <a:pt x="10913577" y="195185"/>
                </a:cubicBezTo>
                <a:cubicBezTo>
                  <a:pt x="10913577" y="217128"/>
                  <a:pt x="10895098" y="235607"/>
                  <a:pt x="10873155" y="235607"/>
                </a:cubicBezTo>
                <a:cubicBezTo>
                  <a:pt x="10851211" y="235607"/>
                  <a:pt x="10832732" y="217128"/>
                  <a:pt x="10832732" y="195185"/>
                </a:cubicBezTo>
                <a:cubicBezTo>
                  <a:pt x="10832732" y="173240"/>
                  <a:pt x="10851211" y="154761"/>
                  <a:pt x="10873155" y="154761"/>
                </a:cubicBezTo>
                <a:close/>
                <a:moveTo>
                  <a:pt x="10060082" y="154761"/>
                </a:moveTo>
                <a:cubicBezTo>
                  <a:pt x="10082025" y="154761"/>
                  <a:pt x="10100504" y="173240"/>
                  <a:pt x="10100504" y="195185"/>
                </a:cubicBezTo>
                <a:cubicBezTo>
                  <a:pt x="10100504" y="217128"/>
                  <a:pt x="10082025" y="235607"/>
                  <a:pt x="10060082" y="235607"/>
                </a:cubicBezTo>
                <a:cubicBezTo>
                  <a:pt x="10038137" y="235607"/>
                  <a:pt x="10019658" y="217128"/>
                  <a:pt x="10019658" y="195185"/>
                </a:cubicBezTo>
                <a:cubicBezTo>
                  <a:pt x="10019658" y="173240"/>
                  <a:pt x="10038137" y="154761"/>
                  <a:pt x="10060082" y="154761"/>
                </a:cubicBezTo>
                <a:close/>
                <a:moveTo>
                  <a:pt x="9653545" y="154761"/>
                </a:moveTo>
                <a:cubicBezTo>
                  <a:pt x="9675488" y="154761"/>
                  <a:pt x="9693967" y="173240"/>
                  <a:pt x="9693967" y="195185"/>
                </a:cubicBezTo>
                <a:cubicBezTo>
                  <a:pt x="9693967" y="217128"/>
                  <a:pt x="9675488" y="235607"/>
                  <a:pt x="9653545" y="235607"/>
                </a:cubicBezTo>
                <a:cubicBezTo>
                  <a:pt x="9631600" y="235607"/>
                  <a:pt x="9613122" y="217128"/>
                  <a:pt x="9613122" y="195185"/>
                </a:cubicBezTo>
                <a:cubicBezTo>
                  <a:pt x="9613122" y="173240"/>
                  <a:pt x="9631600" y="154761"/>
                  <a:pt x="9653545" y="154761"/>
                </a:cubicBezTo>
                <a:close/>
                <a:moveTo>
                  <a:pt x="8841022" y="154761"/>
                </a:moveTo>
                <a:cubicBezTo>
                  <a:pt x="8864121" y="154761"/>
                  <a:pt x="8881444" y="173240"/>
                  <a:pt x="8881444" y="195185"/>
                </a:cubicBezTo>
                <a:cubicBezTo>
                  <a:pt x="8881444" y="217128"/>
                  <a:pt x="8862965" y="235607"/>
                  <a:pt x="8841022" y="235607"/>
                </a:cubicBezTo>
                <a:cubicBezTo>
                  <a:pt x="8819078" y="235607"/>
                  <a:pt x="8800599" y="217128"/>
                  <a:pt x="8800599" y="195185"/>
                </a:cubicBezTo>
                <a:cubicBezTo>
                  <a:pt x="8800599" y="173240"/>
                  <a:pt x="8819078" y="154761"/>
                  <a:pt x="8841022" y="154761"/>
                </a:cubicBezTo>
                <a:close/>
                <a:moveTo>
                  <a:pt x="8570767" y="154761"/>
                </a:moveTo>
                <a:cubicBezTo>
                  <a:pt x="8592711" y="154761"/>
                  <a:pt x="8611190" y="173240"/>
                  <a:pt x="8611190" y="195185"/>
                </a:cubicBezTo>
                <a:cubicBezTo>
                  <a:pt x="8611190" y="217128"/>
                  <a:pt x="8592711" y="235607"/>
                  <a:pt x="8570767" y="235607"/>
                </a:cubicBezTo>
                <a:cubicBezTo>
                  <a:pt x="8548823" y="235607"/>
                  <a:pt x="8530344" y="217128"/>
                  <a:pt x="8530344" y="195185"/>
                </a:cubicBezTo>
                <a:cubicBezTo>
                  <a:pt x="8530344" y="173240"/>
                  <a:pt x="8548823" y="154761"/>
                  <a:pt x="8570767" y="154761"/>
                </a:cubicBezTo>
                <a:close/>
                <a:moveTo>
                  <a:pt x="6538083" y="154761"/>
                </a:moveTo>
                <a:cubicBezTo>
                  <a:pt x="6561183" y="154761"/>
                  <a:pt x="6578507" y="173240"/>
                  <a:pt x="6578507" y="195185"/>
                </a:cubicBezTo>
                <a:cubicBezTo>
                  <a:pt x="6578507" y="217128"/>
                  <a:pt x="6560028" y="235607"/>
                  <a:pt x="6538083" y="235607"/>
                </a:cubicBezTo>
                <a:cubicBezTo>
                  <a:pt x="6516139" y="235607"/>
                  <a:pt x="6497661" y="217128"/>
                  <a:pt x="6497661" y="195185"/>
                </a:cubicBezTo>
                <a:cubicBezTo>
                  <a:pt x="6497661" y="173240"/>
                  <a:pt x="6516139" y="154761"/>
                  <a:pt x="6538083" y="154761"/>
                </a:cubicBezTo>
                <a:close/>
                <a:moveTo>
                  <a:pt x="6267830" y="154761"/>
                </a:moveTo>
                <a:cubicBezTo>
                  <a:pt x="6289772" y="154761"/>
                  <a:pt x="6308251" y="173240"/>
                  <a:pt x="6308251" y="195185"/>
                </a:cubicBezTo>
                <a:cubicBezTo>
                  <a:pt x="6308251" y="217128"/>
                  <a:pt x="6289772" y="235607"/>
                  <a:pt x="6267830" y="235607"/>
                </a:cubicBezTo>
                <a:cubicBezTo>
                  <a:pt x="6245885" y="235607"/>
                  <a:pt x="6227406" y="217128"/>
                  <a:pt x="6227406" y="195185"/>
                </a:cubicBezTo>
                <a:cubicBezTo>
                  <a:pt x="6227406" y="173240"/>
                  <a:pt x="6245885" y="154761"/>
                  <a:pt x="6267830" y="154761"/>
                </a:cubicBezTo>
                <a:close/>
                <a:moveTo>
                  <a:pt x="5454756" y="154761"/>
                </a:moveTo>
                <a:cubicBezTo>
                  <a:pt x="5476698" y="154761"/>
                  <a:pt x="5495178" y="173240"/>
                  <a:pt x="5495178" y="195185"/>
                </a:cubicBezTo>
                <a:cubicBezTo>
                  <a:pt x="5495178" y="217128"/>
                  <a:pt x="5476698" y="235607"/>
                  <a:pt x="5454756" y="235607"/>
                </a:cubicBezTo>
                <a:cubicBezTo>
                  <a:pt x="5432812" y="235607"/>
                  <a:pt x="5414332" y="217128"/>
                  <a:pt x="5414332" y="195185"/>
                </a:cubicBezTo>
                <a:cubicBezTo>
                  <a:pt x="5414332" y="173240"/>
                  <a:pt x="5432812" y="154761"/>
                  <a:pt x="5454756" y="154761"/>
                </a:cubicBezTo>
                <a:close/>
                <a:moveTo>
                  <a:pt x="5048218" y="154761"/>
                </a:moveTo>
                <a:cubicBezTo>
                  <a:pt x="5070162" y="154761"/>
                  <a:pt x="5088641" y="173240"/>
                  <a:pt x="5088641" y="195185"/>
                </a:cubicBezTo>
                <a:cubicBezTo>
                  <a:pt x="5088641" y="217128"/>
                  <a:pt x="5070162" y="235607"/>
                  <a:pt x="5048218" y="235607"/>
                </a:cubicBezTo>
                <a:cubicBezTo>
                  <a:pt x="5026274" y="235607"/>
                  <a:pt x="5007796" y="217128"/>
                  <a:pt x="5007796" y="195185"/>
                </a:cubicBezTo>
                <a:cubicBezTo>
                  <a:pt x="5007796" y="173240"/>
                  <a:pt x="5026274" y="154761"/>
                  <a:pt x="5048218" y="154761"/>
                </a:cubicBezTo>
                <a:close/>
                <a:moveTo>
                  <a:pt x="4228217" y="154761"/>
                </a:moveTo>
                <a:cubicBezTo>
                  <a:pt x="4251315" y="154761"/>
                  <a:pt x="4268637" y="173240"/>
                  <a:pt x="4268637" y="195185"/>
                </a:cubicBezTo>
                <a:cubicBezTo>
                  <a:pt x="4268637" y="217128"/>
                  <a:pt x="4250160" y="235607"/>
                  <a:pt x="4228217" y="235607"/>
                </a:cubicBezTo>
                <a:cubicBezTo>
                  <a:pt x="4206271" y="235607"/>
                  <a:pt x="4187792" y="217128"/>
                  <a:pt x="4187792" y="195185"/>
                </a:cubicBezTo>
                <a:cubicBezTo>
                  <a:pt x="4187792" y="173240"/>
                  <a:pt x="4206271" y="154761"/>
                  <a:pt x="4228217" y="154761"/>
                </a:cubicBezTo>
                <a:close/>
                <a:moveTo>
                  <a:pt x="3957960" y="154761"/>
                </a:moveTo>
                <a:cubicBezTo>
                  <a:pt x="3979904" y="154761"/>
                  <a:pt x="3998382" y="173240"/>
                  <a:pt x="3998382" y="195185"/>
                </a:cubicBezTo>
                <a:cubicBezTo>
                  <a:pt x="3998382" y="217128"/>
                  <a:pt x="3979904" y="235607"/>
                  <a:pt x="3957960" y="235607"/>
                </a:cubicBezTo>
                <a:cubicBezTo>
                  <a:pt x="3936016" y="235607"/>
                  <a:pt x="3917537" y="217128"/>
                  <a:pt x="3917537" y="195185"/>
                </a:cubicBezTo>
                <a:cubicBezTo>
                  <a:pt x="3917537" y="173240"/>
                  <a:pt x="3936016" y="154761"/>
                  <a:pt x="3957960" y="154761"/>
                </a:cubicBezTo>
                <a:close/>
                <a:moveTo>
                  <a:pt x="1925276" y="154761"/>
                </a:moveTo>
                <a:cubicBezTo>
                  <a:pt x="1948375" y="154761"/>
                  <a:pt x="1965698" y="173240"/>
                  <a:pt x="1965698" y="195185"/>
                </a:cubicBezTo>
                <a:cubicBezTo>
                  <a:pt x="1965698" y="217128"/>
                  <a:pt x="1947219" y="235607"/>
                  <a:pt x="1925276" y="235607"/>
                </a:cubicBezTo>
                <a:cubicBezTo>
                  <a:pt x="1903332" y="235607"/>
                  <a:pt x="1884853" y="217128"/>
                  <a:pt x="1884853" y="195185"/>
                </a:cubicBezTo>
                <a:cubicBezTo>
                  <a:pt x="1884853" y="173240"/>
                  <a:pt x="1903332" y="154761"/>
                  <a:pt x="1925276" y="154761"/>
                </a:cubicBezTo>
                <a:close/>
                <a:moveTo>
                  <a:pt x="1655022" y="154761"/>
                </a:moveTo>
                <a:cubicBezTo>
                  <a:pt x="1676965" y="154761"/>
                  <a:pt x="1695444" y="173240"/>
                  <a:pt x="1695444" y="195185"/>
                </a:cubicBezTo>
                <a:cubicBezTo>
                  <a:pt x="1695444" y="217128"/>
                  <a:pt x="1676965" y="235607"/>
                  <a:pt x="1655022" y="235607"/>
                </a:cubicBezTo>
                <a:cubicBezTo>
                  <a:pt x="1633077" y="235607"/>
                  <a:pt x="1614598" y="217128"/>
                  <a:pt x="1614598" y="195185"/>
                </a:cubicBezTo>
                <a:cubicBezTo>
                  <a:pt x="1614598" y="173240"/>
                  <a:pt x="1633077" y="154761"/>
                  <a:pt x="1655022" y="154761"/>
                </a:cubicBezTo>
                <a:close/>
                <a:moveTo>
                  <a:pt x="841948" y="154761"/>
                </a:moveTo>
                <a:cubicBezTo>
                  <a:pt x="863891" y="154761"/>
                  <a:pt x="882370" y="173240"/>
                  <a:pt x="882370" y="195185"/>
                </a:cubicBezTo>
                <a:cubicBezTo>
                  <a:pt x="882370" y="217128"/>
                  <a:pt x="863891" y="235607"/>
                  <a:pt x="841948" y="235607"/>
                </a:cubicBezTo>
                <a:cubicBezTo>
                  <a:pt x="820004" y="235607"/>
                  <a:pt x="801525" y="217128"/>
                  <a:pt x="801525" y="195185"/>
                </a:cubicBezTo>
                <a:cubicBezTo>
                  <a:pt x="801525" y="173240"/>
                  <a:pt x="820004" y="154761"/>
                  <a:pt x="841948" y="154761"/>
                </a:cubicBezTo>
                <a:close/>
                <a:moveTo>
                  <a:pt x="435411" y="154761"/>
                </a:moveTo>
                <a:cubicBezTo>
                  <a:pt x="457354" y="154761"/>
                  <a:pt x="475833" y="173240"/>
                  <a:pt x="475833" y="195185"/>
                </a:cubicBezTo>
                <a:cubicBezTo>
                  <a:pt x="475833" y="217128"/>
                  <a:pt x="457354" y="235607"/>
                  <a:pt x="435411" y="235607"/>
                </a:cubicBezTo>
                <a:cubicBezTo>
                  <a:pt x="413467" y="235607"/>
                  <a:pt x="394988" y="217128"/>
                  <a:pt x="394988" y="195185"/>
                </a:cubicBezTo>
                <a:cubicBezTo>
                  <a:pt x="394988" y="173240"/>
                  <a:pt x="413467" y="154761"/>
                  <a:pt x="435411" y="154761"/>
                </a:cubicBezTo>
                <a:close/>
                <a:moveTo>
                  <a:pt x="11008282" y="144368"/>
                </a:moveTo>
                <a:cubicBezTo>
                  <a:pt x="11036000" y="144368"/>
                  <a:pt x="11059099" y="167466"/>
                  <a:pt x="11059099" y="195185"/>
                </a:cubicBezTo>
                <a:cubicBezTo>
                  <a:pt x="11059099" y="222903"/>
                  <a:pt x="11037156" y="246002"/>
                  <a:pt x="11008282" y="246002"/>
                </a:cubicBezTo>
                <a:cubicBezTo>
                  <a:pt x="10980564" y="246002"/>
                  <a:pt x="10957465" y="222903"/>
                  <a:pt x="10957465" y="195185"/>
                </a:cubicBezTo>
                <a:cubicBezTo>
                  <a:pt x="10957465" y="167466"/>
                  <a:pt x="10979409" y="144368"/>
                  <a:pt x="11008282" y="144368"/>
                </a:cubicBezTo>
                <a:close/>
                <a:moveTo>
                  <a:pt x="9924954" y="144368"/>
                </a:moveTo>
                <a:cubicBezTo>
                  <a:pt x="9952672" y="144368"/>
                  <a:pt x="9975771" y="167466"/>
                  <a:pt x="9975771" y="195185"/>
                </a:cubicBezTo>
                <a:cubicBezTo>
                  <a:pt x="9975771" y="222903"/>
                  <a:pt x="9953828" y="246002"/>
                  <a:pt x="9924954" y="246002"/>
                </a:cubicBezTo>
                <a:cubicBezTo>
                  <a:pt x="9897235" y="246002"/>
                  <a:pt x="9874137" y="222903"/>
                  <a:pt x="9874137" y="195185"/>
                </a:cubicBezTo>
                <a:cubicBezTo>
                  <a:pt x="9874137" y="167466"/>
                  <a:pt x="9896081" y="144368"/>
                  <a:pt x="9924954" y="144368"/>
                </a:cubicBezTo>
                <a:close/>
                <a:moveTo>
                  <a:pt x="9788672" y="144368"/>
                </a:moveTo>
                <a:cubicBezTo>
                  <a:pt x="9817545" y="144368"/>
                  <a:pt x="9839489" y="167466"/>
                  <a:pt x="9839489" y="195185"/>
                </a:cubicBezTo>
                <a:cubicBezTo>
                  <a:pt x="9839489" y="222903"/>
                  <a:pt x="9816390" y="246002"/>
                  <a:pt x="9788672" y="246002"/>
                </a:cubicBezTo>
                <a:cubicBezTo>
                  <a:pt x="9760953" y="246002"/>
                  <a:pt x="9737854" y="222903"/>
                  <a:pt x="9737854" y="195185"/>
                </a:cubicBezTo>
                <a:cubicBezTo>
                  <a:pt x="9737854" y="167466"/>
                  <a:pt x="9759799" y="144368"/>
                  <a:pt x="9788672" y="144368"/>
                </a:cubicBezTo>
                <a:close/>
                <a:moveTo>
                  <a:pt x="8705894" y="144368"/>
                </a:moveTo>
                <a:cubicBezTo>
                  <a:pt x="8733613" y="144368"/>
                  <a:pt x="8756711" y="167466"/>
                  <a:pt x="8756711" y="195185"/>
                </a:cubicBezTo>
                <a:cubicBezTo>
                  <a:pt x="8756711" y="222903"/>
                  <a:pt x="8733613" y="246002"/>
                  <a:pt x="8705894" y="246002"/>
                </a:cubicBezTo>
                <a:cubicBezTo>
                  <a:pt x="8678176" y="246002"/>
                  <a:pt x="8655077" y="222903"/>
                  <a:pt x="8655077" y="195185"/>
                </a:cubicBezTo>
                <a:cubicBezTo>
                  <a:pt x="8655077" y="167466"/>
                  <a:pt x="8677021" y="144368"/>
                  <a:pt x="8705894" y="144368"/>
                </a:cubicBezTo>
                <a:close/>
                <a:moveTo>
                  <a:pt x="6402956" y="144368"/>
                </a:moveTo>
                <a:cubicBezTo>
                  <a:pt x="6431830" y="144368"/>
                  <a:pt x="6453773" y="167466"/>
                  <a:pt x="6453773" y="195185"/>
                </a:cubicBezTo>
                <a:cubicBezTo>
                  <a:pt x="6453773" y="222903"/>
                  <a:pt x="6431830" y="246002"/>
                  <a:pt x="6402956" y="246002"/>
                </a:cubicBezTo>
                <a:cubicBezTo>
                  <a:pt x="6375237" y="246002"/>
                  <a:pt x="6352139" y="222903"/>
                  <a:pt x="6352139" y="195185"/>
                </a:cubicBezTo>
                <a:cubicBezTo>
                  <a:pt x="6352139" y="167466"/>
                  <a:pt x="6374084" y="144368"/>
                  <a:pt x="6402956" y="144368"/>
                </a:cubicBezTo>
                <a:close/>
                <a:moveTo>
                  <a:pt x="5319628" y="144368"/>
                </a:moveTo>
                <a:cubicBezTo>
                  <a:pt x="5347347" y="144368"/>
                  <a:pt x="5370444" y="167466"/>
                  <a:pt x="5370444" y="195185"/>
                </a:cubicBezTo>
                <a:cubicBezTo>
                  <a:pt x="5370444" y="222903"/>
                  <a:pt x="5347347" y="246002"/>
                  <a:pt x="5319628" y="246002"/>
                </a:cubicBezTo>
                <a:cubicBezTo>
                  <a:pt x="5291910" y="246002"/>
                  <a:pt x="5268810" y="222903"/>
                  <a:pt x="5268810" y="195185"/>
                </a:cubicBezTo>
                <a:cubicBezTo>
                  <a:pt x="5268810" y="167466"/>
                  <a:pt x="5290756" y="144368"/>
                  <a:pt x="5319628" y="144368"/>
                </a:cubicBezTo>
                <a:close/>
                <a:moveTo>
                  <a:pt x="5183346" y="144368"/>
                </a:moveTo>
                <a:cubicBezTo>
                  <a:pt x="5212220" y="144368"/>
                  <a:pt x="5234162" y="167466"/>
                  <a:pt x="5234162" y="195185"/>
                </a:cubicBezTo>
                <a:cubicBezTo>
                  <a:pt x="5234162" y="222903"/>
                  <a:pt x="5211064" y="246002"/>
                  <a:pt x="5183346" y="246002"/>
                </a:cubicBezTo>
                <a:cubicBezTo>
                  <a:pt x="5155627" y="246002"/>
                  <a:pt x="5132528" y="222903"/>
                  <a:pt x="5132528" y="195185"/>
                </a:cubicBezTo>
                <a:cubicBezTo>
                  <a:pt x="5132528" y="167466"/>
                  <a:pt x="5154473" y="144368"/>
                  <a:pt x="5183346" y="144368"/>
                </a:cubicBezTo>
                <a:close/>
                <a:moveTo>
                  <a:pt x="4093087" y="144368"/>
                </a:moveTo>
                <a:cubicBezTo>
                  <a:pt x="4120806" y="144368"/>
                  <a:pt x="4143904" y="167466"/>
                  <a:pt x="4143904" y="195185"/>
                </a:cubicBezTo>
                <a:cubicBezTo>
                  <a:pt x="4143904" y="222903"/>
                  <a:pt x="4120806" y="246002"/>
                  <a:pt x="4093087" y="246002"/>
                </a:cubicBezTo>
                <a:cubicBezTo>
                  <a:pt x="4065369" y="246002"/>
                  <a:pt x="4042270" y="222903"/>
                  <a:pt x="4042270" y="195185"/>
                </a:cubicBezTo>
                <a:cubicBezTo>
                  <a:pt x="4042270" y="167466"/>
                  <a:pt x="4064214" y="144368"/>
                  <a:pt x="4093087" y="144368"/>
                </a:cubicBezTo>
                <a:close/>
                <a:moveTo>
                  <a:pt x="1790148" y="144368"/>
                </a:moveTo>
                <a:cubicBezTo>
                  <a:pt x="1817867" y="144368"/>
                  <a:pt x="1840965" y="167466"/>
                  <a:pt x="1840965" y="195185"/>
                </a:cubicBezTo>
                <a:cubicBezTo>
                  <a:pt x="1840965" y="222903"/>
                  <a:pt x="1819022" y="246002"/>
                  <a:pt x="1790148" y="246002"/>
                </a:cubicBezTo>
                <a:cubicBezTo>
                  <a:pt x="1762430" y="246002"/>
                  <a:pt x="1739331" y="222903"/>
                  <a:pt x="1739331" y="195185"/>
                </a:cubicBezTo>
                <a:cubicBezTo>
                  <a:pt x="1739331" y="167466"/>
                  <a:pt x="1761275" y="144368"/>
                  <a:pt x="1790148" y="144368"/>
                </a:cubicBezTo>
                <a:close/>
                <a:moveTo>
                  <a:pt x="706820" y="144368"/>
                </a:moveTo>
                <a:cubicBezTo>
                  <a:pt x="734538" y="144368"/>
                  <a:pt x="757637" y="167466"/>
                  <a:pt x="757637" y="195185"/>
                </a:cubicBezTo>
                <a:cubicBezTo>
                  <a:pt x="757637" y="222903"/>
                  <a:pt x="735694" y="246002"/>
                  <a:pt x="706820" y="246002"/>
                </a:cubicBezTo>
                <a:cubicBezTo>
                  <a:pt x="679101" y="246002"/>
                  <a:pt x="656003" y="222903"/>
                  <a:pt x="656003" y="195185"/>
                </a:cubicBezTo>
                <a:cubicBezTo>
                  <a:pt x="656003" y="167466"/>
                  <a:pt x="677947" y="144368"/>
                  <a:pt x="706820" y="144368"/>
                </a:cubicBezTo>
                <a:close/>
                <a:moveTo>
                  <a:pt x="570538" y="144368"/>
                </a:moveTo>
                <a:cubicBezTo>
                  <a:pt x="599412" y="144368"/>
                  <a:pt x="621355" y="167466"/>
                  <a:pt x="621355" y="195185"/>
                </a:cubicBezTo>
                <a:cubicBezTo>
                  <a:pt x="621355" y="222903"/>
                  <a:pt x="598256" y="246002"/>
                  <a:pt x="570538" y="246002"/>
                </a:cubicBezTo>
                <a:cubicBezTo>
                  <a:pt x="542819" y="246002"/>
                  <a:pt x="519721" y="222903"/>
                  <a:pt x="519721" y="195185"/>
                </a:cubicBezTo>
                <a:cubicBezTo>
                  <a:pt x="519721" y="167466"/>
                  <a:pt x="541665" y="144368"/>
                  <a:pt x="570538" y="144368"/>
                </a:cubicBezTo>
                <a:close/>
                <a:moveTo>
                  <a:pt x="12180541" y="31184"/>
                </a:moveTo>
                <a:cubicBezTo>
                  <a:pt x="12192090" y="31184"/>
                  <a:pt x="12201330" y="40424"/>
                  <a:pt x="12201330" y="51973"/>
                </a:cubicBezTo>
                <a:cubicBezTo>
                  <a:pt x="12201330" y="63522"/>
                  <a:pt x="12192090" y="72762"/>
                  <a:pt x="12180541" y="72762"/>
                </a:cubicBezTo>
                <a:cubicBezTo>
                  <a:pt x="12168992" y="72762"/>
                  <a:pt x="12159752" y="63522"/>
                  <a:pt x="12159752" y="51973"/>
                </a:cubicBezTo>
                <a:cubicBezTo>
                  <a:pt x="12159752" y="40424"/>
                  <a:pt x="12168992" y="31184"/>
                  <a:pt x="12180541" y="31184"/>
                </a:cubicBezTo>
                <a:close/>
                <a:moveTo>
                  <a:pt x="12040793" y="31184"/>
                </a:moveTo>
                <a:cubicBezTo>
                  <a:pt x="12052342" y="31184"/>
                  <a:pt x="12061582" y="40424"/>
                  <a:pt x="12061582" y="51973"/>
                </a:cubicBezTo>
                <a:cubicBezTo>
                  <a:pt x="12061582" y="63522"/>
                  <a:pt x="12052342" y="72762"/>
                  <a:pt x="12040793" y="72762"/>
                </a:cubicBezTo>
                <a:cubicBezTo>
                  <a:pt x="12029244" y="72762"/>
                  <a:pt x="12020004" y="63522"/>
                  <a:pt x="12020004" y="51973"/>
                </a:cubicBezTo>
                <a:cubicBezTo>
                  <a:pt x="12020004" y="40424"/>
                  <a:pt x="12029244" y="31184"/>
                  <a:pt x="12040793" y="31184"/>
                </a:cubicBezTo>
                <a:close/>
                <a:moveTo>
                  <a:pt x="11901047" y="31184"/>
                </a:moveTo>
                <a:cubicBezTo>
                  <a:pt x="11912596" y="31184"/>
                  <a:pt x="11921836" y="40424"/>
                  <a:pt x="11921836" y="51973"/>
                </a:cubicBezTo>
                <a:cubicBezTo>
                  <a:pt x="11921836" y="63522"/>
                  <a:pt x="11912596" y="72762"/>
                  <a:pt x="11901047" y="72762"/>
                </a:cubicBezTo>
                <a:cubicBezTo>
                  <a:pt x="11889498" y="72762"/>
                  <a:pt x="11880258" y="63522"/>
                  <a:pt x="11880258" y="51973"/>
                </a:cubicBezTo>
                <a:cubicBezTo>
                  <a:pt x="11880258" y="40424"/>
                  <a:pt x="11889498" y="31184"/>
                  <a:pt x="11901047" y="31184"/>
                </a:cubicBezTo>
                <a:close/>
                <a:moveTo>
                  <a:pt x="11761299" y="31184"/>
                </a:moveTo>
                <a:cubicBezTo>
                  <a:pt x="11772848" y="31184"/>
                  <a:pt x="11782088" y="40424"/>
                  <a:pt x="11782088" y="51973"/>
                </a:cubicBezTo>
                <a:cubicBezTo>
                  <a:pt x="11782088" y="63522"/>
                  <a:pt x="11772848" y="72762"/>
                  <a:pt x="11761299" y="72762"/>
                </a:cubicBezTo>
                <a:cubicBezTo>
                  <a:pt x="11749750" y="72762"/>
                  <a:pt x="11740510" y="63522"/>
                  <a:pt x="11740510" y="51973"/>
                </a:cubicBezTo>
                <a:cubicBezTo>
                  <a:pt x="11740510" y="40424"/>
                  <a:pt x="11749750" y="31184"/>
                  <a:pt x="11761299" y="31184"/>
                </a:cubicBezTo>
                <a:close/>
                <a:moveTo>
                  <a:pt x="11621553" y="31184"/>
                </a:moveTo>
                <a:cubicBezTo>
                  <a:pt x="11633102" y="31184"/>
                  <a:pt x="11642342" y="40424"/>
                  <a:pt x="11642342" y="51973"/>
                </a:cubicBezTo>
                <a:cubicBezTo>
                  <a:pt x="11642342" y="63522"/>
                  <a:pt x="11633102" y="72762"/>
                  <a:pt x="11621553" y="72762"/>
                </a:cubicBezTo>
                <a:cubicBezTo>
                  <a:pt x="11610003" y="72762"/>
                  <a:pt x="11600764" y="63522"/>
                  <a:pt x="11600764" y="51973"/>
                </a:cubicBezTo>
                <a:cubicBezTo>
                  <a:pt x="11600764" y="40424"/>
                  <a:pt x="11610003" y="31184"/>
                  <a:pt x="11621553" y="31184"/>
                </a:cubicBezTo>
                <a:close/>
                <a:moveTo>
                  <a:pt x="11481805" y="31184"/>
                </a:moveTo>
                <a:cubicBezTo>
                  <a:pt x="11493354" y="31184"/>
                  <a:pt x="11502594" y="40424"/>
                  <a:pt x="11502594" y="51973"/>
                </a:cubicBezTo>
                <a:cubicBezTo>
                  <a:pt x="11502594" y="63522"/>
                  <a:pt x="11493354" y="72762"/>
                  <a:pt x="11481805" y="72762"/>
                </a:cubicBezTo>
                <a:cubicBezTo>
                  <a:pt x="11470256" y="72762"/>
                  <a:pt x="11461016" y="63522"/>
                  <a:pt x="11461016" y="51973"/>
                </a:cubicBezTo>
                <a:cubicBezTo>
                  <a:pt x="11461016" y="40424"/>
                  <a:pt x="11470256" y="31184"/>
                  <a:pt x="11481805" y="31184"/>
                </a:cubicBezTo>
                <a:close/>
                <a:moveTo>
                  <a:pt x="10644478" y="31184"/>
                </a:moveTo>
                <a:cubicBezTo>
                  <a:pt x="10656028" y="31184"/>
                  <a:pt x="10665267" y="40424"/>
                  <a:pt x="10665267" y="51973"/>
                </a:cubicBezTo>
                <a:cubicBezTo>
                  <a:pt x="10665267" y="63522"/>
                  <a:pt x="10656028" y="72762"/>
                  <a:pt x="10644478" y="72762"/>
                </a:cubicBezTo>
                <a:cubicBezTo>
                  <a:pt x="10632929" y="72762"/>
                  <a:pt x="10623690" y="63522"/>
                  <a:pt x="10623690" y="51973"/>
                </a:cubicBezTo>
                <a:cubicBezTo>
                  <a:pt x="10623690" y="40424"/>
                  <a:pt x="10632929" y="31184"/>
                  <a:pt x="10644478" y="31184"/>
                </a:cubicBezTo>
                <a:close/>
                <a:moveTo>
                  <a:pt x="10504731" y="31184"/>
                </a:moveTo>
                <a:cubicBezTo>
                  <a:pt x="10516280" y="31184"/>
                  <a:pt x="10525520" y="40424"/>
                  <a:pt x="10525520" y="51973"/>
                </a:cubicBezTo>
                <a:cubicBezTo>
                  <a:pt x="10525520" y="63522"/>
                  <a:pt x="10516280" y="72762"/>
                  <a:pt x="10504731" y="72762"/>
                </a:cubicBezTo>
                <a:cubicBezTo>
                  <a:pt x="10493181" y="72762"/>
                  <a:pt x="10483942" y="63522"/>
                  <a:pt x="10483942" y="51973"/>
                </a:cubicBezTo>
                <a:cubicBezTo>
                  <a:pt x="10483942" y="40424"/>
                  <a:pt x="10493181" y="31184"/>
                  <a:pt x="10504731" y="31184"/>
                </a:cubicBezTo>
                <a:close/>
                <a:moveTo>
                  <a:pt x="10364984" y="31184"/>
                </a:moveTo>
                <a:cubicBezTo>
                  <a:pt x="10376534" y="31184"/>
                  <a:pt x="10385773" y="40424"/>
                  <a:pt x="10385773" y="51973"/>
                </a:cubicBezTo>
                <a:cubicBezTo>
                  <a:pt x="10385773" y="63522"/>
                  <a:pt x="10376534" y="72762"/>
                  <a:pt x="10364984" y="72762"/>
                </a:cubicBezTo>
                <a:cubicBezTo>
                  <a:pt x="10353435" y="72762"/>
                  <a:pt x="10344196" y="63522"/>
                  <a:pt x="10344196" y="51973"/>
                </a:cubicBezTo>
                <a:cubicBezTo>
                  <a:pt x="10344196" y="40424"/>
                  <a:pt x="10353435" y="31184"/>
                  <a:pt x="10364984" y="31184"/>
                </a:cubicBezTo>
                <a:close/>
                <a:moveTo>
                  <a:pt x="7854709" y="31184"/>
                </a:moveTo>
                <a:cubicBezTo>
                  <a:pt x="7866258" y="31184"/>
                  <a:pt x="7875498" y="40424"/>
                  <a:pt x="7875498" y="51973"/>
                </a:cubicBezTo>
                <a:cubicBezTo>
                  <a:pt x="7875498" y="63522"/>
                  <a:pt x="7866258" y="72762"/>
                  <a:pt x="7854709" y="72762"/>
                </a:cubicBezTo>
                <a:cubicBezTo>
                  <a:pt x="7843160" y="72762"/>
                  <a:pt x="7833921" y="63522"/>
                  <a:pt x="7833921" y="51973"/>
                </a:cubicBezTo>
                <a:cubicBezTo>
                  <a:pt x="7833921" y="40424"/>
                  <a:pt x="7843160" y="31184"/>
                  <a:pt x="7854709" y="31184"/>
                </a:cubicBezTo>
                <a:close/>
                <a:moveTo>
                  <a:pt x="7714960" y="31184"/>
                </a:moveTo>
                <a:cubicBezTo>
                  <a:pt x="7726511" y="31184"/>
                  <a:pt x="7735749" y="40424"/>
                  <a:pt x="7735749" y="51973"/>
                </a:cubicBezTo>
                <a:cubicBezTo>
                  <a:pt x="7735749" y="63522"/>
                  <a:pt x="7726511" y="72762"/>
                  <a:pt x="7714960" y="72762"/>
                </a:cubicBezTo>
                <a:cubicBezTo>
                  <a:pt x="7703411" y="72762"/>
                  <a:pt x="7694172" y="63522"/>
                  <a:pt x="7694172" y="51973"/>
                </a:cubicBezTo>
                <a:cubicBezTo>
                  <a:pt x="7694172" y="40424"/>
                  <a:pt x="7703411" y="31184"/>
                  <a:pt x="7714960" y="31184"/>
                </a:cubicBezTo>
                <a:close/>
                <a:moveTo>
                  <a:pt x="7575214" y="31184"/>
                </a:moveTo>
                <a:cubicBezTo>
                  <a:pt x="7586765" y="31184"/>
                  <a:pt x="7596004" y="40424"/>
                  <a:pt x="7596004" y="51973"/>
                </a:cubicBezTo>
                <a:cubicBezTo>
                  <a:pt x="7596004" y="63522"/>
                  <a:pt x="7586765" y="72762"/>
                  <a:pt x="7575214" y="72762"/>
                </a:cubicBezTo>
                <a:cubicBezTo>
                  <a:pt x="7563665" y="72762"/>
                  <a:pt x="7554427" y="63522"/>
                  <a:pt x="7554427" y="51973"/>
                </a:cubicBezTo>
                <a:cubicBezTo>
                  <a:pt x="7554427" y="40424"/>
                  <a:pt x="7563665" y="31184"/>
                  <a:pt x="7575214" y="31184"/>
                </a:cubicBezTo>
                <a:close/>
                <a:moveTo>
                  <a:pt x="7435467" y="31184"/>
                </a:moveTo>
                <a:cubicBezTo>
                  <a:pt x="7447016" y="31184"/>
                  <a:pt x="7456257" y="40424"/>
                  <a:pt x="7456257" y="51973"/>
                </a:cubicBezTo>
                <a:cubicBezTo>
                  <a:pt x="7456257" y="63522"/>
                  <a:pt x="7447016" y="72762"/>
                  <a:pt x="7435467" y="72762"/>
                </a:cubicBezTo>
                <a:cubicBezTo>
                  <a:pt x="7423918" y="72762"/>
                  <a:pt x="7414678" y="63522"/>
                  <a:pt x="7414678" y="51973"/>
                </a:cubicBezTo>
                <a:cubicBezTo>
                  <a:pt x="7414678" y="40424"/>
                  <a:pt x="7423918" y="31184"/>
                  <a:pt x="7435467" y="31184"/>
                </a:cubicBezTo>
                <a:close/>
                <a:moveTo>
                  <a:pt x="7295720" y="31184"/>
                </a:moveTo>
                <a:cubicBezTo>
                  <a:pt x="7307271" y="31184"/>
                  <a:pt x="7316509" y="40424"/>
                  <a:pt x="7316509" y="51973"/>
                </a:cubicBezTo>
                <a:cubicBezTo>
                  <a:pt x="7316509" y="63522"/>
                  <a:pt x="7307271" y="72762"/>
                  <a:pt x="7295720" y="72762"/>
                </a:cubicBezTo>
                <a:cubicBezTo>
                  <a:pt x="7284172" y="72762"/>
                  <a:pt x="7274932" y="63522"/>
                  <a:pt x="7274932" y="51973"/>
                </a:cubicBezTo>
                <a:cubicBezTo>
                  <a:pt x="7274932" y="40424"/>
                  <a:pt x="7284172" y="31184"/>
                  <a:pt x="7295720" y="31184"/>
                </a:cubicBezTo>
                <a:close/>
                <a:moveTo>
                  <a:pt x="7155974" y="31184"/>
                </a:moveTo>
                <a:cubicBezTo>
                  <a:pt x="7167522" y="31184"/>
                  <a:pt x="7176762" y="40424"/>
                  <a:pt x="7176762" y="51973"/>
                </a:cubicBezTo>
                <a:cubicBezTo>
                  <a:pt x="7176762" y="63522"/>
                  <a:pt x="7167522" y="72762"/>
                  <a:pt x="7155974" y="72762"/>
                </a:cubicBezTo>
                <a:cubicBezTo>
                  <a:pt x="7144423" y="72762"/>
                  <a:pt x="7135183" y="63522"/>
                  <a:pt x="7135183" y="51973"/>
                </a:cubicBezTo>
                <a:cubicBezTo>
                  <a:pt x="7135183" y="40424"/>
                  <a:pt x="7144423" y="31184"/>
                  <a:pt x="7155974" y="31184"/>
                </a:cubicBezTo>
                <a:close/>
                <a:moveTo>
                  <a:pt x="7016227" y="31184"/>
                </a:moveTo>
                <a:cubicBezTo>
                  <a:pt x="7027776" y="31184"/>
                  <a:pt x="7037016" y="40424"/>
                  <a:pt x="7037016" y="51973"/>
                </a:cubicBezTo>
                <a:cubicBezTo>
                  <a:pt x="7037016" y="63522"/>
                  <a:pt x="7027776" y="72762"/>
                  <a:pt x="7016227" y="72762"/>
                </a:cubicBezTo>
                <a:cubicBezTo>
                  <a:pt x="7004678" y="72762"/>
                  <a:pt x="6995438" y="63522"/>
                  <a:pt x="6995438" y="51973"/>
                </a:cubicBezTo>
                <a:cubicBezTo>
                  <a:pt x="6995438" y="40424"/>
                  <a:pt x="7004678" y="31184"/>
                  <a:pt x="7016227" y="31184"/>
                </a:cubicBezTo>
                <a:close/>
                <a:moveTo>
                  <a:pt x="6877634" y="31184"/>
                </a:moveTo>
                <a:cubicBezTo>
                  <a:pt x="6888028" y="31184"/>
                  <a:pt x="6898424" y="40424"/>
                  <a:pt x="6898424" y="51973"/>
                </a:cubicBezTo>
                <a:cubicBezTo>
                  <a:pt x="6898424" y="63522"/>
                  <a:pt x="6889184" y="72762"/>
                  <a:pt x="6877634" y="72762"/>
                </a:cubicBezTo>
                <a:cubicBezTo>
                  <a:pt x="6866085" y="72762"/>
                  <a:pt x="6856845" y="63522"/>
                  <a:pt x="6856845" y="51973"/>
                </a:cubicBezTo>
                <a:cubicBezTo>
                  <a:pt x="6856845" y="40424"/>
                  <a:pt x="6866085" y="31184"/>
                  <a:pt x="6877634" y="31184"/>
                </a:cubicBezTo>
                <a:close/>
                <a:moveTo>
                  <a:pt x="6039151" y="31184"/>
                </a:moveTo>
                <a:cubicBezTo>
                  <a:pt x="6050702" y="31184"/>
                  <a:pt x="6059942" y="40424"/>
                  <a:pt x="6059942" y="51973"/>
                </a:cubicBezTo>
                <a:cubicBezTo>
                  <a:pt x="6059942" y="63522"/>
                  <a:pt x="6050702" y="72762"/>
                  <a:pt x="6039151" y="72762"/>
                </a:cubicBezTo>
                <a:cubicBezTo>
                  <a:pt x="6027603" y="72762"/>
                  <a:pt x="6018363" y="63522"/>
                  <a:pt x="6018363" y="51973"/>
                </a:cubicBezTo>
                <a:cubicBezTo>
                  <a:pt x="6018363" y="40424"/>
                  <a:pt x="6027603" y="31184"/>
                  <a:pt x="6039151" y="31184"/>
                </a:cubicBezTo>
                <a:close/>
                <a:moveTo>
                  <a:pt x="5899406" y="31184"/>
                </a:moveTo>
                <a:cubicBezTo>
                  <a:pt x="5910953" y="31184"/>
                  <a:pt x="5920193" y="40424"/>
                  <a:pt x="5920193" y="51973"/>
                </a:cubicBezTo>
                <a:cubicBezTo>
                  <a:pt x="5920193" y="63522"/>
                  <a:pt x="5910953" y="72762"/>
                  <a:pt x="5899406" y="72762"/>
                </a:cubicBezTo>
                <a:cubicBezTo>
                  <a:pt x="5887855" y="72762"/>
                  <a:pt x="5878616" y="63522"/>
                  <a:pt x="5878616" y="51973"/>
                </a:cubicBezTo>
                <a:cubicBezTo>
                  <a:pt x="5878616" y="40424"/>
                  <a:pt x="5887855" y="31184"/>
                  <a:pt x="5899406" y="31184"/>
                </a:cubicBezTo>
                <a:close/>
                <a:moveTo>
                  <a:pt x="5759658" y="31184"/>
                </a:moveTo>
                <a:cubicBezTo>
                  <a:pt x="5771207" y="31184"/>
                  <a:pt x="5780448" y="40424"/>
                  <a:pt x="5780448" y="51973"/>
                </a:cubicBezTo>
                <a:cubicBezTo>
                  <a:pt x="5780448" y="63522"/>
                  <a:pt x="5771207" y="72762"/>
                  <a:pt x="5759658" y="72762"/>
                </a:cubicBezTo>
                <a:cubicBezTo>
                  <a:pt x="5748109" y="72762"/>
                  <a:pt x="5738869" y="63522"/>
                  <a:pt x="5738869" y="51973"/>
                </a:cubicBezTo>
                <a:cubicBezTo>
                  <a:pt x="5738869" y="40424"/>
                  <a:pt x="5748109" y="31184"/>
                  <a:pt x="5759658" y="31184"/>
                </a:cubicBezTo>
                <a:close/>
                <a:moveTo>
                  <a:pt x="3241901" y="31184"/>
                </a:moveTo>
                <a:cubicBezTo>
                  <a:pt x="3253450" y="31184"/>
                  <a:pt x="3262690" y="40424"/>
                  <a:pt x="3262690" y="51973"/>
                </a:cubicBezTo>
                <a:cubicBezTo>
                  <a:pt x="3262690" y="63522"/>
                  <a:pt x="3253450" y="72762"/>
                  <a:pt x="3241901" y="72762"/>
                </a:cubicBezTo>
                <a:cubicBezTo>
                  <a:pt x="3230352" y="72762"/>
                  <a:pt x="3221112" y="63522"/>
                  <a:pt x="3221112" y="51973"/>
                </a:cubicBezTo>
                <a:cubicBezTo>
                  <a:pt x="3221112" y="40424"/>
                  <a:pt x="3230352" y="31184"/>
                  <a:pt x="3241901" y="31184"/>
                </a:cubicBezTo>
                <a:close/>
                <a:moveTo>
                  <a:pt x="3102153" y="31184"/>
                </a:moveTo>
                <a:cubicBezTo>
                  <a:pt x="3113703" y="31184"/>
                  <a:pt x="3122942" y="40424"/>
                  <a:pt x="3122942" y="51973"/>
                </a:cubicBezTo>
                <a:cubicBezTo>
                  <a:pt x="3122942" y="63522"/>
                  <a:pt x="3113703" y="72762"/>
                  <a:pt x="3102153" y="72762"/>
                </a:cubicBezTo>
                <a:cubicBezTo>
                  <a:pt x="3090605" y="72762"/>
                  <a:pt x="3081365" y="63522"/>
                  <a:pt x="3081365" y="51973"/>
                </a:cubicBezTo>
                <a:cubicBezTo>
                  <a:pt x="3081365" y="40424"/>
                  <a:pt x="3090605" y="31184"/>
                  <a:pt x="3102153" y="31184"/>
                </a:cubicBezTo>
                <a:close/>
                <a:moveTo>
                  <a:pt x="2962407" y="31184"/>
                </a:moveTo>
                <a:cubicBezTo>
                  <a:pt x="2973956" y="31184"/>
                  <a:pt x="2983196" y="40424"/>
                  <a:pt x="2983196" y="51973"/>
                </a:cubicBezTo>
                <a:cubicBezTo>
                  <a:pt x="2983196" y="63522"/>
                  <a:pt x="2973956" y="72762"/>
                  <a:pt x="2962407" y="72762"/>
                </a:cubicBezTo>
                <a:cubicBezTo>
                  <a:pt x="2950858" y="72762"/>
                  <a:pt x="2941618" y="63522"/>
                  <a:pt x="2941618" y="51973"/>
                </a:cubicBezTo>
                <a:cubicBezTo>
                  <a:pt x="2941618" y="40424"/>
                  <a:pt x="2950858" y="31184"/>
                  <a:pt x="2962407" y="31184"/>
                </a:cubicBezTo>
                <a:close/>
                <a:moveTo>
                  <a:pt x="2822659" y="31184"/>
                </a:moveTo>
                <a:cubicBezTo>
                  <a:pt x="2834209" y="31184"/>
                  <a:pt x="2843448" y="40424"/>
                  <a:pt x="2843448" y="51973"/>
                </a:cubicBezTo>
                <a:cubicBezTo>
                  <a:pt x="2843448" y="63522"/>
                  <a:pt x="2834209" y="72762"/>
                  <a:pt x="2822659" y="72762"/>
                </a:cubicBezTo>
                <a:cubicBezTo>
                  <a:pt x="2811110" y="72762"/>
                  <a:pt x="2801871" y="63522"/>
                  <a:pt x="2801871" y="51973"/>
                </a:cubicBezTo>
                <a:cubicBezTo>
                  <a:pt x="2801871" y="40424"/>
                  <a:pt x="2811110" y="31184"/>
                  <a:pt x="2822659" y="31184"/>
                </a:cubicBezTo>
                <a:close/>
                <a:moveTo>
                  <a:pt x="2682913" y="31184"/>
                </a:moveTo>
                <a:cubicBezTo>
                  <a:pt x="2694462" y="31184"/>
                  <a:pt x="2703702" y="40424"/>
                  <a:pt x="2703702" y="51973"/>
                </a:cubicBezTo>
                <a:cubicBezTo>
                  <a:pt x="2703702" y="63522"/>
                  <a:pt x="2694462" y="72762"/>
                  <a:pt x="2682913" y="72762"/>
                </a:cubicBezTo>
                <a:cubicBezTo>
                  <a:pt x="2671365" y="72762"/>
                  <a:pt x="2662124" y="63522"/>
                  <a:pt x="2662124" y="51973"/>
                </a:cubicBezTo>
                <a:cubicBezTo>
                  <a:pt x="2662124" y="40424"/>
                  <a:pt x="2671365" y="31184"/>
                  <a:pt x="2682913" y="31184"/>
                </a:cubicBezTo>
                <a:close/>
                <a:moveTo>
                  <a:pt x="2543167" y="31184"/>
                </a:moveTo>
                <a:cubicBezTo>
                  <a:pt x="2554715" y="31184"/>
                  <a:pt x="2563954" y="40424"/>
                  <a:pt x="2563954" y="51973"/>
                </a:cubicBezTo>
                <a:cubicBezTo>
                  <a:pt x="2563954" y="63522"/>
                  <a:pt x="2554715" y="72762"/>
                  <a:pt x="2543167" y="72762"/>
                </a:cubicBezTo>
                <a:cubicBezTo>
                  <a:pt x="2531616" y="72762"/>
                  <a:pt x="2522376" y="63522"/>
                  <a:pt x="2522376" y="51973"/>
                </a:cubicBezTo>
                <a:cubicBezTo>
                  <a:pt x="2522376" y="40424"/>
                  <a:pt x="2531616" y="31184"/>
                  <a:pt x="2543167" y="31184"/>
                </a:cubicBezTo>
                <a:close/>
                <a:moveTo>
                  <a:pt x="2403419" y="31184"/>
                </a:moveTo>
                <a:cubicBezTo>
                  <a:pt x="2414969" y="31184"/>
                  <a:pt x="2424209" y="40424"/>
                  <a:pt x="2424209" y="51973"/>
                </a:cubicBezTo>
                <a:cubicBezTo>
                  <a:pt x="2424209" y="63522"/>
                  <a:pt x="2414969" y="72762"/>
                  <a:pt x="2403419" y="72762"/>
                </a:cubicBezTo>
                <a:cubicBezTo>
                  <a:pt x="2391869" y="72762"/>
                  <a:pt x="2382630" y="63522"/>
                  <a:pt x="2382630" y="51973"/>
                </a:cubicBezTo>
                <a:cubicBezTo>
                  <a:pt x="2382630" y="40424"/>
                  <a:pt x="2391869" y="31184"/>
                  <a:pt x="2403419" y="31184"/>
                </a:cubicBezTo>
                <a:close/>
                <a:moveTo>
                  <a:pt x="2263671" y="31184"/>
                </a:moveTo>
                <a:cubicBezTo>
                  <a:pt x="2275221" y="31184"/>
                  <a:pt x="2284460" y="40424"/>
                  <a:pt x="2284460" y="51973"/>
                </a:cubicBezTo>
                <a:cubicBezTo>
                  <a:pt x="2284460" y="63522"/>
                  <a:pt x="2275221" y="72762"/>
                  <a:pt x="2263671" y="72762"/>
                </a:cubicBezTo>
                <a:cubicBezTo>
                  <a:pt x="2252122" y="72762"/>
                  <a:pt x="2242883" y="63522"/>
                  <a:pt x="2242883" y="51973"/>
                </a:cubicBezTo>
                <a:cubicBezTo>
                  <a:pt x="2242883" y="40424"/>
                  <a:pt x="2252122" y="31184"/>
                  <a:pt x="2263671" y="31184"/>
                </a:cubicBezTo>
                <a:close/>
                <a:moveTo>
                  <a:pt x="1426344" y="31184"/>
                </a:moveTo>
                <a:cubicBezTo>
                  <a:pt x="1437894" y="31184"/>
                  <a:pt x="1447133" y="40424"/>
                  <a:pt x="1447133" y="51973"/>
                </a:cubicBezTo>
                <a:cubicBezTo>
                  <a:pt x="1447133" y="63522"/>
                  <a:pt x="1437894" y="72762"/>
                  <a:pt x="1426344" y="72762"/>
                </a:cubicBezTo>
                <a:cubicBezTo>
                  <a:pt x="1414795" y="72762"/>
                  <a:pt x="1405556" y="63522"/>
                  <a:pt x="1405556" y="51973"/>
                </a:cubicBezTo>
                <a:cubicBezTo>
                  <a:pt x="1405556" y="40424"/>
                  <a:pt x="1414795" y="31184"/>
                  <a:pt x="1426344" y="31184"/>
                </a:cubicBezTo>
                <a:close/>
                <a:moveTo>
                  <a:pt x="1286597" y="31184"/>
                </a:moveTo>
                <a:cubicBezTo>
                  <a:pt x="1298146" y="31184"/>
                  <a:pt x="1307386" y="40424"/>
                  <a:pt x="1307386" y="51973"/>
                </a:cubicBezTo>
                <a:cubicBezTo>
                  <a:pt x="1307386" y="63522"/>
                  <a:pt x="1298146" y="72762"/>
                  <a:pt x="1286597" y="72762"/>
                </a:cubicBezTo>
                <a:cubicBezTo>
                  <a:pt x="1275048" y="72762"/>
                  <a:pt x="1265808" y="63522"/>
                  <a:pt x="1265808" y="51973"/>
                </a:cubicBezTo>
                <a:cubicBezTo>
                  <a:pt x="1265808" y="40424"/>
                  <a:pt x="1275048" y="31184"/>
                  <a:pt x="1286597" y="31184"/>
                </a:cubicBezTo>
                <a:close/>
                <a:moveTo>
                  <a:pt x="1146851" y="31184"/>
                </a:moveTo>
                <a:cubicBezTo>
                  <a:pt x="1158400" y="31184"/>
                  <a:pt x="1167639" y="40424"/>
                  <a:pt x="1167639" y="51973"/>
                </a:cubicBezTo>
                <a:cubicBezTo>
                  <a:pt x="1167639" y="63522"/>
                  <a:pt x="1158400" y="72762"/>
                  <a:pt x="1146851" y="72762"/>
                </a:cubicBezTo>
                <a:cubicBezTo>
                  <a:pt x="1135301" y="72762"/>
                  <a:pt x="1126062" y="63522"/>
                  <a:pt x="1126062" y="51973"/>
                </a:cubicBezTo>
                <a:cubicBezTo>
                  <a:pt x="1126062" y="40424"/>
                  <a:pt x="1135301" y="31184"/>
                  <a:pt x="1146851" y="31184"/>
                </a:cubicBezTo>
                <a:close/>
                <a:moveTo>
                  <a:pt x="11343213" y="27719"/>
                </a:moveTo>
                <a:cubicBezTo>
                  <a:pt x="11355918" y="27719"/>
                  <a:pt x="11366312" y="38114"/>
                  <a:pt x="11366312" y="50817"/>
                </a:cubicBezTo>
                <a:cubicBezTo>
                  <a:pt x="11366312" y="63522"/>
                  <a:pt x="11355918" y="73916"/>
                  <a:pt x="11343213" y="73916"/>
                </a:cubicBezTo>
                <a:cubicBezTo>
                  <a:pt x="11330509" y="73916"/>
                  <a:pt x="11320114" y="63522"/>
                  <a:pt x="11320114" y="50817"/>
                </a:cubicBezTo>
                <a:cubicBezTo>
                  <a:pt x="11320114" y="38114"/>
                  <a:pt x="11330509" y="27719"/>
                  <a:pt x="11343213" y="27719"/>
                </a:cubicBezTo>
                <a:close/>
                <a:moveTo>
                  <a:pt x="10225237" y="27719"/>
                </a:moveTo>
                <a:cubicBezTo>
                  <a:pt x="10237942" y="27719"/>
                  <a:pt x="10248335" y="38114"/>
                  <a:pt x="10248335" y="50817"/>
                </a:cubicBezTo>
                <a:cubicBezTo>
                  <a:pt x="10248335" y="63522"/>
                  <a:pt x="10237942" y="73916"/>
                  <a:pt x="10225237" y="73916"/>
                </a:cubicBezTo>
                <a:cubicBezTo>
                  <a:pt x="10212533" y="73916"/>
                  <a:pt x="10202138" y="63522"/>
                  <a:pt x="10202138" y="50817"/>
                </a:cubicBezTo>
                <a:cubicBezTo>
                  <a:pt x="10202138" y="38114"/>
                  <a:pt x="10212533" y="27719"/>
                  <a:pt x="10225237" y="27719"/>
                </a:cubicBezTo>
                <a:close/>
                <a:moveTo>
                  <a:pt x="9112431" y="27719"/>
                </a:moveTo>
                <a:cubicBezTo>
                  <a:pt x="9125136" y="27719"/>
                  <a:pt x="9135530" y="38114"/>
                  <a:pt x="9135530" y="50817"/>
                </a:cubicBezTo>
                <a:cubicBezTo>
                  <a:pt x="9135530" y="63522"/>
                  <a:pt x="9125136" y="73916"/>
                  <a:pt x="9112431" y="73916"/>
                </a:cubicBezTo>
                <a:cubicBezTo>
                  <a:pt x="9099727" y="73916"/>
                  <a:pt x="9089332" y="63522"/>
                  <a:pt x="9089332" y="50817"/>
                </a:cubicBezTo>
                <a:cubicBezTo>
                  <a:pt x="9089332" y="38114"/>
                  <a:pt x="9099727" y="27719"/>
                  <a:pt x="9112431" y="27719"/>
                </a:cubicBezTo>
                <a:close/>
                <a:moveTo>
                  <a:pt x="7994456" y="27719"/>
                </a:moveTo>
                <a:cubicBezTo>
                  <a:pt x="8007160" y="27719"/>
                  <a:pt x="8017555" y="38114"/>
                  <a:pt x="8017555" y="50817"/>
                </a:cubicBezTo>
                <a:cubicBezTo>
                  <a:pt x="8017555" y="63522"/>
                  <a:pt x="8007160" y="73916"/>
                  <a:pt x="7994456" y="73916"/>
                </a:cubicBezTo>
                <a:cubicBezTo>
                  <a:pt x="7981752" y="73916"/>
                  <a:pt x="7971356" y="63522"/>
                  <a:pt x="7971356" y="50817"/>
                </a:cubicBezTo>
                <a:cubicBezTo>
                  <a:pt x="7971356" y="38114"/>
                  <a:pt x="7981752" y="27719"/>
                  <a:pt x="7994456" y="27719"/>
                </a:cubicBezTo>
                <a:close/>
                <a:moveTo>
                  <a:pt x="6737887" y="27719"/>
                </a:moveTo>
                <a:cubicBezTo>
                  <a:pt x="6750591" y="27719"/>
                  <a:pt x="6760986" y="38114"/>
                  <a:pt x="6760986" y="50817"/>
                </a:cubicBezTo>
                <a:cubicBezTo>
                  <a:pt x="6760986" y="63522"/>
                  <a:pt x="6750591" y="73916"/>
                  <a:pt x="6737887" y="73916"/>
                </a:cubicBezTo>
                <a:cubicBezTo>
                  <a:pt x="6725183" y="73916"/>
                  <a:pt x="6714789" y="63522"/>
                  <a:pt x="6714789" y="50817"/>
                </a:cubicBezTo>
                <a:cubicBezTo>
                  <a:pt x="6714789" y="38114"/>
                  <a:pt x="6725183" y="27719"/>
                  <a:pt x="6737887" y="27719"/>
                </a:cubicBezTo>
                <a:close/>
                <a:moveTo>
                  <a:pt x="5619912" y="27719"/>
                </a:moveTo>
                <a:cubicBezTo>
                  <a:pt x="5632617" y="27719"/>
                  <a:pt x="5643008" y="38114"/>
                  <a:pt x="5643008" y="50817"/>
                </a:cubicBezTo>
                <a:cubicBezTo>
                  <a:pt x="5643008" y="63522"/>
                  <a:pt x="5632617" y="73916"/>
                  <a:pt x="5619912" y="73916"/>
                </a:cubicBezTo>
                <a:cubicBezTo>
                  <a:pt x="5607207" y="73916"/>
                  <a:pt x="5596812" y="63522"/>
                  <a:pt x="5596812" y="50817"/>
                </a:cubicBezTo>
                <a:cubicBezTo>
                  <a:pt x="5596812" y="38114"/>
                  <a:pt x="5607207" y="27719"/>
                  <a:pt x="5619912" y="27719"/>
                </a:cubicBezTo>
                <a:close/>
                <a:moveTo>
                  <a:pt x="4499625" y="27719"/>
                </a:moveTo>
                <a:cubicBezTo>
                  <a:pt x="4512330" y="27719"/>
                  <a:pt x="4522722" y="38114"/>
                  <a:pt x="4522722" y="50817"/>
                </a:cubicBezTo>
                <a:cubicBezTo>
                  <a:pt x="4522722" y="63522"/>
                  <a:pt x="4512330" y="73916"/>
                  <a:pt x="4499625" y="73916"/>
                </a:cubicBezTo>
                <a:cubicBezTo>
                  <a:pt x="4486920" y="73916"/>
                  <a:pt x="4476525" y="63522"/>
                  <a:pt x="4476525" y="50817"/>
                </a:cubicBezTo>
                <a:cubicBezTo>
                  <a:pt x="4476525" y="38114"/>
                  <a:pt x="4486920" y="27719"/>
                  <a:pt x="4499625" y="27719"/>
                </a:cubicBezTo>
                <a:close/>
                <a:moveTo>
                  <a:pt x="3381648" y="27719"/>
                </a:moveTo>
                <a:cubicBezTo>
                  <a:pt x="3394352" y="27719"/>
                  <a:pt x="3404746" y="38114"/>
                  <a:pt x="3404746" y="50817"/>
                </a:cubicBezTo>
                <a:cubicBezTo>
                  <a:pt x="3404746" y="63522"/>
                  <a:pt x="3394352" y="73916"/>
                  <a:pt x="3381648" y="73916"/>
                </a:cubicBezTo>
                <a:cubicBezTo>
                  <a:pt x="3368944" y="73916"/>
                  <a:pt x="3358549" y="63522"/>
                  <a:pt x="3358549" y="50817"/>
                </a:cubicBezTo>
                <a:cubicBezTo>
                  <a:pt x="3358549" y="38114"/>
                  <a:pt x="3368944" y="27719"/>
                  <a:pt x="3381648" y="27719"/>
                </a:cubicBezTo>
                <a:close/>
                <a:moveTo>
                  <a:pt x="2125079" y="27719"/>
                </a:moveTo>
                <a:cubicBezTo>
                  <a:pt x="2137784" y="27719"/>
                  <a:pt x="2148178" y="38114"/>
                  <a:pt x="2148178" y="50817"/>
                </a:cubicBezTo>
                <a:cubicBezTo>
                  <a:pt x="2148178" y="63522"/>
                  <a:pt x="2137784" y="73916"/>
                  <a:pt x="2125079" y="73916"/>
                </a:cubicBezTo>
                <a:cubicBezTo>
                  <a:pt x="2112376" y="73916"/>
                  <a:pt x="2101980" y="63522"/>
                  <a:pt x="2101980" y="50817"/>
                </a:cubicBezTo>
                <a:cubicBezTo>
                  <a:pt x="2101980" y="38114"/>
                  <a:pt x="2112376" y="27719"/>
                  <a:pt x="2125079" y="27719"/>
                </a:cubicBezTo>
                <a:close/>
                <a:moveTo>
                  <a:pt x="1007103" y="27719"/>
                </a:moveTo>
                <a:cubicBezTo>
                  <a:pt x="1019808" y="27719"/>
                  <a:pt x="1030201" y="38114"/>
                  <a:pt x="1030201" y="50817"/>
                </a:cubicBezTo>
                <a:cubicBezTo>
                  <a:pt x="1030201" y="63522"/>
                  <a:pt x="1019808" y="73916"/>
                  <a:pt x="1007103" y="73916"/>
                </a:cubicBezTo>
                <a:cubicBezTo>
                  <a:pt x="994399" y="73916"/>
                  <a:pt x="984004" y="63522"/>
                  <a:pt x="984004" y="50817"/>
                </a:cubicBezTo>
                <a:cubicBezTo>
                  <a:pt x="984004" y="38114"/>
                  <a:pt x="994399" y="27719"/>
                  <a:pt x="1007103" y="27719"/>
                </a:cubicBezTo>
                <a:close/>
                <a:moveTo>
                  <a:pt x="11203466" y="21945"/>
                </a:moveTo>
                <a:cubicBezTo>
                  <a:pt x="11218480" y="21945"/>
                  <a:pt x="11232339" y="34648"/>
                  <a:pt x="11232339" y="50817"/>
                </a:cubicBezTo>
                <a:cubicBezTo>
                  <a:pt x="11232339" y="66986"/>
                  <a:pt x="11219636" y="79691"/>
                  <a:pt x="11203466" y="79691"/>
                </a:cubicBezTo>
                <a:cubicBezTo>
                  <a:pt x="11187298" y="79691"/>
                  <a:pt x="11174593" y="66986"/>
                  <a:pt x="11174593" y="50817"/>
                </a:cubicBezTo>
                <a:cubicBezTo>
                  <a:pt x="11174593" y="34648"/>
                  <a:pt x="11187298" y="21945"/>
                  <a:pt x="11203466" y="21945"/>
                </a:cubicBezTo>
                <a:close/>
                <a:moveTo>
                  <a:pt x="10085490" y="21945"/>
                </a:moveTo>
                <a:cubicBezTo>
                  <a:pt x="10101659" y="21945"/>
                  <a:pt x="10114363" y="35804"/>
                  <a:pt x="10114363" y="51973"/>
                </a:cubicBezTo>
                <a:cubicBezTo>
                  <a:pt x="10114363" y="68142"/>
                  <a:pt x="10101659" y="80846"/>
                  <a:pt x="10085490" y="80846"/>
                </a:cubicBezTo>
                <a:cubicBezTo>
                  <a:pt x="10069321" y="80846"/>
                  <a:pt x="10056616" y="66986"/>
                  <a:pt x="10056616" y="50817"/>
                </a:cubicBezTo>
                <a:cubicBezTo>
                  <a:pt x="10056616" y="34648"/>
                  <a:pt x="10069321" y="21945"/>
                  <a:pt x="10085490" y="21945"/>
                </a:cubicBezTo>
                <a:close/>
                <a:moveTo>
                  <a:pt x="9247008" y="21945"/>
                </a:moveTo>
                <a:cubicBezTo>
                  <a:pt x="9263177" y="21945"/>
                  <a:pt x="9275881" y="34648"/>
                  <a:pt x="9275881" y="50817"/>
                </a:cubicBezTo>
                <a:cubicBezTo>
                  <a:pt x="9275881" y="66986"/>
                  <a:pt x="9263177" y="80846"/>
                  <a:pt x="9247008" y="80846"/>
                </a:cubicBezTo>
                <a:cubicBezTo>
                  <a:pt x="9230839" y="80846"/>
                  <a:pt x="9218134" y="65832"/>
                  <a:pt x="9218134" y="50817"/>
                </a:cubicBezTo>
                <a:cubicBezTo>
                  <a:pt x="9218134" y="35804"/>
                  <a:pt x="9230839" y="21945"/>
                  <a:pt x="9247008" y="21945"/>
                </a:cubicBezTo>
                <a:close/>
                <a:moveTo>
                  <a:pt x="8972685" y="21945"/>
                </a:moveTo>
                <a:cubicBezTo>
                  <a:pt x="8988854" y="21945"/>
                  <a:pt x="9001557" y="34648"/>
                  <a:pt x="9001557" y="50817"/>
                </a:cubicBezTo>
                <a:cubicBezTo>
                  <a:pt x="9001557" y="66986"/>
                  <a:pt x="8988854" y="79691"/>
                  <a:pt x="8972685" y="79691"/>
                </a:cubicBezTo>
                <a:cubicBezTo>
                  <a:pt x="8956515" y="79691"/>
                  <a:pt x="8943811" y="66986"/>
                  <a:pt x="8943811" y="50817"/>
                </a:cubicBezTo>
                <a:cubicBezTo>
                  <a:pt x="8943811" y="34648"/>
                  <a:pt x="8956515" y="21945"/>
                  <a:pt x="8972685" y="21945"/>
                </a:cubicBezTo>
                <a:close/>
                <a:moveTo>
                  <a:pt x="8134203" y="21945"/>
                </a:moveTo>
                <a:cubicBezTo>
                  <a:pt x="8150373" y="21945"/>
                  <a:pt x="8163075" y="34648"/>
                  <a:pt x="8163075" y="50817"/>
                </a:cubicBezTo>
                <a:cubicBezTo>
                  <a:pt x="8163075" y="66986"/>
                  <a:pt x="8150373" y="79691"/>
                  <a:pt x="8134203" y="79691"/>
                </a:cubicBezTo>
                <a:cubicBezTo>
                  <a:pt x="8118034" y="79691"/>
                  <a:pt x="8105330" y="66986"/>
                  <a:pt x="8105330" y="50817"/>
                </a:cubicBezTo>
                <a:cubicBezTo>
                  <a:pt x="8105330" y="34648"/>
                  <a:pt x="8118034" y="21945"/>
                  <a:pt x="8134203" y="21945"/>
                </a:cubicBezTo>
                <a:close/>
                <a:moveTo>
                  <a:pt x="6598140" y="21945"/>
                </a:moveTo>
                <a:cubicBezTo>
                  <a:pt x="6613155" y="21945"/>
                  <a:pt x="6627013" y="34648"/>
                  <a:pt x="6627013" y="50817"/>
                </a:cubicBezTo>
                <a:cubicBezTo>
                  <a:pt x="6627013" y="66986"/>
                  <a:pt x="6614309" y="79691"/>
                  <a:pt x="6598140" y="79691"/>
                </a:cubicBezTo>
                <a:cubicBezTo>
                  <a:pt x="6581971" y="79691"/>
                  <a:pt x="6569267" y="66986"/>
                  <a:pt x="6569267" y="50817"/>
                </a:cubicBezTo>
                <a:cubicBezTo>
                  <a:pt x="6569267" y="34648"/>
                  <a:pt x="6581971" y="21945"/>
                  <a:pt x="6598140" y="21945"/>
                </a:cubicBezTo>
                <a:close/>
                <a:moveTo>
                  <a:pt x="5480165" y="21945"/>
                </a:moveTo>
                <a:cubicBezTo>
                  <a:pt x="5496333" y="21945"/>
                  <a:pt x="5509037" y="34648"/>
                  <a:pt x="5509037" y="50817"/>
                </a:cubicBezTo>
                <a:cubicBezTo>
                  <a:pt x="5509037" y="66986"/>
                  <a:pt x="5496333" y="79691"/>
                  <a:pt x="5480165" y="79691"/>
                </a:cubicBezTo>
                <a:cubicBezTo>
                  <a:pt x="5463996" y="79691"/>
                  <a:pt x="5451289" y="66986"/>
                  <a:pt x="5451289" y="50817"/>
                </a:cubicBezTo>
                <a:cubicBezTo>
                  <a:pt x="5451289" y="34648"/>
                  <a:pt x="5463996" y="21945"/>
                  <a:pt x="5480165" y="21945"/>
                </a:cubicBezTo>
                <a:close/>
                <a:moveTo>
                  <a:pt x="4641682" y="21945"/>
                </a:moveTo>
                <a:cubicBezTo>
                  <a:pt x="4657851" y="21945"/>
                  <a:pt x="4670555" y="34648"/>
                  <a:pt x="4670555" y="50817"/>
                </a:cubicBezTo>
                <a:cubicBezTo>
                  <a:pt x="4670555" y="66986"/>
                  <a:pt x="4657851" y="79691"/>
                  <a:pt x="4641682" y="79691"/>
                </a:cubicBezTo>
                <a:cubicBezTo>
                  <a:pt x="4625513" y="79691"/>
                  <a:pt x="4612809" y="66986"/>
                  <a:pt x="4612809" y="50817"/>
                </a:cubicBezTo>
                <a:cubicBezTo>
                  <a:pt x="4612809" y="34648"/>
                  <a:pt x="4625513" y="21945"/>
                  <a:pt x="4641682" y="21945"/>
                </a:cubicBezTo>
                <a:close/>
                <a:moveTo>
                  <a:pt x="4359878" y="21945"/>
                </a:moveTo>
                <a:cubicBezTo>
                  <a:pt x="4376046" y="21945"/>
                  <a:pt x="4388751" y="34648"/>
                  <a:pt x="4388751" y="50817"/>
                </a:cubicBezTo>
                <a:cubicBezTo>
                  <a:pt x="4388751" y="66986"/>
                  <a:pt x="4376046" y="79691"/>
                  <a:pt x="4359878" y="79691"/>
                </a:cubicBezTo>
                <a:cubicBezTo>
                  <a:pt x="4343709" y="79691"/>
                  <a:pt x="4331004" y="66986"/>
                  <a:pt x="4331004" y="50817"/>
                </a:cubicBezTo>
                <a:cubicBezTo>
                  <a:pt x="4331004" y="34648"/>
                  <a:pt x="4343709" y="21945"/>
                  <a:pt x="4359878" y="21945"/>
                </a:cubicBezTo>
                <a:close/>
                <a:moveTo>
                  <a:pt x="3521396" y="21945"/>
                </a:moveTo>
                <a:cubicBezTo>
                  <a:pt x="3537564" y="21945"/>
                  <a:pt x="3550268" y="34648"/>
                  <a:pt x="3550268" y="50817"/>
                </a:cubicBezTo>
                <a:cubicBezTo>
                  <a:pt x="3550268" y="66986"/>
                  <a:pt x="3537564" y="79691"/>
                  <a:pt x="3521396" y="79691"/>
                </a:cubicBezTo>
                <a:cubicBezTo>
                  <a:pt x="3505226" y="79691"/>
                  <a:pt x="3492521" y="66986"/>
                  <a:pt x="3492521" y="50817"/>
                </a:cubicBezTo>
                <a:cubicBezTo>
                  <a:pt x="3492521" y="34648"/>
                  <a:pt x="3505226" y="21945"/>
                  <a:pt x="3521396" y="21945"/>
                </a:cubicBezTo>
                <a:close/>
                <a:moveTo>
                  <a:pt x="1985333" y="21945"/>
                </a:moveTo>
                <a:cubicBezTo>
                  <a:pt x="2000346" y="21945"/>
                  <a:pt x="2014205" y="34648"/>
                  <a:pt x="2014205" y="50817"/>
                </a:cubicBezTo>
                <a:cubicBezTo>
                  <a:pt x="2014205" y="66986"/>
                  <a:pt x="2001502" y="79691"/>
                  <a:pt x="1985333" y="79691"/>
                </a:cubicBezTo>
                <a:cubicBezTo>
                  <a:pt x="1969164" y="79691"/>
                  <a:pt x="1956459" y="66986"/>
                  <a:pt x="1956459" y="50817"/>
                </a:cubicBezTo>
                <a:cubicBezTo>
                  <a:pt x="1956459" y="34648"/>
                  <a:pt x="1969164" y="21945"/>
                  <a:pt x="1985333" y="21945"/>
                </a:cubicBezTo>
                <a:close/>
                <a:moveTo>
                  <a:pt x="867356" y="21945"/>
                </a:moveTo>
                <a:cubicBezTo>
                  <a:pt x="883525" y="21945"/>
                  <a:pt x="896229" y="35804"/>
                  <a:pt x="896229" y="51973"/>
                </a:cubicBezTo>
                <a:cubicBezTo>
                  <a:pt x="896229" y="68142"/>
                  <a:pt x="883525" y="80846"/>
                  <a:pt x="867356" y="80846"/>
                </a:cubicBezTo>
                <a:cubicBezTo>
                  <a:pt x="851187" y="80846"/>
                  <a:pt x="838482" y="66986"/>
                  <a:pt x="838482" y="50817"/>
                </a:cubicBezTo>
                <a:cubicBezTo>
                  <a:pt x="838482" y="34648"/>
                  <a:pt x="851187" y="21945"/>
                  <a:pt x="867356" y="21945"/>
                </a:cubicBezTo>
                <a:close/>
                <a:moveTo>
                  <a:pt x="28874" y="21945"/>
                </a:moveTo>
                <a:cubicBezTo>
                  <a:pt x="45043" y="21945"/>
                  <a:pt x="57747" y="34648"/>
                  <a:pt x="57747" y="50817"/>
                </a:cubicBezTo>
                <a:cubicBezTo>
                  <a:pt x="57747" y="66986"/>
                  <a:pt x="45043" y="80846"/>
                  <a:pt x="28874" y="80846"/>
                </a:cubicBezTo>
                <a:cubicBezTo>
                  <a:pt x="12705" y="80846"/>
                  <a:pt x="0" y="65832"/>
                  <a:pt x="0" y="50817"/>
                </a:cubicBezTo>
                <a:cubicBezTo>
                  <a:pt x="0" y="35804"/>
                  <a:pt x="12705" y="21945"/>
                  <a:pt x="28874" y="21945"/>
                </a:cubicBezTo>
                <a:close/>
                <a:moveTo>
                  <a:pt x="11063719" y="16169"/>
                </a:moveTo>
                <a:cubicBezTo>
                  <a:pt x="11082198" y="16169"/>
                  <a:pt x="11098367" y="32338"/>
                  <a:pt x="11098367" y="50817"/>
                </a:cubicBezTo>
                <a:cubicBezTo>
                  <a:pt x="11098367" y="69296"/>
                  <a:pt x="11083353" y="85465"/>
                  <a:pt x="11063719" y="85465"/>
                </a:cubicBezTo>
                <a:cubicBezTo>
                  <a:pt x="11045240" y="85465"/>
                  <a:pt x="11029071" y="69296"/>
                  <a:pt x="11029071" y="50817"/>
                </a:cubicBezTo>
                <a:cubicBezTo>
                  <a:pt x="11029071" y="32338"/>
                  <a:pt x="11044086" y="16169"/>
                  <a:pt x="11063719" y="16169"/>
                </a:cubicBezTo>
                <a:close/>
                <a:moveTo>
                  <a:pt x="9945743" y="16169"/>
                </a:moveTo>
                <a:cubicBezTo>
                  <a:pt x="9965377" y="16169"/>
                  <a:pt x="9980391" y="32338"/>
                  <a:pt x="9980391" y="50817"/>
                </a:cubicBezTo>
                <a:cubicBezTo>
                  <a:pt x="9980391" y="69296"/>
                  <a:pt x="9964222" y="85465"/>
                  <a:pt x="9945743" y="85465"/>
                </a:cubicBezTo>
                <a:cubicBezTo>
                  <a:pt x="9927264" y="85465"/>
                  <a:pt x="9911094" y="69296"/>
                  <a:pt x="9911094" y="50817"/>
                </a:cubicBezTo>
                <a:cubicBezTo>
                  <a:pt x="9911094" y="32338"/>
                  <a:pt x="9926109" y="16169"/>
                  <a:pt x="9945743" y="16169"/>
                </a:cubicBezTo>
                <a:close/>
                <a:moveTo>
                  <a:pt x="9386754" y="16169"/>
                </a:moveTo>
                <a:cubicBezTo>
                  <a:pt x="9406389" y="16169"/>
                  <a:pt x="9421402" y="32338"/>
                  <a:pt x="9421402" y="50817"/>
                </a:cubicBezTo>
                <a:cubicBezTo>
                  <a:pt x="9421402" y="69296"/>
                  <a:pt x="9405233" y="85465"/>
                  <a:pt x="9386754" y="85465"/>
                </a:cubicBezTo>
                <a:cubicBezTo>
                  <a:pt x="9368275" y="85465"/>
                  <a:pt x="9352106" y="69296"/>
                  <a:pt x="9352106" y="50817"/>
                </a:cubicBezTo>
                <a:cubicBezTo>
                  <a:pt x="9352106" y="32338"/>
                  <a:pt x="9367121" y="16169"/>
                  <a:pt x="9386754" y="16169"/>
                </a:cubicBezTo>
                <a:close/>
                <a:moveTo>
                  <a:pt x="8832937" y="16169"/>
                </a:moveTo>
                <a:cubicBezTo>
                  <a:pt x="8852571" y="16169"/>
                  <a:pt x="8867585" y="32338"/>
                  <a:pt x="8867585" y="50817"/>
                </a:cubicBezTo>
                <a:cubicBezTo>
                  <a:pt x="8867585" y="69296"/>
                  <a:pt x="8852571" y="85465"/>
                  <a:pt x="8832937" y="85465"/>
                </a:cubicBezTo>
                <a:cubicBezTo>
                  <a:pt x="8814458" y="85465"/>
                  <a:pt x="8798289" y="69296"/>
                  <a:pt x="8798289" y="50817"/>
                </a:cubicBezTo>
                <a:cubicBezTo>
                  <a:pt x="8798289" y="32338"/>
                  <a:pt x="8813304" y="16169"/>
                  <a:pt x="8832937" y="16169"/>
                </a:cubicBezTo>
                <a:close/>
                <a:moveTo>
                  <a:pt x="8273949" y="16169"/>
                </a:moveTo>
                <a:cubicBezTo>
                  <a:pt x="8293584" y="16169"/>
                  <a:pt x="8308598" y="32338"/>
                  <a:pt x="8308598" y="50817"/>
                </a:cubicBezTo>
                <a:cubicBezTo>
                  <a:pt x="8308598" y="69296"/>
                  <a:pt x="8293584" y="85465"/>
                  <a:pt x="8273949" y="85465"/>
                </a:cubicBezTo>
                <a:cubicBezTo>
                  <a:pt x="8255471" y="85465"/>
                  <a:pt x="8239301" y="69296"/>
                  <a:pt x="8239301" y="50817"/>
                </a:cubicBezTo>
                <a:cubicBezTo>
                  <a:pt x="8239301" y="32338"/>
                  <a:pt x="8254316" y="16169"/>
                  <a:pt x="8273949" y="16169"/>
                </a:cubicBezTo>
                <a:close/>
                <a:moveTo>
                  <a:pt x="6458393" y="16169"/>
                </a:moveTo>
                <a:cubicBezTo>
                  <a:pt x="6476871" y="16169"/>
                  <a:pt x="6493041" y="32338"/>
                  <a:pt x="6493041" y="50817"/>
                </a:cubicBezTo>
                <a:cubicBezTo>
                  <a:pt x="6493041" y="69296"/>
                  <a:pt x="6476871" y="85465"/>
                  <a:pt x="6458393" y="85465"/>
                </a:cubicBezTo>
                <a:cubicBezTo>
                  <a:pt x="6439914" y="85465"/>
                  <a:pt x="6423745" y="69296"/>
                  <a:pt x="6423745" y="50817"/>
                </a:cubicBezTo>
                <a:cubicBezTo>
                  <a:pt x="6423745" y="32338"/>
                  <a:pt x="6438760" y="16169"/>
                  <a:pt x="6458393" y="16169"/>
                </a:cubicBezTo>
                <a:close/>
                <a:moveTo>
                  <a:pt x="5340416" y="16169"/>
                </a:moveTo>
                <a:cubicBezTo>
                  <a:pt x="5360051" y="16169"/>
                  <a:pt x="5375064" y="32338"/>
                  <a:pt x="5375064" y="50817"/>
                </a:cubicBezTo>
                <a:cubicBezTo>
                  <a:pt x="5375064" y="69296"/>
                  <a:pt x="5358895" y="85465"/>
                  <a:pt x="5340416" y="85465"/>
                </a:cubicBezTo>
                <a:cubicBezTo>
                  <a:pt x="5321939" y="85465"/>
                  <a:pt x="5305769" y="69296"/>
                  <a:pt x="5305769" y="50817"/>
                </a:cubicBezTo>
                <a:cubicBezTo>
                  <a:pt x="5305769" y="32338"/>
                  <a:pt x="5320783" y="16169"/>
                  <a:pt x="5340416" y="16169"/>
                </a:cubicBezTo>
                <a:close/>
                <a:moveTo>
                  <a:pt x="4781429" y="16169"/>
                </a:moveTo>
                <a:cubicBezTo>
                  <a:pt x="4801062" y="16169"/>
                  <a:pt x="4816075" y="32338"/>
                  <a:pt x="4816075" y="50817"/>
                </a:cubicBezTo>
                <a:cubicBezTo>
                  <a:pt x="4816075" y="69296"/>
                  <a:pt x="4799906" y="85465"/>
                  <a:pt x="4781429" y="85465"/>
                </a:cubicBezTo>
                <a:cubicBezTo>
                  <a:pt x="4762949" y="85465"/>
                  <a:pt x="4746781" y="69296"/>
                  <a:pt x="4746781" y="50817"/>
                </a:cubicBezTo>
                <a:cubicBezTo>
                  <a:pt x="4746781" y="32338"/>
                  <a:pt x="4761794" y="16169"/>
                  <a:pt x="4781429" y="16169"/>
                </a:cubicBezTo>
                <a:close/>
                <a:moveTo>
                  <a:pt x="4220129" y="16169"/>
                </a:moveTo>
                <a:cubicBezTo>
                  <a:pt x="4239764" y="16169"/>
                  <a:pt x="4254779" y="32338"/>
                  <a:pt x="4254779" y="50817"/>
                </a:cubicBezTo>
                <a:cubicBezTo>
                  <a:pt x="4254779" y="69296"/>
                  <a:pt x="4239764" y="85465"/>
                  <a:pt x="4220129" y="85465"/>
                </a:cubicBezTo>
                <a:cubicBezTo>
                  <a:pt x="4201651" y="85465"/>
                  <a:pt x="4185482" y="69296"/>
                  <a:pt x="4185482" y="50817"/>
                </a:cubicBezTo>
                <a:cubicBezTo>
                  <a:pt x="4185482" y="32338"/>
                  <a:pt x="4200498" y="16169"/>
                  <a:pt x="4220129" y="16169"/>
                </a:cubicBezTo>
                <a:close/>
                <a:moveTo>
                  <a:pt x="3661142" y="16169"/>
                </a:moveTo>
                <a:cubicBezTo>
                  <a:pt x="3680776" y="16169"/>
                  <a:pt x="3695791" y="32338"/>
                  <a:pt x="3695791" y="50817"/>
                </a:cubicBezTo>
                <a:cubicBezTo>
                  <a:pt x="3695791" y="69296"/>
                  <a:pt x="3680776" y="85465"/>
                  <a:pt x="3661142" y="85465"/>
                </a:cubicBezTo>
                <a:cubicBezTo>
                  <a:pt x="3642663" y="85465"/>
                  <a:pt x="3626494" y="69296"/>
                  <a:pt x="3626494" y="50817"/>
                </a:cubicBezTo>
                <a:cubicBezTo>
                  <a:pt x="3626494" y="32338"/>
                  <a:pt x="3641508" y="16169"/>
                  <a:pt x="3661142" y="16169"/>
                </a:cubicBezTo>
                <a:close/>
                <a:moveTo>
                  <a:pt x="1845585" y="16169"/>
                </a:moveTo>
                <a:cubicBezTo>
                  <a:pt x="1864064" y="16169"/>
                  <a:pt x="1880233" y="32338"/>
                  <a:pt x="1880233" y="50817"/>
                </a:cubicBezTo>
                <a:cubicBezTo>
                  <a:pt x="1880233" y="69296"/>
                  <a:pt x="1865220" y="85465"/>
                  <a:pt x="1845585" y="85465"/>
                </a:cubicBezTo>
                <a:cubicBezTo>
                  <a:pt x="1827106" y="85465"/>
                  <a:pt x="1810937" y="69296"/>
                  <a:pt x="1810937" y="50817"/>
                </a:cubicBezTo>
                <a:cubicBezTo>
                  <a:pt x="1810937" y="32338"/>
                  <a:pt x="1825952" y="16169"/>
                  <a:pt x="1845585" y="16169"/>
                </a:cubicBezTo>
                <a:close/>
                <a:moveTo>
                  <a:pt x="727609" y="16169"/>
                </a:moveTo>
                <a:cubicBezTo>
                  <a:pt x="747243" y="16169"/>
                  <a:pt x="762257" y="32338"/>
                  <a:pt x="762257" y="50817"/>
                </a:cubicBezTo>
                <a:cubicBezTo>
                  <a:pt x="762257" y="69296"/>
                  <a:pt x="746088" y="85465"/>
                  <a:pt x="727609" y="85465"/>
                </a:cubicBezTo>
                <a:cubicBezTo>
                  <a:pt x="709130" y="85465"/>
                  <a:pt x="692961" y="69296"/>
                  <a:pt x="692961" y="50817"/>
                </a:cubicBezTo>
                <a:cubicBezTo>
                  <a:pt x="692961" y="32338"/>
                  <a:pt x="707976" y="16169"/>
                  <a:pt x="727609" y="16169"/>
                </a:cubicBezTo>
                <a:close/>
                <a:moveTo>
                  <a:pt x="168621" y="16169"/>
                </a:moveTo>
                <a:cubicBezTo>
                  <a:pt x="188255" y="16169"/>
                  <a:pt x="203269" y="32338"/>
                  <a:pt x="203269" y="50817"/>
                </a:cubicBezTo>
                <a:cubicBezTo>
                  <a:pt x="203269" y="69296"/>
                  <a:pt x="187100" y="85465"/>
                  <a:pt x="168621" y="85465"/>
                </a:cubicBezTo>
                <a:cubicBezTo>
                  <a:pt x="150142" y="85465"/>
                  <a:pt x="133973" y="69296"/>
                  <a:pt x="133973" y="50817"/>
                </a:cubicBezTo>
                <a:cubicBezTo>
                  <a:pt x="133973" y="32338"/>
                  <a:pt x="148988" y="16169"/>
                  <a:pt x="168621" y="16169"/>
                </a:cubicBezTo>
                <a:close/>
                <a:moveTo>
                  <a:pt x="10923972" y="10395"/>
                </a:moveTo>
                <a:cubicBezTo>
                  <a:pt x="10945916" y="10395"/>
                  <a:pt x="10964394" y="28874"/>
                  <a:pt x="10964394" y="50817"/>
                </a:cubicBezTo>
                <a:cubicBezTo>
                  <a:pt x="10964394" y="72762"/>
                  <a:pt x="10945916" y="91241"/>
                  <a:pt x="10923972" y="91241"/>
                </a:cubicBezTo>
                <a:cubicBezTo>
                  <a:pt x="10902028" y="91241"/>
                  <a:pt x="10883549" y="72762"/>
                  <a:pt x="10883549" y="50817"/>
                </a:cubicBezTo>
                <a:cubicBezTo>
                  <a:pt x="10883549" y="28874"/>
                  <a:pt x="10902028" y="10395"/>
                  <a:pt x="10923972" y="10395"/>
                </a:cubicBezTo>
                <a:close/>
                <a:moveTo>
                  <a:pt x="9805996" y="10395"/>
                </a:moveTo>
                <a:cubicBezTo>
                  <a:pt x="9827939" y="10395"/>
                  <a:pt x="9846418" y="30029"/>
                  <a:pt x="9846418" y="51973"/>
                </a:cubicBezTo>
                <a:cubicBezTo>
                  <a:pt x="9846418" y="73916"/>
                  <a:pt x="9827939" y="92395"/>
                  <a:pt x="9805996" y="92395"/>
                </a:cubicBezTo>
                <a:cubicBezTo>
                  <a:pt x="9784052" y="92395"/>
                  <a:pt x="9765573" y="72762"/>
                  <a:pt x="9765573" y="50817"/>
                </a:cubicBezTo>
                <a:cubicBezTo>
                  <a:pt x="9765573" y="28874"/>
                  <a:pt x="9784052" y="10395"/>
                  <a:pt x="9805996" y="10395"/>
                </a:cubicBezTo>
                <a:close/>
                <a:moveTo>
                  <a:pt x="9526502" y="10395"/>
                </a:moveTo>
                <a:cubicBezTo>
                  <a:pt x="9548445" y="10395"/>
                  <a:pt x="9566924" y="30029"/>
                  <a:pt x="9566924" y="51973"/>
                </a:cubicBezTo>
                <a:cubicBezTo>
                  <a:pt x="9566924" y="73916"/>
                  <a:pt x="9548445" y="92395"/>
                  <a:pt x="9526502" y="92395"/>
                </a:cubicBezTo>
                <a:cubicBezTo>
                  <a:pt x="9504558" y="92395"/>
                  <a:pt x="9486079" y="72762"/>
                  <a:pt x="9486079" y="50817"/>
                </a:cubicBezTo>
                <a:cubicBezTo>
                  <a:pt x="9486079" y="28874"/>
                  <a:pt x="9504558" y="10395"/>
                  <a:pt x="9526502" y="10395"/>
                </a:cubicBezTo>
                <a:close/>
                <a:moveTo>
                  <a:pt x="8693190" y="10395"/>
                </a:moveTo>
                <a:cubicBezTo>
                  <a:pt x="8715134" y="10395"/>
                  <a:pt x="8733613" y="28874"/>
                  <a:pt x="8733613" y="50817"/>
                </a:cubicBezTo>
                <a:cubicBezTo>
                  <a:pt x="8733613" y="72762"/>
                  <a:pt x="8715134" y="91241"/>
                  <a:pt x="8693190" y="91241"/>
                </a:cubicBezTo>
                <a:cubicBezTo>
                  <a:pt x="8671246" y="91241"/>
                  <a:pt x="8652767" y="72762"/>
                  <a:pt x="8652767" y="50817"/>
                </a:cubicBezTo>
                <a:cubicBezTo>
                  <a:pt x="8652767" y="28874"/>
                  <a:pt x="8671246" y="10395"/>
                  <a:pt x="8693190" y="10395"/>
                </a:cubicBezTo>
                <a:close/>
                <a:moveTo>
                  <a:pt x="8413696" y="10395"/>
                </a:moveTo>
                <a:cubicBezTo>
                  <a:pt x="8435640" y="10395"/>
                  <a:pt x="8454118" y="28874"/>
                  <a:pt x="8454118" y="50817"/>
                </a:cubicBezTo>
                <a:cubicBezTo>
                  <a:pt x="8454118" y="72762"/>
                  <a:pt x="8435640" y="91241"/>
                  <a:pt x="8413696" y="91241"/>
                </a:cubicBezTo>
                <a:cubicBezTo>
                  <a:pt x="8391752" y="91241"/>
                  <a:pt x="8373274" y="72762"/>
                  <a:pt x="8373274" y="50817"/>
                </a:cubicBezTo>
                <a:cubicBezTo>
                  <a:pt x="8373274" y="28874"/>
                  <a:pt x="8391752" y="10395"/>
                  <a:pt x="8413696" y="10395"/>
                </a:cubicBezTo>
                <a:close/>
                <a:moveTo>
                  <a:pt x="6318647" y="10395"/>
                </a:moveTo>
                <a:cubicBezTo>
                  <a:pt x="6340589" y="10395"/>
                  <a:pt x="6359068" y="28874"/>
                  <a:pt x="6359068" y="50817"/>
                </a:cubicBezTo>
                <a:cubicBezTo>
                  <a:pt x="6359068" y="72762"/>
                  <a:pt x="6340589" y="91241"/>
                  <a:pt x="6318647" y="91241"/>
                </a:cubicBezTo>
                <a:cubicBezTo>
                  <a:pt x="6296702" y="91241"/>
                  <a:pt x="6278223" y="72762"/>
                  <a:pt x="6278223" y="50817"/>
                </a:cubicBezTo>
                <a:cubicBezTo>
                  <a:pt x="6278223" y="28874"/>
                  <a:pt x="6296702" y="10395"/>
                  <a:pt x="6318647" y="10395"/>
                </a:cubicBezTo>
                <a:close/>
                <a:moveTo>
                  <a:pt x="5200670" y="10395"/>
                </a:moveTo>
                <a:cubicBezTo>
                  <a:pt x="5222613" y="10395"/>
                  <a:pt x="5241093" y="28874"/>
                  <a:pt x="5241093" y="50817"/>
                </a:cubicBezTo>
                <a:cubicBezTo>
                  <a:pt x="5241093" y="72762"/>
                  <a:pt x="5222613" y="91241"/>
                  <a:pt x="5200670" y="91241"/>
                </a:cubicBezTo>
                <a:cubicBezTo>
                  <a:pt x="5178725" y="91241"/>
                  <a:pt x="5160247" y="72762"/>
                  <a:pt x="5160247" y="50817"/>
                </a:cubicBezTo>
                <a:cubicBezTo>
                  <a:pt x="5160247" y="28874"/>
                  <a:pt x="5178725" y="10395"/>
                  <a:pt x="5200670" y="10395"/>
                </a:cubicBezTo>
                <a:close/>
                <a:moveTo>
                  <a:pt x="4921176" y="10395"/>
                </a:moveTo>
                <a:cubicBezTo>
                  <a:pt x="4944275" y="10395"/>
                  <a:pt x="4961598" y="28874"/>
                  <a:pt x="4961598" y="50817"/>
                </a:cubicBezTo>
                <a:cubicBezTo>
                  <a:pt x="4961598" y="72762"/>
                  <a:pt x="4943120" y="91241"/>
                  <a:pt x="4921176" y="91241"/>
                </a:cubicBezTo>
                <a:cubicBezTo>
                  <a:pt x="4899233" y="91241"/>
                  <a:pt x="4880752" y="72762"/>
                  <a:pt x="4880752" y="50817"/>
                </a:cubicBezTo>
                <a:cubicBezTo>
                  <a:pt x="4880752" y="28874"/>
                  <a:pt x="4899233" y="10395"/>
                  <a:pt x="4921176" y="10395"/>
                </a:cubicBezTo>
                <a:close/>
                <a:moveTo>
                  <a:pt x="4080383" y="10395"/>
                </a:moveTo>
                <a:cubicBezTo>
                  <a:pt x="4102326" y="10395"/>
                  <a:pt x="4120806" y="28874"/>
                  <a:pt x="4120806" y="50817"/>
                </a:cubicBezTo>
                <a:cubicBezTo>
                  <a:pt x="4120806" y="72762"/>
                  <a:pt x="4102326" y="91241"/>
                  <a:pt x="4080383" y="91241"/>
                </a:cubicBezTo>
                <a:cubicBezTo>
                  <a:pt x="4058439" y="91241"/>
                  <a:pt x="4039961" y="72762"/>
                  <a:pt x="4039961" y="50817"/>
                </a:cubicBezTo>
                <a:cubicBezTo>
                  <a:pt x="4039961" y="28874"/>
                  <a:pt x="4058439" y="10395"/>
                  <a:pt x="4080383" y="10395"/>
                </a:cubicBezTo>
                <a:close/>
                <a:moveTo>
                  <a:pt x="3800889" y="10395"/>
                </a:moveTo>
                <a:cubicBezTo>
                  <a:pt x="3822833" y="10395"/>
                  <a:pt x="3841311" y="28874"/>
                  <a:pt x="3841311" y="50817"/>
                </a:cubicBezTo>
                <a:cubicBezTo>
                  <a:pt x="3841311" y="72762"/>
                  <a:pt x="3822833" y="91241"/>
                  <a:pt x="3800889" y="91241"/>
                </a:cubicBezTo>
                <a:cubicBezTo>
                  <a:pt x="3778945" y="91241"/>
                  <a:pt x="3760466" y="72762"/>
                  <a:pt x="3760466" y="50817"/>
                </a:cubicBezTo>
                <a:cubicBezTo>
                  <a:pt x="3760466" y="28874"/>
                  <a:pt x="3778945" y="10395"/>
                  <a:pt x="3800889" y="10395"/>
                </a:cubicBezTo>
                <a:close/>
                <a:moveTo>
                  <a:pt x="1705839" y="10395"/>
                </a:moveTo>
                <a:cubicBezTo>
                  <a:pt x="1727782" y="10395"/>
                  <a:pt x="1746261" y="28874"/>
                  <a:pt x="1746261" y="50817"/>
                </a:cubicBezTo>
                <a:cubicBezTo>
                  <a:pt x="1746261" y="72762"/>
                  <a:pt x="1727782" y="91241"/>
                  <a:pt x="1705839" y="91241"/>
                </a:cubicBezTo>
                <a:cubicBezTo>
                  <a:pt x="1683894" y="91241"/>
                  <a:pt x="1665415" y="72762"/>
                  <a:pt x="1665415" y="50817"/>
                </a:cubicBezTo>
                <a:cubicBezTo>
                  <a:pt x="1665415" y="28874"/>
                  <a:pt x="1683894" y="10395"/>
                  <a:pt x="1705839" y="10395"/>
                </a:cubicBezTo>
                <a:close/>
                <a:moveTo>
                  <a:pt x="587862" y="10395"/>
                </a:moveTo>
                <a:cubicBezTo>
                  <a:pt x="609806" y="10395"/>
                  <a:pt x="628284" y="30029"/>
                  <a:pt x="628284" y="51973"/>
                </a:cubicBezTo>
                <a:cubicBezTo>
                  <a:pt x="628284" y="73916"/>
                  <a:pt x="609806" y="92395"/>
                  <a:pt x="587862" y="92395"/>
                </a:cubicBezTo>
                <a:cubicBezTo>
                  <a:pt x="565918" y="92395"/>
                  <a:pt x="547439" y="72762"/>
                  <a:pt x="547439" y="50817"/>
                </a:cubicBezTo>
                <a:cubicBezTo>
                  <a:pt x="547439" y="28874"/>
                  <a:pt x="565918" y="10395"/>
                  <a:pt x="587862" y="10395"/>
                </a:cubicBezTo>
                <a:close/>
                <a:moveTo>
                  <a:pt x="308368" y="10395"/>
                </a:moveTo>
                <a:cubicBezTo>
                  <a:pt x="330311" y="10395"/>
                  <a:pt x="348790" y="30029"/>
                  <a:pt x="348790" y="51973"/>
                </a:cubicBezTo>
                <a:cubicBezTo>
                  <a:pt x="348790" y="73916"/>
                  <a:pt x="330311" y="92395"/>
                  <a:pt x="308368" y="92395"/>
                </a:cubicBezTo>
                <a:cubicBezTo>
                  <a:pt x="286424" y="92395"/>
                  <a:pt x="267945" y="72762"/>
                  <a:pt x="267945" y="50817"/>
                </a:cubicBezTo>
                <a:cubicBezTo>
                  <a:pt x="267945" y="28874"/>
                  <a:pt x="286424" y="10395"/>
                  <a:pt x="308368" y="10395"/>
                </a:cubicBezTo>
                <a:close/>
                <a:moveTo>
                  <a:pt x="10784225" y="0"/>
                </a:moveTo>
                <a:cubicBezTo>
                  <a:pt x="10811943" y="0"/>
                  <a:pt x="10835042" y="23099"/>
                  <a:pt x="10835042" y="50817"/>
                </a:cubicBezTo>
                <a:cubicBezTo>
                  <a:pt x="10835042" y="78536"/>
                  <a:pt x="10811943" y="101634"/>
                  <a:pt x="10784225" y="101634"/>
                </a:cubicBezTo>
                <a:cubicBezTo>
                  <a:pt x="10756506" y="101634"/>
                  <a:pt x="10733408" y="78536"/>
                  <a:pt x="10733408" y="50817"/>
                </a:cubicBezTo>
                <a:cubicBezTo>
                  <a:pt x="10733408" y="23099"/>
                  <a:pt x="10755352" y="0"/>
                  <a:pt x="10784225" y="0"/>
                </a:cubicBezTo>
                <a:close/>
                <a:moveTo>
                  <a:pt x="9666248" y="0"/>
                </a:moveTo>
                <a:cubicBezTo>
                  <a:pt x="9695122" y="0"/>
                  <a:pt x="9717066" y="23099"/>
                  <a:pt x="9717066" y="50817"/>
                </a:cubicBezTo>
                <a:cubicBezTo>
                  <a:pt x="9717066" y="78536"/>
                  <a:pt x="9695122" y="101634"/>
                  <a:pt x="9666248" y="101634"/>
                </a:cubicBezTo>
                <a:cubicBezTo>
                  <a:pt x="9638530" y="101634"/>
                  <a:pt x="9615431" y="78536"/>
                  <a:pt x="9615431" y="50817"/>
                </a:cubicBezTo>
                <a:cubicBezTo>
                  <a:pt x="9615431" y="23099"/>
                  <a:pt x="9637376" y="0"/>
                  <a:pt x="9666248" y="0"/>
                </a:cubicBezTo>
                <a:close/>
                <a:moveTo>
                  <a:pt x="8553443" y="0"/>
                </a:moveTo>
                <a:cubicBezTo>
                  <a:pt x="8582317" y="0"/>
                  <a:pt x="8604260" y="23099"/>
                  <a:pt x="8604260" y="50817"/>
                </a:cubicBezTo>
                <a:cubicBezTo>
                  <a:pt x="8604260" y="78536"/>
                  <a:pt x="8582317" y="101634"/>
                  <a:pt x="8553443" y="101634"/>
                </a:cubicBezTo>
                <a:cubicBezTo>
                  <a:pt x="8525724" y="101634"/>
                  <a:pt x="8502626" y="78536"/>
                  <a:pt x="8502626" y="50817"/>
                </a:cubicBezTo>
                <a:cubicBezTo>
                  <a:pt x="8502626" y="23099"/>
                  <a:pt x="8524570" y="0"/>
                  <a:pt x="8553443" y="0"/>
                </a:cubicBezTo>
                <a:close/>
                <a:moveTo>
                  <a:pt x="6178898" y="0"/>
                </a:moveTo>
                <a:cubicBezTo>
                  <a:pt x="6206618" y="0"/>
                  <a:pt x="6229715" y="23099"/>
                  <a:pt x="6229715" y="50817"/>
                </a:cubicBezTo>
                <a:cubicBezTo>
                  <a:pt x="6229715" y="78536"/>
                  <a:pt x="6206618" y="101634"/>
                  <a:pt x="6178898" y="101634"/>
                </a:cubicBezTo>
                <a:cubicBezTo>
                  <a:pt x="6151180" y="101634"/>
                  <a:pt x="6128081" y="78536"/>
                  <a:pt x="6128081" y="50817"/>
                </a:cubicBezTo>
                <a:cubicBezTo>
                  <a:pt x="6128081" y="23099"/>
                  <a:pt x="6150025" y="0"/>
                  <a:pt x="6178898" y="0"/>
                </a:cubicBezTo>
                <a:close/>
                <a:moveTo>
                  <a:pt x="5060922" y="0"/>
                </a:moveTo>
                <a:cubicBezTo>
                  <a:pt x="5089795" y="0"/>
                  <a:pt x="5111740" y="23099"/>
                  <a:pt x="5111740" y="50817"/>
                </a:cubicBezTo>
                <a:cubicBezTo>
                  <a:pt x="5111740" y="78536"/>
                  <a:pt x="5088641" y="101634"/>
                  <a:pt x="5060922" y="101634"/>
                </a:cubicBezTo>
                <a:cubicBezTo>
                  <a:pt x="5033205" y="101634"/>
                  <a:pt x="5010105" y="78536"/>
                  <a:pt x="5010105" y="50817"/>
                </a:cubicBezTo>
                <a:cubicBezTo>
                  <a:pt x="5010105" y="23099"/>
                  <a:pt x="5032050" y="0"/>
                  <a:pt x="5060922" y="0"/>
                </a:cubicBezTo>
                <a:close/>
                <a:moveTo>
                  <a:pt x="3940636" y="0"/>
                </a:moveTo>
                <a:cubicBezTo>
                  <a:pt x="3969510" y="0"/>
                  <a:pt x="3991453" y="23099"/>
                  <a:pt x="3991453" y="50817"/>
                </a:cubicBezTo>
                <a:cubicBezTo>
                  <a:pt x="3991453" y="78536"/>
                  <a:pt x="3969510" y="101634"/>
                  <a:pt x="3940636" y="101634"/>
                </a:cubicBezTo>
                <a:cubicBezTo>
                  <a:pt x="3912917" y="101634"/>
                  <a:pt x="3889819" y="78536"/>
                  <a:pt x="3889819" y="50817"/>
                </a:cubicBezTo>
                <a:cubicBezTo>
                  <a:pt x="3889819" y="23099"/>
                  <a:pt x="3911763" y="0"/>
                  <a:pt x="3940636" y="0"/>
                </a:cubicBezTo>
                <a:close/>
                <a:moveTo>
                  <a:pt x="1566091" y="0"/>
                </a:moveTo>
                <a:cubicBezTo>
                  <a:pt x="1593810" y="0"/>
                  <a:pt x="1616908" y="23099"/>
                  <a:pt x="1616908" y="50817"/>
                </a:cubicBezTo>
                <a:cubicBezTo>
                  <a:pt x="1616908" y="78536"/>
                  <a:pt x="1593810" y="101634"/>
                  <a:pt x="1566091" y="101634"/>
                </a:cubicBezTo>
                <a:cubicBezTo>
                  <a:pt x="1538373" y="101634"/>
                  <a:pt x="1515274" y="78536"/>
                  <a:pt x="1515274" y="50817"/>
                </a:cubicBezTo>
                <a:cubicBezTo>
                  <a:pt x="1515274" y="23099"/>
                  <a:pt x="1537218" y="0"/>
                  <a:pt x="1566091" y="0"/>
                </a:cubicBezTo>
                <a:close/>
                <a:moveTo>
                  <a:pt x="448115" y="0"/>
                </a:moveTo>
                <a:cubicBezTo>
                  <a:pt x="476989" y="0"/>
                  <a:pt x="498932" y="23099"/>
                  <a:pt x="498932" y="50817"/>
                </a:cubicBezTo>
                <a:cubicBezTo>
                  <a:pt x="498932" y="78536"/>
                  <a:pt x="476989" y="101634"/>
                  <a:pt x="448115" y="101634"/>
                </a:cubicBezTo>
                <a:cubicBezTo>
                  <a:pt x="420396" y="101634"/>
                  <a:pt x="397298" y="78536"/>
                  <a:pt x="397298" y="50817"/>
                </a:cubicBezTo>
                <a:cubicBezTo>
                  <a:pt x="397298" y="23099"/>
                  <a:pt x="419242" y="0"/>
                  <a:pt x="448115" y="0"/>
                </a:cubicBezTo>
                <a:close/>
              </a:path>
            </a:pathLst>
          </a:custGeom>
          <a:solidFill>
            <a:schemeClr val="bg2">
              <a:alpha val="6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800"/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12F420C0-5120-438F-8FAD-44DE780E04F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D6689695-6613-4F34-9898-7D4065859E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6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5C059A89-5D3E-4CFB-AA7E-C4F950E6A2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B2A0C30F-536F-4D14-8207-8CFC48E9C9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2" name="BR Logo">
            <a:extLst>
              <a:ext uri="{FF2B5EF4-FFF2-40B4-BE49-F238E27FC236}">
                <a16:creationId xmlns:a16="http://schemas.microsoft.com/office/drawing/2014/main" id="{046B9748-D001-B74D-ACF1-73B2C6107C73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D4027CCC-4A58-9546-871E-39F91C075A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89407C89-9932-0C4B-B671-B39802495EC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8922975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Dot Pattern">
            <a:extLst>
              <a:ext uri="{FF2B5EF4-FFF2-40B4-BE49-F238E27FC236}">
                <a16:creationId xmlns:a16="http://schemas.microsoft.com/office/drawing/2014/main" id="{4BB72837-D6AA-4343-83AC-DBE9D2D565E0}"/>
              </a:ext>
            </a:extLst>
          </p:cNvPr>
          <p:cNvSpPr/>
          <p:nvPr userDrawn="1"/>
        </p:nvSpPr>
        <p:spPr>
          <a:xfrm>
            <a:off x="-3082" y="4648002"/>
            <a:ext cx="12251873" cy="823468"/>
          </a:xfrm>
          <a:custGeom>
            <a:avLst/>
            <a:gdLst>
              <a:gd name="connsiteX0" fmla="*/ 12210569 w 12248682"/>
              <a:gd name="connsiteY0" fmla="*/ 753017 h 823468"/>
              <a:gd name="connsiteX1" fmla="*/ 12231358 w 12248682"/>
              <a:gd name="connsiteY1" fmla="*/ 773806 h 823468"/>
              <a:gd name="connsiteX2" fmla="*/ 12210569 w 12248682"/>
              <a:gd name="connsiteY2" fmla="*/ 794594 h 823468"/>
              <a:gd name="connsiteX3" fmla="*/ 12189780 w 12248682"/>
              <a:gd name="connsiteY3" fmla="*/ 773806 h 823468"/>
              <a:gd name="connsiteX4" fmla="*/ 12210569 w 12248682"/>
              <a:gd name="connsiteY4" fmla="*/ 753017 h 823468"/>
              <a:gd name="connsiteX5" fmla="*/ 12071977 w 12248682"/>
              <a:gd name="connsiteY5" fmla="*/ 753017 h 823468"/>
              <a:gd name="connsiteX6" fmla="*/ 12092766 w 12248682"/>
              <a:gd name="connsiteY6" fmla="*/ 773806 h 823468"/>
              <a:gd name="connsiteX7" fmla="*/ 12071977 w 12248682"/>
              <a:gd name="connsiteY7" fmla="*/ 794594 h 823468"/>
              <a:gd name="connsiteX8" fmla="*/ 12051188 w 12248682"/>
              <a:gd name="connsiteY8" fmla="*/ 773806 h 823468"/>
              <a:gd name="connsiteX9" fmla="*/ 12071977 w 12248682"/>
              <a:gd name="connsiteY9" fmla="*/ 753017 h 823468"/>
              <a:gd name="connsiteX10" fmla="*/ 11934539 w 12248682"/>
              <a:gd name="connsiteY10" fmla="*/ 753017 h 823468"/>
              <a:gd name="connsiteX11" fmla="*/ 11955328 w 12248682"/>
              <a:gd name="connsiteY11" fmla="*/ 773806 h 823468"/>
              <a:gd name="connsiteX12" fmla="*/ 11934539 w 12248682"/>
              <a:gd name="connsiteY12" fmla="*/ 794594 h 823468"/>
              <a:gd name="connsiteX13" fmla="*/ 11913750 w 12248682"/>
              <a:gd name="connsiteY13" fmla="*/ 773806 h 823468"/>
              <a:gd name="connsiteX14" fmla="*/ 11934539 w 12248682"/>
              <a:gd name="connsiteY14" fmla="*/ 753017 h 823468"/>
              <a:gd name="connsiteX15" fmla="*/ 11797103 w 12248682"/>
              <a:gd name="connsiteY15" fmla="*/ 753017 h 823468"/>
              <a:gd name="connsiteX16" fmla="*/ 11816736 w 12248682"/>
              <a:gd name="connsiteY16" fmla="*/ 773806 h 823468"/>
              <a:gd name="connsiteX17" fmla="*/ 11797103 w 12248682"/>
              <a:gd name="connsiteY17" fmla="*/ 794594 h 823468"/>
              <a:gd name="connsiteX18" fmla="*/ 11776314 w 12248682"/>
              <a:gd name="connsiteY18" fmla="*/ 773806 h 823468"/>
              <a:gd name="connsiteX19" fmla="*/ 11797103 w 12248682"/>
              <a:gd name="connsiteY19" fmla="*/ 753017 h 823468"/>
              <a:gd name="connsiteX20" fmla="*/ 10645633 w 12248682"/>
              <a:gd name="connsiteY20" fmla="*/ 753017 h 823468"/>
              <a:gd name="connsiteX21" fmla="*/ 10666422 w 12248682"/>
              <a:gd name="connsiteY21" fmla="*/ 773806 h 823468"/>
              <a:gd name="connsiteX22" fmla="*/ 10645633 w 12248682"/>
              <a:gd name="connsiteY22" fmla="*/ 794594 h 823468"/>
              <a:gd name="connsiteX23" fmla="*/ 10624844 w 12248682"/>
              <a:gd name="connsiteY23" fmla="*/ 773806 h 823468"/>
              <a:gd name="connsiteX24" fmla="*/ 10645633 w 12248682"/>
              <a:gd name="connsiteY24" fmla="*/ 753017 h 823468"/>
              <a:gd name="connsiteX25" fmla="*/ 9247008 w 12248682"/>
              <a:gd name="connsiteY25" fmla="*/ 753017 h 823468"/>
              <a:gd name="connsiteX26" fmla="*/ 9267797 w 12248682"/>
              <a:gd name="connsiteY26" fmla="*/ 773806 h 823468"/>
              <a:gd name="connsiteX27" fmla="*/ 9247008 w 12248682"/>
              <a:gd name="connsiteY27" fmla="*/ 794594 h 823468"/>
              <a:gd name="connsiteX28" fmla="*/ 9226219 w 12248682"/>
              <a:gd name="connsiteY28" fmla="*/ 773806 h 823468"/>
              <a:gd name="connsiteX29" fmla="*/ 9247008 w 12248682"/>
              <a:gd name="connsiteY29" fmla="*/ 753017 h 823468"/>
              <a:gd name="connsiteX30" fmla="*/ 8148062 w 12248682"/>
              <a:gd name="connsiteY30" fmla="*/ 753017 h 823468"/>
              <a:gd name="connsiteX31" fmla="*/ 8168851 w 12248682"/>
              <a:gd name="connsiteY31" fmla="*/ 773806 h 823468"/>
              <a:gd name="connsiteX32" fmla="*/ 8148062 w 12248682"/>
              <a:gd name="connsiteY32" fmla="*/ 794594 h 823468"/>
              <a:gd name="connsiteX33" fmla="*/ 8127274 w 12248682"/>
              <a:gd name="connsiteY33" fmla="*/ 773806 h 823468"/>
              <a:gd name="connsiteX34" fmla="*/ 8148062 w 12248682"/>
              <a:gd name="connsiteY34" fmla="*/ 753017 h 823468"/>
              <a:gd name="connsiteX35" fmla="*/ 8009471 w 12248682"/>
              <a:gd name="connsiteY35" fmla="*/ 753017 h 823468"/>
              <a:gd name="connsiteX36" fmla="*/ 8030259 w 12248682"/>
              <a:gd name="connsiteY36" fmla="*/ 773806 h 823468"/>
              <a:gd name="connsiteX37" fmla="*/ 8009471 w 12248682"/>
              <a:gd name="connsiteY37" fmla="*/ 794594 h 823468"/>
              <a:gd name="connsiteX38" fmla="*/ 7988682 w 12248682"/>
              <a:gd name="connsiteY38" fmla="*/ 773806 h 823468"/>
              <a:gd name="connsiteX39" fmla="*/ 8009471 w 12248682"/>
              <a:gd name="connsiteY39" fmla="*/ 753017 h 823468"/>
              <a:gd name="connsiteX40" fmla="*/ 7872031 w 12248682"/>
              <a:gd name="connsiteY40" fmla="*/ 753017 h 823468"/>
              <a:gd name="connsiteX41" fmla="*/ 7892822 w 12248682"/>
              <a:gd name="connsiteY41" fmla="*/ 773806 h 823468"/>
              <a:gd name="connsiteX42" fmla="*/ 7872031 w 12248682"/>
              <a:gd name="connsiteY42" fmla="*/ 794594 h 823468"/>
              <a:gd name="connsiteX43" fmla="*/ 7851244 w 12248682"/>
              <a:gd name="connsiteY43" fmla="*/ 773806 h 823468"/>
              <a:gd name="connsiteX44" fmla="*/ 7872031 w 12248682"/>
              <a:gd name="connsiteY44" fmla="*/ 753017 h 823468"/>
              <a:gd name="connsiteX45" fmla="*/ 7713807 w 12248682"/>
              <a:gd name="connsiteY45" fmla="*/ 753017 h 823468"/>
              <a:gd name="connsiteX46" fmla="*/ 7734596 w 12248682"/>
              <a:gd name="connsiteY46" fmla="*/ 773806 h 823468"/>
              <a:gd name="connsiteX47" fmla="*/ 7713807 w 12248682"/>
              <a:gd name="connsiteY47" fmla="*/ 794594 h 823468"/>
              <a:gd name="connsiteX48" fmla="*/ 7693019 w 12248682"/>
              <a:gd name="connsiteY48" fmla="*/ 773806 h 823468"/>
              <a:gd name="connsiteX49" fmla="*/ 7713807 w 12248682"/>
              <a:gd name="connsiteY49" fmla="*/ 753017 h 823468"/>
              <a:gd name="connsiteX50" fmla="*/ 7605244 w 12248682"/>
              <a:gd name="connsiteY50" fmla="*/ 753017 h 823468"/>
              <a:gd name="connsiteX51" fmla="*/ 7626031 w 12248682"/>
              <a:gd name="connsiteY51" fmla="*/ 773806 h 823468"/>
              <a:gd name="connsiteX52" fmla="*/ 7605244 w 12248682"/>
              <a:gd name="connsiteY52" fmla="*/ 794594 h 823468"/>
              <a:gd name="connsiteX53" fmla="*/ 7584454 w 12248682"/>
              <a:gd name="connsiteY53" fmla="*/ 773806 h 823468"/>
              <a:gd name="connsiteX54" fmla="*/ 7605244 w 12248682"/>
              <a:gd name="connsiteY54" fmla="*/ 753017 h 823468"/>
              <a:gd name="connsiteX55" fmla="*/ 7466651 w 12248682"/>
              <a:gd name="connsiteY55" fmla="*/ 753017 h 823468"/>
              <a:gd name="connsiteX56" fmla="*/ 7487439 w 12248682"/>
              <a:gd name="connsiteY56" fmla="*/ 773806 h 823468"/>
              <a:gd name="connsiteX57" fmla="*/ 7466651 w 12248682"/>
              <a:gd name="connsiteY57" fmla="*/ 794594 h 823468"/>
              <a:gd name="connsiteX58" fmla="*/ 7445863 w 12248682"/>
              <a:gd name="connsiteY58" fmla="*/ 773806 h 823468"/>
              <a:gd name="connsiteX59" fmla="*/ 7466651 w 12248682"/>
              <a:gd name="connsiteY59" fmla="*/ 753017 h 823468"/>
              <a:gd name="connsiteX60" fmla="*/ 7329213 w 12248682"/>
              <a:gd name="connsiteY60" fmla="*/ 753017 h 823468"/>
              <a:gd name="connsiteX61" fmla="*/ 7350002 w 12248682"/>
              <a:gd name="connsiteY61" fmla="*/ 773806 h 823468"/>
              <a:gd name="connsiteX62" fmla="*/ 7329213 w 12248682"/>
              <a:gd name="connsiteY62" fmla="*/ 794594 h 823468"/>
              <a:gd name="connsiteX63" fmla="*/ 7308425 w 12248682"/>
              <a:gd name="connsiteY63" fmla="*/ 773806 h 823468"/>
              <a:gd name="connsiteX64" fmla="*/ 7329213 w 12248682"/>
              <a:gd name="connsiteY64" fmla="*/ 753017 h 823468"/>
              <a:gd name="connsiteX65" fmla="*/ 7191777 w 12248682"/>
              <a:gd name="connsiteY65" fmla="*/ 753017 h 823468"/>
              <a:gd name="connsiteX66" fmla="*/ 7212566 w 12248682"/>
              <a:gd name="connsiteY66" fmla="*/ 773806 h 823468"/>
              <a:gd name="connsiteX67" fmla="*/ 7191777 w 12248682"/>
              <a:gd name="connsiteY67" fmla="*/ 794594 h 823468"/>
              <a:gd name="connsiteX68" fmla="*/ 7170987 w 12248682"/>
              <a:gd name="connsiteY68" fmla="*/ 773806 h 823468"/>
              <a:gd name="connsiteX69" fmla="*/ 7191777 w 12248682"/>
              <a:gd name="connsiteY69" fmla="*/ 753017 h 823468"/>
              <a:gd name="connsiteX70" fmla="*/ 6040307 w 12248682"/>
              <a:gd name="connsiteY70" fmla="*/ 753017 h 823468"/>
              <a:gd name="connsiteX71" fmla="*/ 6061095 w 12248682"/>
              <a:gd name="connsiteY71" fmla="*/ 773806 h 823468"/>
              <a:gd name="connsiteX72" fmla="*/ 6040307 w 12248682"/>
              <a:gd name="connsiteY72" fmla="*/ 794594 h 823468"/>
              <a:gd name="connsiteX73" fmla="*/ 6019518 w 12248682"/>
              <a:gd name="connsiteY73" fmla="*/ 773806 h 823468"/>
              <a:gd name="connsiteX74" fmla="*/ 6040307 w 12248682"/>
              <a:gd name="connsiteY74" fmla="*/ 753017 h 823468"/>
              <a:gd name="connsiteX75" fmla="*/ 4641682 w 12248682"/>
              <a:gd name="connsiteY75" fmla="*/ 753017 h 823468"/>
              <a:gd name="connsiteX76" fmla="*/ 4662471 w 12248682"/>
              <a:gd name="connsiteY76" fmla="*/ 773806 h 823468"/>
              <a:gd name="connsiteX77" fmla="*/ 4641682 w 12248682"/>
              <a:gd name="connsiteY77" fmla="*/ 794594 h 823468"/>
              <a:gd name="connsiteX78" fmla="*/ 4620893 w 12248682"/>
              <a:gd name="connsiteY78" fmla="*/ 773806 h 823468"/>
              <a:gd name="connsiteX79" fmla="*/ 4641682 w 12248682"/>
              <a:gd name="connsiteY79" fmla="*/ 753017 h 823468"/>
              <a:gd name="connsiteX80" fmla="*/ 3535254 w 12248682"/>
              <a:gd name="connsiteY80" fmla="*/ 753017 h 823468"/>
              <a:gd name="connsiteX81" fmla="*/ 3556043 w 12248682"/>
              <a:gd name="connsiteY81" fmla="*/ 773806 h 823468"/>
              <a:gd name="connsiteX82" fmla="*/ 3535254 w 12248682"/>
              <a:gd name="connsiteY82" fmla="*/ 794594 h 823468"/>
              <a:gd name="connsiteX83" fmla="*/ 3514466 w 12248682"/>
              <a:gd name="connsiteY83" fmla="*/ 773806 h 823468"/>
              <a:gd name="connsiteX84" fmla="*/ 3535254 w 12248682"/>
              <a:gd name="connsiteY84" fmla="*/ 753017 h 823468"/>
              <a:gd name="connsiteX85" fmla="*/ 3396662 w 12248682"/>
              <a:gd name="connsiteY85" fmla="*/ 753017 h 823468"/>
              <a:gd name="connsiteX86" fmla="*/ 3417451 w 12248682"/>
              <a:gd name="connsiteY86" fmla="*/ 773806 h 823468"/>
              <a:gd name="connsiteX87" fmla="*/ 3396662 w 12248682"/>
              <a:gd name="connsiteY87" fmla="*/ 794594 h 823468"/>
              <a:gd name="connsiteX88" fmla="*/ 3375874 w 12248682"/>
              <a:gd name="connsiteY88" fmla="*/ 773806 h 823468"/>
              <a:gd name="connsiteX89" fmla="*/ 3396662 w 12248682"/>
              <a:gd name="connsiteY89" fmla="*/ 753017 h 823468"/>
              <a:gd name="connsiteX90" fmla="*/ 3259224 w 12248682"/>
              <a:gd name="connsiteY90" fmla="*/ 753017 h 823468"/>
              <a:gd name="connsiteX91" fmla="*/ 3280013 w 12248682"/>
              <a:gd name="connsiteY91" fmla="*/ 773806 h 823468"/>
              <a:gd name="connsiteX92" fmla="*/ 3259224 w 12248682"/>
              <a:gd name="connsiteY92" fmla="*/ 794594 h 823468"/>
              <a:gd name="connsiteX93" fmla="*/ 3238436 w 12248682"/>
              <a:gd name="connsiteY93" fmla="*/ 773806 h 823468"/>
              <a:gd name="connsiteX94" fmla="*/ 3259224 w 12248682"/>
              <a:gd name="connsiteY94" fmla="*/ 753017 h 823468"/>
              <a:gd name="connsiteX95" fmla="*/ 3100999 w 12248682"/>
              <a:gd name="connsiteY95" fmla="*/ 753017 h 823468"/>
              <a:gd name="connsiteX96" fmla="*/ 3121789 w 12248682"/>
              <a:gd name="connsiteY96" fmla="*/ 773806 h 823468"/>
              <a:gd name="connsiteX97" fmla="*/ 3100999 w 12248682"/>
              <a:gd name="connsiteY97" fmla="*/ 794594 h 823468"/>
              <a:gd name="connsiteX98" fmla="*/ 3080212 w 12248682"/>
              <a:gd name="connsiteY98" fmla="*/ 773806 h 823468"/>
              <a:gd name="connsiteX99" fmla="*/ 3100999 w 12248682"/>
              <a:gd name="connsiteY99" fmla="*/ 753017 h 823468"/>
              <a:gd name="connsiteX100" fmla="*/ 2992435 w 12248682"/>
              <a:gd name="connsiteY100" fmla="*/ 753017 h 823468"/>
              <a:gd name="connsiteX101" fmla="*/ 3013224 w 12248682"/>
              <a:gd name="connsiteY101" fmla="*/ 773806 h 823468"/>
              <a:gd name="connsiteX102" fmla="*/ 2992435 w 12248682"/>
              <a:gd name="connsiteY102" fmla="*/ 794594 h 823468"/>
              <a:gd name="connsiteX103" fmla="*/ 2971647 w 12248682"/>
              <a:gd name="connsiteY103" fmla="*/ 773806 h 823468"/>
              <a:gd name="connsiteX104" fmla="*/ 2992435 w 12248682"/>
              <a:gd name="connsiteY104" fmla="*/ 753017 h 823468"/>
              <a:gd name="connsiteX105" fmla="*/ 2853843 w 12248682"/>
              <a:gd name="connsiteY105" fmla="*/ 753017 h 823468"/>
              <a:gd name="connsiteX106" fmla="*/ 2874633 w 12248682"/>
              <a:gd name="connsiteY106" fmla="*/ 773806 h 823468"/>
              <a:gd name="connsiteX107" fmla="*/ 2853843 w 12248682"/>
              <a:gd name="connsiteY107" fmla="*/ 794594 h 823468"/>
              <a:gd name="connsiteX108" fmla="*/ 2833056 w 12248682"/>
              <a:gd name="connsiteY108" fmla="*/ 773806 h 823468"/>
              <a:gd name="connsiteX109" fmla="*/ 2853843 w 12248682"/>
              <a:gd name="connsiteY109" fmla="*/ 753017 h 823468"/>
              <a:gd name="connsiteX110" fmla="*/ 2716405 w 12248682"/>
              <a:gd name="connsiteY110" fmla="*/ 753017 h 823468"/>
              <a:gd name="connsiteX111" fmla="*/ 2737195 w 12248682"/>
              <a:gd name="connsiteY111" fmla="*/ 773806 h 823468"/>
              <a:gd name="connsiteX112" fmla="*/ 2716405 w 12248682"/>
              <a:gd name="connsiteY112" fmla="*/ 794594 h 823468"/>
              <a:gd name="connsiteX113" fmla="*/ 2695618 w 12248682"/>
              <a:gd name="connsiteY113" fmla="*/ 773806 h 823468"/>
              <a:gd name="connsiteX114" fmla="*/ 2716405 w 12248682"/>
              <a:gd name="connsiteY114" fmla="*/ 753017 h 823468"/>
              <a:gd name="connsiteX115" fmla="*/ 2578969 w 12248682"/>
              <a:gd name="connsiteY115" fmla="*/ 753017 h 823468"/>
              <a:gd name="connsiteX116" fmla="*/ 2598602 w 12248682"/>
              <a:gd name="connsiteY116" fmla="*/ 773806 h 823468"/>
              <a:gd name="connsiteX117" fmla="*/ 2578969 w 12248682"/>
              <a:gd name="connsiteY117" fmla="*/ 794594 h 823468"/>
              <a:gd name="connsiteX118" fmla="*/ 2558180 w 12248682"/>
              <a:gd name="connsiteY118" fmla="*/ 773806 h 823468"/>
              <a:gd name="connsiteX119" fmla="*/ 2578969 w 12248682"/>
              <a:gd name="connsiteY119" fmla="*/ 753017 h 823468"/>
              <a:gd name="connsiteX120" fmla="*/ 1427499 w 12248682"/>
              <a:gd name="connsiteY120" fmla="*/ 753017 h 823468"/>
              <a:gd name="connsiteX121" fmla="*/ 1448288 w 12248682"/>
              <a:gd name="connsiteY121" fmla="*/ 773806 h 823468"/>
              <a:gd name="connsiteX122" fmla="*/ 1427499 w 12248682"/>
              <a:gd name="connsiteY122" fmla="*/ 794594 h 823468"/>
              <a:gd name="connsiteX123" fmla="*/ 1406710 w 12248682"/>
              <a:gd name="connsiteY123" fmla="*/ 773806 h 823468"/>
              <a:gd name="connsiteX124" fmla="*/ 1427499 w 12248682"/>
              <a:gd name="connsiteY124" fmla="*/ 753017 h 823468"/>
              <a:gd name="connsiteX125" fmla="*/ 28874 w 12248682"/>
              <a:gd name="connsiteY125" fmla="*/ 753017 h 823468"/>
              <a:gd name="connsiteX126" fmla="*/ 49663 w 12248682"/>
              <a:gd name="connsiteY126" fmla="*/ 773806 h 823468"/>
              <a:gd name="connsiteX127" fmla="*/ 28874 w 12248682"/>
              <a:gd name="connsiteY127" fmla="*/ 794594 h 823468"/>
              <a:gd name="connsiteX128" fmla="*/ 8085 w 12248682"/>
              <a:gd name="connsiteY128" fmla="*/ 773806 h 823468"/>
              <a:gd name="connsiteX129" fmla="*/ 28874 w 12248682"/>
              <a:gd name="connsiteY129" fmla="*/ 753017 h 823468"/>
              <a:gd name="connsiteX130" fmla="*/ 11658510 w 12248682"/>
              <a:gd name="connsiteY130" fmla="*/ 750707 h 823468"/>
              <a:gd name="connsiteX131" fmla="*/ 11681609 w 12248682"/>
              <a:gd name="connsiteY131" fmla="*/ 773806 h 823468"/>
              <a:gd name="connsiteX132" fmla="*/ 11658510 w 12248682"/>
              <a:gd name="connsiteY132" fmla="*/ 796904 h 823468"/>
              <a:gd name="connsiteX133" fmla="*/ 11635412 w 12248682"/>
              <a:gd name="connsiteY133" fmla="*/ 773806 h 823468"/>
              <a:gd name="connsiteX134" fmla="*/ 11658510 w 12248682"/>
              <a:gd name="connsiteY134" fmla="*/ 750707 h 823468"/>
              <a:gd name="connsiteX135" fmla="*/ 10508196 w 12248682"/>
              <a:gd name="connsiteY135" fmla="*/ 750707 h 823468"/>
              <a:gd name="connsiteX136" fmla="*/ 10531295 w 12248682"/>
              <a:gd name="connsiteY136" fmla="*/ 773806 h 823468"/>
              <a:gd name="connsiteX137" fmla="*/ 10508196 w 12248682"/>
              <a:gd name="connsiteY137" fmla="*/ 796904 h 823468"/>
              <a:gd name="connsiteX138" fmla="*/ 10485098 w 12248682"/>
              <a:gd name="connsiteY138" fmla="*/ 773806 h 823468"/>
              <a:gd name="connsiteX139" fmla="*/ 10508196 w 12248682"/>
              <a:gd name="connsiteY139" fmla="*/ 750707 h 823468"/>
              <a:gd name="connsiteX140" fmla="*/ 9405233 w 12248682"/>
              <a:gd name="connsiteY140" fmla="*/ 750707 h 823468"/>
              <a:gd name="connsiteX141" fmla="*/ 9428332 w 12248682"/>
              <a:gd name="connsiteY141" fmla="*/ 773806 h 823468"/>
              <a:gd name="connsiteX142" fmla="*/ 9405233 w 12248682"/>
              <a:gd name="connsiteY142" fmla="*/ 796904 h 823468"/>
              <a:gd name="connsiteX143" fmla="*/ 9382135 w 12248682"/>
              <a:gd name="connsiteY143" fmla="*/ 773806 h 823468"/>
              <a:gd name="connsiteX144" fmla="*/ 9405233 w 12248682"/>
              <a:gd name="connsiteY144" fmla="*/ 750707 h 823468"/>
              <a:gd name="connsiteX145" fmla="*/ 8285498 w 12248682"/>
              <a:gd name="connsiteY145" fmla="*/ 750707 h 823468"/>
              <a:gd name="connsiteX146" fmla="*/ 8308598 w 12248682"/>
              <a:gd name="connsiteY146" fmla="*/ 773806 h 823468"/>
              <a:gd name="connsiteX147" fmla="*/ 8285498 w 12248682"/>
              <a:gd name="connsiteY147" fmla="*/ 796904 h 823468"/>
              <a:gd name="connsiteX148" fmla="*/ 8262401 w 12248682"/>
              <a:gd name="connsiteY148" fmla="*/ 773806 h 823468"/>
              <a:gd name="connsiteX149" fmla="*/ 8285498 w 12248682"/>
              <a:gd name="connsiteY149" fmla="*/ 750707 h 823468"/>
              <a:gd name="connsiteX150" fmla="*/ 7053184 w 12248682"/>
              <a:gd name="connsiteY150" fmla="*/ 750707 h 823468"/>
              <a:gd name="connsiteX151" fmla="*/ 7076283 w 12248682"/>
              <a:gd name="connsiteY151" fmla="*/ 773806 h 823468"/>
              <a:gd name="connsiteX152" fmla="*/ 7053184 w 12248682"/>
              <a:gd name="connsiteY152" fmla="*/ 796904 h 823468"/>
              <a:gd name="connsiteX153" fmla="*/ 7030086 w 12248682"/>
              <a:gd name="connsiteY153" fmla="*/ 773806 h 823468"/>
              <a:gd name="connsiteX154" fmla="*/ 7053184 w 12248682"/>
              <a:gd name="connsiteY154" fmla="*/ 750707 h 823468"/>
              <a:gd name="connsiteX155" fmla="*/ 5902869 w 12248682"/>
              <a:gd name="connsiteY155" fmla="*/ 750707 h 823468"/>
              <a:gd name="connsiteX156" fmla="*/ 5925969 w 12248682"/>
              <a:gd name="connsiteY156" fmla="*/ 773806 h 823468"/>
              <a:gd name="connsiteX157" fmla="*/ 5902869 w 12248682"/>
              <a:gd name="connsiteY157" fmla="*/ 796904 h 823468"/>
              <a:gd name="connsiteX158" fmla="*/ 5879771 w 12248682"/>
              <a:gd name="connsiteY158" fmla="*/ 773806 h 823468"/>
              <a:gd name="connsiteX159" fmla="*/ 5902869 w 12248682"/>
              <a:gd name="connsiteY159" fmla="*/ 750707 h 823468"/>
              <a:gd name="connsiteX160" fmla="*/ 4799906 w 12248682"/>
              <a:gd name="connsiteY160" fmla="*/ 750707 h 823468"/>
              <a:gd name="connsiteX161" fmla="*/ 4823006 w 12248682"/>
              <a:gd name="connsiteY161" fmla="*/ 773806 h 823468"/>
              <a:gd name="connsiteX162" fmla="*/ 4799906 w 12248682"/>
              <a:gd name="connsiteY162" fmla="*/ 796904 h 823468"/>
              <a:gd name="connsiteX163" fmla="*/ 4776809 w 12248682"/>
              <a:gd name="connsiteY163" fmla="*/ 773806 h 823468"/>
              <a:gd name="connsiteX164" fmla="*/ 4799906 w 12248682"/>
              <a:gd name="connsiteY164" fmla="*/ 750707 h 823468"/>
              <a:gd name="connsiteX165" fmla="*/ 3672691 w 12248682"/>
              <a:gd name="connsiteY165" fmla="*/ 750707 h 823468"/>
              <a:gd name="connsiteX166" fmla="*/ 3695791 w 12248682"/>
              <a:gd name="connsiteY166" fmla="*/ 773806 h 823468"/>
              <a:gd name="connsiteX167" fmla="*/ 3672691 w 12248682"/>
              <a:gd name="connsiteY167" fmla="*/ 796904 h 823468"/>
              <a:gd name="connsiteX168" fmla="*/ 3649592 w 12248682"/>
              <a:gd name="connsiteY168" fmla="*/ 773806 h 823468"/>
              <a:gd name="connsiteX169" fmla="*/ 3672691 w 12248682"/>
              <a:gd name="connsiteY169" fmla="*/ 750707 h 823468"/>
              <a:gd name="connsiteX170" fmla="*/ 2440377 w 12248682"/>
              <a:gd name="connsiteY170" fmla="*/ 750707 h 823468"/>
              <a:gd name="connsiteX171" fmla="*/ 2463475 w 12248682"/>
              <a:gd name="connsiteY171" fmla="*/ 773806 h 823468"/>
              <a:gd name="connsiteX172" fmla="*/ 2440377 w 12248682"/>
              <a:gd name="connsiteY172" fmla="*/ 796904 h 823468"/>
              <a:gd name="connsiteX173" fmla="*/ 2417278 w 12248682"/>
              <a:gd name="connsiteY173" fmla="*/ 773806 h 823468"/>
              <a:gd name="connsiteX174" fmla="*/ 2440377 w 12248682"/>
              <a:gd name="connsiteY174" fmla="*/ 750707 h 823468"/>
              <a:gd name="connsiteX175" fmla="*/ 1290062 w 12248682"/>
              <a:gd name="connsiteY175" fmla="*/ 750707 h 823468"/>
              <a:gd name="connsiteX176" fmla="*/ 1313161 w 12248682"/>
              <a:gd name="connsiteY176" fmla="*/ 773806 h 823468"/>
              <a:gd name="connsiteX177" fmla="*/ 1290062 w 12248682"/>
              <a:gd name="connsiteY177" fmla="*/ 796904 h 823468"/>
              <a:gd name="connsiteX178" fmla="*/ 1266964 w 12248682"/>
              <a:gd name="connsiteY178" fmla="*/ 773806 h 823468"/>
              <a:gd name="connsiteX179" fmla="*/ 1290062 w 12248682"/>
              <a:gd name="connsiteY179" fmla="*/ 750707 h 823468"/>
              <a:gd name="connsiteX180" fmla="*/ 187100 w 12248682"/>
              <a:gd name="connsiteY180" fmla="*/ 750707 h 823468"/>
              <a:gd name="connsiteX181" fmla="*/ 210198 w 12248682"/>
              <a:gd name="connsiteY181" fmla="*/ 773806 h 823468"/>
              <a:gd name="connsiteX182" fmla="*/ 187100 w 12248682"/>
              <a:gd name="connsiteY182" fmla="*/ 796904 h 823468"/>
              <a:gd name="connsiteX183" fmla="*/ 164001 w 12248682"/>
              <a:gd name="connsiteY183" fmla="*/ 773806 h 823468"/>
              <a:gd name="connsiteX184" fmla="*/ 187100 w 12248682"/>
              <a:gd name="connsiteY184" fmla="*/ 750707 h 823468"/>
              <a:gd name="connsiteX185" fmla="*/ 11521073 w 12248682"/>
              <a:gd name="connsiteY185" fmla="*/ 744933 h 823468"/>
              <a:gd name="connsiteX186" fmla="*/ 11549947 w 12248682"/>
              <a:gd name="connsiteY186" fmla="*/ 773806 h 823468"/>
              <a:gd name="connsiteX187" fmla="*/ 11521073 w 12248682"/>
              <a:gd name="connsiteY187" fmla="*/ 802680 h 823468"/>
              <a:gd name="connsiteX188" fmla="*/ 11492200 w 12248682"/>
              <a:gd name="connsiteY188" fmla="*/ 773806 h 823468"/>
              <a:gd name="connsiteX189" fmla="*/ 11521073 w 12248682"/>
              <a:gd name="connsiteY189" fmla="*/ 744933 h 823468"/>
              <a:gd name="connsiteX190" fmla="*/ 10369604 w 12248682"/>
              <a:gd name="connsiteY190" fmla="*/ 744933 h 823468"/>
              <a:gd name="connsiteX191" fmla="*/ 10398477 w 12248682"/>
              <a:gd name="connsiteY191" fmla="*/ 773806 h 823468"/>
              <a:gd name="connsiteX192" fmla="*/ 10369604 w 12248682"/>
              <a:gd name="connsiteY192" fmla="*/ 802680 h 823468"/>
              <a:gd name="connsiteX193" fmla="*/ 10340730 w 12248682"/>
              <a:gd name="connsiteY193" fmla="*/ 773806 h 823468"/>
              <a:gd name="connsiteX194" fmla="*/ 10369604 w 12248682"/>
              <a:gd name="connsiteY194" fmla="*/ 744933 h 823468"/>
              <a:gd name="connsiteX195" fmla="*/ 9543825 w 12248682"/>
              <a:gd name="connsiteY195" fmla="*/ 744933 h 823468"/>
              <a:gd name="connsiteX196" fmla="*/ 9572699 w 12248682"/>
              <a:gd name="connsiteY196" fmla="*/ 773806 h 823468"/>
              <a:gd name="connsiteX197" fmla="*/ 9543825 w 12248682"/>
              <a:gd name="connsiteY197" fmla="*/ 802680 h 823468"/>
              <a:gd name="connsiteX198" fmla="*/ 9514953 w 12248682"/>
              <a:gd name="connsiteY198" fmla="*/ 773806 h 823468"/>
              <a:gd name="connsiteX199" fmla="*/ 9543825 w 12248682"/>
              <a:gd name="connsiteY199" fmla="*/ 744933 h 823468"/>
              <a:gd name="connsiteX200" fmla="*/ 8422936 w 12248682"/>
              <a:gd name="connsiteY200" fmla="*/ 744933 h 823468"/>
              <a:gd name="connsiteX201" fmla="*/ 8451809 w 12248682"/>
              <a:gd name="connsiteY201" fmla="*/ 773806 h 823468"/>
              <a:gd name="connsiteX202" fmla="*/ 8422936 w 12248682"/>
              <a:gd name="connsiteY202" fmla="*/ 802680 h 823468"/>
              <a:gd name="connsiteX203" fmla="*/ 8394062 w 12248682"/>
              <a:gd name="connsiteY203" fmla="*/ 773806 h 823468"/>
              <a:gd name="connsiteX204" fmla="*/ 8422936 w 12248682"/>
              <a:gd name="connsiteY204" fmla="*/ 744933 h 823468"/>
              <a:gd name="connsiteX205" fmla="*/ 6915746 w 12248682"/>
              <a:gd name="connsiteY205" fmla="*/ 744933 h 823468"/>
              <a:gd name="connsiteX206" fmla="*/ 6944621 w 12248682"/>
              <a:gd name="connsiteY206" fmla="*/ 773806 h 823468"/>
              <a:gd name="connsiteX207" fmla="*/ 6915746 w 12248682"/>
              <a:gd name="connsiteY207" fmla="*/ 802680 h 823468"/>
              <a:gd name="connsiteX208" fmla="*/ 6886873 w 12248682"/>
              <a:gd name="connsiteY208" fmla="*/ 773806 h 823468"/>
              <a:gd name="connsiteX209" fmla="*/ 6915746 w 12248682"/>
              <a:gd name="connsiteY209" fmla="*/ 744933 h 823468"/>
              <a:gd name="connsiteX210" fmla="*/ 5764278 w 12248682"/>
              <a:gd name="connsiteY210" fmla="*/ 744933 h 823468"/>
              <a:gd name="connsiteX211" fmla="*/ 5793151 w 12248682"/>
              <a:gd name="connsiteY211" fmla="*/ 773806 h 823468"/>
              <a:gd name="connsiteX212" fmla="*/ 5764278 w 12248682"/>
              <a:gd name="connsiteY212" fmla="*/ 802680 h 823468"/>
              <a:gd name="connsiteX213" fmla="*/ 5735405 w 12248682"/>
              <a:gd name="connsiteY213" fmla="*/ 773806 h 823468"/>
              <a:gd name="connsiteX214" fmla="*/ 5764278 w 12248682"/>
              <a:gd name="connsiteY214" fmla="*/ 744933 h 823468"/>
              <a:gd name="connsiteX215" fmla="*/ 4938500 w 12248682"/>
              <a:gd name="connsiteY215" fmla="*/ 744933 h 823468"/>
              <a:gd name="connsiteX216" fmla="*/ 4967373 w 12248682"/>
              <a:gd name="connsiteY216" fmla="*/ 773806 h 823468"/>
              <a:gd name="connsiteX217" fmla="*/ 4938500 w 12248682"/>
              <a:gd name="connsiteY217" fmla="*/ 802680 h 823468"/>
              <a:gd name="connsiteX218" fmla="*/ 4909627 w 12248682"/>
              <a:gd name="connsiteY218" fmla="*/ 773806 h 823468"/>
              <a:gd name="connsiteX219" fmla="*/ 4938500 w 12248682"/>
              <a:gd name="connsiteY219" fmla="*/ 744933 h 823468"/>
              <a:gd name="connsiteX220" fmla="*/ 3810129 w 12248682"/>
              <a:gd name="connsiteY220" fmla="*/ 744933 h 823468"/>
              <a:gd name="connsiteX221" fmla="*/ 3839002 w 12248682"/>
              <a:gd name="connsiteY221" fmla="*/ 773806 h 823468"/>
              <a:gd name="connsiteX222" fmla="*/ 3810129 w 12248682"/>
              <a:gd name="connsiteY222" fmla="*/ 802680 h 823468"/>
              <a:gd name="connsiteX223" fmla="*/ 3781255 w 12248682"/>
              <a:gd name="connsiteY223" fmla="*/ 773806 h 823468"/>
              <a:gd name="connsiteX224" fmla="*/ 3810129 w 12248682"/>
              <a:gd name="connsiteY224" fmla="*/ 744933 h 823468"/>
              <a:gd name="connsiteX225" fmla="*/ 2302939 w 12248682"/>
              <a:gd name="connsiteY225" fmla="*/ 744933 h 823468"/>
              <a:gd name="connsiteX226" fmla="*/ 2331813 w 12248682"/>
              <a:gd name="connsiteY226" fmla="*/ 773806 h 823468"/>
              <a:gd name="connsiteX227" fmla="*/ 2302939 w 12248682"/>
              <a:gd name="connsiteY227" fmla="*/ 802680 h 823468"/>
              <a:gd name="connsiteX228" fmla="*/ 2274067 w 12248682"/>
              <a:gd name="connsiteY228" fmla="*/ 773806 h 823468"/>
              <a:gd name="connsiteX229" fmla="*/ 2302939 w 12248682"/>
              <a:gd name="connsiteY229" fmla="*/ 744933 h 823468"/>
              <a:gd name="connsiteX230" fmla="*/ 1151470 w 12248682"/>
              <a:gd name="connsiteY230" fmla="*/ 744933 h 823468"/>
              <a:gd name="connsiteX231" fmla="*/ 1180343 w 12248682"/>
              <a:gd name="connsiteY231" fmla="*/ 773806 h 823468"/>
              <a:gd name="connsiteX232" fmla="*/ 1151470 w 12248682"/>
              <a:gd name="connsiteY232" fmla="*/ 802680 h 823468"/>
              <a:gd name="connsiteX233" fmla="*/ 1122596 w 12248682"/>
              <a:gd name="connsiteY233" fmla="*/ 773806 h 823468"/>
              <a:gd name="connsiteX234" fmla="*/ 1151470 w 12248682"/>
              <a:gd name="connsiteY234" fmla="*/ 744933 h 823468"/>
              <a:gd name="connsiteX235" fmla="*/ 325692 w 12248682"/>
              <a:gd name="connsiteY235" fmla="*/ 744933 h 823468"/>
              <a:gd name="connsiteX236" fmla="*/ 354566 w 12248682"/>
              <a:gd name="connsiteY236" fmla="*/ 773806 h 823468"/>
              <a:gd name="connsiteX237" fmla="*/ 325692 w 12248682"/>
              <a:gd name="connsiteY237" fmla="*/ 802680 h 823468"/>
              <a:gd name="connsiteX238" fmla="*/ 296819 w 12248682"/>
              <a:gd name="connsiteY238" fmla="*/ 773806 h 823468"/>
              <a:gd name="connsiteX239" fmla="*/ 325692 w 12248682"/>
              <a:gd name="connsiteY239" fmla="*/ 744933 h 823468"/>
              <a:gd name="connsiteX240" fmla="*/ 11383636 w 12248682"/>
              <a:gd name="connsiteY240" fmla="*/ 739158 h 823468"/>
              <a:gd name="connsiteX241" fmla="*/ 11418284 w 12248682"/>
              <a:gd name="connsiteY241" fmla="*/ 773806 h 823468"/>
              <a:gd name="connsiteX242" fmla="*/ 11383636 w 12248682"/>
              <a:gd name="connsiteY242" fmla="*/ 808454 h 823468"/>
              <a:gd name="connsiteX243" fmla="*/ 11348988 w 12248682"/>
              <a:gd name="connsiteY243" fmla="*/ 773806 h 823468"/>
              <a:gd name="connsiteX244" fmla="*/ 11383636 w 12248682"/>
              <a:gd name="connsiteY244" fmla="*/ 739158 h 823468"/>
              <a:gd name="connsiteX245" fmla="*/ 10811943 w 12248682"/>
              <a:gd name="connsiteY245" fmla="*/ 739158 h 823468"/>
              <a:gd name="connsiteX246" fmla="*/ 10846591 w 12248682"/>
              <a:gd name="connsiteY246" fmla="*/ 773806 h 823468"/>
              <a:gd name="connsiteX247" fmla="*/ 10811943 w 12248682"/>
              <a:gd name="connsiteY247" fmla="*/ 808454 h 823468"/>
              <a:gd name="connsiteX248" fmla="*/ 10777295 w 12248682"/>
              <a:gd name="connsiteY248" fmla="*/ 773806 h 823468"/>
              <a:gd name="connsiteX249" fmla="*/ 10811943 w 12248682"/>
              <a:gd name="connsiteY249" fmla="*/ 739158 h 823468"/>
              <a:gd name="connsiteX250" fmla="*/ 10232166 w 12248682"/>
              <a:gd name="connsiteY250" fmla="*/ 739158 h 823468"/>
              <a:gd name="connsiteX251" fmla="*/ 10266814 w 12248682"/>
              <a:gd name="connsiteY251" fmla="*/ 773806 h 823468"/>
              <a:gd name="connsiteX252" fmla="*/ 10232166 w 12248682"/>
              <a:gd name="connsiteY252" fmla="*/ 808454 h 823468"/>
              <a:gd name="connsiteX253" fmla="*/ 10197518 w 12248682"/>
              <a:gd name="connsiteY253" fmla="*/ 773806 h 823468"/>
              <a:gd name="connsiteX254" fmla="*/ 10232166 w 12248682"/>
              <a:gd name="connsiteY254" fmla="*/ 739158 h 823468"/>
              <a:gd name="connsiteX255" fmla="*/ 9681263 w 12248682"/>
              <a:gd name="connsiteY255" fmla="*/ 739158 h 823468"/>
              <a:gd name="connsiteX256" fmla="*/ 9715911 w 12248682"/>
              <a:gd name="connsiteY256" fmla="*/ 773806 h 823468"/>
              <a:gd name="connsiteX257" fmla="*/ 9681263 w 12248682"/>
              <a:gd name="connsiteY257" fmla="*/ 808454 h 823468"/>
              <a:gd name="connsiteX258" fmla="*/ 9646615 w 12248682"/>
              <a:gd name="connsiteY258" fmla="*/ 773806 h 823468"/>
              <a:gd name="connsiteX259" fmla="*/ 9681263 w 12248682"/>
              <a:gd name="connsiteY259" fmla="*/ 739158 h 823468"/>
              <a:gd name="connsiteX260" fmla="*/ 9112431 w 12248682"/>
              <a:gd name="connsiteY260" fmla="*/ 739158 h 823468"/>
              <a:gd name="connsiteX261" fmla="*/ 9147079 w 12248682"/>
              <a:gd name="connsiteY261" fmla="*/ 773806 h 823468"/>
              <a:gd name="connsiteX262" fmla="*/ 9112431 w 12248682"/>
              <a:gd name="connsiteY262" fmla="*/ 808454 h 823468"/>
              <a:gd name="connsiteX263" fmla="*/ 9077783 w 12248682"/>
              <a:gd name="connsiteY263" fmla="*/ 773806 h 823468"/>
              <a:gd name="connsiteX264" fmla="*/ 9112431 w 12248682"/>
              <a:gd name="connsiteY264" fmla="*/ 739158 h 823468"/>
              <a:gd name="connsiteX265" fmla="*/ 8561528 w 12248682"/>
              <a:gd name="connsiteY265" fmla="*/ 739158 h 823468"/>
              <a:gd name="connsiteX266" fmla="*/ 8596176 w 12248682"/>
              <a:gd name="connsiteY266" fmla="*/ 773806 h 823468"/>
              <a:gd name="connsiteX267" fmla="*/ 8561528 w 12248682"/>
              <a:gd name="connsiteY267" fmla="*/ 808454 h 823468"/>
              <a:gd name="connsiteX268" fmla="*/ 8526880 w 12248682"/>
              <a:gd name="connsiteY268" fmla="*/ 773806 h 823468"/>
              <a:gd name="connsiteX269" fmla="*/ 8561528 w 12248682"/>
              <a:gd name="connsiteY269" fmla="*/ 739158 h 823468"/>
              <a:gd name="connsiteX270" fmla="*/ 6778310 w 12248682"/>
              <a:gd name="connsiteY270" fmla="*/ 739158 h 823468"/>
              <a:gd name="connsiteX271" fmla="*/ 6812959 w 12248682"/>
              <a:gd name="connsiteY271" fmla="*/ 773806 h 823468"/>
              <a:gd name="connsiteX272" fmla="*/ 6778310 w 12248682"/>
              <a:gd name="connsiteY272" fmla="*/ 808454 h 823468"/>
              <a:gd name="connsiteX273" fmla="*/ 6743662 w 12248682"/>
              <a:gd name="connsiteY273" fmla="*/ 773806 h 823468"/>
              <a:gd name="connsiteX274" fmla="*/ 6778310 w 12248682"/>
              <a:gd name="connsiteY274" fmla="*/ 739158 h 823468"/>
              <a:gd name="connsiteX275" fmla="*/ 6206618 w 12248682"/>
              <a:gd name="connsiteY275" fmla="*/ 739158 h 823468"/>
              <a:gd name="connsiteX276" fmla="*/ 6241265 w 12248682"/>
              <a:gd name="connsiteY276" fmla="*/ 773806 h 823468"/>
              <a:gd name="connsiteX277" fmla="*/ 6206618 w 12248682"/>
              <a:gd name="connsiteY277" fmla="*/ 808454 h 823468"/>
              <a:gd name="connsiteX278" fmla="*/ 6171969 w 12248682"/>
              <a:gd name="connsiteY278" fmla="*/ 773806 h 823468"/>
              <a:gd name="connsiteX279" fmla="*/ 6206618 w 12248682"/>
              <a:gd name="connsiteY279" fmla="*/ 739158 h 823468"/>
              <a:gd name="connsiteX280" fmla="*/ 5626840 w 12248682"/>
              <a:gd name="connsiteY280" fmla="*/ 739158 h 823468"/>
              <a:gd name="connsiteX281" fmla="*/ 5661488 w 12248682"/>
              <a:gd name="connsiteY281" fmla="*/ 773806 h 823468"/>
              <a:gd name="connsiteX282" fmla="*/ 5626840 w 12248682"/>
              <a:gd name="connsiteY282" fmla="*/ 808454 h 823468"/>
              <a:gd name="connsiteX283" fmla="*/ 5592192 w 12248682"/>
              <a:gd name="connsiteY283" fmla="*/ 773806 h 823468"/>
              <a:gd name="connsiteX284" fmla="*/ 5626840 w 12248682"/>
              <a:gd name="connsiteY284" fmla="*/ 739158 h 823468"/>
              <a:gd name="connsiteX285" fmla="*/ 5075938 w 12248682"/>
              <a:gd name="connsiteY285" fmla="*/ 739158 h 823468"/>
              <a:gd name="connsiteX286" fmla="*/ 5110584 w 12248682"/>
              <a:gd name="connsiteY286" fmla="*/ 773806 h 823468"/>
              <a:gd name="connsiteX287" fmla="*/ 5075938 w 12248682"/>
              <a:gd name="connsiteY287" fmla="*/ 808454 h 823468"/>
              <a:gd name="connsiteX288" fmla="*/ 5041289 w 12248682"/>
              <a:gd name="connsiteY288" fmla="*/ 773806 h 823468"/>
              <a:gd name="connsiteX289" fmla="*/ 5075938 w 12248682"/>
              <a:gd name="connsiteY289" fmla="*/ 739158 h 823468"/>
              <a:gd name="connsiteX290" fmla="*/ 4499625 w 12248682"/>
              <a:gd name="connsiteY290" fmla="*/ 739158 h 823468"/>
              <a:gd name="connsiteX291" fmla="*/ 4534273 w 12248682"/>
              <a:gd name="connsiteY291" fmla="*/ 773806 h 823468"/>
              <a:gd name="connsiteX292" fmla="*/ 4499625 w 12248682"/>
              <a:gd name="connsiteY292" fmla="*/ 808454 h 823468"/>
              <a:gd name="connsiteX293" fmla="*/ 4464976 w 12248682"/>
              <a:gd name="connsiteY293" fmla="*/ 773806 h 823468"/>
              <a:gd name="connsiteX294" fmla="*/ 4499625 w 12248682"/>
              <a:gd name="connsiteY294" fmla="*/ 739158 h 823468"/>
              <a:gd name="connsiteX295" fmla="*/ 3948721 w 12248682"/>
              <a:gd name="connsiteY295" fmla="*/ 739158 h 823468"/>
              <a:gd name="connsiteX296" fmla="*/ 3983369 w 12248682"/>
              <a:gd name="connsiteY296" fmla="*/ 773806 h 823468"/>
              <a:gd name="connsiteX297" fmla="*/ 3948721 w 12248682"/>
              <a:gd name="connsiteY297" fmla="*/ 808454 h 823468"/>
              <a:gd name="connsiteX298" fmla="*/ 3914073 w 12248682"/>
              <a:gd name="connsiteY298" fmla="*/ 773806 h 823468"/>
              <a:gd name="connsiteX299" fmla="*/ 3948721 w 12248682"/>
              <a:gd name="connsiteY299" fmla="*/ 739158 h 823468"/>
              <a:gd name="connsiteX300" fmla="*/ 2165502 w 12248682"/>
              <a:gd name="connsiteY300" fmla="*/ 739158 h 823468"/>
              <a:gd name="connsiteX301" fmla="*/ 2200150 w 12248682"/>
              <a:gd name="connsiteY301" fmla="*/ 773806 h 823468"/>
              <a:gd name="connsiteX302" fmla="*/ 2165502 w 12248682"/>
              <a:gd name="connsiteY302" fmla="*/ 808454 h 823468"/>
              <a:gd name="connsiteX303" fmla="*/ 2130854 w 12248682"/>
              <a:gd name="connsiteY303" fmla="*/ 773806 h 823468"/>
              <a:gd name="connsiteX304" fmla="*/ 2165502 w 12248682"/>
              <a:gd name="connsiteY304" fmla="*/ 739158 h 823468"/>
              <a:gd name="connsiteX305" fmla="*/ 1593810 w 12248682"/>
              <a:gd name="connsiteY305" fmla="*/ 739158 h 823468"/>
              <a:gd name="connsiteX306" fmla="*/ 1628457 w 12248682"/>
              <a:gd name="connsiteY306" fmla="*/ 773806 h 823468"/>
              <a:gd name="connsiteX307" fmla="*/ 1593810 w 12248682"/>
              <a:gd name="connsiteY307" fmla="*/ 808454 h 823468"/>
              <a:gd name="connsiteX308" fmla="*/ 1559161 w 12248682"/>
              <a:gd name="connsiteY308" fmla="*/ 773806 h 823468"/>
              <a:gd name="connsiteX309" fmla="*/ 1593810 w 12248682"/>
              <a:gd name="connsiteY309" fmla="*/ 739158 h 823468"/>
              <a:gd name="connsiteX310" fmla="*/ 1014032 w 12248682"/>
              <a:gd name="connsiteY310" fmla="*/ 739158 h 823468"/>
              <a:gd name="connsiteX311" fmla="*/ 1048681 w 12248682"/>
              <a:gd name="connsiteY311" fmla="*/ 773806 h 823468"/>
              <a:gd name="connsiteX312" fmla="*/ 1014032 w 12248682"/>
              <a:gd name="connsiteY312" fmla="*/ 808454 h 823468"/>
              <a:gd name="connsiteX313" fmla="*/ 979384 w 12248682"/>
              <a:gd name="connsiteY313" fmla="*/ 773806 h 823468"/>
              <a:gd name="connsiteX314" fmla="*/ 1014032 w 12248682"/>
              <a:gd name="connsiteY314" fmla="*/ 739158 h 823468"/>
              <a:gd name="connsiteX315" fmla="*/ 463129 w 12248682"/>
              <a:gd name="connsiteY315" fmla="*/ 739158 h 823468"/>
              <a:gd name="connsiteX316" fmla="*/ 497778 w 12248682"/>
              <a:gd name="connsiteY316" fmla="*/ 773806 h 823468"/>
              <a:gd name="connsiteX317" fmla="*/ 463129 w 12248682"/>
              <a:gd name="connsiteY317" fmla="*/ 808454 h 823468"/>
              <a:gd name="connsiteX318" fmla="*/ 428481 w 12248682"/>
              <a:gd name="connsiteY318" fmla="*/ 773806 h 823468"/>
              <a:gd name="connsiteX319" fmla="*/ 463129 w 12248682"/>
              <a:gd name="connsiteY319" fmla="*/ 739158 h 823468"/>
              <a:gd name="connsiteX320" fmla="*/ 11245044 w 12248682"/>
              <a:gd name="connsiteY320" fmla="*/ 733384 h 823468"/>
              <a:gd name="connsiteX321" fmla="*/ 11285466 w 12248682"/>
              <a:gd name="connsiteY321" fmla="*/ 773806 h 823468"/>
              <a:gd name="connsiteX322" fmla="*/ 11245044 w 12248682"/>
              <a:gd name="connsiteY322" fmla="*/ 814229 h 823468"/>
              <a:gd name="connsiteX323" fmla="*/ 11204621 w 12248682"/>
              <a:gd name="connsiteY323" fmla="*/ 773806 h 823468"/>
              <a:gd name="connsiteX324" fmla="*/ 11245044 w 12248682"/>
              <a:gd name="connsiteY324" fmla="*/ 733384 h 823468"/>
              <a:gd name="connsiteX325" fmla="*/ 10970170 w 12248682"/>
              <a:gd name="connsiteY325" fmla="*/ 733384 h 823468"/>
              <a:gd name="connsiteX326" fmla="*/ 11010592 w 12248682"/>
              <a:gd name="connsiteY326" fmla="*/ 773806 h 823468"/>
              <a:gd name="connsiteX327" fmla="*/ 10970170 w 12248682"/>
              <a:gd name="connsiteY327" fmla="*/ 814229 h 823468"/>
              <a:gd name="connsiteX328" fmla="*/ 10929746 w 12248682"/>
              <a:gd name="connsiteY328" fmla="*/ 773806 h 823468"/>
              <a:gd name="connsiteX329" fmla="*/ 10970170 w 12248682"/>
              <a:gd name="connsiteY329" fmla="*/ 733384 h 823468"/>
              <a:gd name="connsiteX330" fmla="*/ 10094730 w 12248682"/>
              <a:gd name="connsiteY330" fmla="*/ 733384 h 823468"/>
              <a:gd name="connsiteX331" fmla="*/ 10135152 w 12248682"/>
              <a:gd name="connsiteY331" fmla="*/ 773806 h 823468"/>
              <a:gd name="connsiteX332" fmla="*/ 10094730 w 12248682"/>
              <a:gd name="connsiteY332" fmla="*/ 814229 h 823468"/>
              <a:gd name="connsiteX333" fmla="*/ 10054306 w 12248682"/>
              <a:gd name="connsiteY333" fmla="*/ 773806 h 823468"/>
              <a:gd name="connsiteX334" fmla="*/ 10094730 w 12248682"/>
              <a:gd name="connsiteY334" fmla="*/ 733384 h 823468"/>
              <a:gd name="connsiteX335" fmla="*/ 9818700 w 12248682"/>
              <a:gd name="connsiteY335" fmla="*/ 733384 h 823468"/>
              <a:gd name="connsiteX336" fmla="*/ 9859123 w 12248682"/>
              <a:gd name="connsiteY336" fmla="*/ 773806 h 823468"/>
              <a:gd name="connsiteX337" fmla="*/ 9818700 w 12248682"/>
              <a:gd name="connsiteY337" fmla="*/ 814229 h 823468"/>
              <a:gd name="connsiteX338" fmla="*/ 9778278 w 12248682"/>
              <a:gd name="connsiteY338" fmla="*/ 773806 h 823468"/>
              <a:gd name="connsiteX339" fmla="*/ 9818700 w 12248682"/>
              <a:gd name="connsiteY339" fmla="*/ 733384 h 823468"/>
              <a:gd name="connsiteX340" fmla="*/ 8974994 w 12248682"/>
              <a:gd name="connsiteY340" fmla="*/ 733384 h 823468"/>
              <a:gd name="connsiteX341" fmla="*/ 9015416 w 12248682"/>
              <a:gd name="connsiteY341" fmla="*/ 773806 h 823468"/>
              <a:gd name="connsiteX342" fmla="*/ 8974994 w 12248682"/>
              <a:gd name="connsiteY342" fmla="*/ 814229 h 823468"/>
              <a:gd name="connsiteX343" fmla="*/ 8934571 w 12248682"/>
              <a:gd name="connsiteY343" fmla="*/ 773806 h 823468"/>
              <a:gd name="connsiteX344" fmla="*/ 8974994 w 12248682"/>
              <a:gd name="connsiteY344" fmla="*/ 733384 h 823468"/>
              <a:gd name="connsiteX345" fmla="*/ 8698965 w 12248682"/>
              <a:gd name="connsiteY345" fmla="*/ 733384 h 823468"/>
              <a:gd name="connsiteX346" fmla="*/ 8739388 w 12248682"/>
              <a:gd name="connsiteY346" fmla="*/ 773806 h 823468"/>
              <a:gd name="connsiteX347" fmla="*/ 8698965 w 12248682"/>
              <a:gd name="connsiteY347" fmla="*/ 814229 h 823468"/>
              <a:gd name="connsiteX348" fmla="*/ 8658542 w 12248682"/>
              <a:gd name="connsiteY348" fmla="*/ 773806 h 823468"/>
              <a:gd name="connsiteX349" fmla="*/ 8698965 w 12248682"/>
              <a:gd name="connsiteY349" fmla="*/ 733384 h 823468"/>
              <a:gd name="connsiteX350" fmla="*/ 6639717 w 12248682"/>
              <a:gd name="connsiteY350" fmla="*/ 733384 h 823468"/>
              <a:gd name="connsiteX351" fmla="*/ 6680139 w 12248682"/>
              <a:gd name="connsiteY351" fmla="*/ 773806 h 823468"/>
              <a:gd name="connsiteX352" fmla="*/ 6639717 w 12248682"/>
              <a:gd name="connsiteY352" fmla="*/ 814229 h 823468"/>
              <a:gd name="connsiteX353" fmla="*/ 6599295 w 12248682"/>
              <a:gd name="connsiteY353" fmla="*/ 773806 h 823468"/>
              <a:gd name="connsiteX354" fmla="*/ 6639717 w 12248682"/>
              <a:gd name="connsiteY354" fmla="*/ 733384 h 823468"/>
              <a:gd name="connsiteX355" fmla="*/ 6364844 w 12248682"/>
              <a:gd name="connsiteY355" fmla="*/ 733384 h 823468"/>
              <a:gd name="connsiteX356" fmla="*/ 6405265 w 12248682"/>
              <a:gd name="connsiteY356" fmla="*/ 773806 h 823468"/>
              <a:gd name="connsiteX357" fmla="*/ 6364844 w 12248682"/>
              <a:gd name="connsiteY357" fmla="*/ 814229 h 823468"/>
              <a:gd name="connsiteX358" fmla="*/ 6324420 w 12248682"/>
              <a:gd name="connsiteY358" fmla="*/ 773806 h 823468"/>
              <a:gd name="connsiteX359" fmla="*/ 6364844 w 12248682"/>
              <a:gd name="connsiteY359" fmla="*/ 733384 h 823468"/>
              <a:gd name="connsiteX360" fmla="*/ 5489404 w 12248682"/>
              <a:gd name="connsiteY360" fmla="*/ 733384 h 823468"/>
              <a:gd name="connsiteX361" fmla="*/ 5529826 w 12248682"/>
              <a:gd name="connsiteY361" fmla="*/ 773806 h 823468"/>
              <a:gd name="connsiteX362" fmla="*/ 5489404 w 12248682"/>
              <a:gd name="connsiteY362" fmla="*/ 814229 h 823468"/>
              <a:gd name="connsiteX363" fmla="*/ 5448980 w 12248682"/>
              <a:gd name="connsiteY363" fmla="*/ 773806 h 823468"/>
              <a:gd name="connsiteX364" fmla="*/ 5489404 w 12248682"/>
              <a:gd name="connsiteY364" fmla="*/ 733384 h 823468"/>
              <a:gd name="connsiteX365" fmla="*/ 5213373 w 12248682"/>
              <a:gd name="connsiteY365" fmla="*/ 733384 h 823468"/>
              <a:gd name="connsiteX366" fmla="*/ 5253797 w 12248682"/>
              <a:gd name="connsiteY366" fmla="*/ 773806 h 823468"/>
              <a:gd name="connsiteX367" fmla="*/ 5213373 w 12248682"/>
              <a:gd name="connsiteY367" fmla="*/ 814229 h 823468"/>
              <a:gd name="connsiteX368" fmla="*/ 5172952 w 12248682"/>
              <a:gd name="connsiteY368" fmla="*/ 773806 h 823468"/>
              <a:gd name="connsiteX369" fmla="*/ 5213373 w 12248682"/>
              <a:gd name="connsiteY369" fmla="*/ 733384 h 823468"/>
              <a:gd name="connsiteX370" fmla="*/ 4361031 w 12248682"/>
              <a:gd name="connsiteY370" fmla="*/ 733384 h 823468"/>
              <a:gd name="connsiteX371" fmla="*/ 4401455 w 12248682"/>
              <a:gd name="connsiteY371" fmla="*/ 773806 h 823468"/>
              <a:gd name="connsiteX372" fmla="*/ 4361031 w 12248682"/>
              <a:gd name="connsiteY372" fmla="*/ 814229 h 823468"/>
              <a:gd name="connsiteX373" fmla="*/ 4320610 w 12248682"/>
              <a:gd name="connsiteY373" fmla="*/ 773806 h 823468"/>
              <a:gd name="connsiteX374" fmla="*/ 4361031 w 12248682"/>
              <a:gd name="connsiteY374" fmla="*/ 733384 h 823468"/>
              <a:gd name="connsiteX375" fmla="*/ 4086158 w 12248682"/>
              <a:gd name="connsiteY375" fmla="*/ 733384 h 823468"/>
              <a:gd name="connsiteX376" fmla="*/ 4126582 w 12248682"/>
              <a:gd name="connsiteY376" fmla="*/ 773806 h 823468"/>
              <a:gd name="connsiteX377" fmla="*/ 4086158 w 12248682"/>
              <a:gd name="connsiteY377" fmla="*/ 814229 h 823468"/>
              <a:gd name="connsiteX378" fmla="*/ 4045735 w 12248682"/>
              <a:gd name="connsiteY378" fmla="*/ 773806 h 823468"/>
              <a:gd name="connsiteX379" fmla="*/ 4086158 w 12248682"/>
              <a:gd name="connsiteY379" fmla="*/ 733384 h 823468"/>
              <a:gd name="connsiteX380" fmla="*/ 2026910 w 12248682"/>
              <a:gd name="connsiteY380" fmla="*/ 733384 h 823468"/>
              <a:gd name="connsiteX381" fmla="*/ 2067332 w 12248682"/>
              <a:gd name="connsiteY381" fmla="*/ 773806 h 823468"/>
              <a:gd name="connsiteX382" fmla="*/ 2026910 w 12248682"/>
              <a:gd name="connsiteY382" fmla="*/ 814229 h 823468"/>
              <a:gd name="connsiteX383" fmla="*/ 1986487 w 12248682"/>
              <a:gd name="connsiteY383" fmla="*/ 773806 h 823468"/>
              <a:gd name="connsiteX384" fmla="*/ 2026910 w 12248682"/>
              <a:gd name="connsiteY384" fmla="*/ 733384 h 823468"/>
              <a:gd name="connsiteX385" fmla="*/ 1752036 w 12248682"/>
              <a:gd name="connsiteY385" fmla="*/ 733384 h 823468"/>
              <a:gd name="connsiteX386" fmla="*/ 1792458 w 12248682"/>
              <a:gd name="connsiteY386" fmla="*/ 773806 h 823468"/>
              <a:gd name="connsiteX387" fmla="*/ 1752036 w 12248682"/>
              <a:gd name="connsiteY387" fmla="*/ 814229 h 823468"/>
              <a:gd name="connsiteX388" fmla="*/ 1711613 w 12248682"/>
              <a:gd name="connsiteY388" fmla="*/ 773806 h 823468"/>
              <a:gd name="connsiteX389" fmla="*/ 1752036 w 12248682"/>
              <a:gd name="connsiteY389" fmla="*/ 733384 h 823468"/>
              <a:gd name="connsiteX390" fmla="*/ 876596 w 12248682"/>
              <a:gd name="connsiteY390" fmla="*/ 733384 h 823468"/>
              <a:gd name="connsiteX391" fmla="*/ 917018 w 12248682"/>
              <a:gd name="connsiteY391" fmla="*/ 773806 h 823468"/>
              <a:gd name="connsiteX392" fmla="*/ 876596 w 12248682"/>
              <a:gd name="connsiteY392" fmla="*/ 814229 h 823468"/>
              <a:gd name="connsiteX393" fmla="*/ 836172 w 12248682"/>
              <a:gd name="connsiteY393" fmla="*/ 773806 h 823468"/>
              <a:gd name="connsiteX394" fmla="*/ 876596 w 12248682"/>
              <a:gd name="connsiteY394" fmla="*/ 733384 h 823468"/>
              <a:gd name="connsiteX395" fmla="*/ 600566 w 12248682"/>
              <a:gd name="connsiteY395" fmla="*/ 733384 h 823468"/>
              <a:gd name="connsiteX396" fmla="*/ 640989 w 12248682"/>
              <a:gd name="connsiteY396" fmla="*/ 773806 h 823468"/>
              <a:gd name="connsiteX397" fmla="*/ 600566 w 12248682"/>
              <a:gd name="connsiteY397" fmla="*/ 814229 h 823468"/>
              <a:gd name="connsiteX398" fmla="*/ 560144 w 12248682"/>
              <a:gd name="connsiteY398" fmla="*/ 773806 h 823468"/>
              <a:gd name="connsiteX399" fmla="*/ 600566 w 12248682"/>
              <a:gd name="connsiteY399" fmla="*/ 733384 h 823468"/>
              <a:gd name="connsiteX400" fmla="*/ 11107606 w 12248682"/>
              <a:gd name="connsiteY400" fmla="*/ 721834 h 823468"/>
              <a:gd name="connsiteX401" fmla="*/ 11158424 w 12248682"/>
              <a:gd name="connsiteY401" fmla="*/ 772651 h 823468"/>
              <a:gd name="connsiteX402" fmla="*/ 11107606 w 12248682"/>
              <a:gd name="connsiteY402" fmla="*/ 823468 h 823468"/>
              <a:gd name="connsiteX403" fmla="*/ 11056789 w 12248682"/>
              <a:gd name="connsiteY403" fmla="*/ 772651 h 823468"/>
              <a:gd name="connsiteX404" fmla="*/ 11107606 w 12248682"/>
              <a:gd name="connsiteY404" fmla="*/ 721834 h 823468"/>
              <a:gd name="connsiteX405" fmla="*/ 9957292 w 12248682"/>
              <a:gd name="connsiteY405" fmla="*/ 721834 h 823468"/>
              <a:gd name="connsiteX406" fmla="*/ 10008109 w 12248682"/>
              <a:gd name="connsiteY406" fmla="*/ 772651 h 823468"/>
              <a:gd name="connsiteX407" fmla="*/ 9957292 w 12248682"/>
              <a:gd name="connsiteY407" fmla="*/ 823468 h 823468"/>
              <a:gd name="connsiteX408" fmla="*/ 9906475 w 12248682"/>
              <a:gd name="connsiteY408" fmla="*/ 772651 h 823468"/>
              <a:gd name="connsiteX409" fmla="*/ 9957292 w 12248682"/>
              <a:gd name="connsiteY409" fmla="*/ 721834 h 823468"/>
              <a:gd name="connsiteX410" fmla="*/ 8836402 w 12248682"/>
              <a:gd name="connsiteY410" fmla="*/ 721834 h 823468"/>
              <a:gd name="connsiteX411" fmla="*/ 8887219 w 12248682"/>
              <a:gd name="connsiteY411" fmla="*/ 772651 h 823468"/>
              <a:gd name="connsiteX412" fmla="*/ 8836402 w 12248682"/>
              <a:gd name="connsiteY412" fmla="*/ 823468 h 823468"/>
              <a:gd name="connsiteX413" fmla="*/ 8785585 w 12248682"/>
              <a:gd name="connsiteY413" fmla="*/ 772651 h 823468"/>
              <a:gd name="connsiteX414" fmla="*/ 8836402 w 12248682"/>
              <a:gd name="connsiteY414" fmla="*/ 721834 h 823468"/>
              <a:gd name="connsiteX415" fmla="*/ 6502281 w 12248682"/>
              <a:gd name="connsiteY415" fmla="*/ 721834 h 823468"/>
              <a:gd name="connsiteX416" fmla="*/ 6553098 w 12248682"/>
              <a:gd name="connsiteY416" fmla="*/ 772651 h 823468"/>
              <a:gd name="connsiteX417" fmla="*/ 6502281 w 12248682"/>
              <a:gd name="connsiteY417" fmla="*/ 823468 h 823468"/>
              <a:gd name="connsiteX418" fmla="*/ 6451462 w 12248682"/>
              <a:gd name="connsiteY418" fmla="*/ 772651 h 823468"/>
              <a:gd name="connsiteX419" fmla="*/ 6502281 w 12248682"/>
              <a:gd name="connsiteY419" fmla="*/ 721834 h 823468"/>
              <a:gd name="connsiteX420" fmla="*/ 5351966 w 12248682"/>
              <a:gd name="connsiteY420" fmla="*/ 721834 h 823468"/>
              <a:gd name="connsiteX421" fmla="*/ 5402784 w 12248682"/>
              <a:gd name="connsiteY421" fmla="*/ 772651 h 823468"/>
              <a:gd name="connsiteX422" fmla="*/ 5351966 w 12248682"/>
              <a:gd name="connsiteY422" fmla="*/ 823468 h 823468"/>
              <a:gd name="connsiteX423" fmla="*/ 5301149 w 12248682"/>
              <a:gd name="connsiteY423" fmla="*/ 772651 h 823468"/>
              <a:gd name="connsiteX424" fmla="*/ 5351966 w 12248682"/>
              <a:gd name="connsiteY424" fmla="*/ 721834 h 823468"/>
              <a:gd name="connsiteX425" fmla="*/ 4223596 w 12248682"/>
              <a:gd name="connsiteY425" fmla="*/ 721834 h 823468"/>
              <a:gd name="connsiteX426" fmla="*/ 4274413 w 12248682"/>
              <a:gd name="connsiteY426" fmla="*/ 772651 h 823468"/>
              <a:gd name="connsiteX427" fmla="*/ 4223596 w 12248682"/>
              <a:gd name="connsiteY427" fmla="*/ 823468 h 823468"/>
              <a:gd name="connsiteX428" fmla="*/ 4172779 w 12248682"/>
              <a:gd name="connsiteY428" fmla="*/ 772651 h 823468"/>
              <a:gd name="connsiteX429" fmla="*/ 4223596 w 12248682"/>
              <a:gd name="connsiteY429" fmla="*/ 721834 h 823468"/>
              <a:gd name="connsiteX430" fmla="*/ 1889473 w 12248682"/>
              <a:gd name="connsiteY430" fmla="*/ 721834 h 823468"/>
              <a:gd name="connsiteX431" fmla="*/ 1940290 w 12248682"/>
              <a:gd name="connsiteY431" fmla="*/ 772651 h 823468"/>
              <a:gd name="connsiteX432" fmla="*/ 1889473 w 12248682"/>
              <a:gd name="connsiteY432" fmla="*/ 823468 h 823468"/>
              <a:gd name="connsiteX433" fmla="*/ 1838656 w 12248682"/>
              <a:gd name="connsiteY433" fmla="*/ 772651 h 823468"/>
              <a:gd name="connsiteX434" fmla="*/ 1889473 w 12248682"/>
              <a:gd name="connsiteY434" fmla="*/ 721834 h 823468"/>
              <a:gd name="connsiteX435" fmla="*/ 739158 w 12248682"/>
              <a:gd name="connsiteY435" fmla="*/ 721834 h 823468"/>
              <a:gd name="connsiteX436" fmla="*/ 789975 w 12248682"/>
              <a:gd name="connsiteY436" fmla="*/ 772651 h 823468"/>
              <a:gd name="connsiteX437" fmla="*/ 739158 w 12248682"/>
              <a:gd name="connsiteY437" fmla="*/ 823468 h 823468"/>
              <a:gd name="connsiteX438" fmla="*/ 688341 w 12248682"/>
              <a:gd name="connsiteY438" fmla="*/ 772651 h 823468"/>
              <a:gd name="connsiteX439" fmla="*/ 739158 w 12248682"/>
              <a:gd name="connsiteY439" fmla="*/ 721834 h 823468"/>
              <a:gd name="connsiteX440" fmla="*/ 12227892 w 12248682"/>
              <a:gd name="connsiteY440" fmla="*/ 608651 h 823468"/>
              <a:gd name="connsiteX441" fmla="*/ 12248682 w 12248682"/>
              <a:gd name="connsiteY441" fmla="*/ 629440 h 823468"/>
              <a:gd name="connsiteX442" fmla="*/ 12227892 w 12248682"/>
              <a:gd name="connsiteY442" fmla="*/ 650228 h 823468"/>
              <a:gd name="connsiteX443" fmla="*/ 12207104 w 12248682"/>
              <a:gd name="connsiteY443" fmla="*/ 629440 h 823468"/>
              <a:gd name="connsiteX444" fmla="*/ 12227892 w 12248682"/>
              <a:gd name="connsiteY444" fmla="*/ 608651 h 823468"/>
              <a:gd name="connsiteX445" fmla="*/ 12091610 w 12248682"/>
              <a:gd name="connsiteY445" fmla="*/ 608651 h 823468"/>
              <a:gd name="connsiteX446" fmla="*/ 12112399 w 12248682"/>
              <a:gd name="connsiteY446" fmla="*/ 629440 h 823468"/>
              <a:gd name="connsiteX447" fmla="*/ 12091610 w 12248682"/>
              <a:gd name="connsiteY447" fmla="*/ 650228 h 823468"/>
              <a:gd name="connsiteX448" fmla="*/ 12070822 w 12248682"/>
              <a:gd name="connsiteY448" fmla="*/ 629440 h 823468"/>
              <a:gd name="connsiteX449" fmla="*/ 12091610 w 12248682"/>
              <a:gd name="connsiteY449" fmla="*/ 608651 h 823468"/>
              <a:gd name="connsiteX450" fmla="*/ 11956484 w 12248682"/>
              <a:gd name="connsiteY450" fmla="*/ 608651 h 823468"/>
              <a:gd name="connsiteX451" fmla="*/ 11977272 w 12248682"/>
              <a:gd name="connsiteY451" fmla="*/ 629440 h 823468"/>
              <a:gd name="connsiteX452" fmla="*/ 11956484 w 12248682"/>
              <a:gd name="connsiteY452" fmla="*/ 650228 h 823468"/>
              <a:gd name="connsiteX453" fmla="*/ 11935695 w 12248682"/>
              <a:gd name="connsiteY453" fmla="*/ 629440 h 823468"/>
              <a:gd name="connsiteX454" fmla="*/ 11956484 w 12248682"/>
              <a:gd name="connsiteY454" fmla="*/ 608651 h 823468"/>
              <a:gd name="connsiteX455" fmla="*/ 11821356 w 12248682"/>
              <a:gd name="connsiteY455" fmla="*/ 608651 h 823468"/>
              <a:gd name="connsiteX456" fmla="*/ 11842144 w 12248682"/>
              <a:gd name="connsiteY456" fmla="*/ 629440 h 823468"/>
              <a:gd name="connsiteX457" fmla="*/ 11821356 w 12248682"/>
              <a:gd name="connsiteY457" fmla="*/ 650228 h 823468"/>
              <a:gd name="connsiteX458" fmla="*/ 11800567 w 12248682"/>
              <a:gd name="connsiteY458" fmla="*/ 629440 h 823468"/>
              <a:gd name="connsiteX459" fmla="*/ 11821356 w 12248682"/>
              <a:gd name="connsiteY459" fmla="*/ 608651 h 823468"/>
              <a:gd name="connsiteX460" fmla="*/ 11685074 w 12248682"/>
              <a:gd name="connsiteY460" fmla="*/ 608651 h 823468"/>
              <a:gd name="connsiteX461" fmla="*/ 11705862 w 12248682"/>
              <a:gd name="connsiteY461" fmla="*/ 629440 h 823468"/>
              <a:gd name="connsiteX462" fmla="*/ 11685074 w 12248682"/>
              <a:gd name="connsiteY462" fmla="*/ 650228 h 823468"/>
              <a:gd name="connsiteX463" fmla="*/ 11664285 w 12248682"/>
              <a:gd name="connsiteY463" fmla="*/ 629440 h 823468"/>
              <a:gd name="connsiteX464" fmla="*/ 11685074 w 12248682"/>
              <a:gd name="connsiteY464" fmla="*/ 608651 h 823468"/>
              <a:gd name="connsiteX465" fmla="*/ 10736873 w 12248682"/>
              <a:gd name="connsiteY465" fmla="*/ 608651 h 823468"/>
              <a:gd name="connsiteX466" fmla="*/ 10757662 w 12248682"/>
              <a:gd name="connsiteY466" fmla="*/ 629440 h 823468"/>
              <a:gd name="connsiteX467" fmla="*/ 10736873 w 12248682"/>
              <a:gd name="connsiteY467" fmla="*/ 650228 h 823468"/>
              <a:gd name="connsiteX468" fmla="*/ 10716084 w 12248682"/>
              <a:gd name="connsiteY468" fmla="*/ 629440 h 823468"/>
              <a:gd name="connsiteX469" fmla="*/ 10736873 w 12248682"/>
              <a:gd name="connsiteY469" fmla="*/ 608651 h 823468"/>
              <a:gd name="connsiteX470" fmla="*/ 10601745 w 12248682"/>
              <a:gd name="connsiteY470" fmla="*/ 608651 h 823468"/>
              <a:gd name="connsiteX471" fmla="*/ 10622534 w 12248682"/>
              <a:gd name="connsiteY471" fmla="*/ 629440 h 823468"/>
              <a:gd name="connsiteX472" fmla="*/ 10601745 w 12248682"/>
              <a:gd name="connsiteY472" fmla="*/ 650228 h 823468"/>
              <a:gd name="connsiteX473" fmla="*/ 10580956 w 12248682"/>
              <a:gd name="connsiteY473" fmla="*/ 629440 h 823468"/>
              <a:gd name="connsiteX474" fmla="*/ 10601745 w 12248682"/>
              <a:gd name="connsiteY474" fmla="*/ 608651 h 823468"/>
              <a:gd name="connsiteX475" fmla="*/ 8027949 w 12248682"/>
              <a:gd name="connsiteY475" fmla="*/ 608651 h 823468"/>
              <a:gd name="connsiteX476" fmla="*/ 8048737 w 12248682"/>
              <a:gd name="connsiteY476" fmla="*/ 629440 h 823468"/>
              <a:gd name="connsiteX477" fmla="*/ 8027949 w 12248682"/>
              <a:gd name="connsiteY477" fmla="*/ 650228 h 823468"/>
              <a:gd name="connsiteX478" fmla="*/ 8007160 w 12248682"/>
              <a:gd name="connsiteY478" fmla="*/ 629440 h 823468"/>
              <a:gd name="connsiteX479" fmla="*/ 8027949 w 12248682"/>
              <a:gd name="connsiteY479" fmla="*/ 608651 h 823468"/>
              <a:gd name="connsiteX480" fmla="*/ 7892822 w 12248682"/>
              <a:gd name="connsiteY480" fmla="*/ 608651 h 823468"/>
              <a:gd name="connsiteX481" fmla="*/ 7913611 w 12248682"/>
              <a:gd name="connsiteY481" fmla="*/ 629440 h 823468"/>
              <a:gd name="connsiteX482" fmla="*/ 7892822 w 12248682"/>
              <a:gd name="connsiteY482" fmla="*/ 650228 h 823468"/>
              <a:gd name="connsiteX483" fmla="*/ 7872031 w 12248682"/>
              <a:gd name="connsiteY483" fmla="*/ 629440 h 823468"/>
              <a:gd name="connsiteX484" fmla="*/ 7892822 w 12248682"/>
              <a:gd name="connsiteY484" fmla="*/ 608651 h 823468"/>
              <a:gd name="connsiteX485" fmla="*/ 7757693 w 12248682"/>
              <a:gd name="connsiteY485" fmla="*/ 608651 h 823468"/>
              <a:gd name="connsiteX486" fmla="*/ 7778483 w 12248682"/>
              <a:gd name="connsiteY486" fmla="*/ 629440 h 823468"/>
              <a:gd name="connsiteX487" fmla="*/ 7757693 w 12248682"/>
              <a:gd name="connsiteY487" fmla="*/ 650228 h 823468"/>
              <a:gd name="connsiteX488" fmla="*/ 7736906 w 12248682"/>
              <a:gd name="connsiteY488" fmla="*/ 629440 h 823468"/>
              <a:gd name="connsiteX489" fmla="*/ 7757693 w 12248682"/>
              <a:gd name="connsiteY489" fmla="*/ 608651 h 823468"/>
              <a:gd name="connsiteX490" fmla="*/ 7622566 w 12248682"/>
              <a:gd name="connsiteY490" fmla="*/ 608651 h 823468"/>
              <a:gd name="connsiteX491" fmla="*/ 7643355 w 12248682"/>
              <a:gd name="connsiteY491" fmla="*/ 629440 h 823468"/>
              <a:gd name="connsiteX492" fmla="*/ 7622566 w 12248682"/>
              <a:gd name="connsiteY492" fmla="*/ 650228 h 823468"/>
              <a:gd name="connsiteX493" fmla="*/ 7601778 w 12248682"/>
              <a:gd name="connsiteY493" fmla="*/ 629440 h 823468"/>
              <a:gd name="connsiteX494" fmla="*/ 7622566 w 12248682"/>
              <a:gd name="connsiteY494" fmla="*/ 608651 h 823468"/>
              <a:gd name="connsiteX495" fmla="*/ 7486284 w 12248682"/>
              <a:gd name="connsiteY495" fmla="*/ 608651 h 823468"/>
              <a:gd name="connsiteX496" fmla="*/ 7507074 w 12248682"/>
              <a:gd name="connsiteY496" fmla="*/ 629440 h 823468"/>
              <a:gd name="connsiteX497" fmla="*/ 7486284 w 12248682"/>
              <a:gd name="connsiteY497" fmla="*/ 650228 h 823468"/>
              <a:gd name="connsiteX498" fmla="*/ 7465495 w 12248682"/>
              <a:gd name="connsiteY498" fmla="*/ 629440 h 823468"/>
              <a:gd name="connsiteX499" fmla="*/ 7486284 w 12248682"/>
              <a:gd name="connsiteY499" fmla="*/ 608651 h 823468"/>
              <a:gd name="connsiteX500" fmla="*/ 7351157 w 12248682"/>
              <a:gd name="connsiteY500" fmla="*/ 608651 h 823468"/>
              <a:gd name="connsiteX501" fmla="*/ 7371946 w 12248682"/>
              <a:gd name="connsiteY501" fmla="*/ 629440 h 823468"/>
              <a:gd name="connsiteX502" fmla="*/ 7351157 w 12248682"/>
              <a:gd name="connsiteY502" fmla="*/ 650228 h 823468"/>
              <a:gd name="connsiteX503" fmla="*/ 7330369 w 12248682"/>
              <a:gd name="connsiteY503" fmla="*/ 629440 h 823468"/>
              <a:gd name="connsiteX504" fmla="*/ 7351157 w 12248682"/>
              <a:gd name="connsiteY504" fmla="*/ 608651 h 823468"/>
              <a:gd name="connsiteX505" fmla="*/ 7216030 w 12248682"/>
              <a:gd name="connsiteY505" fmla="*/ 608651 h 823468"/>
              <a:gd name="connsiteX506" fmla="*/ 7236819 w 12248682"/>
              <a:gd name="connsiteY506" fmla="*/ 629440 h 823468"/>
              <a:gd name="connsiteX507" fmla="*/ 7216030 w 12248682"/>
              <a:gd name="connsiteY507" fmla="*/ 650228 h 823468"/>
              <a:gd name="connsiteX508" fmla="*/ 7195241 w 12248682"/>
              <a:gd name="connsiteY508" fmla="*/ 629440 h 823468"/>
              <a:gd name="connsiteX509" fmla="*/ 7216030 w 12248682"/>
              <a:gd name="connsiteY509" fmla="*/ 608651 h 823468"/>
              <a:gd name="connsiteX510" fmla="*/ 7079748 w 12248682"/>
              <a:gd name="connsiteY510" fmla="*/ 608651 h 823468"/>
              <a:gd name="connsiteX511" fmla="*/ 7100537 w 12248682"/>
              <a:gd name="connsiteY511" fmla="*/ 629440 h 823468"/>
              <a:gd name="connsiteX512" fmla="*/ 7079748 w 12248682"/>
              <a:gd name="connsiteY512" fmla="*/ 650228 h 823468"/>
              <a:gd name="connsiteX513" fmla="*/ 7058959 w 12248682"/>
              <a:gd name="connsiteY513" fmla="*/ 629440 h 823468"/>
              <a:gd name="connsiteX514" fmla="*/ 7079748 w 12248682"/>
              <a:gd name="connsiteY514" fmla="*/ 608651 h 823468"/>
              <a:gd name="connsiteX515" fmla="*/ 6131548 w 12248682"/>
              <a:gd name="connsiteY515" fmla="*/ 608651 h 823468"/>
              <a:gd name="connsiteX516" fmla="*/ 6152336 w 12248682"/>
              <a:gd name="connsiteY516" fmla="*/ 629440 h 823468"/>
              <a:gd name="connsiteX517" fmla="*/ 6131548 w 12248682"/>
              <a:gd name="connsiteY517" fmla="*/ 650228 h 823468"/>
              <a:gd name="connsiteX518" fmla="*/ 6110759 w 12248682"/>
              <a:gd name="connsiteY518" fmla="*/ 629440 h 823468"/>
              <a:gd name="connsiteX519" fmla="*/ 6131548 w 12248682"/>
              <a:gd name="connsiteY519" fmla="*/ 608651 h 823468"/>
              <a:gd name="connsiteX520" fmla="*/ 5996418 w 12248682"/>
              <a:gd name="connsiteY520" fmla="*/ 608651 h 823468"/>
              <a:gd name="connsiteX521" fmla="*/ 6017209 w 12248682"/>
              <a:gd name="connsiteY521" fmla="*/ 629440 h 823468"/>
              <a:gd name="connsiteX522" fmla="*/ 5996418 w 12248682"/>
              <a:gd name="connsiteY522" fmla="*/ 650228 h 823468"/>
              <a:gd name="connsiteX523" fmla="*/ 5975630 w 12248682"/>
              <a:gd name="connsiteY523" fmla="*/ 629440 h 823468"/>
              <a:gd name="connsiteX524" fmla="*/ 5996418 w 12248682"/>
              <a:gd name="connsiteY524" fmla="*/ 608651 h 823468"/>
              <a:gd name="connsiteX525" fmla="*/ 3415142 w 12248682"/>
              <a:gd name="connsiteY525" fmla="*/ 608651 h 823468"/>
              <a:gd name="connsiteX526" fmla="*/ 3435930 w 12248682"/>
              <a:gd name="connsiteY526" fmla="*/ 629440 h 823468"/>
              <a:gd name="connsiteX527" fmla="*/ 3415142 w 12248682"/>
              <a:gd name="connsiteY527" fmla="*/ 650228 h 823468"/>
              <a:gd name="connsiteX528" fmla="*/ 3394352 w 12248682"/>
              <a:gd name="connsiteY528" fmla="*/ 629440 h 823468"/>
              <a:gd name="connsiteX529" fmla="*/ 3415142 w 12248682"/>
              <a:gd name="connsiteY529" fmla="*/ 608651 h 823468"/>
              <a:gd name="connsiteX530" fmla="*/ 3280013 w 12248682"/>
              <a:gd name="connsiteY530" fmla="*/ 608651 h 823468"/>
              <a:gd name="connsiteX531" fmla="*/ 3300802 w 12248682"/>
              <a:gd name="connsiteY531" fmla="*/ 629440 h 823468"/>
              <a:gd name="connsiteX532" fmla="*/ 3280013 w 12248682"/>
              <a:gd name="connsiteY532" fmla="*/ 650228 h 823468"/>
              <a:gd name="connsiteX533" fmla="*/ 3259224 w 12248682"/>
              <a:gd name="connsiteY533" fmla="*/ 629440 h 823468"/>
              <a:gd name="connsiteX534" fmla="*/ 3280013 w 12248682"/>
              <a:gd name="connsiteY534" fmla="*/ 608651 h 823468"/>
              <a:gd name="connsiteX535" fmla="*/ 3144887 w 12248682"/>
              <a:gd name="connsiteY535" fmla="*/ 608651 h 823468"/>
              <a:gd name="connsiteX536" fmla="*/ 3165675 w 12248682"/>
              <a:gd name="connsiteY536" fmla="*/ 629440 h 823468"/>
              <a:gd name="connsiteX537" fmla="*/ 3144887 w 12248682"/>
              <a:gd name="connsiteY537" fmla="*/ 650228 h 823468"/>
              <a:gd name="connsiteX538" fmla="*/ 3124098 w 12248682"/>
              <a:gd name="connsiteY538" fmla="*/ 629440 h 823468"/>
              <a:gd name="connsiteX539" fmla="*/ 3144887 w 12248682"/>
              <a:gd name="connsiteY539" fmla="*/ 608651 h 823468"/>
              <a:gd name="connsiteX540" fmla="*/ 3009759 w 12248682"/>
              <a:gd name="connsiteY540" fmla="*/ 608651 h 823468"/>
              <a:gd name="connsiteX541" fmla="*/ 3030548 w 12248682"/>
              <a:gd name="connsiteY541" fmla="*/ 629440 h 823468"/>
              <a:gd name="connsiteX542" fmla="*/ 3009759 w 12248682"/>
              <a:gd name="connsiteY542" fmla="*/ 650228 h 823468"/>
              <a:gd name="connsiteX543" fmla="*/ 2988971 w 12248682"/>
              <a:gd name="connsiteY543" fmla="*/ 629440 h 823468"/>
              <a:gd name="connsiteX544" fmla="*/ 3009759 w 12248682"/>
              <a:gd name="connsiteY544" fmla="*/ 608651 h 823468"/>
              <a:gd name="connsiteX545" fmla="*/ 2873476 w 12248682"/>
              <a:gd name="connsiteY545" fmla="*/ 608651 h 823468"/>
              <a:gd name="connsiteX546" fmla="*/ 2894265 w 12248682"/>
              <a:gd name="connsiteY546" fmla="*/ 629440 h 823468"/>
              <a:gd name="connsiteX547" fmla="*/ 2873476 w 12248682"/>
              <a:gd name="connsiteY547" fmla="*/ 650228 h 823468"/>
              <a:gd name="connsiteX548" fmla="*/ 2852688 w 12248682"/>
              <a:gd name="connsiteY548" fmla="*/ 629440 h 823468"/>
              <a:gd name="connsiteX549" fmla="*/ 2873476 w 12248682"/>
              <a:gd name="connsiteY549" fmla="*/ 608651 h 823468"/>
              <a:gd name="connsiteX550" fmla="*/ 2738350 w 12248682"/>
              <a:gd name="connsiteY550" fmla="*/ 608651 h 823468"/>
              <a:gd name="connsiteX551" fmla="*/ 2759139 w 12248682"/>
              <a:gd name="connsiteY551" fmla="*/ 629440 h 823468"/>
              <a:gd name="connsiteX552" fmla="*/ 2738350 w 12248682"/>
              <a:gd name="connsiteY552" fmla="*/ 650228 h 823468"/>
              <a:gd name="connsiteX553" fmla="*/ 2717562 w 12248682"/>
              <a:gd name="connsiteY553" fmla="*/ 629440 h 823468"/>
              <a:gd name="connsiteX554" fmla="*/ 2738350 w 12248682"/>
              <a:gd name="connsiteY554" fmla="*/ 608651 h 823468"/>
              <a:gd name="connsiteX555" fmla="*/ 2603222 w 12248682"/>
              <a:gd name="connsiteY555" fmla="*/ 608651 h 823468"/>
              <a:gd name="connsiteX556" fmla="*/ 2624011 w 12248682"/>
              <a:gd name="connsiteY556" fmla="*/ 629440 h 823468"/>
              <a:gd name="connsiteX557" fmla="*/ 2603222 w 12248682"/>
              <a:gd name="connsiteY557" fmla="*/ 650228 h 823468"/>
              <a:gd name="connsiteX558" fmla="*/ 2582433 w 12248682"/>
              <a:gd name="connsiteY558" fmla="*/ 629440 h 823468"/>
              <a:gd name="connsiteX559" fmla="*/ 2603222 w 12248682"/>
              <a:gd name="connsiteY559" fmla="*/ 608651 h 823468"/>
              <a:gd name="connsiteX560" fmla="*/ 2466940 w 12248682"/>
              <a:gd name="connsiteY560" fmla="*/ 608651 h 823468"/>
              <a:gd name="connsiteX561" fmla="*/ 2487729 w 12248682"/>
              <a:gd name="connsiteY561" fmla="*/ 629440 h 823468"/>
              <a:gd name="connsiteX562" fmla="*/ 2466940 w 12248682"/>
              <a:gd name="connsiteY562" fmla="*/ 650228 h 823468"/>
              <a:gd name="connsiteX563" fmla="*/ 2446151 w 12248682"/>
              <a:gd name="connsiteY563" fmla="*/ 629440 h 823468"/>
              <a:gd name="connsiteX564" fmla="*/ 2466940 w 12248682"/>
              <a:gd name="connsiteY564" fmla="*/ 608651 h 823468"/>
              <a:gd name="connsiteX565" fmla="*/ 1518739 w 12248682"/>
              <a:gd name="connsiteY565" fmla="*/ 608651 h 823468"/>
              <a:gd name="connsiteX566" fmla="*/ 1539528 w 12248682"/>
              <a:gd name="connsiteY566" fmla="*/ 629440 h 823468"/>
              <a:gd name="connsiteX567" fmla="*/ 1518739 w 12248682"/>
              <a:gd name="connsiteY567" fmla="*/ 650228 h 823468"/>
              <a:gd name="connsiteX568" fmla="*/ 1497951 w 12248682"/>
              <a:gd name="connsiteY568" fmla="*/ 629440 h 823468"/>
              <a:gd name="connsiteX569" fmla="*/ 1518739 w 12248682"/>
              <a:gd name="connsiteY569" fmla="*/ 608651 h 823468"/>
              <a:gd name="connsiteX570" fmla="*/ 1383611 w 12248682"/>
              <a:gd name="connsiteY570" fmla="*/ 608651 h 823468"/>
              <a:gd name="connsiteX571" fmla="*/ 1404400 w 12248682"/>
              <a:gd name="connsiteY571" fmla="*/ 629440 h 823468"/>
              <a:gd name="connsiteX572" fmla="*/ 1383611 w 12248682"/>
              <a:gd name="connsiteY572" fmla="*/ 650228 h 823468"/>
              <a:gd name="connsiteX573" fmla="*/ 1362823 w 12248682"/>
              <a:gd name="connsiteY573" fmla="*/ 629440 h 823468"/>
              <a:gd name="connsiteX574" fmla="*/ 1383611 w 12248682"/>
              <a:gd name="connsiteY574" fmla="*/ 608651 h 823468"/>
              <a:gd name="connsiteX575" fmla="*/ 11549947 w 12248682"/>
              <a:gd name="connsiteY575" fmla="*/ 606341 h 823468"/>
              <a:gd name="connsiteX576" fmla="*/ 11573046 w 12248682"/>
              <a:gd name="connsiteY576" fmla="*/ 629440 h 823468"/>
              <a:gd name="connsiteX577" fmla="*/ 11549947 w 12248682"/>
              <a:gd name="connsiteY577" fmla="*/ 652538 h 823468"/>
              <a:gd name="connsiteX578" fmla="*/ 11526848 w 12248682"/>
              <a:gd name="connsiteY578" fmla="*/ 629440 h 823468"/>
              <a:gd name="connsiteX579" fmla="*/ 11549947 w 12248682"/>
              <a:gd name="connsiteY579" fmla="*/ 606341 h 823468"/>
              <a:gd name="connsiteX580" fmla="*/ 10466618 w 12248682"/>
              <a:gd name="connsiteY580" fmla="*/ 606341 h 823468"/>
              <a:gd name="connsiteX581" fmla="*/ 10489717 w 12248682"/>
              <a:gd name="connsiteY581" fmla="*/ 629440 h 823468"/>
              <a:gd name="connsiteX582" fmla="*/ 10466618 w 12248682"/>
              <a:gd name="connsiteY582" fmla="*/ 652538 h 823468"/>
              <a:gd name="connsiteX583" fmla="*/ 10443520 w 12248682"/>
              <a:gd name="connsiteY583" fmla="*/ 629440 h 823468"/>
              <a:gd name="connsiteX584" fmla="*/ 10466618 w 12248682"/>
              <a:gd name="connsiteY584" fmla="*/ 606341 h 823468"/>
              <a:gd name="connsiteX585" fmla="*/ 9244698 w 12248682"/>
              <a:gd name="connsiteY585" fmla="*/ 606341 h 823468"/>
              <a:gd name="connsiteX586" fmla="*/ 9270107 w 12248682"/>
              <a:gd name="connsiteY586" fmla="*/ 627130 h 823468"/>
              <a:gd name="connsiteX587" fmla="*/ 9249318 w 12248682"/>
              <a:gd name="connsiteY587" fmla="*/ 652538 h 823468"/>
              <a:gd name="connsiteX588" fmla="*/ 9223909 w 12248682"/>
              <a:gd name="connsiteY588" fmla="*/ 631749 h 823468"/>
              <a:gd name="connsiteX589" fmla="*/ 9244698 w 12248682"/>
              <a:gd name="connsiteY589" fmla="*/ 606341 h 823468"/>
              <a:gd name="connsiteX590" fmla="*/ 8164231 w 12248682"/>
              <a:gd name="connsiteY590" fmla="*/ 606341 h 823468"/>
              <a:gd name="connsiteX591" fmla="*/ 8187331 w 12248682"/>
              <a:gd name="connsiteY591" fmla="*/ 629440 h 823468"/>
              <a:gd name="connsiteX592" fmla="*/ 8164231 w 12248682"/>
              <a:gd name="connsiteY592" fmla="*/ 652538 h 823468"/>
              <a:gd name="connsiteX593" fmla="*/ 8141133 w 12248682"/>
              <a:gd name="connsiteY593" fmla="*/ 629440 h 823468"/>
              <a:gd name="connsiteX594" fmla="*/ 8164231 w 12248682"/>
              <a:gd name="connsiteY594" fmla="*/ 606341 h 823468"/>
              <a:gd name="connsiteX595" fmla="*/ 6944621 w 12248682"/>
              <a:gd name="connsiteY595" fmla="*/ 606341 h 823468"/>
              <a:gd name="connsiteX596" fmla="*/ 6967719 w 12248682"/>
              <a:gd name="connsiteY596" fmla="*/ 629440 h 823468"/>
              <a:gd name="connsiteX597" fmla="*/ 6944621 w 12248682"/>
              <a:gd name="connsiteY597" fmla="*/ 652538 h 823468"/>
              <a:gd name="connsiteX598" fmla="*/ 6921522 w 12248682"/>
              <a:gd name="connsiteY598" fmla="*/ 629440 h 823468"/>
              <a:gd name="connsiteX599" fmla="*/ 6944621 w 12248682"/>
              <a:gd name="connsiteY599" fmla="*/ 606341 h 823468"/>
              <a:gd name="connsiteX600" fmla="*/ 5861292 w 12248682"/>
              <a:gd name="connsiteY600" fmla="*/ 606341 h 823468"/>
              <a:gd name="connsiteX601" fmla="*/ 5884392 w 12248682"/>
              <a:gd name="connsiteY601" fmla="*/ 629440 h 823468"/>
              <a:gd name="connsiteX602" fmla="*/ 5861292 w 12248682"/>
              <a:gd name="connsiteY602" fmla="*/ 652538 h 823468"/>
              <a:gd name="connsiteX603" fmla="*/ 5838194 w 12248682"/>
              <a:gd name="connsiteY603" fmla="*/ 629440 h 823468"/>
              <a:gd name="connsiteX604" fmla="*/ 5861292 w 12248682"/>
              <a:gd name="connsiteY604" fmla="*/ 606341 h 823468"/>
              <a:gd name="connsiteX605" fmla="*/ 4639373 w 12248682"/>
              <a:gd name="connsiteY605" fmla="*/ 606341 h 823468"/>
              <a:gd name="connsiteX606" fmla="*/ 4664780 w 12248682"/>
              <a:gd name="connsiteY606" fmla="*/ 627130 h 823468"/>
              <a:gd name="connsiteX607" fmla="*/ 4643991 w 12248682"/>
              <a:gd name="connsiteY607" fmla="*/ 652538 h 823468"/>
              <a:gd name="connsiteX608" fmla="*/ 4618583 w 12248682"/>
              <a:gd name="connsiteY608" fmla="*/ 631749 h 823468"/>
              <a:gd name="connsiteX609" fmla="*/ 4639373 w 12248682"/>
              <a:gd name="connsiteY609" fmla="*/ 606341 h 823468"/>
              <a:gd name="connsiteX610" fmla="*/ 3551423 w 12248682"/>
              <a:gd name="connsiteY610" fmla="*/ 606341 h 823468"/>
              <a:gd name="connsiteX611" fmla="*/ 3574522 w 12248682"/>
              <a:gd name="connsiteY611" fmla="*/ 629440 h 823468"/>
              <a:gd name="connsiteX612" fmla="*/ 3551423 w 12248682"/>
              <a:gd name="connsiteY612" fmla="*/ 652538 h 823468"/>
              <a:gd name="connsiteX613" fmla="*/ 3528325 w 12248682"/>
              <a:gd name="connsiteY613" fmla="*/ 629440 h 823468"/>
              <a:gd name="connsiteX614" fmla="*/ 3551423 w 12248682"/>
              <a:gd name="connsiteY614" fmla="*/ 606341 h 823468"/>
              <a:gd name="connsiteX615" fmla="*/ 2331813 w 12248682"/>
              <a:gd name="connsiteY615" fmla="*/ 606341 h 823468"/>
              <a:gd name="connsiteX616" fmla="*/ 2354912 w 12248682"/>
              <a:gd name="connsiteY616" fmla="*/ 629440 h 823468"/>
              <a:gd name="connsiteX617" fmla="*/ 2331813 w 12248682"/>
              <a:gd name="connsiteY617" fmla="*/ 652538 h 823468"/>
              <a:gd name="connsiteX618" fmla="*/ 2308714 w 12248682"/>
              <a:gd name="connsiteY618" fmla="*/ 629440 h 823468"/>
              <a:gd name="connsiteX619" fmla="*/ 2331813 w 12248682"/>
              <a:gd name="connsiteY619" fmla="*/ 606341 h 823468"/>
              <a:gd name="connsiteX620" fmla="*/ 1248485 w 12248682"/>
              <a:gd name="connsiteY620" fmla="*/ 606341 h 823468"/>
              <a:gd name="connsiteX621" fmla="*/ 1271583 w 12248682"/>
              <a:gd name="connsiteY621" fmla="*/ 629440 h 823468"/>
              <a:gd name="connsiteX622" fmla="*/ 1248485 w 12248682"/>
              <a:gd name="connsiteY622" fmla="*/ 652538 h 823468"/>
              <a:gd name="connsiteX623" fmla="*/ 1225386 w 12248682"/>
              <a:gd name="connsiteY623" fmla="*/ 629440 h 823468"/>
              <a:gd name="connsiteX624" fmla="*/ 1248485 w 12248682"/>
              <a:gd name="connsiteY624" fmla="*/ 606341 h 823468"/>
              <a:gd name="connsiteX625" fmla="*/ 26564 w 12248682"/>
              <a:gd name="connsiteY625" fmla="*/ 606341 h 823468"/>
              <a:gd name="connsiteX626" fmla="*/ 51973 w 12248682"/>
              <a:gd name="connsiteY626" fmla="*/ 627130 h 823468"/>
              <a:gd name="connsiteX627" fmla="*/ 31184 w 12248682"/>
              <a:gd name="connsiteY627" fmla="*/ 652538 h 823468"/>
              <a:gd name="connsiteX628" fmla="*/ 5776 w 12248682"/>
              <a:gd name="connsiteY628" fmla="*/ 631749 h 823468"/>
              <a:gd name="connsiteX629" fmla="*/ 26564 w 12248682"/>
              <a:gd name="connsiteY629" fmla="*/ 606341 h 823468"/>
              <a:gd name="connsiteX630" fmla="*/ 11414819 w 12248682"/>
              <a:gd name="connsiteY630" fmla="*/ 600566 h 823468"/>
              <a:gd name="connsiteX631" fmla="*/ 11443693 w 12248682"/>
              <a:gd name="connsiteY631" fmla="*/ 629440 h 823468"/>
              <a:gd name="connsiteX632" fmla="*/ 11414819 w 12248682"/>
              <a:gd name="connsiteY632" fmla="*/ 658312 h 823468"/>
              <a:gd name="connsiteX633" fmla="*/ 11385946 w 12248682"/>
              <a:gd name="connsiteY633" fmla="*/ 629440 h 823468"/>
              <a:gd name="connsiteX634" fmla="*/ 11414819 w 12248682"/>
              <a:gd name="connsiteY634" fmla="*/ 600566 h 823468"/>
              <a:gd name="connsiteX635" fmla="*/ 10330336 w 12248682"/>
              <a:gd name="connsiteY635" fmla="*/ 600566 h 823468"/>
              <a:gd name="connsiteX636" fmla="*/ 10359209 w 12248682"/>
              <a:gd name="connsiteY636" fmla="*/ 629440 h 823468"/>
              <a:gd name="connsiteX637" fmla="*/ 10330336 w 12248682"/>
              <a:gd name="connsiteY637" fmla="*/ 658312 h 823468"/>
              <a:gd name="connsiteX638" fmla="*/ 10301462 w 12248682"/>
              <a:gd name="connsiteY638" fmla="*/ 629440 h 823468"/>
              <a:gd name="connsiteX639" fmla="*/ 10330336 w 12248682"/>
              <a:gd name="connsiteY639" fmla="*/ 600566 h 823468"/>
              <a:gd name="connsiteX640" fmla="*/ 9382135 w 12248682"/>
              <a:gd name="connsiteY640" fmla="*/ 600566 h 823468"/>
              <a:gd name="connsiteX641" fmla="*/ 9411009 w 12248682"/>
              <a:gd name="connsiteY641" fmla="*/ 629440 h 823468"/>
              <a:gd name="connsiteX642" fmla="*/ 9382135 w 12248682"/>
              <a:gd name="connsiteY642" fmla="*/ 658312 h 823468"/>
              <a:gd name="connsiteX643" fmla="*/ 9353262 w 12248682"/>
              <a:gd name="connsiteY643" fmla="*/ 629440 h 823468"/>
              <a:gd name="connsiteX644" fmla="*/ 9382135 w 12248682"/>
              <a:gd name="connsiteY644" fmla="*/ 600566 h 823468"/>
              <a:gd name="connsiteX645" fmla="*/ 9112431 w 12248682"/>
              <a:gd name="connsiteY645" fmla="*/ 600566 h 823468"/>
              <a:gd name="connsiteX646" fmla="*/ 9141305 w 12248682"/>
              <a:gd name="connsiteY646" fmla="*/ 629440 h 823468"/>
              <a:gd name="connsiteX647" fmla="*/ 9112431 w 12248682"/>
              <a:gd name="connsiteY647" fmla="*/ 658312 h 823468"/>
              <a:gd name="connsiteX648" fmla="*/ 9083558 w 12248682"/>
              <a:gd name="connsiteY648" fmla="*/ 629440 h 823468"/>
              <a:gd name="connsiteX649" fmla="*/ 9112431 w 12248682"/>
              <a:gd name="connsiteY649" fmla="*/ 600566 h 823468"/>
              <a:gd name="connsiteX650" fmla="*/ 8299358 w 12248682"/>
              <a:gd name="connsiteY650" fmla="*/ 600566 h 823468"/>
              <a:gd name="connsiteX651" fmla="*/ 8328231 w 12248682"/>
              <a:gd name="connsiteY651" fmla="*/ 629440 h 823468"/>
              <a:gd name="connsiteX652" fmla="*/ 8299358 w 12248682"/>
              <a:gd name="connsiteY652" fmla="*/ 658312 h 823468"/>
              <a:gd name="connsiteX653" fmla="*/ 8270485 w 12248682"/>
              <a:gd name="connsiteY653" fmla="*/ 629440 h 823468"/>
              <a:gd name="connsiteX654" fmla="*/ 8299358 w 12248682"/>
              <a:gd name="connsiteY654" fmla="*/ 600566 h 823468"/>
              <a:gd name="connsiteX655" fmla="*/ 6809492 w 12248682"/>
              <a:gd name="connsiteY655" fmla="*/ 600566 h 823468"/>
              <a:gd name="connsiteX656" fmla="*/ 6838367 w 12248682"/>
              <a:gd name="connsiteY656" fmla="*/ 629440 h 823468"/>
              <a:gd name="connsiteX657" fmla="*/ 6809492 w 12248682"/>
              <a:gd name="connsiteY657" fmla="*/ 658312 h 823468"/>
              <a:gd name="connsiteX658" fmla="*/ 6780620 w 12248682"/>
              <a:gd name="connsiteY658" fmla="*/ 629440 h 823468"/>
              <a:gd name="connsiteX659" fmla="*/ 6809492 w 12248682"/>
              <a:gd name="connsiteY659" fmla="*/ 600566 h 823468"/>
              <a:gd name="connsiteX660" fmla="*/ 5726165 w 12248682"/>
              <a:gd name="connsiteY660" fmla="*/ 600566 h 823468"/>
              <a:gd name="connsiteX661" fmla="*/ 5755038 w 12248682"/>
              <a:gd name="connsiteY661" fmla="*/ 629440 h 823468"/>
              <a:gd name="connsiteX662" fmla="*/ 5726165 w 12248682"/>
              <a:gd name="connsiteY662" fmla="*/ 658312 h 823468"/>
              <a:gd name="connsiteX663" fmla="*/ 5697292 w 12248682"/>
              <a:gd name="connsiteY663" fmla="*/ 629440 h 823468"/>
              <a:gd name="connsiteX664" fmla="*/ 5726165 w 12248682"/>
              <a:gd name="connsiteY664" fmla="*/ 600566 h 823468"/>
              <a:gd name="connsiteX665" fmla="*/ 4776809 w 12248682"/>
              <a:gd name="connsiteY665" fmla="*/ 600566 h 823468"/>
              <a:gd name="connsiteX666" fmla="*/ 4805682 w 12248682"/>
              <a:gd name="connsiteY666" fmla="*/ 629440 h 823468"/>
              <a:gd name="connsiteX667" fmla="*/ 4776809 w 12248682"/>
              <a:gd name="connsiteY667" fmla="*/ 658312 h 823468"/>
              <a:gd name="connsiteX668" fmla="*/ 4747936 w 12248682"/>
              <a:gd name="connsiteY668" fmla="*/ 629440 h 823468"/>
              <a:gd name="connsiteX669" fmla="*/ 4776809 w 12248682"/>
              <a:gd name="connsiteY669" fmla="*/ 600566 h 823468"/>
              <a:gd name="connsiteX670" fmla="*/ 4499625 w 12248682"/>
              <a:gd name="connsiteY670" fmla="*/ 600566 h 823468"/>
              <a:gd name="connsiteX671" fmla="*/ 4528499 w 12248682"/>
              <a:gd name="connsiteY671" fmla="*/ 629440 h 823468"/>
              <a:gd name="connsiteX672" fmla="*/ 4499625 w 12248682"/>
              <a:gd name="connsiteY672" fmla="*/ 658312 h 823468"/>
              <a:gd name="connsiteX673" fmla="*/ 4470752 w 12248682"/>
              <a:gd name="connsiteY673" fmla="*/ 629440 h 823468"/>
              <a:gd name="connsiteX674" fmla="*/ 4499625 w 12248682"/>
              <a:gd name="connsiteY674" fmla="*/ 600566 h 823468"/>
              <a:gd name="connsiteX675" fmla="*/ 3686551 w 12248682"/>
              <a:gd name="connsiteY675" fmla="*/ 600566 h 823468"/>
              <a:gd name="connsiteX676" fmla="*/ 3715424 w 12248682"/>
              <a:gd name="connsiteY676" fmla="*/ 629440 h 823468"/>
              <a:gd name="connsiteX677" fmla="*/ 3686551 w 12248682"/>
              <a:gd name="connsiteY677" fmla="*/ 658312 h 823468"/>
              <a:gd name="connsiteX678" fmla="*/ 3657677 w 12248682"/>
              <a:gd name="connsiteY678" fmla="*/ 629440 h 823468"/>
              <a:gd name="connsiteX679" fmla="*/ 3686551 w 12248682"/>
              <a:gd name="connsiteY679" fmla="*/ 600566 h 823468"/>
              <a:gd name="connsiteX680" fmla="*/ 2196685 w 12248682"/>
              <a:gd name="connsiteY680" fmla="*/ 600566 h 823468"/>
              <a:gd name="connsiteX681" fmla="*/ 2225559 w 12248682"/>
              <a:gd name="connsiteY681" fmla="*/ 629440 h 823468"/>
              <a:gd name="connsiteX682" fmla="*/ 2196685 w 12248682"/>
              <a:gd name="connsiteY682" fmla="*/ 658312 h 823468"/>
              <a:gd name="connsiteX683" fmla="*/ 2167813 w 12248682"/>
              <a:gd name="connsiteY683" fmla="*/ 629440 h 823468"/>
              <a:gd name="connsiteX684" fmla="*/ 2196685 w 12248682"/>
              <a:gd name="connsiteY684" fmla="*/ 600566 h 823468"/>
              <a:gd name="connsiteX685" fmla="*/ 1112202 w 12248682"/>
              <a:gd name="connsiteY685" fmla="*/ 600566 h 823468"/>
              <a:gd name="connsiteX686" fmla="*/ 1141075 w 12248682"/>
              <a:gd name="connsiteY686" fmla="*/ 629440 h 823468"/>
              <a:gd name="connsiteX687" fmla="*/ 1112202 w 12248682"/>
              <a:gd name="connsiteY687" fmla="*/ 658312 h 823468"/>
              <a:gd name="connsiteX688" fmla="*/ 1083328 w 12248682"/>
              <a:gd name="connsiteY688" fmla="*/ 629440 h 823468"/>
              <a:gd name="connsiteX689" fmla="*/ 1112202 w 12248682"/>
              <a:gd name="connsiteY689" fmla="*/ 600566 h 823468"/>
              <a:gd name="connsiteX690" fmla="*/ 164001 w 12248682"/>
              <a:gd name="connsiteY690" fmla="*/ 600566 h 823468"/>
              <a:gd name="connsiteX691" fmla="*/ 192875 w 12248682"/>
              <a:gd name="connsiteY691" fmla="*/ 629440 h 823468"/>
              <a:gd name="connsiteX692" fmla="*/ 164001 w 12248682"/>
              <a:gd name="connsiteY692" fmla="*/ 658312 h 823468"/>
              <a:gd name="connsiteX693" fmla="*/ 135128 w 12248682"/>
              <a:gd name="connsiteY693" fmla="*/ 629440 h 823468"/>
              <a:gd name="connsiteX694" fmla="*/ 164001 w 12248682"/>
              <a:gd name="connsiteY694" fmla="*/ 600566 h 823468"/>
              <a:gd name="connsiteX695" fmla="*/ 11279692 w 12248682"/>
              <a:gd name="connsiteY695" fmla="*/ 594792 h 823468"/>
              <a:gd name="connsiteX696" fmla="*/ 11314340 w 12248682"/>
              <a:gd name="connsiteY696" fmla="*/ 629440 h 823468"/>
              <a:gd name="connsiteX697" fmla="*/ 11279692 w 12248682"/>
              <a:gd name="connsiteY697" fmla="*/ 664088 h 823468"/>
              <a:gd name="connsiteX698" fmla="*/ 11245044 w 12248682"/>
              <a:gd name="connsiteY698" fmla="*/ 629440 h 823468"/>
              <a:gd name="connsiteX699" fmla="*/ 11279692 w 12248682"/>
              <a:gd name="connsiteY699" fmla="*/ 594792 h 823468"/>
              <a:gd name="connsiteX700" fmla="*/ 10195208 w 12248682"/>
              <a:gd name="connsiteY700" fmla="*/ 594792 h 823468"/>
              <a:gd name="connsiteX701" fmla="*/ 10229856 w 12248682"/>
              <a:gd name="connsiteY701" fmla="*/ 629440 h 823468"/>
              <a:gd name="connsiteX702" fmla="*/ 10195208 w 12248682"/>
              <a:gd name="connsiteY702" fmla="*/ 664088 h 823468"/>
              <a:gd name="connsiteX703" fmla="*/ 10160560 w 12248682"/>
              <a:gd name="connsiteY703" fmla="*/ 629440 h 823468"/>
              <a:gd name="connsiteX704" fmla="*/ 10195208 w 12248682"/>
              <a:gd name="connsiteY704" fmla="*/ 594792 h 823468"/>
              <a:gd name="connsiteX705" fmla="*/ 9518417 w 12248682"/>
              <a:gd name="connsiteY705" fmla="*/ 594792 h 823468"/>
              <a:gd name="connsiteX706" fmla="*/ 9553065 w 12248682"/>
              <a:gd name="connsiteY706" fmla="*/ 629440 h 823468"/>
              <a:gd name="connsiteX707" fmla="*/ 9518417 w 12248682"/>
              <a:gd name="connsiteY707" fmla="*/ 664088 h 823468"/>
              <a:gd name="connsiteX708" fmla="*/ 9483769 w 12248682"/>
              <a:gd name="connsiteY708" fmla="*/ 629440 h 823468"/>
              <a:gd name="connsiteX709" fmla="*/ 9518417 w 12248682"/>
              <a:gd name="connsiteY709" fmla="*/ 594792 h 823468"/>
              <a:gd name="connsiteX710" fmla="*/ 8977304 w 12248682"/>
              <a:gd name="connsiteY710" fmla="*/ 594792 h 823468"/>
              <a:gd name="connsiteX711" fmla="*/ 9011952 w 12248682"/>
              <a:gd name="connsiteY711" fmla="*/ 629440 h 823468"/>
              <a:gd name="connsiteX712" fmla="*/ 8977304 w 12248682"/>
              <a:gd name="connsiteY712" fmla="*/ 664088 h 823468"/>
              <a:gd name="connsiteX713" fmla="*/ 8942656 w 12248682"/>
              <a:gd name="connsiteY713" fmla="*/ 629440 h 823468"/>
              <a:gd name="connsiteX714" fmla="*/ 8977304 w 12248682"/>
              <a:gd name="connsiteY714" fmla="*/ 594792 h 823468"/>
              <a:gd name="connsiteX715" fmla="*/ 8434485 w 12248682"/>
              <a:gd name="connsiteY715" fmla="*/ 594792 h 823468"/>
              <a:gd name="connsiteX716" fmla="*/ 8469133 w 12248682"/>
              <a:gd name="connsiteY716" fmla="*/ 629440 h 823468"/>
              <a:gd name="connsiteX717" fmla="*/ 8434485 w 12248682"/>
              <a:gd name="connsiteY717" fmla="*/ 664088 h 823468"/>
              <a:gd name="connsiteX718" fmla="*/ 8399837 w 12248682"/>
              <a:gd name="connsiteY718" fmla="*/ 629440 h 823468"/>
              <a:gd name="connsiteX719" fmla="*/ 8434485 w 12248682"/>
              <a:gd name="connsiteY719" fmla="*/ 594792 h 823468"/>
              <a:gd name="connsiteX720" fmla="*/ 6674366 w 12248682"/>
              <a:gd name="connsiteY720" fmla="*/ 594792 h 823468"/>
              <a:gd name="connsiteX721" fmla="*/ 6709014 w 12248682"/>
              <a:gd name="connsiteY721" fmla="*/ 629440 h 823468"/>
              <a:gd name="connsiteX722" fmla="*/ 6674366 w 12248682"/>
              <a:gd name="connsiteY722" fmla="*/ 664088 h 823468"/>
              <a:gd name="connsiteX723" fmla="*/ 6639717 w 12248682"/>
              <a:gd name="connsiteY723" fmla="*/ 629440 h 823468"/>
              <a:gd name="connsiteX724" fmla="*/ 6674366 w 12248682"/>
              <a:gd name="connsiteY724" fmla="*/ 594792 h 823468"/>
              <a:gd name="connsiteX725" fmla="*/ 5589882 w 12248682"/>
              <a:gd name="connsiteY725" fmla="*/ 594792 h 823468"/>
              <a:gd name="connsiteX726" fmla="*/ 5624531 w 12248682"/>
              <a:gd name="connsiteY726" fmla="*/ 629440 h 823468"/>
              <a:gd name="connsiteX727" fmla="*/ 5589882 w 12248682"/>
              <a:gd name="connsiteY727" fmla="*/ 664088 h 823468"/>
              <a:gd name="connsiteX728" fmla="*/ 5555234 w 12248682"/>
              <a:gd name="connsiteY728" fmla="*/ 629440 h 823468"/>
              <a:gd name="connsiteX729" fmla="*/ 5589882 w 12248682"/>
              <a:gd name="connsiteY729" fmla="*/ 594792 h 823468"/>
              <a:gd name="connsiteX730" fmla="*/ 4913091 w 12248682"/>
              <a:gd name="connsiteY730" fmla="*/ 594792 h 823468"/>
              <a:gd name="connsiteX731" fmla="*/ 4947739 w 12248682"/>
              <a:gd name="connsiteY731" fmla="*/ 629440 h 823468"/>
              <a:gd name="connsiteX732" fmla="*/ 4913091 w 12248682"/>
              <a:gd name="connsiteY732" fmla="*/ 664088 h 823468"/>
              <a:gd name="connsiteX733" fmla="*/ 4878443 w 12248682"/>
              <a:gd name="connsiteY733" fmla="*/ 629440 h 823468"/>
              <a:gd name="connsiteX734" fmla="*/ 4913091 w 12248682"/>
              <a:gd name="connsiteY734" fmla="*/ 594792 h 823468"/>
              <a:gd name="connsiteX735" fmla="*/ 4364498 w 12248682"/>
              <a:gd name="connsiteY735" fmla="*/ 594792 h 823468"/>
              <a:gd name="connsiteX736" fmla="*/ 4399146 w 12248682"/>
              <a:gd name="connsiteY736" fmla="*/ 629440 h 823468"/>
              <a:gd name="connsiteX737" fmla="*/ 4364498 w 12248682"/>
              <a:gd name="connsiteY737" fmla="*/ 664088 h 823468"/>
              <a:gd name="connsiteX738" fmla="*/ 4329850 w 12248682"/>
              <a:gd name="connsiteY738" fmla="*/ 629440 h 823468"/>
              <a:gd name="connsiteX739" fmla="*/ 4364498 w 12248682"/>
              <a:gd name="connsiteY739" fmla="*/ 594792 h 823468"/>
              <a:gd name="connsiteX740" fmla="*/ 3821678 w 12248682"/>
              <a:gd name="connsiteY740" fmla="*/ 594792 h 823468"/>
              <a:gd name="connsiteX741" fmla="*/ 3856326 w 12248682"/>
              <a:gd name="connsiteY741" fmla="*/ 629440 h 823468"/>
              <a:gd name="connsiteX742" fmla="*/ 3821678 w 12248682"/>
              <a:gd name="connsiteY742" fmla="*/ 664088 h 823468"/>
              <a:gd name="connsiteX743" fmla="*/ 3787030 w 12248682"/>
              <a:gd name="connsiteY743" fmla="*/ 629440 h 823468"/>
              <a:gd name="connsiteX744" fmla="*/ 3821678 w 12248682"/>
              <a:gd name="connsiteY744" fmla="*/ 594792 h 823468"/>
              <a:gd name="connsiteX745" fmla="*/ 2061558 w 12248682"/>
              <a:gd name="connsiteY745" fmla="*/ 594792 h 823468"/>
              <a:gd name="connsiteX746" fmla="*/ 2096206 w 12248682"/>
              <a:gd name="connsiteY746" fmla="*/ 629440 h 823468"/>
              <a:gd name="connsiteX747" fmla="*/ 2061558 w 12248682"/>
              <a:gd name="connsiteY747" fmla="*/ 664088 h 823468"/>
              <a:gd name="connsiteX748" fmla="*/ 2026910 w 12248682"/>
              <a:gd name="connsiteY748" fmla="*/ 629440 h 823468"/>
              <a:gd name="connsiteX749" fmla="*/ 2061558 w 12248682"/>
              <a:gd name="connsiteY749" fmla="*/ 594792 h 823468"/>
              <a:gd name="connsiteX750" fmla="*/ 977075 w 12248682"/>
              <a:gd name="connsiteY750" fmla="*/ 594792 h 823468"/>
              <a:gd name="connsiteX751" fmla="*/ 1011723 w 12248682"/>
              <a:gd name="connsiteY751" fmla="*/ 629440 h 823468"/>
              <a:gd name="connsiteX752" fmla="*/ 977075 w 12248682"/>
              <a:gd name="connsiteY752" fmla="*/ 664088 h 823468"/>
              <a:gd name="connsiteX753" fmla="*/ 942427 w 12248682"/>
              <a:gd name="connsiteY753" fmla="*/ 629440 h 823468"/>
              <a:gd name="connsiteX754" fmla="*/ 977075 w 12248682"/>
              <a:gd name="connsiteY754" fmla="*/ 594792 h 823468"/>
              <a:gd name="connsiteX755" fmla="*/ 300283 w 12248682"/>
              <a:gd name="connsiteY755" fmla="*/ 594792 h 823468"/>
              <a:gd name="connsiteX756" fmla="*/ 334931 w 12248682"/>
              <a:gd name="connsiteY756" fmla="*/ 629440 h 823468"/>
              <a:gd name="connsiteX757" fmla="*/ 300283 w 12248682"/>
              <a:gd name="connsiteY757" fmla="*/ 664088 h 823468"/>
              <a:gd name="connsiteX758" fmla="*/ 265635 w 12248682"/>
              <a:gd name="connsiteY758" fmla="*/ 629440 h 823468"/>
              <a:gd name="connsiteX759" fmla="*/ 300283 w 12248682"/>
              <a:gd name="connsiteY759" fmla="*/ 594792 h 823468"/>
              <a:gd name="connsiteX760" fmla="*/ 11143410 w 12248682"/>
              <a:gd name="connsiteY760" fmla="*/ 589016 h 823468"/>
              <a:gd name="connsiteX761" fmla="*/ 11183832 w 12248682"/>
              <a:gd name="connsiteY761" fmla="*/ 629440 h 823468"/>
              <a:gd name="connsiteX762" fmla="*/ 11143410 w 12248682"/>
              <a:gd name="connsiteY762" fmla="*/ 669862 h 823468"/>
              <a:gd name="connsiteX763" fmla="*/ 11102987 w 12248682"/>
              <a:gd name="connsiteY763" fmla="*/ 629440 h 823468"/>
              <a:gd name="connsiteX764" fmla="*/ 11143410 w 12248682"/>
              <a:gd name="connsiteY764" fmla="*/ 589016 h 823468"/>
              <a:gd name="connsiteX765" fmla="*/ 10873155 w 12248682"/>
              <a:gd name="connsiteY765" fmla="*/ 589016 h 823468"/>
              <a:gd name="connsiteX766" fmla="*/ 10913577 w 12248682"/>
              <a:gd name="connsiteY766" fmla="*/ 629440 h 823468"/>
              <a:gd name="connsiteX767" fmla="*/ 10873155 w 12248682"/>
              <a:gd name="connsiteY767" fmla="*/ 669862 h 823468"/>
              <a:gd name="connsiteX768" fmla="*/ 10832732 w 12248682"/>
              <a:gd name="connsiteY768" fmla="*/ 629440 h 823468"/>
              <a:gd name="connsiteX769" fmla="*/ 10873155 w 12248682"/>
              <a:gd name="connsiteY769" fmla="*/ 589016 h 823468"/>
              <a:gd name="connsiteX770" fmla="*/ 10060082 w 12248682"/>
              <a:gd name="connsiteY770" fmla="*/ 589016 h 823468"/>
              <a:gd name="connsiteX771" fmla="*/ 10100504 w 12248682"/>
              <a:gd name="connsiteY771" fmla="*/ 629440 h 823468"/>
              <a:gd name="connsiteX772" fmla="*/ 10060082 w 12248682"/>
              <a:gd name="connsiteY772" fmla="*/ 669862 h 823468"/>
              <a:gd name="connsiteX773" fmla="*/ 10019658 w 12248682"/>
              <a:gd name="connsiteY773" fmla="*/ 629440 h 823468"/>
              <a:gd name="connsiteX774" fmla="*/ 10060082 w 12248682"/>
              <a:gd name="connsiteY774" fmla="*/ 589016 h 823468"/>
              <a:gd name="connsiteX775" fmla="*/ 9653545 w 12248682"/>
              <a:gd name="connsiteY775" fmla="*/ 589016 h 823468"/>
              <a:gd name="connsiteX776" fmla="*/ 9693967 w 12248682"/>
              <a:gd name="connsiteY776" fmla="*/ 629440 h 823468"/>
              <a:gd name="connsiteX777" fmla="*/ 9653545 w 12248682"/>
              <a:gd name="connsiteY777" fmla="*/ 669862 h 823468"/>
              <a:gd name="connsiteX778" fmla="*/ 9613122 w 12248682"/>
              <a:gd name="connsiteY778" fmla="*/ 629440 h 823468"/>
              <a:gd name="connsiteX779" fmla="*/ 9653545 w 12248682"/>
              <a:gd name="connsiteY779" fmla="*/ 589016 h 823468"/>
              <a:gd name="connsiteX780" fmla="*/ 8841022 w 12248682"/>
              <a:gd name="connsiteY780" fmla="*/ 589016 h 823468"/>
              <a:gd name="connsiteX781" fmla="*/ 8881444 w 12248682"/>
              <a:gd name="connsiteY781" fmla="*/ 629440 h 823468"/>
              <a:gd name="connsiteX782" fmla="*/ 8841022 w 12248682"/>
              <a:gd name="connsiteY782" fmla="*/ 669862 h 823468"/>
              <a:gd name="connsiteX783" fmla="*/ 8800599 w 12248682"/>
              <a:gd name="connsiteY783" fmla="*/ 629440 h 823468"/>
              <a:gd name="connsiteX784" fmla="*/ 8841022 w 12248682"/>
              <a:gd name="connsiteY784" fmla="*/ 589016 h 823468"/>
              <a:gd name="connsiteX785" fmla="*/ 8570767 w 12248682"/>
              <a:gd name="connsiteY785" fmla="*/ 589016 h 823468"/>
              <a:gd name="connsiteX786" fmla="*/ 8611190 w 12248682"/>
              <a:gd name="connsiteY786" fmla="*/ 629440 h 823468"/>
              <a:gd name="connsiteX787" fmla="*/ 8570767 w 12248682"/>
              <a:gd name="connsiteY787" fmla="*/ 669862 h 823468"/>
              <a:gd name="connsiteX788" fmla="*/ 8530344 w 12248682"/>
              <a:gd name="connsiteY788" fmla="*/ 629440 h 823468"/>
              <a:gd name="connsiteX789" fmla="*/ 8570767 w 12248682"/>
              <a:gd name="connsiteY789" fmla="*/ 589016 h 823468"/>
              <a:gd name="connsiteX790" fmla="*/ 6538083 w 12248682"/>
              <a:gd name="connsiteY790" fmla="*/ 589016 h 823468"/>
              <a:gd name="connsiteX791" fmla="*/ 6578507 w 12248682"/>
              <a:gd name="connsiteY791" fmla="*/ 629440 h 823468"/>
              <a:gd name="connsiteX792" fmla="*/ 6538083 w 12248682"/>
              <a:gd name="connsiteY792" fmla="*/ 669862 h 823468"/>
              <a:gd name="connsiteX793" fmla="*/ 6497661 w 12248682"/>
              <a:gd name="connsiteY793" fmla="*/ 629440 h 823468"/>
              <a:gd name="connsiteX794" fmla="*/ 6538083 w 12248682"/>
              <a:gd name="connsiteY794" fmla="*/ 589016 h 823468"/>
              <a:gd name="connsiteX795" fmla="*/ 6267830 w 12248682"/>
              <a:gd name="connsiteY795" fmla="*/ 589016 h 823468"/>
              <a:gd name="connsiteX796" fmla="*/ 6308251 w 12248682"/>
              <a:gd name="connsiteY796" fmla="*/ 629440 h 823468"/>
              <a:gd name="connsiteX797" fmla="*/ 6267830 w 12248682"/>
              <a:gd name="connsiteY797" fmla="*/ 669862 h 823468"/>
              <a:gd name="connsiteX798" fmla="*/ 6227406 w 12248682"/>
              <a:gd name="connsiteY798" fmla="*/ 629440 h 823468"/>
              <a:gd name="connsiteX799" fmla="*/ 6267830 w 12248682"/>
              <a:gd name="connsiteY799" fmla="*/ 589016 h 823468"/>
              <a:gd name="connsiteX800" fmla="*/ 5454756 w 12248682"/>
              <a:gd name="connsiteY800" fmla="*/ 589016 h 823468"/>
              <a:gd name="connsiteX801" fmla="*/ 5495178 w 12248682"/>
              <a:gd name="connsiteY801" fmla="*/ 629440 h 823468"/>
              <a:gd name="connsiteX802" fmla="*/ 5454756 w 12248682"/>
              <a:gd name="connsiteY802" fmla="*/ 669862 h 823468"/>
              <a:gd name="connsiteX803" fmla="*/ 5414332 w 12248682"/>
              <a:gd name="connsiteY803" fmla="*/ 629440 h 823468"/>
              <a:gd name="connsiteX804" fmla="*/ 5454756 w 12248682"/>
              <a:gd name="connsiteY804" fmla="*/ 589016 h 823468"/>
              <a:gd name="connsiteX805" fmla="*/ 5048218 w 12248682"/>
              <a:gd name="connsiteY805" fmla="*/ 589016 h 823468"/>
              <a:gd name="connsiteX806" fmla="*/ 5088641 w 12248682"/>
              <a:gd name="connsiteY806" fmla="*/ 629440 h 823468"/>
              <a:gd name="connsiteX807" fmla="*/ 5048218 w 12248682"/>
              <a:gd name="connsiteY807" fmla="*/ 669862 h 823468"/>
              <a:gd name="connsiteX808" fmla="*/ 5007796 w 12248682"/>
              <a:gd name="connsiteY808" fmla="*/ 629440 h 823468"/>
              <a:gd name="connsiteX809" fmla="*/ 5048218 w 12248682"/>
              <a:gd name="connsiteY809" fmla="*/ 589016 h 823468"/>
              <a:gd name="connsiteX810" fmla="*/ 4228216 w 12248682"/>
              <a:gd name="connsiteY810" fmla="*/ 589016 h 823468"/>
              <a:gd name="connsiteX811" fmla="*/ 4268637 w 12248682"/>
              <a:gd name="connsiteY811" fmla="*/ 629440 h 823468"/>
              <a:gd name="connsiteX812" fmla="*/ 4228216 w 12248682"/>
              <a:gd name="connsiteY812" fmla="*/ 669862 h 823468"/>
              <a:gd name="connsiteX813" fmla="*/ 4187792 w 12248682"/>
              <a:gd name="connsiteY813" fmla="*/ 629440 h 823468"/>
              <a:gd name="connsiteX814" fmla="*/ 4228216 w 12248682"/>
              <a:gd name="connsiteY814" fmla="*/ 589016 h 823468"/>
              <a:gd name="connsiteX815" fmla="*/ 3957960 w 12248682"/>
              <a:gd name="connsiteY815" fmla="*/ 589016 h 823468"/>
              <a:gd name="connsiteX816" fmla="*/ 3998382 w 12248682"/>
              <a:gd name="connsiteY816" fmla="*/ 629440 h 823468"/>
              <a:gd name="connsiteX817" fmla="*/ 3957960 w 12248682"/>
              <a:gd name="connsiteY817" fmla="*/ 669862 h 823468"/>
              <a:gd name="connsiteX818" fmla="*/ 3917537 w 12248682"/>
              <a:gd name="connsiteY818" fmla="*/ 629440 h 823468"/>
              <a:gd name="connsiteX819" fmla="*/ 3957960 w 12248682"/>
              <a:gd name="connsiteY819" fmla="*/ 589016 h 823468"/>
              <a:gd name="connsiteX820" fmla="*/ 1925276 w 12248682"/>
              <a:gd name="connsiteY820" fmla="*/ 589016 h 823468"/>
              <a:gd name="connsiteX821" fmla="*/ 1965698 w 12248682"/>
              <a:gd name="connsiteY821" fmla="*/ 629440 h 823468"/>
              <a:gd name="connsiteX822" fmla="*/ 1925276 w 12248682"/>
              <a:gd name="connsiteY822" fmla="*/ 669862 h 823468"/>
              <a:gd name="connsiteX823" fmla="*/ 1884853 w 12248682"/>
              <a:gd name="connsiteY823" fmla="*/ 629440 h 823468"/>
              <a:gd name="connsiteX824" fmla="*/ 1925276 w 12248682"/>
              <a:gd name="connsiteY824" fmla="*/ 589016 h 823468"/>
              <a:gd name="connsiteX825" fmla="*/ 1655022 w 12248682"/>
              <a:gd name="connsiteY825" fmla="*/ 589016 h 823468"/>
              <a:gd name="connsiteX826" fmla="*/ 1695444 w 12248682"/>
              <a:gd name="connsiteY826" fmla="*/ 629440 h 823468"/>
              <a:gd name="connsiteX827" fmla="*/ 1655022 w 12248682"/>
              <a:gd name="connsiteY827" fmla="*/ 669862 h 823468"/>
              <a:gd name="connsiteX828" fmla="*/ 1614598 w 12248682"/>
              <a:gd name="connsiteY828" fmla="*/ 629440 h 823468"/>
              <a:gd name="connsiteX829" fmla="*/ 1655022 w 12248682"/>
              <a:gd name="connsiteY829" fmla="*/ 589016 h 823468"/>
              <a:gd name="connsiteX830" fmla="*/ 841948 w 12248682"/>
              <a:gd name="connsiteY830" fmla="*/ 589016 h 823468"/>
              <a:gd name="connsiteX831" fmla="*/ 882370 w 12248682"/>
              <a:gd name="connsiteY831" fmla="*/ 629440 h 823468"/>
              <a:gd name="connsiteX832" fmla="*/ 841948 w 12248682"/>
              <a:gd name="connsiteY832" fmla="*/ 669862 h 823468"/>
              <a:gd name="connsiteX833" fmla="*/ 801525 w 12248682"/>
              <a:gd name="connsiteY833" fmla="*/ 629440 h 823468"/>
              <a:gd name="connsiteX834" fmla="*/ 841948 w 12248682"/>
              <a:gd name="connsiteY834" fmla="*/ 589016 h 823468"/>
              <a:gd name="connsiteX835" fmla="*/ 435411 w 12248682"/>
              <a:gd name="connsiteY835" fmla="*/ 589016 h 823468"/>
              <a:gd name="connsiteX836" fmla="*/ 475833 w 12248682"/>
              <a:gd name="connsiteY836" fmla="*/ 629440 h 823468"/>
              <a:gd name="connsiteX837" fmla="*/ 435411 w 12248682"/>
              <a:gd name="connsiteY837" fmla="*/ 669862 h 823468"/>
              <a:gd name="connsiteX838" fmla="*/ 394988 w 12248682"/>
              <a:gd name="connsiteY838" fmla="*/ 629440 h 823468"/>
              <a:gd name="connsiteX839" fmla="*/ 435411 w 12248682"/>
              <a:gd name="connsiteY839" fmla="*/ 589016 h 823468"/>
              <a:gd name="connsiteX840" fmla="*/ 11008282 w 12248682"/>
              <a:gd name="connsiteY840" fmla="*/ 577467 h 823468"/>
              <a:gd name="connsiteX841" fmla="*/ 11059099 w 12248682"/>
              <a:gd name="connsiteY841" fmla="*/ 628284 h 823468"/>
              <a:gd name="connsiteX842" fmla="*/ 11008282 w 12248682"/>
              <a:gd name="connsiteY842" fmla="*/ 679101 h 823468"/>
              <a:gd name="connsiteX843" fmla="*/ 10957465 w 12248682"/>
              <a:gd name="connsiteY843" fmla="*/ 628284 h 823468"/>
              <a:gd name="connsiteX844" fmla="*/ 11008282 w 12248682"/>
              <a:gd name="connsiteY844" fmla="*/ 577467 h 823468"/>
              <a:gd name="connsiteX845" fmla="*/ 9924954 w 12248682"/>
              <a:gd name="connsiteY845" fmla="*/ 577467 h 823468"/>
              <a:gd name="connsiteX846" fmla="*/ 9975771 w 12248682"/>
              <a:gd name="connsiteY846" fmla="*/ 628284 h 823468"/>
              <a:gd name="connsiteX847" fmla="*/ 9924954 w 12248682"/>
              <a:gd name="connsiteY847" fmla="*/ 679101 h 823468"/>
              <a:gd name="connsiteX848" fmla="*/ 9874137 w 12248682"/>
              <a:gd name="connsiteY848" fmla="*/ 628284 h 823468"/>
              <a:gd name="connsiteX849" fmla="*/ 9924954 w 12248682"/>
              <a:gd name="connsiteY849" fmla="*/ 577467 h 823468"/>
              <a:gd name="connsiteX850" fmla="*/ 9788672 w 12248682"/>
              <a:gd name="connsiteY850" fmla="*/ 577467 h 823468"/>
              <a:gd name="connsiteX851" fmla="*/ 9839489 w 12248682"/>
              <a:gd name="connsiteY851" fmla="*/ 629440 h 823468"/>
              <a:gd name="connsiteX852" fmla="*/ 9788672 w 12248682"/>
              <a:gd name="connsiteY852" fmla="*/ 680257 h 823468"/>
              <a:gd name="connsiteX853" fmla="*/ 9737854 w 12248682"/>
              <a:gd name="connsiteY853" fmla="*/ 629440 h 823468"/>
              <a:gd name="connsiteX854" fmla="*/ 9788672 w 12248682"/>
              <a:gd name="connsiteY854" fmla="*/ 577467 h 823468"/>
              <a:gd name="connsiteX855" fmla="*/ 8705894 w 12248682"/>
              <a:gd name="connsiteY855" fmla="*/ 577467 h 823468"/>
              <a:gd name="connsiteX856" fmla="*/ 8756711 w 12248682"/>
              <a:gd name="connsiteY856" fmla="*/ 628284 h 823468"/>
              <a:gd name="connsiteX857" fmla="*/ 8705894 w 12248682"/>
              <a:gd name="connsiteY857" fmla="*/ 679101 h 823468"/>
              <a:gd name="connsiteX858" fmla="*/ 8655077 w 12248682"/>
              <a:gd name="connsiteY858" fmla="*/ 628284 h 823468"/>
              <a:gd name="connsiteX859" fmla="*/ 8705894 w 12248682"/>
              <a:gd name="connsiteY859" fmla="*/ 577467 h 823468"/>
              <a:gd name="connsiteX860" fmla="*/ 6402956 w 12248682"/>
              <a:gd name="connsiteY860" fmla="*/ 577467 h 823468"/>
              <a:gd name="connsiteX861" fmla="*/ 6453773 w 12248682"/>
              <a:gd name="connsiteY861" fmla="*/ 628284 h 823468"/>
              <a:gd name="connsiteX862" fmla="*/ 6402956 w 12248682"/>
              <a:gd name="connsiteY862" fmla="*/ 679101 h 823468"/>
              <a:gd name="connsiteX863" fmla="*/ 6352139 w 12248682"/>
              <a:gd name="connsiteY863" fmla="*/ 628284 h 823468"/>
              <a:gd name="connsiteX864" fmla="*/ 6402956 w 12248682"/>
              <a:gd name="connsiteY864" fmla="*/ 577467 h 823468"/>
              <a:gd name="connsiteX865" fmla="*/ 5319627 w 12248682"/>
              <a:gd name="connsiteY865" fmla="*/ 577467 h 823468"/>
              <a:gd name="connsiteX866" fmla="*/ 5370444 w 12248682"/>
              <a:gd name="connsiteY866" fmla="*/ 628284 h 823468"/>
              <a:gd name="connsiteX867" fmla="*/ 5319627 w 12248682"/>
              <a:gd name="connsiteY867" fmla="*/ 679101 h 823468"/>
              <a:gd name="connsiteX868" fmla="*/ 5268810 w 12248682"/>
              <a:gd name="connsiteY868" fmla="*/ 628284 h 823468"/>
              <a:gd name="connsiteX869" fmla="*/ 5319627 w 12248682"/>
              <a:gd name="connsiteY869" fmla="*/ 577467 h 823468"/>
              <a:gd name="connsiteX870" fmla="*/ 5183345 w 12248682"/>
              <a:gd name="connsiteY870" fmla="*/ 577467 h 823468"/>
              <a:gd name="connsiteX871" fmla="*/ 5234162 w 12248682"/>
              <a:gd name="connsiteY871" fmla="*/ 628284 h 823468"/>
              <a:gd name="connsiteX872" fmla="*/ 5183345 w 12248682"/>
              <a:gd name="connsiteY872" fmla="*/ 679101 h 823468"/>
              <a:gd name="connsiteX873" fmla="*/ 5132528 w 12248682"/>
              <a:gd name="connsiteY873" fmla="*/ 628284 h 823468"/>
              <a:gd name="connsiteX874" fmla="*/ 5183345 w 12248682"/>
              <a:gd name="connsiteY874" fmla="*/ 577467 h 823468"/>
              <a:gd name="connsiteX875" fmla="*/ 4093087 w 12248682"/>
              <a:gd name="connsiteY875" fmla="*/ 577467 h 823468"/>
              <a:gd name="connsiteX876" fmla="*/ 4143904 w 12248682"/>
              <a:gd name="connsiteY876" fmla="*/ 628284 h 823468"/>
              <a:gd name="connsiteX877" fmla="*/ 4093087 w 12248682"/>
              <a:gd name="connsiteY877" fmla="*/ 679101 h 823468"/>
              <a:gd name="connsiteX878" fmla="*/ 4042270 w 12248682"/>
              <a:gd name="connsiteY878" fmla="*/ 628284 h 823468"/>
              <a:gd name="connsiteX879" fmla="*/ 4093087 w 12248682"/>
              <a:gd name="connsiteY879" fmla="*/ 577467 h 823468"/>
              <a:gd name="connsiteX880" fmla="*/ 1790148 w 12248682"/>
              <a:gd name="connsiteY880" fmla="*/ 577467 h 823468"/>
              <a:gd name="connsiteX881" fmla="*/ 1840965 w 12248682"/>
              <a:gd name="connsiteY881" fmla="*/ 628284 h 823468"/>
              <a:gd name="connsiteX882" fmla="*/ 1790148 w 12248682"/>
              <a:gd name="connsiteY882" fmla="*/ 679101 h 823468"/>
              <a:gd name="connsiteX883" fmla="*/ 1739331 w 12248682"/>
              <a:gd name="connsiteY883" fmla="*/ 628284 h 823468"/>
              <a:gd name="connsiteX884" fmla="*/ 1790148 w 12248682"/>
              <a:gd name="connsiteY884" fmla="*/ 577467 h 823468"/>
              <a:gd name="connsiteX885" fmla="*/ 706820 w 12248682"/>
              <a:gd name="connsiteY885" fmla="*/ 577467 h 823468"/>
              <a:gd name="connsiteX886" fmla="*/ 757637 w 12248682"/>
              <a:gd name="connsiteY886" fmla="*/ 628284 h 823468"/>
              <a:gd name="connsiteX887" fmla="*/ 706820 w 12248682"/>
              <a:gd name="connsiteY887" fmla="*/ 679101 h 823468"/>
              <a:gd name="connsiteX888" fmla="*/ 656003 w 12248682"/>
              <a:gd name="connsiteY888" fmla="*/ 628284 h 823468"/>
              <a:gd name="connsiteX889" fmla="*/ 706820 w 12248682"/>
              <a:gd name="connsiteY889" fmla="*/ 577467 h 823468"/>
              <a:gd name="connsiteX890" fmla="*/ 570538 w 12248682"/>
              <a:gd name="connsiteY890" fmla="*/ 577467 h 823468"/>
              <a:gd name="connsiteX891" fmla="*/ 621355 w 12248682"/>
              <a:gd name="connsiteY891" fmla="*/ 629440 h 823468"/>
              <a:gd name="connsiteX892" fmla="*/ 570538 w 12248682"/>
              <a:gd name="connsiteY892" fmla="*/ 680257 h 823468"/>
              <a:gd name="connsiteX893" fmla="*/ 519721 w 12248682"/>
              <a:gd name="connsiteY893" fmla="*/ 629440 h 823468"/>
              <a:gd name="connsiteX894" fmla="*/ 570538 w 12248682"/>
              <a:gd name="connsiteY894" fmla="*/ 577467 h 823468"/>
              <a:gd name="connsiteX895" fmla="*/ 12180541 w 12248682"/>
              <a:gd name="connsiteY895" fmla="*/ 464284 h 823468"/>
              <a:gd name="connsiteX896" fmla="*/ 12201330 w 12248682"/>
              <a:gd name="connsiteY896" fmla="*/ 485072 h 823468"/>
              <a:gd name="connsiteX897" fmla="*/ 12180541 w 12248682"/>
              <a:gd name="connsiteY897" fmla="*/ 505861 h 823468"/>
              <a:gd name="connsiteX898" fmla="*/ 12159752 w 12248682"/>
              <a:gd name="connsiteY898" fmla="*/ 485072 h 823468"/>
              <a:gd name="connsiteX899" fmla="*/ 12180541 w 12248682"/>
              <a:gd name="connsiteY899" fmla="*/ 464284 h 823468"/>
              <a:gd name="connsiteX900" fmla="*/ 12040793 w 12248682"/>
              <a:gd name="connsiteY900" fmla="*/ 464284 h 823468"/>
              <a:gd name="connsiteX901" fmla="*/ 12061582 w 12248682"/>
              <a:gd name="connsiteY901" fmla="*/ 485072 h 823468"/>
              <a:gd name="connsiteX902" fmla="*/ 12040793 w 12248682"/>
              <a:gd name="connsiteY902" fmla="*/ 505861 h 823468"/>
              <a:gd name="connsiteX903" fmla="*/ 12020004 w 12248682"/>
              <a:gd name="connsiteY903" fmla="*/ 485072 h 823468"/>
              <a:gd name="connsiteX904" fmla="*/ 12040793 w 12248682"/>
              <a:gd name="connsiteY904" fmla="*/ 464284 h 823468"/>
              <a:gd name="connsiteX905" fmla="*/ 11901047 w 12248682"/>
              <a:gd name="connsiteY905" fmla="*/ 464284 h 823468"/>
              <a:gd name="connsiteX906" fmla="*/ 11921836 w 12248682"/>
              <a:gd name="connsiteY906" fmla="*/ 485072 h 823468"/>
              <a:gd name="connsiteX907" fmla="*/ 11901047 w 12248682"/>
              <a:gd name="connsiteY907" fmla="*/ 505861 h 823468"/>
              <a:gd name="connsiteX908" fmla="*/ 11880258 w 12248682"/>
              <a:gd name="connsiteY908" fmla="*/ 485072 h 823468"/>
              <a:gd name="connsiteX909" fmla="*/ 11901047 w 12248682"/>
              <a:gd name="connsiteY909" fmla="*/ 464284 h 823468"/>
              <a:gd name="connsiteX910" fmla="*/ 11761299 w 12248682"/>
              <a:gd name="connsiteY910" fmla="*/ 464284 h 823468"/>
              <a:gd name="connsiteX911" fmla="*/ 11782088 w 12248682"/>
              <a:gd name="connsiteY911" fmla="*/ 485072 h 823468"/>
              <a:gd name="connsiteX912" fmla="*/ 11761299 w 12248682"/>
              <a:gd name="connsiteY912" fmla="*/ 505861 h 823468"/>
              <a:gd name="connsiteX913" fmla="*/ 11740510 w 12248682"/>
              <a:gd name="connsiteY913" fmla="*/ 485072 h 823468"/>
              <a:gd name="connsiteX914" fmla="*/ 11761299 w 12248682"/>
              <a:gd name="connsiteY914" fmla="*/ 464284 h 823468"/>
              <a:gd name="connsiteX915" fmla="*/ 11621553 w 12248682"/>
              <a:gd name="connsiteY915" fmla="*/ 464284 h 823468"/>
              <a:gd name="connsiteX916" fmla="*/ 11642342 w 12248682"/>
              <a:gd name="connsiteY916" fmla="*/ 485072 h 823468"/>
              <a:gd name="connsiteX917" fmla="*/ 11621553 w 12248682"/>
              <a:gd name="connsiteY917" fmla="*/ 505861 h 823468"/>
              <a:gd name="connsiteX918" fmla="*/ 11600764 w 12248682"/>
              <a:gd name="connsiteY918" fmla="*/ 485072 h 823468"/>
              <a:gd name="connsiteX919" fmla="*/ 11621553 w 12248682"/>
              <a:gd name="connsiteY919" fmla="*/ 464284 h 823468"/>
              <a:gd name="connsiteX920" fmla="*/ 11481805 w 12248682"/>
              <a:gd name="connsiteY920" fmla="*/ 464284 h 823468"/>
              <a:gd name="connsiteX921" fmla="*/ 11502594 w 12248682"/>
              <a:gd name="connsiteY921" fmla="*/ 485072 h 823468"/>
              <a:gd name="connsiteX922" fmla="*/ 11481805 w 12248682"/>
              <a:gd name="connsiteY922" fmla="*/ 505861 h 823468"/>
              <a:gd name="connsiteX923" fmla="*/ 11461016 w 12248682"/>
              <a:gd name="connsiteY923" fmla="*/ 485072 h 823468"/>
              <a:gd name="connsiteX924" fmla="*/ 11481805 w 12248682"/>
              <a:gd name="connsiteY924" fmla="*/ 464284 h 823468"/>
              <a:gd name="connsiteX925" fmla="*/ 10644478 w 12248682"/>
              <a:gd name="connsiteY925" fmla="*/ 464284 h 823468"/>
              <a:gd name="connsiteX926" fmla="*/ 10665267 w 12248682"/>
              <a:gd name="connsiteY926" fmla="*/ 485072 h 823468"/>
              <a:gd name="connsiteX927" fmla="*/ 10644478 w 12248682"/>
              <a:gd name="connsiteY927" fmla="*/ 505861 h 823468"/>
              <a:gd name="connsiteX928" fmla="*/ 10623690 w 12248682"/>
              <a:gd name="connsiteY928" fmla="*/ 485072 h 823468"/>
              <a:gd name="connsiteX929" fmla="*/ 10644478 w 12248682"/>
              <a:gd name="connsiteY929" fmla="*/ 464284 h 823468"/>
              <a:gd name="connsiteX930" fmla="*/ 10504731 w 12248682"/>
              <a:gd name="connsiteY930" fmla="*/ 464284 h 823468"/>
              <a:gd name="connsiteX931" fmla="*/ 10525520 w 12248682"/>
              <a:gd name="connsiteY931" fmla="*/ 485072 h 823468"/>
              <a:gd name="connsiteX932" fmla="*/ 10504731 w 12248682"/>
              <a:gd name="connsiteY932" fmla="*/ 505861 h 823468"/>
              <a:gd name="connsiteX933" fmla="*/ 10483942 w 12248682"/>
              <a:gd name="connsiteY933" fmla="*/ 485072 h 823468"/>
              <a:gd name="connsiteX934" fmla="*/ 10504731 w 12248682"/>
              <a:gd name="connsiteY934" fmla="*/ 464284 h 823468"/>
              <a:gd name="connsiteX935" fmla="*/ 10364984 w 12248682"/>
              <a:gd name="connsiteY935" fmla="*/ 464284 h 823468"/>
              <a:gd name="connsiteX936" fmla="*/ 10385773 w 12248682"/>
              <a:gd name="connsiteY936" fmla="*/ 485072 h 823468"/>
              <a:gd name="connsiteX937" fmla="*/ 10364984 w 12248682"/>
              <a:gd name="connsiteY937" fmla="*/ 505861 h 823468"/>
              <a:gd name="connsiteX938" fmla="*/ 10344196 w 12248682"/>
              <a:gd name="connsiteY938" fmla="*/ 485072 h 823468"/>
              <a:gd name="connsiteX939" fmla="*/ 10364984 w 12248682"/>
              <a:gd name="connsiteY939" fmla="*/ 464284 h 823468"/>
              <a:gd name="connsiteX940" fmla="*/ 7854709 w 12248682"/>
              <a:gd name="connsiteY940" fmla="*/ 464284 h 823468"/>
              <a:gd name="connsiteX941" fmla="*/ 7875498 w 12248682"/>
              <a:gd name="connsiteY941" fmla="*/ 485072 h 823468"/>
              <a:gd name="connsiteX942" fmla="*/ 7854709 w 12248682"/>
              <a:gd name="connsiteY942" fmla="*/ 505861 h 823468"/>
              <a:gd name="connsiteX943" fmla="*/ 7833921 w 12248682"/>
              <a:gd name="connsiteY943" fmla="*/ 485072 h 823468"/>
              <a:gd name="connsiteX944" fmla="*/ 7854709 w 12248682"/>
              <a:gd name="connsiteY944" fmla="*/ 464284 h 823468"/>
              <a:gd name="connsiteX945" fmla="*/ 7714960 w 12248682"/>
              <a:gd name="connsiteY945" fmla="*/ 464284 h 823468"/>
              <a:gd name="connsiteX946" fmla="*/ 7735749 w 12248682"/>
              <a:gd name="connsiteY946" fmla="*/ 485072 h 823468"/>
              <a:gd name="connsiteX947" fmla="*/ 7714960 w 12248682"/>
              <a:gd name="connsiteY947" fmla="*/ 505861 h 823468"/>
              <a:gd name="connsiteX948" fmla="*/ 7694172 w 12248682"/>
              <a:gd name="connsiteY948" fmla="*/ 485072 h 823468"/>
              <a:gd name="connsiteX949" fmla="*/ 7714960 w 12248682"/>
              <a:gd name="connsiteY949" fmla="*/ 464284 h 823468"/>
              <a:gd name="connsiteX950" fmla="*/ 7575214 w 12248682"/>
              <a:gd name="connsiteY950" fmla="*/ 464284 h 823468"/>
              <a:gd name="connsiteX951" fmla="*/ 7596004 w 12248682"/>
              <a:gd name="connsiteY951" fmla="*/ 485072 h 823468"/>
              <a:gd name="connsiteX952" fmla="*/ 7575214 w 12248682"/>
              <a:gd name="connsiteY952" fmla="*/ 505861 h 823468"/>
              <a:gd name="connsiteX953" fmla="*/ 7554427 w 12248682"/>
              <a:gd name="connsiteY953" fmla="*/ 485072 h 823468"/>
              <a:gd name="connsiteX954" fmla="*/ 7575214 w 12248682"/>
              <a:gd name="connsiteY954" fmla="*/ 464284 h 823468"/>
              <a:gd name="connsiteX955" fmla="*/ 7435467 w 12248682"/>
              <a:gd name="connsiteY955" fmla="*/ 464284 h 823468"/>
              <a:gd name="connsiteX956" fmla="*/ 7456257 w 12248682"/>
              <a:gd name="connsiteY956" fmla="*/ 485072 h 823468"/>
              <a:gd name="connsiteX957" fmla="*/ 7435467 w 12248682"/>
              <a:gd name="connsiteY957" fmla="*/ 505861 h 823468"/>
              <a:gd name="connsiteX958" fmla="*/ 7414678 w 12248682"/>
              <a:gd name="connsiteY958" fmla="*/ 485072 h 823468"/>
              <a:gd name="connsiteX959" fmla="*/ 7435467 w 12248682"/>
              <a:gd name="connsiteY959" fmla="*/ 464284 h 823468"/>
              <a:gd name="connsiteX960" fmla="*/ 7295720 w 12248682"/>
              <a:gd name="connsiteY960" fmla="*/ 464284 h 823468"/>
              <a:gd name="connsiteX961" fmla="*/ 7316509 w 12248682"/>
              <a:gd name="connsiteY961" fmla="*/ 485072 h 823468"/>
              <a:gd name="connsiteX962" fmla="*/ 7295720 w 12248682"/>
              <a:gd name="connsiteY962" fmla="*/ 505861 h 823468"/>
              <a:gd name="connsiteX963" fmla="*/ 7274932 w 12248682"/>
              <a:gd name="connsiteY963" fmla="*/ 485072 h 823468"/>
              <a:gd name="connsiteX964" fmla="*/ 7295720 w 12248682"/>
              <a:gd name="connsiteY964" fmla="*/ 464284 h 823468"/>
              <a:gd name="connsiteX965" fmla="*/ 7155974 w 12248682"/>
              <a:gd name="connsiteY965" fmla="*/ 464284 h 823468"/>
              <a:gd name="connsiteX966" fmla="*/ 7176762 w 12248682"/>
              <a:gd name="connsiteY966" fmla="*/ 485072 h 823468"/>
              <a:gd name="connsiteX967" fmla="*/ 7155974 w 12248682"/>
              <a:gd name="connsiteY967" fmla="*/ 505861 h 823468"/>
              <a:gd name="connsiteX968" fmla="*/ 7135183 w 12248682"/>
              <a:gd name="connsiteY968" fmla="*/ 485072 h 823468"/>
              <a:gd name="connsiteX969" fmla="*/ 7155974 w 12248682"/>
              <a:gd name="connsiteY969" fmla="*/ 464284 h 823468"/>
              <a:gd name="connsiteX970" fmla="*/ 7016227 w 12248682"/>
              <a:gd name="connsiteY970" fmla="*/ 464284 h 823468"/>
              <a:gd name="connsiteX971" fmla="*/ 7037016 w 12248682"/>
              <a:gd name="connsiteY971" fmla="*/ 485072 h 823468"/>
              <a:gd name="connsiteX972" fmla="*/ 7016227 w 12248682"/>
              <a:gd name="connsiteY972" fmla="*/ 505861 h 823468"/>
              <a:gd name="connsiteX973" fmla="*/ 6995438 w 12248682"/>
              <a:gd name="connsiteY973" fmla="*/ 485072 h 823468"/>
              <a:gd name="connsiteX974" fmla="*/ 7016227 w 12248682"/>
              <a:gd name="connsiteY974" fmla="*/ 464284 h 823468"/>
              <a:gd name="connsiteX975" fmla="*/ 6877634 w 12248682"/>
              <a:gd name="connsiteY975" fmla="*/ 464284 h 823468"/>
              <a:gd name="connsiteX976" fmla="*/ 6898424 w 12248682"/>
              <a:gd name="connsiteY976" fmla="*/ 485072 h 823468"/>
              <a:gd name="connsiteX977" fmla="*/ 6877634 w 12248682"/>
              <a:gd name="connsiteY977" fmla="*/ 505861 h 823468"/>
              <a:gd name="connsiteX978" fmla="*/ 6856845 w 12248682"/>
              <a:gd name="connsiteY978" fmla="*/ 485072 h 823468"/>
              <a:gd name="connsiteX979" fmla="*/ 6877634 w 12248682"/>
              <a:gd name="connsiteY979" fmla="*/ 464284 h 823468"/>
              <a:gd name="connsiteX980" fmla="*/ 6039151 w 12248682"/>
              <a:gd name="connsiteY980" fmla="*/ 464284 h 823468"/>
              <a:gd name="connsiteX981" fmla="*/ 6059942 w 12248682"/>
              <a:gd name="connsiteY981" fmla="*/ 485072 h 823468"/>
              <a:gd name="connsiteX982" fmla="*/ 6039151 w 12248682"/>
              <a:gd name="connsiteY982" fmla="*/ 505861 h 823468"/>
              <a:gd name="connsiteX983" fmla="*/ 6018363 w 12248682"/>
              <a:gd name="connsiteY983" fmla="*/ 485072 h 823468"/>
              <a:gd name="connsiteX984" fmla="*/ 6039151 w 12248682"/>
              <a:gd name="connsiteY984" fmla="*/ 464284 h 823468"/>
              <a:gd name="connsiteX985" fmla="*/ 5899405 w 12248682"/>
              <a:gd name="connsiteY985" fmla="*/ 464284 h 823468"/>
              <a:gd name="connsiteX986" fmla="*/ 5920193 w 12248682"/>
              <a:gd name="connsiteY986" fmla="*/ 485072 h 823468"/>
              <a:gd name="connsiteX987" fmla="*/ 5899405 w 12248682"/>
              <a:gd name="connsiteY987" fmla="*/ 505861 h 823468"/>
              <a:gd name="connsiteX988" fmla="*/ 5878616 w 12248682"/>
              <a:gd name="connsiteY988" fmla="*/ 485072 h 823468"/>
              <a:gd name="connsiteX989" fmla="*/ 5899405 w 12248682"/>
              <a:gd name="connsiteY989" fmla="*/ 464284 h 823468"/>
              <a:gd name="connsiteX990" fmla="*/ 5759658 w 12248682"/>
              <a:gd name="connsiteY990" fmla="*/ 464284 h 823468"/>
              <a:gd name="connsiteX991" fmla="*/ 5780447 w 12248682"/>
              <a:gd name="connsiteY991" fmla="*/ 485072 h 823468"/>
              <a:gd name="connsiteX992" fmla="*/ 5759658 w 12248682"/>
              <a:gd name="connsiteY992" fmla="*/ 505861 h 823468"/>
              <a:gd name="connsiteX993" fmla="*/ 5738869 w 12248682"/>
              <a:gd name="connsiteY993" fmla="*/ 485072 h 823468"/>
              <a:gd name="connsiteX994" fmla="*/ 5759658 w 12248682"/>
              <a:gd name="connsiteY994" fmla="*/ 464284 h 823468"/>
              <a:gd name="connsiteX995" fmla="*/ 3241901 w 12248682"/>
              <a:gd name="connsiteY995" fmla="*/ 464284 h 823468"/>
              <a:gd name="connsiteX996" fmla="*/ 3262690 w 12248682"/>
              <a:gd name="connsiteY996" fmla="*/ 485072 h 823468"/>
              <a:gd name="connsiteX997" fmla="*/ 3241901 w 12248682"/>
              <a:gd name="connsiteY997" fmla="*/ 505861 h 823468"/>
              <a:gd name="connsiteX998" fmla="*/ 3221112 w 12248682"/>
              <a:gd name="connsiteY998" fmla="*/ 485072 h 823468"/>
              <a:gd name="connsiteX999" fmla="*/ 3241901 w 12248682"/>
              <a:gd name="connsiteY999" fmla="*/ 464284 h 823468"/>
              <a:gd name="connsiteX1000" fmla="*/ 3102153 w 12248682"/>
              <a:gd name="connsiteY1000" fmla="*/ 464284 h 823468"/>
              <a:gd name="connsiteX1001" fmla="*/ 3122942 w 12248682"/>
              <a:gd name="connsiteY1001" fmla="*/ 485072 h 823468"/>
              <a:gd name="connsiteX1002" fmla="*/ 3102153 w 12248682"/>
              <a:gd name="connsiteY1002" fmla="*/ 505861 h 823468"/>
              <a:gd name="connsiteX1003" fmla="*/ 3081365 w 12248682"/>
              <a:gd name="connsiteY1003" fmla="*/ 485072 h 823468"/>
              <a:gd name="connsiteX1004" fmla="*/ 3102153 w 12248682"/>
              <a:gd name="connsiteY1004" fmla="*/ 464284 h 823468"/>
              <a:gd name="connsiteX1005" fmla="*/ 2962407 w 12248682"/>
              <a:gd name="connsiteY1005" fmla="*/ 464284 h 823468"/>
              <a:gd name="connsiteX1006" fmla="*/ 2983196 w 12248682"/>
              <a:gd name="connsiteY1006" fmla="*/ 485072 h 823468"/>
              <a:gd name="connsiteX1007" fmla="*/ 2962407 w 12248682"/>
              <a:gd name="connsiteY1007" fmla="*/ 505861 h 823468"/>
              <a:gd name="connsiteX1008" fmla="*/ 2941618 w 12248682"/>
              <a:gd name="connsiteY1008" fmla="*/ 485072 h 823468"/>
              <a:gd name="connsiteX1009" fmla="*/ 2962407 w 12248682"/>
              <a:gd name="connsiteY1009" fmla="*/ 464284 h 823468"/>
              <a:gd name="connsiteX1010" fmla="*/ 2822659 w 12248682"/>
              <a:gd name="connsiteY1010" fmla="*/ 464284 h 823468"/>
              <a:gd name="connsiteX1011" fmla="*/ 2843448 w 12248682"/>
              <a:gd name="connsiteY1011" fmla="*/ 485072 h 823468"/>
              <a:gd name="connsiteX1012" fmla="*/ 2822659 w 12248682"/>
              <a:gd name="connsiteY1012" fmla="*/ 505861 h 823468"/>
              <a:gd name="connsiteX1013" fmla="*/ 2801871 w 12248682"/>
              <a:gd name="connsiteY1013" fmla="*/ 485072 h 823468"/>
              <a:gd name="connsiteX1014" fmla="*/ 2822659 w 12248682"/>
              <a:gd name="connsiteY1014" fmla="*/ 464284 h 823468"/>
              <a:gd name="connsiteX1015" fmla="*/ 2682913 w 12248682"/>
              <a:gd name="connsiteY1015" fmla="*/ 464284 h 823468"/>
              <a:gd name="connsiteX1016" fmla="*/ 2703702 w 12248682"/>
              <a:gd name="connsiteY1016" fmla="*/ 485072 h 823468"/>
              <a:gd name="connsiteX1017" fmla="*/ 2682913 w 12248682"/>
              <a:gd name="connsiteY1017" fmla="*/ 505861 h 823468"/>
              <a:gd name="connsiteX1018" fmla="*/ 2662124 w 12248682"/>
              <a:gd name="connsiteY1018" fmla="*/ 485072 h 823468"/>
              <a:gd name="connsiteX1019" fmla="*/ 2682913 w 12248682"/>
              <a:gd name="connsiteY1019" fmla="*/ 464284 h 823468"/>
              <a:gd name="connsiteX1020" fmla="*/ 2543167 w 12248682"/>
              <a:gd name="connsiteY1020" fmla="*/ 464284 h 823468"/>
              <a:gd name="connsiteX1021" fmla="*/ 2563954 w 12248682"/>
              <a:gd name="connsiteY1021" fmla="*/ 485072 h 823468"/>
              <a:gd name="connsiteX1022" fmla="*/ 2543167 w 12248682"/>
              <a:gd name="connsiteY1022" fmla="*/ 505861 h 823468"/>
              <a:gd name="connsiteX1023" fmla="*/ 2522376 w 12248682"/>
              <a:gd name="connsiteY1023" fmla="*/ 485072 h 823468"/>
              <a:gd name="connsiteX1024" fmla="*/ 2543167 w 12248682"/>
              <a:gd name="connsiteY1024" fmla="*/ 464284 h 823468"/>
              <a:gd name="connsiteX1025" fmla="*/ 2403419 w 12248682"/>
              <a:gd name="connsiteY1025" fmla="*/ 464284 h 823468"/>
              <a:gd name="connsiteX1026" fmla="*/ 2424209 w 12248682"/>
              <a:gd name="connsiteY1026" fmla="*/ 485072 h 823468"/>
              <a:gd name="connsiteX1027" fmla="*/ 2403419 w 12248682"/>
              <a:gd name="connsiteY1027" fmla="*/ 505861 h 823468"/>
              <a:gd name="connsiteX1028" fmla="*/ 2382630 w 12248682"/>
              <a:gd name="connsiteY1028" fmla="*/ 485072 h 823468"/>
              <a:gd name="connsiteX1029" fmla="*/ 2403419 w 12248682"/>
              <a:gd name="connsiteY1029" fmla="*/ 464284 h 823468"/>
              <a:gd name="connsiteX1030" fmla="*/ 2263671 w 12248682"/>
              <a:gd name="connsiteY1030" fmla="*/ 464284 h 823468"/>
              <a:gd name="connsiteX1031" fmla="*/ 2284460 w 12248682"/>
              <a:gd name="connsiteY1031" fmla="*/ 485072 h 823468"/>
              <a:gd name="connsiteX1032" fmla="*/ 2263671 w 12248682"/>
              <a:gd name="connsiteY1032" fmla="*/ 505861 h 823468"/>
              <a:gd name="connsiteX1033" fmla="*/ 2242883 w 12248682"/>
              <a:gd name="connsiteY1033" fmla="*/ 485072 h 823468"/>
              <a:gd name="connsiteX1034" fmla="*/ 2263671 w 12248682"/>
              <a:gd name="connsiteY1034" fmla="*/ 464284 h 823468"/>
              <a:gd name="connsiteX1035" fmla="*/ 1426344 w 12248682"/>
              <a:gd name="connsiteY1035" fmla="*/ 464284 h 823468"/>
              <a:gd name="connsiteX1036" fmla="*/ 1447133 w 12248682"/>
              <a:gd name="connsiteY1036" fmla="*/ 485072 h 823468"/>
              <a:gd name="connsiteX1037" fmla="*/ 1426344 w 12248682"/>
              <a:gd name="connsiteY1037" fmla="*/ 505861 h 823468"/>
              <a:gd name="connsiteX1038" fmla="*/ 1405556 w 12248682"/>
              <a:gd name="connsiteY1038" fmla="*/ 485072 h 823468"/>
              <a:gd name="connsiteX1039" fmla="*/ 1426344 w 12248682"/>
              <a:gd name="connsiteY1039" fmla="*/ 464284 h 823468"/>
              <a:gd name="connsiteX1040" fmla="*/ 1286597 w 12248682"/>
              <a:gd name="connsiteY1040" fmla="*/ 464284 h 823468"/>
              <a:gd name="connsiteX1041" fmla="*/ 1307386 w 12248682"/>
              <a:gd name="connsiteY1041" fmla="*/ 485072 h 823468"/>
              <a:gd name="connsiteX1042" fmla="*/ 1286597 w 12248682"/>
              <a:gd name="connsiteY1042" fmla="*/ 505861 h 823468"/>
              <a:gd name="connsiteX1043" fmla="*/ 1265808 w 12248682"/>
              <a:gd name="connsiteY1043" fmla="*/ 485072 h 823468"/>
              <a:gd name="connsiteX1044" fmla="*/ 1286597 w 12248682"/>
              <a:gd name="connsiteY1044" fmla="*/ 464284 h 823468"/>
              <a:gd name="connsiteX1045" fmla="*/ 1146851 w 12248682"/>
              <a:gd name="connsiteY1045" fmla="*/ 464284 h 823468"/>
              <a:gd name="connsiteX1046" fmla="*/ 1167639 w 12248682"/>
              <a:gd name="connsiteY1046" fmla="*/ 485072 h 823468"/>
              <a:gd name="connsiteX1047" fmla="*/ 1146851 w 12248682"/>
              <a:gd name="connsiteY1047" fmla="*/ 505861 h 823468"/>
              <a:gd name="connsiteX1048" fmla="*/ 1126062 w 12248682"/>
              <a:gd name="connsiteY1048" fmla="*/ 485072 h 823468"/>
              <a:gd name="connsiteX1049" fmla="*/ 1146851 w 12248682"/>
              <a:gd name="connsiteY1049" fmla="*/ 464284 h 823468"/>
              <a:gd name="connsiteX1050" fmla="*/ 11343213 w 12248682"/>
              <a:gd name="connsiteY1050" fmla="*/ 461974 h 823468"/>
              <a:gd name="connsiteX1051" fmla="*/ 11366312 w 12248682"/>
              <a:gd name="connsiteY1051" fmla="*/ 485072 h 823468"/>
              <a:gd name="connsiteX1052" fmla="*/ 11343213 w 12248682"/>
              <a:gd name="connsiteY1052" fmla="*/ 508171 h 823468"/>
              <a:gd name="connsiteX1053" fmla="*/ 11320114 w 12248682"/>
              <a:gd name="connsiteY1053" fmla="*/ 485072 h 823468"/>
              <a:gd name="connsiteX1054" fmla="*/ 11343213 w 12248682"/>
              <a:gd name="connsiteY1054" fmla="*/ 461974 h 823468"/>
              <a:gd name="connsiteX1055" fmla="*/ 10225237 w 12248682"/>
              <a:gd name="connsiteY1055" fmla="*/ 461974 h 823468"/>
              <a:gd name="connsiteX1056" fmla="*/ 10248335 w 12248682"/>
              <a:gd name="connsiteY1056" fmla="*/ 485072 h 823468"/>
              <a:gd name="connsiteX1057" fmla="*/ 10225237 w 12248682"/>
              <a:gd name="connsiteY1057" fmla="*/ 508171 h 823468"/>
              <a:gd name="connsiteX1058" fmla="*/ 10202138 w 12248682"/>
              <a:gd name="connsiteY1058" fmla="*/ 485072 h 823468"/>
              <a:gd name="connsiteX1059" fmla="*/ 10225237 w 12248682"/>
              <a:gd name="connsiteY1059" fmla="*/ 461974 h 823468"/>
              <a:gd name="connsiteX1060" fmla="*/ 9112431 w 12248682"/>
              <a:gd name="connsiteY1060" fmla="*/ 461974 h 823468"/>
              <a:gd name="connsiteX1061" fmla="*/ 9135530 w 12248682"/>
              <a:gd name="connsiteY1061" fmla="*/ 485072 h 823468"/>
              <a:gd name="connsiteX1062" fmla="*/ 9112431 w 12248682"/>
              <a:gd name="connsiteY1062" fmla="*/ 508171 h 823468"/>
              <a:gd name="connsiteX1063" fmla="*/ 9089332 w 12248682"/>
              <a:gd name="connsiteY1063" fmla="*/ 485072 h 823468"/>
              <a:gd name="connsiteX1064" fmla="*/ 9112431 w 12248682"/>
              <a:gd name="connsiteY1064" fmla="*/ 461974 h 823468"/>
              <a:gd name="connsiteX1065" fmla="*/ 7994456 w 12248682"/>
              <a:gd name="connsiteY1065" fmla="*/ 461974 h 823468"/>
              <a:gd name="connsiteX1066" fmla="*/ 8017555 w 12248682"/>
              <a:gd name="connsiteY1066" fmla="*/ 485072 h 823468"/>
              <a:gd name="connsiteX1067" fmla="*/ 7994456 w 12248682"/>
              <a:gd name="connsiteY1067" fmla="*/ 508171 h 823468"/>
              <a:gd name="connsiteX1068" fmla="*/ 7971356 w 12248682"/>
              <a:gd name="connsiteY1068" fmla="*/ 485072 h 823468"/>
              <a:gd name="connsiteX1069" fmla="*/ 7994456 w 12248682"/>
              <a:gd name="connsiteY1069" fmla="*/ 461974 h 823468"/>
              <a:gd name="connsiteX1070" fmla="*/ 6737887 w 12248682"/>
              <a:gd name="connsiteY1070" fmla="*/ 461974 h 823468"/>
              <a:gd name="connsiteX1071" fmla="*/ 6760986 w 12248682"/>
              <a:gd name="connsiteY1071" fmla="*/ 485072 h 823468"/>
              <a:gd name="connsiteX1072" fmla="*/ 6737887 w 12248682"/>
              <a:gd name="connsiteY1072" fmla="*/ 508171 h 823468"/>
              <a:gd name="connsiteX1073" fmla="*/ 6714789 w 12248682"/>
              <a:gd name="connsiteY1073" fmla="*/ 485072 h 823468"/>
              <a:gd name="connsiteX1074" fmla="*/ 6737887 w 12248682"/>
              <a:gd name="connsiteY1074" fmla="*/ 461974 h 823468"/>
              <a:gd name="connsiteX1075" fmla="*/ 5619911 w 12248682"/>
              <a:gd name="connsiteY1075" fmla="*/ 461974 h 823468"/>
              <a:gd name="connsiteX1076" fmla="*/ 5643008 w 12248682"/>
              <a:gd name="connsiteY1076" fmla="*/ 485072 h 823468"/>
              <a:gd name="connsiteX1077" fmla="*/ 5619911 w 12248682"/>
              <a:gd name="connsiteY1077" fmla="*/ 508171 h 823468"/>
              <a:gd name="connsiteX1078" fmla="*/ 5596812 w 12248682"/>
              <a:gd name="connsiteY1078" fmla="*/ 485072 h 823468"/>
              <a:gd name="connsiteX1079" fmla="*/ 5619911 w 12248682"/>
              <a:gd name="connsiteY1079" fmla="*/ 461974 h 823468"/>
              <a:gd name="connsiteX1080" fmla="*/ 4499625 w 12248682"/>
              <a:gd name="connsiteY1080" fmla="*/ 461974 h 823468"/>
              <a:gd name="connsiteX1081" fmla="*/ 4522722 w 12248682"/>
              <a:gd name="connsiteY1081" fmla="*/ 485072 h 823468"/>
              <a:gd name="connsiteX1082" fmla="*/ 4499625 w 12248682"/>
              <a:gd name="connsiteY1082" fmla="*/ 508171 h 823468"/>
              <a:gd name="connsiteX1083" fmla="*/ 4476525 w 12248682"/>
              <a:gd name="connsiteY1083" fmla="*/ 485072 h 823468"/>
              <a:gd name="connsiteX1084" fmla="*/ 4499625 w 12248682"/>
              <a:gd name="connsiteY1084" fmla="*/ 461974 h 823468"/>
              <a:gd name="connsiteX1085" fmla="*/ 3381648 w 12248682"/>
              <a:gd name="connsiteY1085" fmla="*/ 461974 h 823468"/>
              <a:gd name="connsiteX1086" fmla="*/ 3404746 w 12248682"/>
              <a:gd name="connsiteY1086" fmla="*/ 485072 h 823468"/>
              <a:gd name="connsiteX1087" fmla="*/ 3381648 w 12248682"/>
              <a:gd name="connsiteY1087" fmla="*/ 508171 h 823468"/>
              <a:gd name="connsiteX1088" fmla="*/ 3358549 w 12248682"/>
              <a:gd name="connsiteY1088" fmla="*/ 485072 h 823468"/>
              <a:gd name="connsiteX1089" fmla="*/ 3381648 w 12248682"/>
              <a:gd name="connsiteY1089" fmla="*/ 461974 h 823468"/>
              <a:gd name="connsiteX1090" fmla="*/ 2125079 w 12248682"/>
              <a:gd name="connsiteY1090" fmla="*/ 461974 h 823468"/>
              <a:gd name="connsiteX1091" fmla="*/ 2148178 w 12248682"/>
              <a:gd name="connsiteY1091" fmla="*/ 485072 h 823468"/>
              <a:gd name="connsiteX1092" fmla="*/ 2125079 w 12248682"/>
              <a:gd name="connsiteY1092" fmla="*/ 508171 h 823468"/>
              <a:gd name="connsiteX1093" fmla="*/ 2101980 w 12248682"/>
              <a:gd name="connsiteY1093" fmla="*/ 485072 h 823468"/>
              <a:gd name="connsiteX1094" fmla="*/ 2125079 w 12248682"/>
              <a:gd name="connsiteY1094" fmla="*/ 461974 h 823468"/>
              <a:gd name="connsiteX1095" fmla="*/ 1007103 w 12248682"/>
              <a:gd name="connsiteY1095" fmla="*/ 461974 h 823468"/>
              <a:gd name="connsiteX1096" fmla="*/ 1030201 w 12248682"/>
              <a:gd name="connsiteY1096" fmla="*/ 485072 h 823468"/>
              <a:gd name="connsiteX1097" fmla="*/ 1007103 w 12248682"/>
              <a:gd name="connsiteY1097" fmla="*/ 508171 h 823468"/>
              <a:gd name="connsiteX1098" fmla="*/ 984004 w 12248682"/>
              <a:gd name="connsiteY1098" fmla="*/ 485072 h 823468"/>
              <a:gd name="connsiteX1099" fmla="*/ 1007103 w 12248682"/>
              <a:gd name="connsiteY1099" fmla="*/ 461974 h 823468"/>
              <a:gd name="connsiteX1100" fmla="*/ 11203466 w 12248682"/>
              <a:gd name="connsiteY1100" fmla="*/ 456200 h 823468"/>
              <a:gd name="connsiteX1101" fmla="*/ 11232339 w 12248682"/>
              <a:gd name="connsiteY1101" fmla="*/ 485072 h 823468"/>
              <a:gd name="connsiteX1102" fmla="*/ 11203466 w 12248682"/>
              <a:gd name="connsiteY1102" fmla="*/ 513946 h 823468"/>
              <a:gd name="connsiteX1103" fmla="*/ 11174593 w 12248682"/>
              <a:gd name="connsiteY1103" fmla="*/ 485072 h 823468"/>
              <a:gd name="connsiteX1104" fmla="*/ 11203466 w 12248682"/>
              <a:gd name="connsiteY1104" fmla="*/ 456200 h 823468"/>
              <a:gd name="connsiteX1105" fmla="*/ 10085490 w 12248682"/>
              <a:gd name="connsiteY1105" fmla="*/ 456200 h 823468"/>
              <a:gd name="connsiteX1106" fmla="*/ 10114363 w 12248682"/>
              <a:gd name="connsiteY1106" fmla="*/ 485072 h 823468"/>
              <a:gd name="connsiteX1107" fmla="*/ 10085490 w 12248682"/>
              <a:gd name="connsiteY1107" fmla="*/ 513946 h 823468"/>
              <a:gd name="connsiteX1108" fmla="*/ 10056616 w 12248682"/>
              <a:gd name="connsiteY1108" fmla="*/ 485072 h 823468"/>
              <a:gd name="connsiteX1109" fmla="*/ 10085490 w 12248682"/>
              <a:gd name="connsiteY1109" fmla="*/ 456200 h 823468"/>
              <a:gd name="connsiteX1110" fmla="*/ 9247008 w 12248682"/>
              <a:gd name="connsiteY1110" fmla="*/ 456200 h 823468"/>
              <a:gd name="connsiteX1111" fmla="*/ 9275881 w 12248682"/>
              <a:gd name="connsiteY1111" fmla="*/ 485072 h 823468"/>
              <a:gd name="connsiteX1112" fmla="*/ 9247008 w 12248682"/>
              <a:gd name="connsiteY1112" fmla="*/ 513946 h 823468"/>
              <a:gd name="connsiteX1113" fmla="*/ 9218134 w 12248682"/>
              <a:gd name="connsiteY1113" fmla="*/ 485072 h 823468"/>
              <a:gd name="connsiteX1114" fmla="*/ 9247008 w 12248682"/>
              <a:gd name="connsiteY1114" fmla="*/ 456200 h 823468"/>
              <a:gd name="connsiteX1115" fmla="*/ 8972685 w 12248682"/>
              <a:gd name="connsiteY1115" fmla="*/ 456200 h 823468"/>
              <a:gd name="connsiteX1116" fmla="*/ 9001557 w 12248682"/>
              <a:gd name="connsiteY1116" fmla="*/ 485072 h 823468"/>
              <a:gd name="connsiteX1117" fmla="*/ 8972685 w 12248682"/>
              <a:gd name="connsiteY1117" fmla="*/ 513946 h 823468"/>
              <a:gd name="connsiteX1118" fmla="*/ 8943811 w 12248682"/>
              <a:gd name="connsiteY1118" fmla="*/ 485072 h 823468"/>
              <a:gd name="connsiteX1119" fmla="*/ 8972685 w 12248682"/>
              <a:gd name="connsiteY1119" fmla="*/ 456200 h 823468"/>
              <a:gd name="connsiteX1120" fmla="*/ 8134203 w 12248682"/>
              <a:gd name="connsiteY1120" fmla="*/ 456200 h 823468"/>
              <a:gd name="connsiteX1121" fmla="*/ 8163075 w 12248682"/>
              <a:gd name="connsiteY1121" fmla="*/ 485072 h 823468"/>
              <a:gd name="connsiteX1122" fmla="*/ 8134203 w 12248682"/>
              <a:gd name="connsiteY1122" fmla="*/ 513946 h 823468"/>
              <a:gd name="connsiteX1123" fmla="*/ 8105330 w 12248682"/>
              <a:gd name="connsiteY1123" fmla="*/ 485072 h 823468"/>
              <a:gd name="connsiteX1124" fmla="*/ 8134203 w 12248682"/>
              <a:gd name="connsiteY1124" fmla="*/ 456200 h 823468"/>
              <a:gd name="connsiteX1125" fmla="*/ 6598140 w 12248682"/>
              <a:gd name="connsiteY1125" fmla="*/ 456200 h 823468"/>
              <a:gd name="connsiteX1126" fmla="*/ 6627013 w 12248682"/>
              <a:gd name="connsiteY1126" fmla="*/ 485072 h 823468"/>
              <a:gd name="connsiteX1127" fmla="*/ 6598140 w 12248682"/>
              <a:gd name="connsiteY1127" fmla="*/ 513946 h 823468"/>
              <a:gd name="connsiteX1128" fmla="*/ 6569267 w 12248682"/>
              <a:gd name="connsiteY1128" fmla="*/ 485072 h 823468"/>
              <a:gd name="connsiteX1129" fmla="*/ 6598140 w 12248682"/>
              <a:gd name="connsiteY1129" fmla="*/ 456200 h 823468"/>
              <a:gd name="connsiteX1130" fmla="*/ 5480165 w 12248682"/>
              <a:gd name="connsiteY1130" fmla="*/ 456200 h 823468"/>
              <a:gd name="connsiteX1131" fmla="*/ 5509037 w 12248682"/>
              <a:gd name="connsiteY1131" fmla="*/ 485072 h 823468"/>
              <a:gd name="connsiteX1132" fmla="*/ 5480165 w 12248682"/>
              <a:gd name="connsiteY1132" fmla="*/ 513946 h 823468"/>
              <a:gd name="connsiteX1133" fmla="*/ 5451289 w 12248682"/>
              <a:gd name="connsiteY1133" fmla="*/ 485072 h 823468"/>
              <a:gd name="connsiteX1134" fmla="*/ 5480165 w 12248682"/>
              <a:gd name="connsiteY1134" fmla="*/ 456200 h 823468"/>
              <a:gd name="connsiteX1135" fmla="*/ 4641682 w 12248682"/>
              <a:gd name="connsiteY1135" fmla="*/ 456200 h 823468"/>
              <a:gd name="connsiteX1136" fmla="*/ 4670555 w 12248682"/>
              <a:gd name="connsiteY1136" fmla="*/ 485072 h 823468"/>
              <a:gd name="connsiteX1137" fmla="*/ 4641682 w 12248682"/>
              <a:gd name="connsiteY1137" fmla="*/ 513946 h 823468"/>
              <a:gd name="connsiteX1138" fmla="*/ 4612809 w 12248682"/>
              <a:gd name="connsiteY1138" fmla="*/ 485072 h 823468"/>
              <a:gd name="connsiteX1139" fmla="*/ 4641682 w 12248682"/>
              <a:gd name="connsiteY1139" fmla="*/ 456200 h 823468"/>
              <a:gd name="connsiteX1140" fmla="*/ 4359878 w 12248682"/>
              <a:gd name="connsiteY1140" fmla="*/ 456200 h 823468"/>
              <a:gd name="connsiteX1141" fmla="*/ 4388751 w 12248682"/>
              <a:gd name="connsiteY1141" fmla="*/ 485072 h 823468"/>
              <a:gd name="connsiteX1142" fmla="*/ 4359878 w 12248682"/>
              <a:gd name="connsiteY1142" fmla="*/ 513946 h 823468"/>
              <a:gd name="connsiteX1143" fmla="*/ 4331003 w 12248682"/>
              <a:gd name="connsiteY1143" fmla="*/ 485072 h 823468"/>
              <a:gd name="connsiteX1144" fmla="*/ 4359878 w 12248682"/>
              <a:gd name="connsiteY1144" fmla="*/ 456200 h 823468"/>
              <a:gd name="connsiteX1145" fmla="*/ 3521396 w 12248682"/>
              <a:gd name="connsiteY1145" fmla="*/ 456200 h 823468"/>
              <a:gd name="connsiteX1146" fmla="*/ 3550268 w 12248682"/>
              <a:gd name="connsiteY1146" fmla="*/ 485072 h 823468"/>
              <a:gd name="connsiteX1147" fmla="*/ 3521396 w 12248682"/>
              <a:gd name="connsiteY1147" fmla="*/ 513946 h 823468"/>
              <a:gd name="connsiteX1148" fmla="*/ 3492521 w 12248682"/>
              <a:gd name="connsiteY1148" fmla="*/ 485072 h 823468"/>
              <a:gd name="connsiteX1149" fmla="*/ 3521396 w 12248682"/>
              <a:gd name="connsiteY1149" fmla="*/ 456200 h 823468"/>
              <a:gd name="connsiteX1150" fmla="*/ 1985333 w 12248682"/>
              <a:gd name="connsiteY1150" fmla="*/ 456200 h 823468"/>
              <a:gd name="connsiteX1151" fmla="*/ 2014205 w 12248682"/>
              <a:gd name="connsiteY1151" fmla="*/ 485072 h 823468"/>
              <a:gd name="connsiteX1152" fmla="*/ 1985333 w 12248682"/>
              <a:gd name="connsiteY1152" fmla="*/ 513946 h 823468"/>
              <a:gd name="connsiteX1153" fmla="*/ 1956459 w 12248682"/>
              <a:gd name="connsiteY1153" fmla="*/ 485072 h 823468"/>
              <a:gd name="connsiteX1154" fmla="*/ 1985333 w 12248682"/>
              <a:gd name="connsiteY1154" fmla="*/ 456200 h 823468"/>
              <a:gd name="connsiteX1155" fmla="*/ 867356 w 12248682"/>
              <a:gd name="connsiteY1155" fmla="*/ 456200 h 823468"/>
              <a:gd name="connsiteX1156" fmla="*/ 896229 w 12248682"/>
              <a:gd name="connsiteY1156" fmla="*/ 485072 h 823468"/>
              <a:gd name="connsiteX1157" fmla="*/ 867356 w 12248682"/>
              <a:gd name="connsiteY1157" fmla="*/ 513946 h 823468"/>
              <a:gd name="connsiteX1158" fmla="*/ 838482 w 12248682"/>
              <a:gd name="connsiteY1158" fmla="*/ 485072 h 823468"/>
              <a:gd name="connsiteX1159" fmla="*/ 867356 w 12248682"/>
              <a:gd name="connsiteY1159" fmla="*/ 456200 h 823468"/>
              <a:gd name="connsiteX1160" fmla="*/ 28874 w 12248682"/>
              <a:gd name="connsiteY1160" fmla="*/ 456200 h 823468"/>
              <a:gd name="connsiteX1161" fmla="*/ 57747 w 12248682"/>
              <a:gd name="connsiteY1161" fmla="*/ 485072 h 823468"/>
              <a:gd name="connsiteX1162" fmla="*/ 28874 w 12248682"/>
              <a:gd name="connsiteY1162" fmla="*/ 513946 h 823468"/>
              <a:gd name="connsiteX1163" fmla="*/ 0 w 12248682"/>
              <a:gd name="connsiteY1163" fmla="*/ 485072 h 823468"/>
              <a:gd name="connsiteX1164" fmla="*/ 28874 w 12248682"/>
              <a:gd name="connsiteY1164" fmla="*/ 456200 h 823468"/>
              <a:gd name="connsiteX1165" fmla="*/ 11063719 w 12248682"/>
              <a:gd name="connsiteY1165" fmla="*/ 449270 h 823468"/>
              <a:gd name="connsiteX1166" fmla="*/ 11098367 w 12248682"/>
              <a:gd name="connsiteY1166" fmla="*/ 483918 h 823468"/>
              <a:gd name="connsiteX1167" fmla="*/ 11063719 w 12248682"/>
              <a:gd name="connsiteY1167" fmla="*/ 518566 h 823468"/>
              <a:gd name="connsiteX1168" fmla="*/ 11029071 w 12248682"/>
              <a:gd name="connsiteY1168" fmla="*/ 483918 h 823468"/>
              <a:gd name="connsiteX1169" fmla="*/ 11063719 w 12248682"/>
              <a:gd name="connsiteY1169" fmla="*/ 449270 h 823468"/>
              <a:gd name="connsiteX1170" fmla="*/ 9945743 w 12248682"/>
              <a:gd name="connsiteY1170" fmla="*/ 449270 h 823468"/>
              <a:gd name="connsiteX1171" fmla="*/ 9980391 w 12248682"/>
              <a:gd name="connsiteY1171" fmla="*/ 483918 h 823468"/>
              <a:gd name="connsiteX1172" fmla="*/ 9945743 w 12248682"/>
              <a:gd name="connsiteY1172" fmla="*/ 518566 h 823468"/>
              <a:gd name="connsiteX1173" fmla="*/ 9911094 w 12248682"/>
              <a:gd name="connsiteY1173" fmla="*/ 483918 h 823468"/>
              <a:gd name="connsiteX1174" fmla="*/ 9945743 w 12248682"/>
              <a:gd name="connsiteY1174" fmla="*/ 449270 h 823468"/>
              <a:gd name="connsiteX1175" fmla="*/ 9386754 w 12248682"/>
              <a:gd name="connsiteY1175" fmla="*/ 449270 h 823468"/>
              <a:gd name="connsiteX1176" fmla="*/ 9421402 w 12248682"/>
              <a:gd name="connsiteY1176" fmla="*/ 483918 h 823468"/>
              <a:gd name="connsiteX1177" fmla="*/ 9386754 w 12248682"/>
              <a:gd name="connsiteY1177" fmla="*/ 518566 h 823468"/>
              <a:gd name="connsiteX1178" fmla="*/ 9352106 w 12248682"/>
              <a:gd name="connsiteY1178" fmla="*/ 483918 h 823468"/>
              <a:gd name="connsiteX1179" fmla="*/ 9386754 w 12248682"/>
              <a:gd name="connsiteY1179" fmla="*/ 449270 h 823468"/>
              <a:gd name="connsiteX1180" fmla="*/ 8832937 w 12248682"/>
              <a:gd name="connsiteY1180" fmla="*/ 449270 h 823468"/>
              <a:gd name="connsiteX1181" fmla="*/ 8867585 w 12248682"/>
              <a:gd name="connsiteY1181" fmla="*/ 483918 h 823468"/>
              <a:gd name="connsiteX1182" fmla="*/ 8832937 w 12248682"/>
              <a:gd name="connsiteY1182" fmla="*/ 518566 h 823468"/>
              <a:gd name="connsiteX1183" fmla="*/ 8798289 w 12248682"/>
              <a:gd name="connsiteY1183" fmla="*/ 483918 h 823468"/>
              <a:gd name="connsiteX1184" fmla="*/ 8832937 w 12248682"/>
              <a:gd name="connsiteY1184" fmla="*/ 449270 h 823468"/>
              <a:gd name="connsiteX1185" fmla="*/ 8273949 w 12248682"/>
              <a:gd name="connsiteY1185" fmla="*/ 449270 h 823468"/>
              <a:gd name="connsiteX1186" fmla="*/ 8308598 w 12248682"/>
              <a:gd name="connsiteY1186" fmla="*/ 483918 h 823468"/>
              <a:gd name="connsiteX1187" fmla="*/ 8273949 w 12248682"/>
              <a:gd name="connsiteY1187" fmla="*/ 518566 h 823468"/>
              <a:gd name="connsiteX1188" fmla="*/ 8239301 w 12248682"/>
              <a:gd name="connsiteY1188" fmla="*/ 483918 h 823468"/>
              <a:gd name="connsiteX1189" fmla="*/ 8273949 w 12248682"/>
              <a:gd name="connsiteY1189" fmla="*/ 449270 h 823468"/>
              <a:gd name="connsiteX1190" fmla="*/ 6458393 w 12248682"/>
              <a:gd name="connsiteY1190" fmla="*/ 449270 h 823468"/>
              <a:gd name="connsiteX1191" fmla="*/ 6493041 w 12248682"/>
              <a:gd name="connsiteY1191" fmla="*/ 483918 h 823468"/>
              <a:gd name="connsiteX1192" fmla="*/ 6458393 w 12248682"/>
              <a:gd name="connsiteY1192" fmla="*/ 518566 h 823468"/>
              <a:gd name="connsiteX1193" fmla="*/ 6423745 w 12248682"/>
              <a:gd name="connsiteY1193" fmla="*/ 483918 h 823468"/>
              <a:gd name="connsiteX1194" fmla="*/ 6458393 w 12248682"/>
              <a:gd name="connsiteY1194" fmla="*/ 449270 h 823468"/>
              <a:gd name="connsiteX1195" fmla="*/ 5340416 w 12248682"/>
              <a:gd name="connsiteY1195" fmla="*/ 449270 h 823468"/>
              <a:gd name="connsiteX1196" fmla="*/ 5375064 w 12248682"/>
              <a:gd name="connsiteY1196" fmla="*/ 483918 h 823468"/>
              <a:gd name="connsiteX1197" fmla="*/ 5340416 w 12248682"/>
              <a:gd name="connsiteY1197" fmla="*/ 518566 h 823468"/>
              <a:gd name="connsiteX1198" fmla="*/ 5305769 w 12248682"/>
              <a:gd name="connsiteY1198" fmla="*/ 483918 h 823468"/>
              <a:gd name="connsiteX1199" fmla="*/ 5340416 w 12248682"/>
              <a:gd name="connsiteY1199" fmla="*/ 449270 h 823468"/>
              <a:gd name="connsiteX1200" fmla="*/ 4781429 w 12248682"/>
              <a:gd name="connsiteY1200" fmla="*/ 449270 h 823468"/>
              <a:gd name="connsiteX1201" fmla="*/ 4816075 w 12248682"/>
              <a:gd name="connsiteY1201" fmla="*/ 483918 h 823468"/>
              <a:gd name="connsiteX1202" fmla="*/ 4781429 w 12248682"/>
              <a:gd name="connsiteY1202" fmla="*/ 518566 h 823468"/>
              <a:gd name="connsiteX1203" fmla="*/ 4746781 w 12248682"/>
              <a:gd name="connsiteY1203" fmla="*/ 483918 h 823468"/>
              <a:gd name="connsiteX1204" fmla="*/ 4781429 w 12248682"/>
              <a:gd name="connsiteY1204" fmla="*/ 449270 h 823468"/>
              <a:gd name="connsiteX1205" fmla="*/ 4220129 w 12248682"/>
              <a:gd name="connsiteY1205" fmla="*/ 449270 h 823468"/>
              <a:gd name="connsiteX1206" fmla="*/ 4254779 w 12248682"/>
              <a:gd name="connsiteY1206" fmla="*/ 483918 h 823468"/>
              <a:gd name="connsiteX1207" fmla="*/ 4220129 w 12248682"/>
              <a:gd name="connsiteY1207" fmla="*/ 518566 h 823468"/>
              <a:gd name="connsiteX1208" fmla="*/ 4185482 w 12248682"/>
              <a:gd name="connsiteY1208" fmla="*/ 483918 h 823468"/>
              <a:gd name="connsiteX1209" fmla="*/ 4220129 w 12248682"/>
              <a:gd name="connsiteY1209" fmla="*/ 449270 h 823468"/>
              <a:gd name="connsiteX1210" fmla="*/ 3661142 w 12248682"/>
              <a:gd name="connsiteY1210" fmla="*/ 449270 h 823468"/>
              <a:gd name="connsiteX1211" fmla="*/ 3695791 w 12248682"/>
              <a:gd name="connsiteY1211" fmla="*/ 483918 h 823468"/>
              <a:gd name="connsiteX1212" fmla="*/ 3661142 w 12248682"/>
              <a:gd name="connsiteY1212" fmla="*/ 518566 h 823468"/>
              <a:gd name="connsiteX1213" fmla="*/ 3626494 w 12248682"/>
              <a:gd name="connsiteY1213" fmla="*/ 483918 h 823468"/>
              <a:gd name="connsiteX1214" fmla="*/ 3661142 w 12248682"/>
              <a:gd name="connsiteY1214" fmla="*/ 449270 h 823468"/>
              <a:gd name="connsiteX1215" fmla="*/ 1845585 w 12248682"/>
              <a:gd name="connsiteY1215" fmla="*/ 449270 h 823468"/>
              <a:gd name="connsiteX1216" fmla="*/ 1880233 w 12248682"/>
              <a:gd name="connsiteY1216" fmla="*/ 483918 h 823468"/>
              <a:gd name="connsiteX1217" fmla="*/ 1845585 w 12248682"/>
              <a:gd name="connsiteY1217" fmla="*/ 518566 h 823468"/>
              <a:gd name="connsiteX1218" fmla="*/ 1810937 w 12248682"/>
              <a:gd name="connsiteY1218" fmla="*/ 483918 h 823468"/>
              <a:gd name="connsiteX1219" fmla="*/ 1845585 w 12248682"/>
              <a:gd name="connsiteY1219" fmla="*/ 449270 h 823468"/>
              <a:gd name="connsiteX1220" fmla="*/ 727609 w 12248682"/>
              <a:gd name="connsiteY1220" fmla="*/ 449270 h 823468"/>
              <a:gd name="connsiteX1221" fmla="*/ 762257 w 12248682"/>
              <a:gd name="connsiteY1221" fmla="*/ 483918 h 823468"/>
              <a:gd name="connsiteX1222" fmla="*/ 727609 w 12248682"/>
              <a:gd name="connsiteY1222" fmla="*/ 518566 h 823468"/>
              <a:gd name="connsiteX1223" fmla="*/ 692961 w 12248682"/>
              <a:gd name="connsiteY1223" fmla="*/ 483918 h 823468"/>
              <a:gd name="connsiteX1224" fmla="*/ 727609 w 12248682"/>
              <a:gd name="connsiteY1224" fmla="*/ 449270 h 823468"/>
              <a:gd name="connsiteX1225" fmla="*/ 168621 w 12248682"/>
              <a:gd name="connsiteY1225" fmla="*/ 449270 h 823468"/>
              <a:gd name="connsiteX1226" fmla="*/ 203269 w 12248682"/>
              <a:gd name="connsiteY1226" fmla="*/ 483918 h 823468"/>
              <a:gd name="connsiteX1227" fmla="*/ 168621 w 12248682"/>
              <a:gd name="connsiteY1227" fmla="*/ 518566 h 823468"/>
              <a:gd name="connsiteX1228" fmla="*/ 133973 w 12248682"/>
              <a:gd name="connsiteY1228" fmla="*/ 483918 h 823468"/>
              <a:gd name="connsiteX1229" fmla="*/ 168621 w 12248682"/>
              <a:gd name="connsiteY1229" fmla="*/ 449270 h 823468"/>
              <a:gd name="connsiteX1230" fmla="*/ 10923972 w 12248682"/>
              <a:gd name="connsiteY1230" fmla="*/ 443495 h 823468"/>
              <a:gd name="connsiteX1231" fmla="*/ 10964394 w 12248682"/>
              <a:gd name="connsiteY1231" fmla="*/ 483918 h 823468"/>
              <a:gd name="connsiteX1232" fmla="*/ 10923972 w 12248682"/>
              <a:gd name="connsiteY1232" fmla="*/ 524340 h 823468"/>
              <a:gd name="connsiteX1233" fmla="*/ 10883549 w 12248682"/>
              <a:gd name="connsiteY1233" fmla="*/ 483918 h 823468"/>
              <a:gd name="connsiteX1234" fmla="*/ 10923972 w 12248682"/>
              <a:gd name="connsiteY1234" fmla="*/ 443495 h 823468"/>
              <a:gd name="connsiteX1235" fmla="*/ 9805996 w 12248682"/>
              <a:gd name="connsiteY1235" fmla="*/ 443495 h 823468"/>
              <a:gd name="connsiteX1236" fmla="*/ 9846418 w 12248682"/>
              <a:gd name="connsiteY1236" fmla="*/ 483918 h 823468"/>
              <a:gd name="connsiteX1237" fmla="*/ 9805996 w 12248682"/>
              <a:gd name="connsiteY1237" fmla="*/ 524340 h 823468"/>
              <a:gd name="connsiteX1238" fmla="*/ 9765573 w 12248682"/>
              <a:gd name="connsiteY1238" fmla="*/ 483918 h 823468"/>
              <a:gd name="connsiteX1239" fmla="*/ 9805996 w 12248682"/>
              <a:gd name="connsiteY1239" fmla="*/ 443495 h 823468"/>
              <a:gd name="connsiteX1240" fmla="*/ 9526502 w 12248682"/>
              <a:gd name="connsiteY1240" fmla="*/ 443495 h 823468"/>
              <a:gd name="connsiteX1241" fmla="*/ 9566924 w 12248682"/>
              <a:gd name="connsiteY1241" fmla="*/ 483918 h 823468"/>
              <a:gd name="connsiteX1242" fmla="*/ 9526502 w 12248682"/>
              <a:gd name="connsiteY1242" fmla="*/ 524340 h 823468"/>
              <a:gd name="connsiteX1243" fmla="*/ 9486079 w 12248682"/>
              <a:gd name="connsiteY1243" fmla="*/ 483918 h 823468"/>
              <a:gd name="connsiteX1244" fmla="*/ 9526502 w 12248682"/>
              <a:gd name="connsiteY1244" fmla="*/ 443495 h 823468"/>
              <a:gd name="connsiteX1245" fmla="*/ 8693190 w 12248682"/>
              <a:gd name="connsiteY1245" fmla="*/ 443495 h 823468"/>
              <a:gd name="connsiteX1246" fmla="*/ 8733613 w 12248682"/>
              <a:gd name="connsiteY1246" fmla="*/ 483918 h 823468"/>
              <a:gd name="connsiteX1247" fmla="*/ 8693190 w 12248682"/>
              <a:gd name="connsiteY1247" fmla="*/ 524340 h 823468"/>
              <a:gd name="connsiteX1248" fmla="*/ 8652767 w 12248682"/>
              <a:gd name="connsiteY1248" fmla="*/ 483918 h 823468"/>
              <a:gd name="connsiteX1249" fmla="*/ 8693190 w 12248682"/>
              <a:gd name="connsiteY1249" fmla="*/ 443495 h 823468"/>
              <a:gd name="connsiteX1250" fmla="*/ 8413696 w 12248682"/>
              <a:gd name="connsiteY1250" fmla="*/ 443495 h 823468"/>
              <a:gd name="connsiteX1251" fmla="*/ 8454118 w 12248682"/>
              <a:gd name="connsiteY1251" fmla="*/ 483918 h 823468"/>
              <a:gd name="connsiteX1252" fmla="*/ 8413696 w 12248682"/>
              <a:gd name="connsiteY1252" fmla="*/ 524340 h 823468"/>
              <a:gd name="connsiteX1253" fmla="*/ 8373274 w 12248682"/>
              <a:gd name="connsiteY1253" fmla="*/ 483918 h 823468"/>
              <a:gd name="connsiteX1254" fmla="*/ 8413696 w 12248682"/>
              <a:gd name="connsiteY1254" fmla="*/ 443495 h 823468"/>
              <a:gd name="connsiteX1255" fmla="*/ 6318647 w 12248682"/>
              <a:gd name="connsiteY1255" fmla="*/ 443495 h 823468"/>
              <a:gd name="connsiteX1256" fmla="*/ 6359068 w 12248682"/>
              <a:gd name="connsiteY1256" fmla="*/ 483918 h 823468"/>
              <a:gd name="connsiteX1257" fmla="*/ 6318647 w 12248682"/>
              <a:gd name="connsiteY1257" fmla="*/ 524340 h 823468"/>
              <a:gd name="connsiteX1258" fmla="*/ 6278223 w 12248682"/>
              <a:gd name="connsiteY1258" fmla="*/ 483918 h 823468"/>
              <a:gd name="connsiteX1259" fmla="*/ 6318647 w 12248682"/>
              <a:gd name="connsiteY1259" fmla="*/ 443495 h 823468"/>
              <a:gd name="connsiteX1260" fmla="*/ 5200669 w 12248682"/>
              <a:gd name="connsiteY1260" fmla="*/ 443495 h 823468"/>
              <a:gd name="connsiteX1261" fmla="*/ 5241093 w 12248682"/>
              <a:gd name="connsiteY1261" fmla="*/ 483918 h 823468"/>
              <a:gd name="connsiteX1262" fmla="*/ 5200669 w 12248682"/>
              <a:gd name="connsiteY1262" fmla="*/ 524340 h 823468"/>
              <a:gd name="connsiteX1263" fmla="*/ 5160247 w 12248682"/>
              <a:gd name="connsiteY1263" fmla="*/ 483918 h 823468"/>
              <a:gd name="connsiteX1264" fmla="*/ 5200669 w 12248682"/>
              <a:gd name="connsiteY1264" fmla="*/ 443495 h 823468"/>
              <a:gd name="connsiteX1265" fmla="*/ 4921176 w 12248682"/>
              <a:gd name="connsiteY1265" fmla="*/ 443495 h 823468"/>
              <a:gd name="connsiteX1266" fmla="*/ 4961597 w 12248682"/>
              <a:gd name="connsiteY1266" fmla="*/ 483918 h 823468"/>
              <a:gd name="connsiteX1267" fmla="*/ 4921176 w 12248682"/>
              <a:gd name="connsiteY1267" fmla="*/ 524340 h 823468"/>
              <a:gd name="connsiteX1268" fmla="*/ 4880752 w 12248682"/>
              <a:gd name="connsiteY1268" fmla="*/ 483918 h 823468"/>
              <a:gd name="connsiteX1269" fmla="*/ 4921176 w 12248682"/>
              <a:gd name="connsiteY1269" fmla="*/ 443495 h 823468"/>
              <a:gd name="connsiteX1270" fmla="*/ 4080383 w 12248682"/>
              <a:gd name="connsiteY1270" fmla="*/ 443495 h 823468"/>
              <a:gd name="connsiteX1271" fmla="*/ 4120806 w 12248682"/>
              <a:gd name="connsiteY1271" fmla="*/ 483918 h 823468"/>
              <a:gd name="connsiteX1272" fmla="*/ 4080383 w 12248682"/>
              <a:gd name="connsiteY1272" fmla="*/ 524340 h 823468"/>
              <a:gd name="connsiteX1273" fmla="*/ 4039961 w 12248682"/>
              <a:gd name="connsiteY1273" fmla="*/ 483918 h 823468"/>
              <a:gd name="connsiteX1274" fmla="*/ 4080383 w 12248682"/>
              <a:gd name="connsiteY1274" fmla="*/ 443495 h 823468"/>
              <a:gd name="connsiteX1275" fmla="*/ 3800889 w 12248682"/>
              <a:gd name="connsiteY1275" fmla="*/ 443495 h 823468"/>
              <a:gd name="connsiteX1276" fmla="*/ 3841311 w 12248682"/>
              <a:gd name="connsiteY1276" fmla="*/ 483918 h 823468"/>
              <a:gd name="connsiteX1277" fmla="*/ 3800889 w 12248682"/>
              <a:gd name="connsiteY1277" fmla="*/ 524340 h 823468"/>
              <a:gd name="connsiteX1278" fmla="*/ 3760466 w 12248682"/>
              <a:gd name="connsiteY1278" fmla="*/ 483918 h 823468"/>
              <a:gd name="connsiteX1279" fmla="*/ 3800889 w 12248682"/>
              <a:gd name="connsiteY1279" fmla="*/ 443495 h 823468"/>
              <a:gd name="connsiteX1280" fmla="*/ 1705839 w 12248682"/>
              <a:gd name="connsiteY1280" fmla="*/ 443495 h 823468"/>
              <a:gd name="connsiteX1281" fmla="*/ 1746261 w 12248682"/>
              <a:gd name="connsiteY1281" fmla="*/ 483918 h 823468"/>
              <a:gd name="connsiteX1282" fmla="*/ 1705839 w 12248682"/>
              <a:gd name="connsiteY1282" fmla="*/ 524340 h 823468"/>
              <a:gd name="connsiteX1283" fmla="*/ 1665415 w 12248682"/>
              <a:gd name="connsiteY1283" fmla="*/ 483918 h 823468"/>
              <a:gd name="connsiteX1284" fmla="*/ 1705839 w 12248682"/>
              <a:gd name="connsiteY1284" fmla="*/ 443495 h 823468"/>
              <a:gd name="connsiteX1285" fmla="*/ 587862 w 12248682"/>
              <a:gd name="connsiteY1285" fmla="*/ 443495 h 823468"/>
              <a:gd name="connsiteX1286" fmla="*/ 628284 w 12248682"/>
              <a:gd name="connsiteY1286" fmla="*/ 483918 h 823468"/>
              <a:gd name="connsiteX1287" fmla="*/ 587862 w 12248682"/>
              <a:gd name="connsiteY1287" fmla="*/ 524340 h 823468"/>
              <a:gd name="connsiteX1288" fmla="*/ 547439 w 12248682"/>
              <a:gd name="connsiteY1288" fmla="*/ 483918 h 823468"/>
              <a:gd name="connsiteX1289" fmla="*/ 587862 w 12248682"/>
              <a:gd name="connsiteY1289" fmla="*/ 443495 h 823468"/>
              <a:gd name="connsiteX1290" fmla="*/ 308368 w 12248682"/>
              <a:gd name="connsiteY1290" fmla="*/ 443495 h 823468"/>
              <a:gd name="connsiteX1291" fmla="*/ 348790 w 12248682"/>
              <a:gd name="connsiteY1291" fmla="*/ 483918 h 823468"/>
              <a:gd name="connsiteX1292" fmla="*/ 308368 w 12248682"/>
              <a:gd name="connsiteY1292" fmla="*/ 524340 h 823468"/>
              <a:gd name="connsiteX1293" fmla="*/ 267945 w 12248682"/>
              <a:gd name="connsiteY1293" fmla="*/ 483918 h 823468"/>
              <a:gd name="connsiteX1294" fmla="*/ 308368 w 12248682"/>
              <a:gd name="connsiteY1294" fmla="*/ 443495 h 823468"/>
              <a:gd name="connsiteX1295" fmla="*/ 10784225 w 12248682"/>
              <a:gd name="connsiteY1295" fmla="*/ 433101 h 823468"/>
              <a:gd name="connsiteX1296" fmla="*/ 10835042 w 12248682"/>
              <a:gd name="connsiteY1296" fmla="*/ 483918 h 823468"/>
              <a:gd name="connsiteX1297" fmla="*/ 10784225 w 12248682"/>
              <a:gd name="connsiteY1297" fmla="*/ 534735 h 823468"/>
              <a:gd name="connsiteX1298" fmla="*/ 10733408 w 12248682"/>
              <a:gd name="connsiteY1298" fmla="*/ 483918 h 823468"/>
              <a:gd name="connsiteX1299" fmla="*/ 10784225 w 12248682"/>
              <a:gd name="connsiteY1299" fmla="*/ 433101 h 823468"/>
              <a:gd name="connsiteX1300" fmla="*/ 9666248 w 12248682"/>
              <a:gd name="connsiteY1300" fmla="*/ 433101 h 823468"/>
              <a:gd name="connsiteX1301" fmla="*/ 9717066 w 12248682"/>
              <a:gd name="connsiteY1301" fmla="*/ 483918 h 823468"/>
              <a:gd name="connsiteX1302" fmla="*/ 9666248 w 12248682"/>
              <a:gd name="connsiteY1302" fmla="*/ 534735 h 823468"/>
              <a:gd name="connsiteX1303" fmla="*/ 9615431 w 12248682"/>
              <a:gd name="connsiteY1303" fmla="*/ 483918 h 823468"/>
              <a:gd name="connsiteX1304" fmla="*/ 9666248 w 12248682"/>
              <a:gd name="connsiteY1304" fmla="*/ 433101 h 823468"/>
              <a:gd name="connsiteX1305" fmla="*/ 8553443 w 12248682"/>
              <a:gd name="connsiteY1305" fmla="*/ 433101 h 823468"/>
              <a:gd name="connsiteX1306" fmla="*/ 8604260 w 12248682"/>
              <a:gd name="connsiteY1306" fmla="*/ 483918 h 823468"/>
              <a:gd name="connsiteX1307" fmla="*/ 8553443 w 12248682"/>
              <a:gd name="connsiteY1307" fmla="*/ 534735 h 823468"/>
              <a:gd name="connsiteX1308" fmla="*/ 8502626 w 12248682"/>
              <a:gd name="connsiteY1308" fmla="*/ 483918 h 823468"/>
              <a:gd name="connsiteX1309" fmla="*/ 8553443 w 12248682"/>
              <a:gd name="connsiteY1309" fmla="*/ 433101 h 823468"/>
              <a:gd name="connsiteX1310" fmla="*/ 6178898 w 12248682"/>
              <a:gd name="connsiteY1310" fmla="*/ 433101 h 823468"/>
              <a:gd name="connsiteX1311" fmla="*/ 6229715 w 12248682"/>
              <a:gd name="connsiteY1311" fmla="*/ 483918 h 823468"/>
              <a:gd name="connsiteX1312" fmla="*/ 6178898 w 12248682"/>
              <a:gd name="connsiteY1312" fmla="*/ 534735 h 823468"/>
              <a:gd name="connsiteX1313" fmla="*/ 6128081 w 12248682"/>
              <a:gd name="connsiteY1313" fmla="*/ 483918 h 823468"/>
              <a:gd name="connsiteX1314" fmla="*/ 6178898 w 12248682"/>
              <a:gd name="connsiteY1314" fmla="*/ 433101 h 823468"/>
              <a:gd name="connsiteX1315" fmla="*/ 5060922 w 12248682"/>
              <a:gd name="connsiteY1315" fmla="*/ 433101 h 823468"/>
              <a:gd name="connsiteX1316" fmla="*/ 5111739 w 12248682"/>
              <a:gd name="connsiteY1316" fmla="*/ 483918 h 823468"/>
              <a:gd name="connsiteX1317" fmla="*/ 5060922 w 12248682"/>
              <a:gd name="connsiteY1317" fmla="*/ 534735 h 823468"/>
              <a:gd name="connsiteX1318" fmla="*/ 5010105 w 12248682"/>
              <a:gd name="connsiteY1318" fmla="*/ 483918 h 823468"/>
              <a:gd name="connsiteX1319" fmla="*/ 5060922 w 12248682"/>
              <a:gd name="connsiteY1319" fmla="*/ 433101 h 823468"/>
              <a:gd name="connsiteX1320" fmla="*/ 3940636 w 12248682"/>
              <a:gd name="connsiteY1320" fmla="*/ 433101 h 823468"/>
              <a:gd name="connsiteX1321" fmla="*/ 3991453 w 12248682"/>
              <a:gd name="connsiteY1321" fmla="*/ 483918 h 823468"/>
              <a:gd name="connsiteX1322" fmla="*/ 3940636 w 12248682"/>
              <a:gd name="connsiteY1322" fmla="*/ 534735 h 823468"/>
              <a:gd name="connsiteX1323" fmla="*/ 3889819 w 12248682"/>
              <a:gd name="connsiteY1323" fmla="*/ 483918 h 823468"/>
              <a:gd name="connsiteX1324" fmla="*/ 3940636 w 12248682"/>
              <a:gd name="connsiteY1324" fmla="*/ 433101 h 823468"/>
              <a:gd name="connsiteX1325" fmla="*/ 1566091 w 12248682"/>
              <a:gd name="connsiteY1325" fmla="*/ 433101 h 823468"/>
              <a:gd name="connsiteX1326" fmla="*/ 1616908 w 12248682"/>
              <a:gd name="connsiteY1326" fmla="*/ 483918 h 823468"/>
              <a:gd name="connsiteX1327" fmla="*/ 1566091 w 12248682"/>
              <a:gd name="connsiteY1327" fmla="*/ 534735 h 823468"/>
              <a:gd name="connsiteX1328" fmla="*/ 1515274 w 12248682"/>
              <a:gd name="connsiteY1328" fmla="*/ 483918 h 823468"/>
              <a:gd name="connsiteX1329" fmla="*/ 1566091 w 12248682"/>
              <a:gd name="connsiteY1329" fmla="*/ 433101 h 823468"/>
              <a:gd name="connsiteX1330" fmla="*/ 448115 w 12248682"/>
              <a:gd name="connsiteY1330" fmla="*/ 433101 h 823468"/>
              <a:gd name="connsiteX1331" fmla="*/ 498932 w 12248682"/>
              <a:gd name="connsiteY1331" fmla="*/ 483918 h 823468"/>
              <a:gd name="connsiteX1332" fmla="*/ 448115 w 12248682"/>
              <a:gd name="connsiteY1332" fmla="*/ 534735 h 823468"/>
              <a:gd name="connsiteX1333" fmla="*/ 397298 w 12248682"/>
              <a:gd name="connsiteY1333" fmla="*/ 483918 h 823468"/>
              <a:gd name="connsiteX1334" fmla="*/ 448115 w 12248682"/>
              <a:gd name="connsiteY1334" fmla="*/ 433101 h 823468"/>
              <a:gd name="connsiteX1335" fmla="*/ 12210569 w 12248682"/>
              <a:gd name="connsiteY1335" fmla="*/ 319917 h 823468"/>
              <a:gd name="connsiteX1336" fmla="*/ 12231358 w 12248682"/>
              <a:gd name="connsiteY1336" fmla="*/ 340706 h 823468"/>
              <a:gd name="connsiteX1337" fmla="*/ 12210569 w 12248682"/>
              <a:gd name="connsiteY1337" fmla="*/ 361495 h 823468"/>
              <a:gd name="connsiteX1338" fmla="*/ 12189780 w 12248682"/>
              <a:gd name="connsiteY1338" fmla="*/ 340706 h 823468"/>
              <a:gd name="connsiteX1339" fmla="*/ 12210569 w 12248682"/>
              <a:gd name="connsiteY1339" fmla="*/ 319917 h 823468"/>
              <a:gd name="connsiteX1340" fmla="*/ 12071977 w 12248682"/>
              <a:gd name="connsiteY1340" fmla="*/ 319917 h 823468"/>
              <a:gd name="connsiteX1341" fmla="*/ 12092766 w 12248682"/>
              <a:gd name="connsiteY1341" fmla="*/ 340706 h 823468"/>
              <a:gd name="connsiteX1342" fmla="*/ 12071977 w 12248682"/>
              <a:gd name="connsiteY1342" fmla="*/ 361495 h 823468"/>
              <a:gd name="connsiteX1343" fmla="*/ 12051188 w 12248682"/>
              <a:gd name="connsiteY1343" fmla="*/ 340706 h 823468"/>
              <a:gd name="connsiteX1344" fmla="*/ 12071977 w 12248682"/>
              <a:gd name="connsiteY1344" fmla="*/ 319917 h 823468"/>
              <a:gd name="connsiteX1345" fmla="*/ 11934539 w 12248682"/>
              <a:gd name="connsiteY1345" fmla="*/ 319917 h 823468"/>
              <a:gd name="connsiteX1346" fmla="*/ 11955328 w 12248682"/>
              <a:gd name="connsiteY1346" fmla="*/ 340706 h 823468"/>
              <a:gd name="connsiteX1347" fmla="*/ 11934539 w 12248682"/>
              <a:gd name="connsiteY1347" fmla="*/ 361495 h 823468"/>
              <a:gd name="connsiteX1348" fmla="*/ 11913750 w 12248682"/>
              <a:gd name="connsiteY1348" fmla="*/ 340706 h 823468"/>
              <a:gd name="connsiteX1349" fmla="*/ 11934539 w 12248682"/>
              <a:gd name="connsiteY1349" fmla="*/ 319917 h 823468"/>
              <a:gd name="connsiteX1350" fmla="*/ 11797103 w 12248682"/>
              <a:gd name="connsiteY1350" fmla="*/ 319917 h 823468"/>
              <a:gd name="connsiteX1351" fmla="*/ 11817892 w 12248682"/>
              <a:gd name="connsiteY1351" fmla="*/ 340706 h 823468"/>
              <a:gd name="connsiteX1352" fmla="*/ 11797103 w 12248682"/>
              <a:gd name="connsiteY1352" fmla="*/ 361495 h 823468"/>
              <a:gd name="connsiteX1353" fmla="*/ 11776314 w 12248682"/>
              <a:gd name="connsiteY1353" fmla="*/ 340706 h 823468"/>
              <a:gd name="connsiteX1354" fmla="*/ 11797103 w 12248682"/>
              <a:gd name="connsiteY1354" fmla="*/ 319917 h 823468"/>
              <a:gd name="connsiteX1355" fmla="*/ 10645633 w 12248682"/>
              <a:gd name="connsiteY1355" fmla="*/ 319917 h 823468"/>
              <a:gd name="connsiteX1356" fmla="*/ 10666422 w 12248682"/>
              <a:gd name="connsiteY1356" fmla="*/ 340706 h 823468"/>
              <a:gd name="connsiteX1357" fmla="*/ 10645633 w 12248682"/>
              <a:gd name="connsiteY1357" fmla="*/ 361495 h 823468"/>
              <a:gd name="connsiteX1358" fmla="*/ 10624844 w 12248682"/>
              <a:gd name="connsiteY1358" fmla="*/ 340706 h 823468"/>
              <a:gd name="connsiteX1359" fmla="*/ 10645633 w 12248682"/>
              <a:gd name="connsiteY1359" fmla="*/ 319917 h 823468"/>
              <a:gd name="connsiteX1360" fmla="*/ 9247008 w 12248682"/>
              <a:gd name="connsiteY1360" fmla="*/ 319917 h 823468"/>
              <a:gd name="connsiteX1361" fmla="*/ 9267797 w 12248682"/>
              <a:gd name="connsiteY1361" fmla="*/ 340706 h 823468"/>
              <a:gd name="connsiteX1362" fmla="*/ 9247008 w 12248682"/>
              <a:gd name="connsiteY1362" fmla="*/ 361495 h 823468"/>
              <a:gd name="connsiteX1363" fmla="*/ 9226219 w 12248682"/>
              <a:gd name="connsiteY1363" fmla="*/ 340706 h 823468"/>
              <a:gd name="connsiteX1364" fmla="*/ 9247008 w 12248682"/>
              <a:gd name="connsiteY1364" fmla="*/ 319917 h 823468"/>
              <a:gd name="connsiteX1365" fmla="*/ 8148062 w 12248682"/>
              <a:gd name="connsiteY1365" fmla="*/ 319917 h 823468"/>
              <a:gd name="connsiteX1366" fmla="*/ 8168851 w 12248682"/>
              <a:gd name="connsiteY1366" fmla="*/ 340706 h 823468"/>
              <a:gd name="connsiteX1367" fmla="*/ 8148062 w 12248682"/>
              <a:gd name="connsiteY1367" fmla="*/ 361495 h 823468"/>
              <a:gd name="connsiteX1368" fmla="*/ 8127274 w 12248682"/>
              <a:gd name="connsiteY1368" fmla="*/ 340706 h 823468"/>
              <a:gd name="connsiteX1369" fmla="*/ 8148062 w 12248682"/>
              <a:gd name="connsiteY1369" fmla="*/ 319917 h 823468"/>
              <a:gd name="connsiteX1370" fmla="*/ 8009471 w 12248682"/>
              <a:gd name="connsiteY1370" fmla="*/ 319917 h 823468"/>
              <a:gd name="connsiteX1371" fmla="*/ 8030259 w 12248682"/>
              <a:gd name="connsiteY1371" fmla="*/ 340706 h 823468"/>
              <a:gd name="connsiteX1372" fmla="*/ 8009471 w 12248682"/>
              <a:gd name="connsiteY1372" fmla="*/ 361495 h 823468"/>
              <a:gd name="connsiteX1373" fmla="*/ 7988682 w 12248682"/>
              <a:gd name="connsiteY1373" fmla="*/ 340706 h 823468"/>
              <a:gd name="connsiteX1374" fmla="*/ 8009471 w 12248682"/>
              <a:gd name="connsiteY1374" fmla="*/ 319917 h 823468"/>
              <a:gd name="connsiteX1375" fmla="*/ 7872031 w 12248682"/>
              <a:gd name="connsiteY1375" fmla="*/ 319917 h 823468"/>
              <a:gd name="connsiteX1376" fmla="*/ 7892822 w 12248682"/>
              <a:gd name="connsiteY1376" fmla="*/ 340706 h 823468"/>
              <a:gd name="connsiteX1377" fmla="*/ 7872031 w 12248682"/>
              <a:gd name="connsiteY1377" fmla="*/ 361495 h 823468"/>
              <a:gd name="connsiteX1378" fmla="*/ 7851244 w 12248682"/>
              <a:gd name="connsiteY1378" fmla="*/ 340706 h 823468"/>
              <a:gd name="connsiteX1379" fmla="*/ 7872031 w 12248682"/>
              <a:gd name="connsiteY1379" fmla="*/ 319917 h 823468"/>
              <a:gd name="connsiteX1380" fmla="*/ 7713807 w 12248682"/>
              <a:gd name="connsiteY1380" fmla="*/ 319917 h 823468"/>
              <a:gd name="connsiteX1381" fmla="*/ 7734596 w 12248682"/>
              <a:gd name="connsiteY1381" fmla="*/ 340706 h 823468"/>
              <a:gd name="connsiteX1382" fmla="*/ 7713807 w 12248682"/>
              <a:gd name="connsiteY1382" fmla="*/ 361495 h 823468"/>
              <a:gd name="connsiteX1383" fmla="*/ 7693019 w 12248682"/>
              <a:gd name="connsiteY1383" fmla="*/ 340706 h 823468"/>
              <a:gd name="connsiteX1384" fmla="*/ 7713807 w 12248682"/>
              <a:gd name="connsiteY1384" fmla="*/ 319917 h 823468"/>
              <a:gd name="connsiteX1385" fmla="*/ 7605244 w 12248682"/>
              <a:gd name="connsiteY1385" fmla="*/ 319917 h 823468"/>
              <a:gd name="connsiteX1386" fmla="*/ 7626031 w 12248682"/>
              <a:gd name="connsiteY1386" fmla="*/ 340706 h 823468"/>
              <a:gd name="connsiteX1387" fmla="*/ 7605244 w 12248682"/>
              <a:gd name="connsiteY1387" fmla="*/ 361495 h 823468"/>
              <a:gd name="connsiteX1388" fmla="*/ 7584454 w 12248682"/>
              <a:gd name="connsiteY1388" fmla="*/ 340706 h 823468"/>
              <a:gd name="connsiteX1389" fmla="*/ 7605244 w 12248682"/>
              <a:gd name="connsiteY1389" fmla="*/ 319917 h 823468"/>
              <a:gd name="connsiteX1390" fmla="*/ 7466651 w 12248682"/>
              <a:gd name="connsiteY1390" fmla="*/ 319917 h 823468"/>
              <a:gd name="connsiteX1391" fmla="*/ 7487439 w 12248682"/>
              <a:gd name="connsiteY1391" fmla="*/ 340706 h 823468"/>
              <a:gd name="connsiteX1392" fmla="*/ 7466651 w 12248682"/>
              <a:gd name="connsiteY1392" fmla="*/ 361495 h 823468"/>
              <a:gd name="connsiteX1393" fmla="*/ 7445863 w 12248682"/>
              <a:gd name="connsiteY1393" fmla="*/ 340706 h 823468"/>
              <a:gd name="connsiteX1394" fmla="*/ 7466651 w 12248682"/>
              <a:gd name="connsiteY1394" fmla="*/ 319917 h 823468"/>
              <a:gd name="connsiteX1395" fmla="*/ 7329213 w 12248682"/>
              <a:gd name="connsiteY1395" fmla="*/ 319917 h 823468"/>
              <a:gd name="connsiteX1396" fmla="*/ 7350002 w 12248682"/>
              <a:gd name="connsiteY1396" fmla="*/ 340706 h 823468"/>
              <a:gd name="connsiteX1397" fmla="*/ 7329213 w 12248682"/>
              <a:gd name="connsiteY1397" fmla="*/ 361495 h 823468"/>
              <a:gd name="connsiteX1398" fmla="*/ 7308425 w 12248682"/>
              <a:gd name="connsiteY1398" fmla="*/ 340706 h 823468"/>
              <a:gd name="connsiteX1399" fmla="*/ 7329213 w 12248682"/>
              <a:gd name="connsiteY1399" fmla="*/ 319917 h 823468"/>
              <a:gd name="connsiteX1400" fmla="*/ 7191777 w 12248682"/>
              <a:gd name="connsiteY1400" fmla="*/ 319917 h 823468"/>
              <a:gd name="connsiteX1401" fmla="*/ 7212566 w 12248682"/>
              <a:gd name="connsiteY1401" fmla="*/ 340706 h 823468"/>
              <a:gd name="connsiteX1402" fmla="*/ 7191777 w 12248682"/>
              <a:gd name="connsiteY1402" fmla="*/ 361495 h 823468"/>
              <a:gd name="connsiteX1403" fmla="*/ 7170987 w 12248682"/>
              <a:gd name="connsiteY1403" fmla="*/ 340706 h 823468"/>
              <a:gd name="connsiteX1404" fmla="*/ 7191777 w 12248682"/>
              <a:gd name="connsiteY1404" fmla="*/ 319917 h 823468"/>
              <a:gd name="connsiteX1405" fmla="*/ 6040307 w 12248682"/>
              <a:gd name="connsiteY1405" fmla="*/ 319917 h 823468"/>
              <a:gd name="connsiteX1406" fmla="*/ 6061095 w 12248682"/>
              <a:gd name="connsiteY1406" fmla="*/ 340706 h 823468"/>
              <a:gd name="connsiteX1407" fmla="*/ 6040307 w 12248682"/>
              <a:gd name="connsiteY1407" fmla="*/ 361495 h 823468"/>
              <a:gd name="connsiteX1408" fmla="*/ 6019518 w 12248682"/>
              <a:gd name="connsiteY1408" fmla="*/ 340706 h 823468"/>
              <a:gd name="connsiteX1409" fmla="*/ 6040307 w 12248682"/>
              <a:gd name="connsiteY1409" fmla="*/ 319917 h 823468"/>
              <a:gd name="connsiteX1410" fmla="*/ 4641682 w 12248682"/>
              <a:gd name="connsiteY1410" fmla="*/ 319917 h 823468"/>
              <a:gd name="connsiteX1411" fmla="*/ 4662471 w 12248682"/>
              <a:gd name="connsiteY1411" fmla="*/ 340706 h 823468"/>
              <a:gd name="connsiteX1412" fmla="*/ 4641682 w 12248682"/>
              <a:gd name="connsiteY1412" fmla="*/ 361495 h 823468"/>
              <a:gd name="connsiteX1413" fmla="*/ 4620893 w 12248682"/>
              <a:gd name="connsiteY1413" fmla="*/ 340706 h 823468"/>
              <a:gd name="connsiteX1414" fmla="*/ 4641682 w 12248682"/>
              <a:gd name="connsiteY1414" fmla="*/ 319917 h 823468"/>
              <a:gd name="connsiteX1415" fmla="*/ 3535254 w 12248682"/>
              <a:gd name="connsiteY1415" fmla="*/ 319917 h 823468"/>
              <a:gd name="connsiteX1416" fmla="*/ 3556043 w 12248682"/>
              <a:gd name="connsiteY1416" fmla="*/ 340706 h 823468"/>
              <a:gd name="connsiteX1417" fmla="*/ 3535254 w 12248682"/>
              <a:gd name="connsiteY1417" fmla="*/ 361495 h 823468"/>
              <a:gd name="connsiteX1418" fmla="*/ 3514466 w 12248682"/>
              <a:gd name="connsiteY1418" fmla="*/ 340706 h 823468"/>
              <a:gd name="connsiteX1419" fmla="*/ 3535254 w 12248682"/>
              <a:gd name="connsiteY1419" fmla="*/ 319917 h 823468"/>
              <a:gd name="connsiteX1420" fmla="*/ 3396662 w 12248682"/>
              <a:gd name="connsiteY1420" fmla="*/ 319917 h 823468"/>
              <a:gd name="connsiteX1421" fmla="*/ 3417451 w 12248682"/>
              <a:gd name="connsiteY1421" fmla="*/ 340706 h 823468"/>
              <a:gd name="connsiteX1422" fmla="*/ 3396662 w 12248682"/>
              <a:gd name="connsiteY1422" fmla="*/ 361495 h 823468"/>
              <a:gd name="connsiteX1423" fmla="*/ 3375874 w 12248682"/>
              <a:gd name="connsiteY1423" fmla="*/ 340706 h 823468"/>
              <a:gd name="connsiteX1424" fmla="*/ 3396662 w 12248682"/>
              <a:gd name="connsiteY1424" fmla="*/ 319917 h 823468"/>
              <a:gd name="connsiteX1425" fmla="*/ 3259224 w 12248682"/>
              <a:gd name="connsiteY1425" fmla="*/ 319917 h 823468"/>
              <a:gd name="connsiteX1426" fmla="*/ 3280013 w 12248682"/>
              <a:gd name="connsiteY1426" fmla="*/ 340706 h 823468"/>
              <a:gd name="connsiteX1427" fmla="*/ 3259224 w 12248682"/>
              <a:gd name="connsiteY1427" fmla="*/ 361495 h 823468"/>
              <a:gd name="connsiteX1428" fmla="*/ 3238436 w 12248682"/>
              <a:gd name="connsiteY1428" fmla="*/ 340706 h 823468"/>
              <a:gd name="connsiteX1429" fmla="*/ 3259224 w 12248682"/>
              <a:gd name="connsiteY1429" fmla="*/ 319917 h 823468"/>
              <a:gd name="connsiteX1430" fmla="*/ 3100999 w 12248682"/>
              <a:gd name="connsiteY1430" fmla="*/ 319917 h 823468"/>
              <a:gd name="connsiteX1431" fmla="*/ 3121789 w 12248682"/>
              <a:gd name="connsiteY1431" fmla="*/ 340706 h 823468"/>
              <a:gd name="connsiteX1432" fmla="*/ 3100999 w 12248682"/>
              <a:gd name="connsiteY1432" fmla="*/ 361495 h 823468"/>
              <a:gd name="connsiteX1433" fmla="*/ 3080212 w 12248682"/>
              <a:gd name="connsiteY1433" fmla="*/ 340706 h 823468"/>
              <a:gd name="connsiteX1434" fmla="*/ 3100999 w 12248682"/>
              <a:gd name="connsiteY1434" fmla="*/ 319917 h 823468"/>
              <a:gd name="connsiteX1435" fmla="*/ 2992435 w 12248682"/>
              <a:gd name="connsiteY1435" fmla="*/ 319917 h 823468"/>
              <a:gd name="connsiteX1436" fmla="*/ 3013224 w 12248682"/>
              <a:gd name="connsiteY1436" fmla="*/ 340706 h 823468"/>
              <a:gd name="connsiteX1437" fmla="*/ 2992435 w 12248682"/>
              <a:gd name="connsiteY1437" fmla="*/ 361495 h 823468"/>
              <a:gd name="connsiteX1438" fmla="*/ 2971647 w 12248682"/>
              <a:gd name="connsiteY1438" fmla="*/ 340706 h 823468"/>
              <a:gd name="connsiteX1439" fmla="*/ 2992435 w 12248682"/>
              <a:gd name="connsiteY1439" fmla="*/ 319917 h 823468"/>
              <a:gd name="connsiteX1440" fmla="*/ 2853843 w 12248682"/>
              <a:gd name="connsiteY1440" fmla="*/ 319917 h 823468"/>
              <a:gd name="connsiteX1441" fmla="*/ 2874633 w 12248682"/>
              <a:gd name="connsiteY1441" fmla="*/ 340706 h 823468"/>
              <a:gd name="connsiteX1442" fmla="*/ 2853843 w 12248682"/>
              <a:gd name="connsiteY1442" fmla="*/ 361495 h 823468"/>
              <a:gd name="connsiteX1443" fmla="*/ 2833056 w 12248682"/>
              <a:gd name="connsiteY1443" fmla="*/ 340706 h 823468"/>
              <a:gd name="connsiteX1444" fmla="*/ 2853843 w 12248682"/>
              <a:gd name="connsiteY1444" fmla="*/ 319917 h 823468"/>
              <a:gd name="connsiteX1445" fmla="*/ 2716405 w 12248682"/>
              <a:gd name="connsiteY1445" fmla="*/ 319917 h 823468"/>
              <a:gd name="connsiteX1446" fmla="*/ 2737195 w 12248682"/>
              <a:gd name="connsiteY1446" fmla="*/ 340706 h 823468"/>
              <a:gd name="connsiteX1447" fmla="*/ 2716405 w 12248682"/>
              <a:gd name="connsiteY1447" fmla="*/ 361495 h 823468"/>
              <a:gd name="connsiteX1448" fmla="*/ 2695618 w 12248682"/>
              <a:gd name="connsiteY1448" fmla="*/ 340706 h 823468"/>
              <a:gd name="connsiteX1449" fmla="*/ 2716405 w 12248682"/>
              <a:gd name="connsiteY1449" fmla="*/ 319917 h 823468"/>
              <a:gd name="connsiteX1450" fmla="*/ 2578969 w 12248682"/>
              <a:gd name="connsiteY1450" fmla="*/ 319917 h 823468"/>
              <a:gd name="connsiteX1451" fmla="*/ 2599758 w 12248682"/>
              <a:gd name="connsiteY1451" fmla="*/ 340706 h 823468"/>
              <a:gd name="connsiteX1452" fmla="*/ 2578969 w 12248682"/>
              <a:gd name="connsiteY1452" fmla="*/ 361495 h 823468"/>
              <a:gd name="connsiteX1453" fmla="*/ 2558180 w 12248682"/>
              <a:gd name="connsiteY1453" fmla="*/ 340706 h 823468"/>
              <a:gd name="connsiteX1454" fmla="*/ 2578969 w 12248682"/>
              <a:gd name="connsiteY1454" fmla="*/ 319917 h 823468"/>
              <a:gd name="connsiteX1455" fmla="*/ 1427499 w 12248682"/>
              <a:gd name="connsiteY1455" fmla="*/ 319917 h 823468"/>
              <a:gd name="connsiteX1456" fmla="*/ 1448288 w 12248682"/>
              <a:gd name="connsiteY1456" fmla="*/ 340706 h 823468"/>
              <a:gd name="connsiteX1457" fmla="*/ 1427499 w 12248682"/>
              <a:gd name="connsiteY1457" fmla="*/ 361495 h 823468"/>
              <a:gd name="connsiteX1458" fmla="*/ 1406710 w 12248682"/>
              <a:gd name="connsiteY1458" fmla="*/ 340706 h 823468"/>
              <a:gd name="connsiteX1459" fmla="*/ 1427499 w 12248682"/>
              <a:gd name="connsiteY1459" fmla="*/ 319917 h 823468"/>
              <a:gd name="connsiteX1460" fmla="*/ 28874 w 12248682"/>
              <a:gd name="connsiteY1460" fmla="*/ 319917 h 823468"/>
              <a:gd name="connsiteX1461" fmla="*/ 49663 w 12248682"/>
              <a:gd name="connsiteY1461" fmla="*/ 340706 h 823468"/>
              <a:gd name="connsiteX1462" fmla="*/ 28874 w 12248682"/>
              <a:gd name="connsiteY1462" fmla="*/ 361495 h 823468"/>
              <a:gd name="connsiteX1463" fmla="*/ 8085 w 12248682"/>
              <a:gd name="connsiteY1463" fmla="*/ 340706 h 823468"/>
              <a:gd name="connsiteX1464" fmla="*/ 28874 w 12248682"/>
              <a:gd name="connsiteY1464" fmla="*/ 319917 h 823468"/>
              <a:gd name="connsiteX1465" fmla="*/ 11658510 w 12248682"/>
              <a:gd name="connsiteY1465" fmla="*/ 316452 h 823468"/>
              <a:gd name="connsiteX1466" fmla="*/ 11681609 w 12248682"/>
              <a:gd name="connsiteY1466" fmla="*/ 339551 h 823468"/>
              <a:gd name="connsiteX1467" fmla="*/ 11658510 w 12248682"/>
              <a:gd name="connsiteY1467" fmla="*/ 362649 h 823468"/>
              <a:gd name="connsiteX1468" fmla="*/ 11635412 w 12248682"/>
              <a:gd name="connsiteY1468" fmla="*/ 339551 h 823468"/>
              <a:gd name="connsiteX1469" fmla="*/ 11658510 w 12248682"/>
              <a:gd name="connsiteY1469" fmla="*/ 316452 h 823468"/>
              <a:gd name="connsiteX1470" fmla="*/ 10508196 w 12248682"/>
              <a:gd name="connsiteY1470" fmla="*/ 316452 h 823468"/>
              <a:gd name="connsiteX1471" fmla="*/ 10531295 w 12248682"/>
              <a:gd name="connsiteY1471" fmla="*/ 339551 h 823468"/>
              <a:gd name="connsiteX1472" fmla="*/ 10508196 w 12248682"/>
              <a:gd name="connsiteY1472" fmla="*/ 362649 h 823468"/>
              <a:gd name="connsiteX1473" fmla="*/ 10485098 w 12248682"/>
              <a:gd name="connsiteY1473" fmla="*/ 339551 h 823468"/>
              <a:gd name="connsiteX1474" fmla="*/ 10508196 w 12248682"/>
              <a:gd name="connsiteY1474" fmla="*/ 316452 h 823468"/>
              <a:gd name="connsiteX1475" fmla="*/ 9405233 w 12248682"/>
              <a:gd name="connsiteY1475" fmla="*/ 316452 h 823468"/>
              <a:gd name="connsiteX1476" fmla="*/ 9428332 w 12248682"/>
              <a:gd name="connsiteY1476" fmla="*/ 339551 h 823468"/>
              <a:gd name="connsiteX1477" fmla="*/ 9405233 w 12248682"/>
              <a:gd name="connsiteY1477" fmla="*/ 362649 h 823468"/>
              <a:gd name="connsiteX1478" fmla="*/ 9382135 w 12248682"/>
              <a:gd name="connsiteY1478" fmla="*/ 339551 h 823468"/>
              <a:gd name="connsiteX1479" fmla="*/ 9405233 w 12248682"/>
              <a:gd name="connsiteY1479" fmla="*/ 316452 h 823468"/>
              <a:gd name="connsiteX1480" fmla="*/ 8285498 w 12248682"/>
              <a:gd name="connsiteY1480" fmla="*/ 316452 h 823468"/>
              <a:gd name="connsiteX1481" fmla="*/ 8308598 w 12248682"/>
              <a:gd name="connsiteY1481" fmla="*/ 339551 h 823468"/>
              <a:gd name="connsiteX1482" fmla="*/ 8285498 w 12248682"/>
              <a:gd name="connsiteY1482" fmla="*/ 362649 h 823468"/>
              <a:gd name="connsiteX1483" fmla="*/ 8262401 w 12248682"/>
              <a:gd name="connsiteY1483" fmla="*/ 339551 h 823468"/>
              <a:gd name="connsiteX1484" fmla="*/ 8285498 w 12248682"/>
              <a:gd name="connsiteY1484" fmla="*/ 316452 h 823468"/>
              <a:gd name="connsiteX1485" fmla="*/ 7053184 w 12248682"/>
              <a:gd name="connsiteY1485" fmla="*/ 316452 h 823468"/>
              <a:gd name="connsiteX1486" fmla="*/ 7076283 w 12248682"/>
              <a:gd name="connsiteY1486" fmla="*/ 339551 h 823468"/>
              <a:gd name="connsiteX1487" fmla="*/ 7053184 w 12248682"/>
              <a:gd name="connsiteY1487" fmla="*/ 362649 h 823468"/>
              <a:gd name="connsiteX1488" fmla="*/ 7030086 w 12248682"/>
              <a:gd name="connsiteY1488" fmla="*/ 339551 h 823468"/>
              <a:gd name="connsiteX1489" fmla="*/ 7053184 w 12248682"/>
              <a:gd name="connsiteY1489" fmla="*/ 316452 h 823468"/>
              <a:gd name="connsiteX1490" fmla="*/ 5902869 w 12248682"/>
              <a:gd name="connsiteY1490" fmla="*/ 316452 h 823468"/>
              <a:gd name="connsiteX1491" fmla="*/ 5925969 w 12248682"/>
              <a:gd name="connsiteY1491" fmla="*/ 339551 h 823468"/>
              <a:gd name="connsiteX1492" fmla="*/ 5902869 w 12248682"/>
              <a:gd name="connsiteY1492" fmla="*/ 362649 h 823468"/>
              <a:gd name="connsiteX1493" fmla="*/ 5879771 w 12248682"/>
              <a:gd name="connsiteY1493" fmla="*/ 339551 h 823468"/>
              <a:gd name="connsiteX1494" fmla="*/ 5902869 w 12248682"/>
              <a:gd name="connsiteY1494" fmla="*/ 316452 h 823468"/>
              <a:gd name="connsiteX1495" fmla="*/ 4799906 w 12248682"/>
              <a:gd name="connsiteY1495" fmla="*/ 316452 h 823468"/>
              <a:gd name="connsiteX1496" fmla="*/ 4823006 w 12248682"/>
              <a:gd name="connsiteY1496" fmla="*/ 339551 h 823468"/>
              <a:gd name="connsiteX1497" fmla="*/ 4799906 w 12248682"/>
              <a:gd name="connsiteY1497" fmla="*/ 362649 h 823468"/>
              <a:gd name="connsiteX1498" fmla="*/ 4776809 w 12248682"/>
              <a:gd name="connsiteY1498" fmla="*/ 339551 h 823468"/>
              <a:gd name="connsiteX1499" fmla="*/ 4799906 w 12248682"/>
              <a:gd name="connsiteY1499" fmla="*/ 316452 h 823468"/>
              <a:gd name="connsiteX1500" fmla="*/ 3672691 w 12248682"/>
              <a:gd name="connsiteY1500" fmla="*/ 316452 h 823468"/>
              <a:gd name="connsiteX1501" fmla="*/ 3695791 w 12248682"/>
              <a:gd name="connsiteY1501" fmla="*/ 339551 h 823468"/>
              <a:gd name="connsiteX1502" fmla="*/ 3672691 w 12248682"/>
              <a:gd name="connsiteY1502" fmla="*/ 362649 h 823468"/>
              <a:gd name="connsiteX1503" fmla="*/ 3649592 w 12248682"/>
              <a:gd name="connsiteY1503" fmla="*/ 339551 h 823468"/>
              <a:gd name="connsiteX1504" fmla="*/ 3672691 w 12248682"/>
              <a:gd name="connsiteY1504" fmla="*/ 316452 h 823468"/>
              <a:gd name="connsiteX1505" fmla="*/ 2440377 w 12248682"/>
              <a:gd name="connsiteY1505" fmla="*/ 316452 h 823468"/>
              <a:gd name="connsiteX1506" fmla="*/ 2463475 w 12248682"/>
              <a:gd name="connsiteY1506" fmla="*/ 339551 h 823468"/>
              <a:gd name="connsiteX1507" fmla="*/ 2440377 w 12248682"/>
              <a:gd name="connsiteY1507" fmla="*/ 362649 h 823468"/>
              <a:gd name="connsiteX1508" fmla="*/ 2417278 w 12248682"/>
              <a:gd name="connsiteY1508" fmla="*/ 339551 h 823468"/>
              <a:gd name="connsiteX1509" fmla="*/ 2440377 w 12248682"/>
              <a:gd name="connsiteY1509" fmla="*/ 316452 h 823468"/>
              <a:gd name="connsiteX1510" fmla="*/ 1290062 w 12248682"/>
              <a:gd name="connsiteY1510" fmla="*/ 316452 h 823468"/>
              <a:gd name="connsiteX1511" fmla="*/ 1313161 w 12248682"/>
              <a:gd name="connsiteY1511" fmla="*/ 339551 h 823468"/>
              <a:gd name="connsiteX1512" fmla="*/ 1290062 w 12248682"/>
              <a:gd name="connsiteY1512" fmla="*/ 362649 h 823468"/>
              <a:gd name="connsiteX1513" fmla="*/ 1266964 w 12248682"/>
              <a:gd name="connsiteY1513" fmla="*/ 339551 h 823468"/>
              <a:gd name="connsiteX1514" fmla="*/ 1290062 w 12248682"/>
              <a:gd name="connsiteY1514" fmla="*/ 316452 h 823468"/>
              <a:gd name="connsiteX1515" fmla="*/ 187100 w 12248682"/>
              <a:gd name="connsiteY1515" fmla="*/ 316452 h 823468"/>
              <a:gd name="connsiteX1516" fmla="*/ 210198 w 12248682"/>
              <a:gd name="connsiteY1516" fmla="*/ 339551 h 823468"/>
              <a:gd name="connsiteX1517" fmla="*/ 187100 w 12248682"/>
              <a:gd name="connsiteY1517" fmla="*/ 362649 h 823468"/>
              <a:gd name="connsiteX1518" fmla="*/ 164001 w 12248682"/>
              <a:gd name="connsiteY1518" fmla="*/ 339551 h 823468"/>
              <a:gd name="connsiteX1519" fmla="*/ 187100 w 12248682"/>
              <a:gd name="connsiteY1519" fmla="*/ 316452 h 823468"/>
              <a:gd name="connsiteX1520" fmla="*/ 11521073 w 12248682"/>
              <a:gd name="connsiteY1520" fmla="*/ 310678 h 823468"/>
              <a:gd name="connsiteX1521" fmla="*/ 11549947 w 12248682"/>
              <a:gd name="connsiteY1521" fmla="*/ 339551 h 823468"/>
              <a:gd name="connsiteX1522" fmla="*/ 11521073 w 12248682"/>
              <a:gd name="connsiteY1522" fmla="*/ 368425 h 823468"/>
              <a:gd name="connsiteX1523" fmla="*/ 11492200 w 12248682"/>
              <a:gd name="connsiteY1523" fmla="*/ 339551 h 823468"/>
              <a:gd name="connsiteX1524" fmla="*/ 11521073 w 12248682"/>
              <a:gd name="connsiteY1524" fmla="*/ 310678 h 823468"/>
              <a:gd name="connsiteX1525" fmla="*/ 10369604 w 12248682"/>
              <a:gd name="connsiteY1525" fmla="*/ 310678 h 823468"/>
              <a:gd name="connsiteX1526" fmla="*/ 10398477 w 12248682"/>
              <a:gd name="connsiteY1526" fmla="*/ 339551 h 823468"/>
              <a:gd name="connsiteX1527" fmla="*/ 10369604 w 12248682"/>
              <a:gd name="connsiteY1527" fmla="*/ 368425 h 823468"/>
              <a:gd name="connsiteX1528" fmla="*/ 10340730 w 12248682"/>
              <a:gd name="connsiteY1528" fmla="*/ 339551 h 823468"/>
              <a:gd name="connsiteX1529" fmla="*/ 10369604 w 12248682"/>
              <a:gd name="connsiteY1529" fmla="*/ 310678 h 823468"/>
              <a:gd name="connsiteX1530" fmla="*/ 9543825 w 12248682"/>
              <a:gd name="connsiteY1530" fmla="*/ 310678 h 823468"/>
              <a:gd name="connsiteX1531" fmla="*/ 9572699 w 12248682"/>
              <a:gd name="connsiteY1531" fmla="*/ 339551 h 823468"/>
              <a:gd name="connsiteX1532" fmla="*/ 9543825 w 12248682"/>
              <a:gd name="connsiteY1532" fmla="*/ 368425 h 823468"/>
              <a:gd name="connsiteX1533" fmla="*/ 9514953 w 12248682"/>
              <a:gd name="connsiteY1533" fmla="*/ 339551 h 823468"/>
              <a:gd name="connsiteX1534" fmla="*/ 9543825 w 12248682"/>
              <a:gd name="connsiteY1534" fmla="*/ 310678 h 823468"/>
              <a:gd name="connsiteX1535" fmla="*/ 8422936 w 12248682"/>
              <a:gd name="connsiteY1535" fmla="*/ 310678 h 823468"/>
              <a:gd name="connsiteX1536" fmla="*/ 8451809 w 12248682"/>
              <a:gd name="connsiteY1536" fmla="*/ 339551 h 823468"/>
              <a:gd name="connsiteX1537" fmla="*/ 8422936 w 12248682"/>
              <a:gd name="connsiteY1537" fmla="*/ 368425 h 823468"/>
              <a:gd name="connsiteX1538" fmla="*/ 8394062 w 12248682"/>
              <a:gd name="connsiteY1538" fmla="*/ 339551 h 823468"/>
              <a:gd name="connsiteX1539" fmla="*/ 8422936 w 12248682"/>
              <a:gd name="connsiteY1539" fmla="*/ 310678 h 823468"/>
              <a:gd name="connsiteX1540" fmla="*/ 6915746 w 12248682"/>
              <a:gd name="connsiteY1540" fmla="*/ 310678 h 823468"/>
              <a:gd name="connsiteX1541" fmla="*/ 6944621 w 12248682"/>
              <a:gd name="connsiteY1541" fmla="*/ 339551 h 823468"/>
              <a:gd name="connsiteX1542" fmla="*/ 6915746 w 12248682"/>
              <a:gd name="connsiteY1542" fmla="*/ 368425 h 823468"/>
              <a:gd name="connsiteX1543" fmla="*/ 6886873 w 12248682"/>
              <a:gd name="connsiteY1543" fmla="*/ 339551 h 823468"/>
              <a:gd name="connsiteX1544" fmla="*/ 6915746 w 12248682"/>
              <a:gd name="connsiteY1544" fmla="*/ 310678 h 823468"/>
              <a:gd name="connsiteX1545" fmla="*/ 5764278 w 12248682"/>
              <a:gd name="connsiteY1545" fmla="*/ 310678 h 823468"/>
              <a:gd name="connsiteX1546" fmla="*/ 5793151 w 12248682"/>
              <a:gd name="connsiteY1546" fmla="*/ 339551 h 823468"/>
              <a:gd name="connsiteX1547" fmla="*/ 5764278 w 12248682"/>
              <a:gd name="connsiteY1547" fmla="*/ 368425 h 823468"/>
              <a:gd name="connsiteX1548" fmla="*/ 5735405 w 12248682"/>
              <a:gd name="connsiteY1548" fmla="*/ 339551 h 823468"/>
              <a:gd name="connsiteX1549" fmla="*/ 5764278 w 12248682"/>
              <a:gd name="connsiteY1549" fmla="*/ 310678 h 823468"/>
              <a:gd name="connsiteX1550" fmla="*/ 4938500 w 12248682"/>
              <a:gd name="connsiteY1550" fmla="*/ 310678 h 823468"/>
              <a:gd name="connsiteX1551" fmla="*/ 4967373 w 12248682"/>
              <a:gd name="connsiteY1551" fmla="*/ 339551 h 823468"/>
              <a:gd name="connsiteX1552" fmla="*/ 4938500 w 12248682"/>
              <a:gd name="connsiteY1552" fmla="*/ 368425 h 823468"/>
              <a:gd name="connsiteX1553" fmla="*/ 4909627 w 12248682"/>
              <a:gd name="connsiteY1553" fmla="*/ 339551 h 823468"/>
              <a:gd name="connsiteX1554" fmla="*/ 4938500 w 12248682"/>
              <a:gd name="connsiteY1554" fmla="*/ 310678 h 823468"/>
              <a:gd name="connsiteX1555" fmla="*/ 3810129 w 12248682"/>
              <a:gd name="connsiteY1555" fmla="*/ 310678 h 823468"/>
              <a:gd name="connsiteX1556" fmla="*/ 3839002 w 12248682"/>
              <a:gd name="connsiteY1556" fmla="*/ 339551 h 823468"/>
              <a:gd name="connsiteX1557" fmla="*/ 3810129 w 12248682"/>
              <a:gd name="connsiteY1557" fmla="*/ 368425 h 823468"/>
              <a:gd name="connsiteX1558" fmla="*/ 3781255 w 12248682"/>
              <a:gd name="connsiteY1558" fmla="*/ 339551 h 823468"/>
              <a:gd name="connsiteX1559" fmla="*/ 3810129 w 12248682"/>
              <a:gd name="connsiteY1559" fmla="*/ 310678 h 823468"/>
              <a:gd name="connsiteX1560" fmla="*/ 2302939 w 12248682"/>
              <a:gd name="connsiteY1560" fmla="*/ 310678 h 823468"/>
              <a:gd name="connsiteX1561" fmla="*/ 2331813 w 12248682"/>
              <a:gd name="connsiteY1561" fmla="*/ 339551 h 823468"/>
              <a:gd name="connsiteX1562" fmla="*/ 2302939 w 12248682"/>
              <a:gd name="connsiteY1562" fmla="*/ 368425 h 823468"/>
              <a:gd name="connsiteX1563" fmla="*/ 2274067 w 12248682"/>
              <a:gd name="connsiteY1563" fmla="*/ 339551 h 823468"/>
              <a:gd name="connsiteX1564" fmla="*/ 2302939 w 12248682"/>
              <a:gd name="connsiteY1564" fmla="*/ 310678 h 823468"/>
              <a:gd name="connsiteX1565" fmla="*/ 1151470 w 12248682"/>
              <a:gd name="connsiteY1565" fmla="*/ 310678 h 823468"/>
              <a:gd name="connsiteX1566" fmla="*/ 1180343 w 12248682"/>
              <a:gd name="connsiteY1566" fmla="*/ 339551 h 823468"/>
              <a:gd name="connsiteX1567" fmla="*/ 1151470 w 12248682"/>
              <a:gd name="connsiteY1567" fmla="*/ 368425 h 823468"/>
              <a:gd name="connsiteX1568" fmla="*/ 1122596 w 12248682"/>
              <a:gd name="connsiteY1568" fmla="*/ 339551 h 823468"/>
              <a:gd name="connsiteX1569" fmla="*/ 1151470 w 12248682"/>
              <a:gd name="connsiteY1569" fmla="*/ 310678 h 823468"/>
              <a:gd name="connsiteX1570" fmla="*/ 325692 w 12248682"/>
              <a:gd name="connsiteY1570" fmla="*/ 310678 h 823468"/>
              <a:gd name="connsiteX1571" fmla="*/ 354566 w 12248682"/>
              <a:gd name="connsiteY1571" fmla="*/ 339551 h 823468"/>
              <a:gd name="connsiteX1572" fmla="*/ 325692 w 12248682"/>
              <a:gd name="connsiteY1572" fmla="*/ 368425 h 823468"/>
              <a:gd name="connsiteX1573" fmla="*/ 296819 w 12248682"/>
              <a:gd name="connsiteY1573" fmla="*/ 339551 h 823468"/>
              <a:gd name="connsiteX1574" fmla="*/ 325692 w 12248682"/>
              <a:gd name="connsiteY1574" fmla="*/ 310678 h 823468"/>
              <a:gd name="connsiteX1575" fmla="*/ 11383636 w 12248682"/>
              <a:gd name="connsiteY1575" fmla="*/ 304903 h 823468"/>
              <a:gd name="connsiteX1576" fmla="*/ 11418284 w 12248682"/>
              <a:gd name="connsiteY1576" fmla="*/ 339551 h 823468"/>
              <a:gd name="connsiteX1577" fmla="*/ 11383636 w 12248682"/>
              <a:gd name="connsiteY1577" fmla="*/ 374199 h 823468"/>
              <a:gd name="connsiteX1578" fmla="*/ 11348988 w 12248682"/>
              <a:gd name="connsiteY1578" fmla="*/ 339551 h 823468"/>
              <a:gd name="connsiteX1579" fmla="*/ 11383636 w 12248682"/>
              <a:gd name="connsiteY1579" fmla="*/ 304903 h 823468"/>
              <a:gd name="connsiteX1580" fmla="*/ 10811943 w 12248682"/>
              <a:gd name="connsiteY1580" fmla="*/ 304903 h 823468"/>
              <a:gd name="connsiteX1581" fmla="*/ 10846591 w 12248682"/>
              <a:gd name="connsiteY1581" fmla="*/ 339551 h 823468"/>
              <a:gd name="connsiteX1582" fmla="*/ 10811943 w 12248682"/>
              <a:gd name="connsiteY1582" fmla="*/ 374199 h 823468"/>
              <a:gd name="connsiteX1583" fmla="*/ 10777295 w 12248682"/>
              <a:gd name="connsiteY1583" fmla="*/ 339551 h 823468"/>
              <a:gd name="connsiteX1584" fmla="*/ 10811943 w 12248682"/>
              <a:gd name="connsiteY1584" fmla="*/ 304903 h 823468"/>
              <a:gd name="connsiteX1585" fmla="*/ 10232166 w 12248682"/>
              <a:gd name="connsiteY1585" fmla="*/ 304903 h 823468"/>
              <a:gd name="connsiteX1586" fmla="*/ 10266814 w 12248682"/>
              <a:gd name="connsiteY1586" fmla="*/ 339551 h 823468"/>
              <a:gd name="connsiteX1587" fmla="*/ 10232166 w 12248682"/>
              <a:gd name="connsiteY1587" fmla="*/ 374199 h 823468"/>
              <a:gd name="connsiteX1588" fmla="*/ 10197518 w 12248682"/>
              <a:gd name="connsiteY1588" fmla="*/ 339551 h 823468"/>
              <a:gd name="connsiteX1589" fmla="*/ 10232166 w 12248682"/>
              <a:gd name="connsiteY1589" fmla="*/ 304903 h 823468"/>
              <a:gd name="connsiteX1590" fmla="*/ 9681263 w 12248682"/>
              <a:gd name="connsiteY1590" fmla="*/ 304903 h 823468"/>
              <a:gd name="connsiteX1591" fmla="*/ 9715911 w 12248682"/>
              <a:gd name="connsiteY1591" fmla="*/ 339551 h 823468"/>
              <a:gd name="connsiteX1592" fmla="*/ 9681263 w 12248682"/>
              <a:gd name="connsiteY1592" fmla="*/ 374199 h 823468"/>
              <a:gd name="connsiteX1593" fmla="*/ 9646615 w 12248682"/>
              <a:gd name="connsiteY1593" fmla="*/ 339551 h 823468"/>
              <a:gd name="connsiteX1594" fmla="*/ 9681263 w 12248682"/>
              <a:gd name="connsiteY1594" fmla="*/ 304903 h 823468"/>
              <a:gd name="connsiteX1595" fmla="*/ 9112431 w 12248682"/>
              <a:gd name="connsiteY1595" fmla="*/ 304903 h 823468"/>
              <a:gd name="connsiteX1596" fmla="*/ 9147079 w 12248682"/>
              <a:gd name="connsiteY1596" fmla="*/ 339551 h 823468"/>
              <a:gd name="connsiteX1597" fmla="*/ 9112431 w 12248682"/>
              <a:gd name="connsiteY1597" fmla="*/ 374199 h 823468"/>
              <a:gd name="connsiteX1598" fmla="*/ 9077783 w 12248682"/>
              <a:gd name="connsiteY1598" fmla="*/ 339551 h 823468"/>
              <a:gd name="connsiteX1599" fmla="*/ 9112431 w 12248682"/>
              <a:gd name="connsiteY1599" fmla="*/ 304903 h 823468"/>
              <a:gd name="connsiteX1600" fmla="*/ 8561528 w 12248682"/>
              <a:gd name="connsiteY1600" fmla="*/ 304903 h 823468"/>
              <a:gd name="connsiteX1601" fmla="*/ 8596176 w 12248682"/>
              <a:gd name="connsiteY1601" fmla="*/ 339551 h 823468"/>
              <a:gd name="connsiteX1602" fmla="*/ 8561528 w 12248682"/>
              <a:gd name="connsiteY1602" fmla="*/ 374199 h 823468"/>
              <a:gd name="connsiteX1603" fmla="*/ 8526880 w 12248682"/>
              <a:gd name="connsiteY1603" fmla="*/ 339551 h 823468"/>
              <a:gd name="connsiteX1604" fmla="*/ 8561528 w 12248682"/>
              <a:gd name="connsiteY1604" fmla="*/ 304903 h 823468"/>
              <a:gd name="connsiteX1605" fmla="*/ 6778310 w 12248682"/>
              <a:gd name="connsiteY1605" fmla="*/ 304903 h 823468"/>
              <a:gd name="connsiteX1606" fmla="*/ 6812959 w 12248682"/>
              <a:gd name="connsiteY1606" fmla="*/ 339551 h 823468"/>
              <a:gd name="connsiteX1607" fmla="*/ 6778310 w 12248682"/>
              <a:gd name="connsiteY1607" fmla="*/ 374199 h 823468"/>
              <a:gd name="connsiteX1608" fmla="*/ 6743662 w 12248682"/>
              <a:gd name="connsiteY1608" fmla="*/ 339551 h 823468"/>
              <a:gd name="connsiteX1609" fmla="*/ 6778310 w 12248682"/>
              <a:gd name="connsiteY1609" fmla="*/ 304903 h 823468"/>
              <a:gd name="connsiteX1610" fmla="*/ 6206618 w 12248682"/>
              <a:gd name="connsiteY1610" fmla="*/ 304903 h 823468"/>
              <a:gd name="connsiteX1611" fmla="*/ 6241265 w 12248682"/>
              <a:gd name="connsiteY1611" fmla="*/ 339551 h 823468"/>
              <a:gd name="connsiteX1612" fmla="*/ 6206618 w 12248682"/>
              <a:gd name="connsiteY1612" fmla="*/ 374199 h 823468"/>
              <a:gd name="connsiteX1613" fmla="*/ 6171969 w 12248682"/>
              <a:gd name="connsiteY1613" fmla="*/ 339551 h 823468"/>
              <a:gd name="connsiteX1614" fmla="*/ 6206618 w 12248682"/>
              <a:gd name="connsiteY1614" fmla="*/ 304903 h 823468"/>
              <a:gd name="connsiteX1615" fmla="*/ 5626840 w 12248682"/>
              <a:gd name="connsiteY1615" fmla="*/ 304903 h 823468"/>
              <a:gd name="connsiteX1616" fmla="*/ 5661488 w 12248682"/>
              <a:gd name="connsiteY1616" fmla="*/ 339551 h 823468"/>
              <a:gd name="connsiteX1617" fmla="*/ 5626840 w 12248682"/>
              <a:gd name="connsiteY1617" fmla="*/ 374199 h 823468"/>
              <a:gd name="connsiteX1618" fmla="*/ 5592192 w 12248682"/>
              <a:gd name="connsiteY1618" fmla="*/ 339551 h 823468"/>
              <a:gd name="connsiteX1619" fmla="*/ 5626840 w 12248682"/>
              <a:gd name="connsiteY1619" fmla="*/ 304903 h 823468"/>
              <a:gd name="connsiteX1620" fmla="*/ 5075938 w 12248682"/>
              <a:gd name="connsiteY1620" fmla="*/ 304903 h 823468"/>
              <a:gd name="connsiteX1621" fmla="*/ 5110584 w 12248682"/>
              <a:gd name="connsiteY1621" fmla="*/ 339551 h 823468"/>
              <a:gd name="connsiteX1622" fmla="*/ 5075938 w 12248682"/>
              <a:gd name="connsiteY1622" fmla="*/ 374199 h 823468"/>
              <a:gd name="connsiteX1623" fmla="*/ 5041289 w 12248682"/>
              <a:gd name="connsiteY1623" fmla="*/ 339551 h 823468"/>
              <a:gd name="connsiteX1624" fmla="*/ 5075938 w 12248682"/>
              <a:gd name="connsiteY1624" fmla="*/ 304903 h 823468"/>
              <a:gd name="connsiteX1625" fmla="*/ 4499625 w 12248682"/>
              <a:gd name="connsiteY1625" fmla="*/ 304903 h 823468"/>
              <a:gd name="connsiteX1626" fmla="*/ 4534273 w 12248682"/>
              <a:gd name="connsiteY1626" fmla="*/ 339551 h 823468"/>
              <a:gd name="connsiteX1627" fmla="*/ 4499625 w 12248682"/>
              <a:gd name="connsiteY1627" fmla="*/ 374199 h 823468"/>
              <a:gd name="connsiteX1628" fmla="*/ 4464976 w 12248682"/>
              <a:gd name="connsiteY1628" fmla="*/ 339551 h 823468"/>
              <a:gd name="connsiteX1629" fmla="*/ 4499625 w 12248682"/>
              <a:gd name="connsiteY1629" fmla="*/ 304903 h 823468"/>
              <a:gd name="connsiteX1630" fmla="*/ 3948721 w 12248682"/>
              <a:gd name="connsiteY1630" fmla="*/ 304903 h 823468"/>
              <a:gd name="connsiteX1631" fmla="*/ 3983369 w 12248682"/>
              <a:gd name="connsiteY1631" fmla="*/ 339551 h 823468"/>
              <a:gd name="connsiteX1632" fmla="*/ 3948721 w 12248682"/>
              <a:gd name="connsiteY1632" fmla="*/ 374199 h 823468"/>
              <a:gd name="connsiteX1633" fmla="*/ 3914073 w 12248682"/>
              <a:gd name="connsiteY1633" fmla="*/ 339551 h 823468"/>
              <a:gd name="connsiteX1634" fmla="*/ 3948721 w 12248682"/>
              <a:gd name="connsiteY1634" fmla="*/ 304903 h 823468"/>
              <a:gd name="connsiteX1635" fmla="*/ 2165502 w 12248682"/>
              <a:gd name="connsiteY1635" fmla="*/ 304903 h 823468"/>
              <a:gd name="connsiteX1636" fmla="*/ 2200150 w 12248682"/>
              <a:gd name="connsiteY1636" fmla="*/ 339551 h 823468"/>
              <a:gd name="connsiteX1637" fmla="*/ 2165502 w 12248682"/>
              <a:gd name="connsiteY1637" fmla="*/ 374199 h 823468"/>
              <a:gd name="connsiteX1638" fmla="*/ 2130854 w 12248682"/>
              <a:gd name="connsiteY1638" fmla="*/ 339551 h 823468"/>
              <a:gd name="connsiteX1639" fmla="*/ 2165502 w 12248682"/>
              <a:gd name="connsiteY1639" fmla="*/ 304903 h 823468"/>
              <a:gd name="connsiteX1640" fmla="*/ 1593810 w 12248682"/>
              <a:gd name="connsiteY1640" fmla="*/ 304903 h 823468"/>
              <a:gd name="connsiteX1641" fmla="*/ 1628457 w 12248682"/>
              <a:gd name="connsiteY1641" fmla="*/ 339551 h 823468"/>
              <a:gd name="connsiteX1642" fmla="*/ 1593810 w 12248682"/>
              <a:gd name="connsiteY1642" fmla="*/ 374199 h 823468"/>
              <a:gd name="connsiteX1643" fmla="*/ 1559161 w 12248682"/>
              <a:gd name="connsiteY1643" fmla="*/ 339551 h 823468"/>
              <a:gd name="connsiteX1644" fmla="*/ 1593810 w 12248682"/>
              <a:gd name="connsiteY1644" fmla="*/ 304903 h 823468"/>
              <a:gd name="connsiteX1645" fmla="*/ 1014032 w 12248682"/>
              <a:gd name="connsiteY1645" fmla="*/ 304903 h 823468"/>
              <a:gd name="connsiteX1646" fmla="*/ 1048681 w 12248682"/>
              <a:gd name="connsiteY1646" fmla="*/ 339551 h 823468"/>
              <a:gd name="connsiteX1647" fmla="*/ 1014032 w 12248682"/>
              <a:gd name="connsiteY1647" fmla="*/ 374199 h 823468"/>
              <a:gd name="connsiteX1648" fmla="*/ 979384 w 12248682"/>
              <a:gd name="connsiteY1648" fmla="*/ 339551 h 823468"/>
              <a:gd name="connsiteX1649" fmla="*/ 1014032 w 12248682"/>
              <a:gd name="connsiteY1649" fmla="*/ 304903 h 823468"/>
              <a:gd name="connsiteX1650" fmla="*/ 463129 w 12248682"/>
              <a:gd name="connsiteY1650" fmla="*/ 304903 h 823468"/>
              <a:gd name="connsiteX1651" fmla="*/ 497778 w 12248682"/>
              <a:gd name="connsiteY1651" fmla="*/ 339551 h 823468"/>
              <a:gd name="connsiteX1652" fmla="*/ 463129 w 12248682"/>
              <a:gd name="connsiteY1652" fmla="*/ 374199 h 823468"/>
              <a:gd name="connsiteX1653" fmla="*/ 428481 w 12248682"/>
              <a:gd name="connsiteY1653" fmla="*/ 339551 h 823468"/>
              <a:gd name="connsiteX1654" fmla="*/ 463129 w 12248682"/>
              <a:gd name="connsiteY1654" fmla="*/ 304903 h 823468"/>
              <a:gd name="connsiteX1655" fmla="*/ 11245044 w 12248682"/>
              <a:gd name="connsiteY1655" fmla="*/ 299129 h 823468"/>
              <a:gd name="connsiteX1656" fmla="*/ 11285466 w 12248682"/>
              <a:gd name="connsiteY1656" fmla="*/ 339551 h 823468"/>
              <a:gd name="connsiteX1657" fmla="*/ 11245044 w 12248682"/>
              <a:gd name="connsiteY1657" fmla="*/ 379974 h 823468"/>
              <a:gd name="connsiteX1658" fmla="*/ 11204621 w 12248682"/>
              <a:gd name="connsiteY1658" fmla="*/ 339551 h 823468"/>
              <a:gd name="connsiteX1659" fmla="*/ 11245044 w 12248682"/>
              <a:gd name="connsiteY1659" fmla="*/ 299129 h 823468"/>
              <a:gd name="connsiteX1660" fmla="*/ 10970170 w 12248682"/>
              <a:gd name="connsiteY1660" fmla="*/ 299129 h 823468"/>
              <a:gd name="connsiteX1661" fmla="*/ 11010592 w 12248682"/>
              <a:gd name="connsiteY1661" fmla="*/ 339551 h 823468"/>
              <a:gd name="connsiteX1662" fmla="*/ 10970170 w 12248682"/>
              <a:gd name="connsiteY1662" fmla="*/ 379974 h 823468"/>
              <a:gd name="connsiteX1663" fmla="*/ 10929746 w 12248682"/>
              <a:gd name="connsiteY1663" fmla="*/ 339551 h 823468"/>
              <a:gd name="connsiteX1664" fmla="*/ 10970170 w 12248682"/>
              <a:gd name="connsiteY1664" fmla="*/ 299129 h 823468"/>
              <a:gd name="connsiteX1665" fmla="*/ 10094730 w 12248682"/>
              <a:gd name="connsiteY1665" fmla="*/ 299129 h 823468"/>
              <a:gd name="connsiteX1666" fmla="*/ 10135152 w 12248682"/>
              <a:gd name="connsiteY1666" fmla="*/ 339551 h 823468"/>
              <a:gd name="connsiteX1667" fmla="*/ 10094730 w 12248682"/>
              <a:gd name="connsiteY1667" fmla="*/ 379974 h 823468"/>
              <a:gd name="connsiteX1668" fmla="*/ 10054306 w 12248682"/>
              <a:gd name="connsiteY1668" fmla="*/ 339551 h 823468"/>
              <a:gd name="connsiteX1669" fmla="*/ 10094730 w 12248682"/>
              <a:gd name="connsiteY1669" fmla="*/ 299129 h 823468"/>
              <a:gd name="connsiteX1670" fmla="*/ 9818700 w 12248682"/>
              <a:gd name="connsiteY1670" fmla="*/ 299129 h 823468"/>
              <a:gd name="connsiteX1671" fmla="*/ 9859123 w 12248682"/>
              <a:gd name="connsiteY1671" fmla="*/ 340706 h 823468"/>
              <a:gd name="connsiteX1672" fmla="*/ 9818700 w 12248682"/>
              <a:gd name="connsiteY1672" fmla="*/ 381128 h 823468"/>
              <a:gd name="connsiteX1673" fmla="*/ 9778278 w 12248682"/>
              <a:gd name="connsiteY1673" fmla="*/ 339551 h 823468"/>
              <a:gd name="connsiteX1674" fmla="*/ 9818700 w 12248682"/>
              <a:gd name="connsiteY1674" fmla="*/ 299129 h 823468"/>
              <a:gd name="connsiteX1675" fmla="*/ 8974994 w 12248682"/>
              <a:gd name="connsiteY1675" fmla="*/ 299129 h 823468"/>
              <a:gd name="connsiteX1676" fmla="*/ 9015416 w 12248682"/>
              <a:gd name="connsiteY1676" fmla="*/ 339551 h 823468"/>
              <a:gd name="connsiteX1677" fmla="*/ 8974994 w 12248682"/>
              <a:gd name="connsiteY1677" fmla="*/ 379974 h 823468"/>
              <a:gd name="connsiteX1678" fmla="*/ 8934571 w 12248682"/>
              <a:gd name="connsiteY1678" fmla="*/ 339551 h 823468"/>
              <a:gd name="connsiteX1679" fmla="*/ 8974994 w 12248682"/>
              <a:gd name="connsiteY1679" fmla="*/ 299129 h 823468"/>
              <a:gd name="connsiteX1680" fmla="*/ 8698965 w 12248682"/>
              <a:gd name="connsiteY1680" fmla="*/ 299129 h 823468"/>
              <a:gd name="connsiteX1681" fmla="*/ 8739388 w 12248682"/>
              <a:gd name="connsiteY1681" fmla="*/ 339551 h 823468"/>
              <a:gd name="connsiteX1682" fmla="*/ 8698965 w 12248682"/>
              <a:gd name="connsiteY1682" fmla="*/ 379974 h 823468"/>
              <a:gd name="connsiteX1683" fmla="*/ 8658542 w 12248682"/>
              <a:gd name="connsiteY1683" fmla="*/ 339551 h 823468"/>
              <a:gd name="connsiteX1684" fmla="*/ 8698965 w 12248682"/>
              <a:gd name="connsiteY1684" fmla="*/ 299129 h 823468"/>
              <a:gd name="connsiteX1685" fmla="*/ 6639717 w 12248682"/>
              <a:gd name="connsiteY1685" fmla="*/ 299129 h 823468"/>
              <a:gd name="connsiteX1686" fmla="*/ 6680139 w 12248682"/>
              <a:gd name="connsiteY1686" fmla="*/ 339551 h 823468"/>
              <a:gd name="connsiteX1687" fmla="*/ 6639717 w 12248682"/>
              <a:gd name="connsiteY1687" fmla="*/ 379974 h 823468"/>
              <a:gd name="connsiteX1688" fmla="*/ 6599295 w 12248682"/>
              <a:gd name="connsiteY1688" fmla="*/ 339551 h 823468"/>
              <a:gd name="connsiteX1689" fmla="*/ 6639717 w 12248682"/>
              <a:gd name="connsiteY1689" fmla="*/ 299129 h 823468"/>
              <a:gd name="connsiteX1690" fmla="*/ 6364844 w 12248682"/>
              <a:gd name="connsiteY1690" fmla="*/ 299129 h 823468"/>
              <a:gd name="connsiteX1691" fmla="*/ 6405265 w 12248682"/>
              <a:gd name="connsiteY1691" fmla="*/ 339551 h 823468"/>
              <a:gd name="connsiteX1692" fmla="*/ 6364844 w 12248682"/>
              <a:gd name="connsiteY1692" fmla="*/ 379974 h 823468"/>
              <a:gd name="connsiteX1693" fmla="*/ 6324420 w 12248682"/>
              <a:gd name="connsiteY1693" fmla="*/ 339551 h 823468"/>
              <a:gd name="connsiteX1694" fmla="*/ 6364844 w 12248682"/>
              <a:gd name="connsiteY1694" fmla="*/ 299129 h 823468"/>
              <a:gd name="connsiteX1695" fmla="*/ 5489404 w 12248682"/>
              <a:gd name="connsiteY1695" fmla="*/ 299129 h 823468"/>
              <a:gd name="connsiteX1696" fmla="*/ 5529826 w 12248682"/>
              <a:gd name="connsiteY1696" fmla="*/ 339551 h 823468"/>
              <a:gd name="connsiteX1697" fmla="*/ 5489404 w 12248682"/>
              <a:gd name="connsiteY1697" fmla="*/ 379974 h 823468"/>
              <a:gd name="connsiteX1698" fmla="*/ 5448980 w 12248682"/>
              <a:gd name="connsiteY1698" fmla="*/ 339551 h 823468"/>
              <a:gd name="connsiteX1699" fmla="*/ 5489404 w 12248682"/>
              <a:gd name="connsiteY1699" fmla="*/ 299129 h 823468"/>
              <a:gd name="connsiteX1700" fmla="*/ 5213373 w 12248682"/>
              <a:gd name="connsiteY1700" fmla="*/ 299129 h 823468"/>
              <a:gd name="connsiteX1701" fmla="*/ 5253797 w 12248682"/>
              <a:gd name="connsiteY1701" fmla="*/ 339551 h 823468"/>
              <a:gd name="connsiteX1702" fmla="*/ 5213373 w 12248682"/>
              <a:gd name="connsiteY1702" fmla="*/ 379974 h 823468"/>
              <a:gd name="connsiteX1703" fmla="*/ 5172952 w 12248682"/>
              <a:gd name="connsiteY1703" fmla="*/ 339551 h 823468"/>
              <a:gd name="connsiteX1704" fmla="*/ 5213373 w 12248682"/>
              <a:gd name="connsiteY1704" fmla="*/ 299129 h 823468"/>
              <a:gd name="connsiteX1705" fmla="*/ 4361031 w 12248682"/>
              <a:gd name="connsiteY1705" fmla="*/ 299129 h 823468"/>
              <a:gd name="connsiteX1706" fmla="*/ 4401455 w 12248682"/>
              <a:gd name="connsiteY1706" fmla="*/ 339551 h 823468"/>
              <a:gd name="connsiteX1707" fmla="*/ 4361031 w 12248682"/>
              <a:gd name="connsiteY1707" fmla="*/ 379974 h 823468"/>
              <a:gd name="connsiteX1708" fmla="*/ 4320610 w 12248682"/>
              <a:gd name="connsiteY1708" fmla="*/ 339551 h 823468"/>
              <a:gd name="connsiteX1709" fmla="*/ 4361031 w 12248682"/>
              <a:gd name="connsiteY1709" fmla="*/ 299129 h 823468"/>
              <a:gd name="connsiteX1710" fmla="*/ 4086158 w 12248682"/>
              <a:gd name="connsiteY1710" fmla="*/ 299129 h 823468"/>
              <a:gd name="connsiteX1711" fmla="*/ 4126582 w 12248682"/>
              <a:gd name="connsiteY1711" fmla="*/ 339551 h 823468"/>
              <a:gd name="connsiteX1712" fmla="*/ 4086158 w 12248682"/>
              <a:gd name="connsiteY1712" fmla="*/ 379974 h 823468"/>
              <a:gd name="connsiteX1713" fmla="*/ 4045735 w 12248682"/>
              <a:gd name="connsiteY1713" fmla="*/ 339551 h 823468"/>
              <a:gd name="connsiteX1714" fmla="*/ 4086158 w 12248682"/>
              <a:gd name="connsiteY1714" fmla="*/ 299129 h 823468"/>
              <a:gd name="connsiteX1715" fmla="*/ 2026910 w 12248682"/>
              <a:gd name="connsiteY1715" fmla="*/ 299129 h 823468"/>
              <a:gd name="connsiteX1716" fmla="*/ 2067332 w 12248682"/>
              <a:gd name="connsiteY1716" fmla="*/ 339551 h 823468"/>
              <a:gd name="connsiteX1717" fmla="*/ 2026910 w 12248682"/>
              <a:gd name="connsiteY1717" fmla="*/ 379974 h 823468"/>
              <a:gd name="connsiteX1718" fmla="*/ 1986487 w 12248682"/>
              <a:gd name="connsiteY1718" fmla="*/ 339551 h 823468"/>
              <a:gd name="connsiteX1719" fmla="*/ 2026910 w 12248682"/>
              <a:gd name="connsiteY1719" fmla="*/ 299129 h 823468"/>
              <a:gd name="connsiteX1720" fmla="*/ 1752036 w 12248682"/>
              <a:gd name="connsiteY1720" fmla="*/ 299129 h 823468"/>
              <a:gd name="connsiteX1721" fmla="*/ 1792458 w 12248682"/>
              <a:gd name="connsiteY1721" fmla="*/ 339551 h 823468"/>
              <a:gd name="connsiteX1722" fmla="*/ 1752036 w 12248682"/>
              <a:gd name="connsiteY1722" fmla="*/ 379974 h 823468"/>
              <a:gd name="connsiteX1723" fmla="*/ 1711613 w 12248682"/>
              <a:gd name="connsiteY1723" fmla="*/ 339551 h 823468"/>
              <a:gd name="connsiteX1724" fmla="*/ 1752036 w 12248682"/>
              <a:gd name="connsiteY1724" fmla="*/ 299129 h 823468"/>
              <a:gd name="connsiteX1725" fmla="*/ 876596 w 12248682"/>
              <a:gd name="connsiteY1725" fmla="*/ 299129 h 823468"/>
              <a:gd name="connsiteX1726" fmla="*/ 917018 w 12248682"/>
              <a:gd name="connsiteY1726" fmla="*/ 339551 h 823468"/>
              <a:gd name="connsiteX1727" fmla="*/ 876596 w 12248682"/>
              <a:gd name="connsiteY1727" fmla="*/ 379974 h 823468"/>
              <a:gd name="connsiteX1728" fmla="*/ 836172 w 12248682"/>
              <a:gd name="connsiteY1728" fmla="*/ 339551 h 823468"/>
              <a:gd name="connsiteX1729" fmla="*/ 876596 w 12248682"/>
              <a:gd name="connsiteY1729" fmla="*/ 299129 h 823468"/>
              <a:gd name="connsiteX1730" fmla="*/ 600566 w 12248682"/>
              <a:gd name="connsiteY1730" fmla="*/ 299129 h 823468"/>
              <a:gd name="connsiteX1731" fmla="*/ 640989 w 12248682"/>
              <a:gd name="connsiteY1731" fmla="*/ 340706 h 823468"/>
              <a:gd name="connsiteX1732" fmla="*/ 600566 w 12248682"/>
              <a:gd name="connsiteY1732" fmla="*/ 381128 h 823468"/>
              <a:gd name="connsiteX1733" fmla="*/ 560144 w 12248682"/>
              <a:gd name="connsiteY1733" fmla="*/ 339551 h 823468"/>
              <a:gd name="connsiteX1734" fmla="*/ 600566 w 12248682"/>
              <a:gd name="connsiteY1734" fmla="*/ 299129 h 823468"/>
              <a:gd name="connsiteX1735" fmla="*/ 11107606 w 12248682"/>
              <a:gd name="connsiteY1735" fmla="*/ 288734 h 823468"/>
              <a:gd name="connsiteX1736" fmla="*/ 11158424 w 12248682"/>
              <a:gd name="connsiteY1736" fmla="*/ 339551 h 823468"/>
              <a:gd name="connsiteX1737" fmla="*/ 11107606 w 12248682"/>
              <a:gd name="connsiteY1737" fmla="*/ 390368 h 823468"/>
              <a:gd name="connsiteX1738" fmla="*/ 11056789 w 12248682"/>
              <a:gd name="connsiteY1738" fmla="*/ 339551 h 823468"/>
              <a:gd name="connsiteX1739" fmla="*/ 11107606 w 12248682"/>
              <a:gd name="connsiteY1739" fmla="*/ 288734 h 823468"/>
              <a:gd name="connsiteX1740" fmla="*/ 9957292 w 12248682"/>
              <a:gd name="connsiteY1740" fmla="*/ 288734 h 823468"/>
              <a:gd name="connsiteX1741" fmla="*/ 10008109 w 12248682"/>
              <a:gd name="connsiteY1741" fmla="*/ 339551 h 823468"/>
              <a:gd name="connsiteX1742" fmla="*/ 9957292 w 12248682"/>
              <a:gd name="connsiteY1742" fmla="*/ 390368 h 823468"/>
              <a:gd name="connsiteX1743" fmla="*/ 9906475 w 12248682"/>
              <a:gd name="connsiteY1743" fmla="*/ 339551 h 823468"/>
              <a:gd name="connsiteX1744" fmla="*/ 9957292 w 12248682"/>
              <a:gd name="connsiteY1744" fmla="*/ 288734 h 823468"/>
              <a:gd name="connsiteX1745" fmla="*/ 8836402 w 12248682"/>
              <a:gd name="connsiteY1745" fmla="*/ 288734 h 823468"/>
              <a:gd name="connsiteX1746" fmla="*/ 8887219 w 12248682"/>
              <a:gd name="connsiteY1746" fmla="*/ 339551 h 823468"/>
              <a:gd name="connsiteX1747" fmla="*/ 8836402 w 12248682"/>
              <a:gd name="connsiteY1747" fmla="*/ 390368 h 823468"/>
              <a:gd name="connsiteX1748" fmla="*/ 8785585 w 12248682"/>
              <a:gd name="connsiteY1748" fmla="*/ 339551 h 823468"/>
              <a:gd name="connsiteX1749" fmla="*/ 8836402 w 12248682"/>
              <a:gd name="connsiteY1749" fmla="*/ 288734 h 823468"/>
              <a:gd name="connsiteX1750" fmla="*/ 6502281 w 12248682"/>
              <a:gd name="connsiteY1750" fmla="*/ 288734 h 823468"/>
              <a:gd name="connsiteX1751" fmla="*/ 6553098 w 12248682"/>
              <a:gd name="connsiteY1751" fmla="*/ 339551 h 823468"/>
              <a:gd name="connsiteX1752" fmla="*/ 6502281 w 12248682"/>
              <a:gd name="connsiteY1752" fmla="*/ 390368 h 823468"/>
              <a:gd name="connsiteX1753" fmla="*/ 6451462 w 12248682"/>
              <a:gd name="connsiteY1753" fmla="*/ 339551 h 823468"/>
              <a:gd name="connsiteX1754" fmla="*/ 6502281 w 12248682"/>
              <a:gd name="connsiteY1754" fmla="*/ 288734 h 823468"/>
              <a:gd name="connsiteX1755" fmla="*/ 5351966 w 12248682"/>
              <a:gd name="connsiteY1755" fmla="*/ 288734 h 823468"/>
              <a:gd name="connsiteX1756" fmla="*/ 5402784 w 12248682"/>
              <a:gd name="connsiteY1756" fmla="*/ 339551 h 823468"/>
              <a:gd name="connsiteX1757" fmla="*/ 5351966 w 12248682"/>
              <a:gd name="connsiteY1757" fmla="*/ 390368 h 823468"/>
              <a:gd name="connsiteX1758" fmla="*/ 5301149 w 12248682"/>
              <a:gd name="connsiteY1758" fmla="*/ 339551 h 823468"/>
              <a:gd name="connsiteX1759" fmla="*/ 5351966 w 12248682"/>
              <a:gd name="connsiteY1759" fmla="*/ 288734 h 823468"/>
              <a:gd name="connsiteX1760" fmla="*/ 4223596 w 12248682"/>
              <a:gd name="connsiteY1760" fmla="*/ 288734 h 823468"/>
              <a:gd name="connsiteX1761" fmla="*/ 4274413 w 12248682"/>
              <a:gd name="connsiteY1761" fmla="*/ 339551 h 823468"/>
              <a:gd name="connsiteX1762" fmla="*/ 4223596 w 12248682"/>
              <a:gd name="connsiteY1762" fmla="*/ 390368 h 823468"/>
              <a:gd name="connsiteX1763" fmla="*/ 4172779 w 12248682"/>
              <a:gd name="connsiteY1763" fmla="*/ 339551 h 823468"/>
              <a:gd name="connsiteX1764" fmla="*/ 4223596 w 12248682"/>
              <a:gd name="connsiteY1764" fmla="*/ 288734 h 823468"/>
              <a:gd name="connsiteX1765" fmla="*/ 1889473 w 12248682"/>
              <a:gd name="connsiteY1765" fmla="*/ 288734 h 823468"/>
              <a:gd name="connsiteX1766" fmla="*/ 1940290 w 12248682"/>
              <a:gd name="connsiteY1766" fmla="*/ 339551 h 823468"/>
              <a:gd name="connsiteX1767" fmla="*/ 1889473 w 12248682"/>
              <a:gd name="connsiteY1767" fmla="*/ 390368 h 823468"/>
              <a:gd name="connsiteX1768" fmla="*/ 1838656 w 12248682"/>
              <a:gd name="connsiteY1768" fmla="*/ 339551 h 823468"/>
              <a:gd name="connsiteX1769" fmla="*/ 1889473 w 12248682"/>
              <a:gd name="connsiteY1769" fmla="*/ 288734 h 823468"/>
              <a:gd name="connsiteX1770" fmla="*/ 739158 w 12248682"/>
              <a:gd name="connsiteY1770" fmla="*/ 288734 h 823468"/>
              <a:gd name="connsiteX1771" fmla="*/ 789975 w 12248682"/>
              <a:gd name="connsiteY1771" fmla="*/ 339551 h 823468"/>
              <a:gd name="connsiteX1772" fmla="*/ 739158 w 12248682"/>
              <a:gd name="connsiteY1772" fmla="*/ 390368 h 823468"/>
              <a:gd name="connsiteX1773" fmla="*/ 688341 w 12248682"/>
              <a:gd name="connsiteY1773" fmla="*/ 339551 h 823468"/>
              <a:gd name="connsiteX1774" fmla="*/ 739158 w 12248682"/>
              <a:gd name="connsiteY1774" fmla="*/ 288734 h 823468"/>
              <a:gd name="connsiteX1775" fmla="*/ 12227892 w 12248682"/>
              <a:gd name="connsiteY1775" fmla="*/ 175550 h 823468"/>
              <a:gd name="connsiteX1776" fmla="*/ 12248682 w 12248682"/>
              <a:gd name="connsiteY1776" fmla="*/ 196339 h 823468"/>
              <a:gd name="connsiteX1777" fmla="*/ 12227892 w 12248682"/>
              <a:gd name="connsiteY1777" fmla="*/ 217128 h 823468"/>
              <a:gd name="connsiteX1778" fmla="*/ 12207104 w 12248682"/>
              <a:gd name="connsiteY1778" fmla="*/ 196339 h 823468"/>
              <a:gd name="connsiteX1779" fmla="*/ 12227892 w 12248682"/>
              <a:gd name="connsiteY1779" fmla="*/ 175550 h 823468"/>
              <a:gd name="connsiteX1780" fmla="*/ 12091610 w 12248682"/>
              <a:gd name="connsiteY1780" fmla="*/ 175550 h 823468"/>
              <a:gd name="connsiteX1781" fmla="*/ 12112399 w 12248682"/>
              <a:gd name="connsiteY1781" fmla="*/ 196339 h 823468"/>
              <a:gd name="connsiteX1782" fmla="*/ 12091610 w 12248682"/>
              <a:gd name="connsiteY1782" fmla="*/ 217128 h 823468"/>
              <a:gd name="connsiteX1783" fmla="*/ 12070822 w 12248682"/>
              <a:gd name="connsiteY1783" fmla="*/ 196339 h 823468"/>
              <a:gd name="connsiteX1784" fmla="*/ 12091610 w 12248682"/>
              <a:gd name="connsiteY1784" fmla="*/ 175550 h 823468"/>
              <a:gd name="connsiteX1785" fmla="*/ 11956484 w 12248682"/>
              <a:gd name="connsiteY1785" fmla="*/ 175550 h 823468"/>
              <a:gd name="connsiteX1786" fmla="*/ 11977272 w 12248682"/>
              <a:gd name="connsiteY1786" fmla="*/ 196339 h 823468"/>
              <a:gd name="connsiteX1787" fmla="*/ 11956484 w 12248682"/>
              <a:gd name="connsiteY1787" fmla="*/ 217128 h 823468"/>
              <a:gd name="connsiteX1788" fmla="*/ 11935695 w 12248682"/>
              <a:gd name="connsiteY1788" fmla="*/ 196339 h 823468"/>
              <a:gd name="connsiteX1789" fmla="*/ 11956484 w 12248682"/>
              <a:gd name="connsiteY1789" fmla="*/ 175550 h 823468"/>
              <a:gd name="connsiteX1790" fmla="*/ 11821356 w 12248682"/>
              <a:gd name="connsiteY1790" fmla="*/ 175550 h 823468"/>
              <a:gd name="connsiteX1791" fmla="*/ 11842144 w 12248682"/>
              <a:gd name="connsiteY1791" fmla="*/ 196339 h 823468"/>
              <a:gd name="connsiteX1792" fmla="*/ 11821356 w 12248682"/>
              <a:gd name="connsiteY1792" fmla="*/ 217128 h 823468"/>
              <a:gd name="connsiteX1793" fmla="*/ 11800567 w 12248682"/>
              <a:gd name="connsiteY1793" fmla="*/ 196339 h 823468"/>
              <a:gd name="connsiteX1794" fmla="*/ 11821356 w 12248682"/>
              <a:gd name="connsiteY1794" fmla="*/ 175550 h 823468"/>
              <a:gd name="connsiteX1795" fmla="*/ 11685074 w 12248682"/>
              <a:gd name="connsiteY1795" fmla="*/ 175550 h 823468"/>
              <a:gd name="connsiteX1796" fmla="*/ 11705862 w 12248682"/>
              <a:gd name="connsiteY1796" fmla="*/ 196339 h 823468"/>
              <a:gd name="connsiteX1797" fmla="*/ 11685074 w 12248682"/>
              <a:gd name="connsiteY1797" fmla="*/ 217128 h 823468"/>
              <a:gd name="connsiteX1798" fmla="*/ 11664285 w 12248682"/>
              <a:gd name="connsiteY1798" fmla="*/ 196339 h 823468"/>
              <a:gd name="connsiteX1799" fmla="*/ 11685074 w 12248682"/>
              <a:gd name="connsiteY1799" fmla="*/ 175550 h 823468"/>
              <a:gd name="connsiteX1800" fmla="*/ 10736873 w 12248682"/>
              <a:gd name="connsiteY1800" fmla="*/ 175550 h 823468"/>
              <a:gd name="connsiteX1801" fmla="*/ 10757662 w 12248682"/>
              <a:gd name="connsiteY1801" fmla="*/ 196339 h 823468"/>
              <a:gd name="connsiteX1802" fmla="*/ 10736873 w 12248682"/>
              <a:gd name="connsiteY1802" fmla="*/ 217128 h 823468"/>
              <a:gd name="connsiteX1803" fmla="*/ 10716084 w 12248682"/>
              <a:gd name="connsiteY1803" fmla="*/ 196339 h 823468"/>
              <a:gd name="connsiteX1804" fmla="*/ 10736873 w 12248682"/>
              <a:gd name="connsiteY1804" fmla="*/ 175550 h 823468"/>
              <a:gd name="connsiteX1805" fmla="*/ 10601745 w 12248682"/>
              <a:gd name="connsiteY1805" fmla="*/ 175550 h 823468"/>
              <a:gd name="connsiteX1806" fmla="*/ 10622534 w 12248682"/>
              <a:gd name="connsiteY1806" fmla="*/ 196339 h 823468"/>
              <a:gd name="connsiteX1807" fmla="*/ 10601745 w 12248682"/>
              <a:gd name="connsiteY1807" fmla="*/ 217128 h 823468"/>
              <a:gd name="connsiteX1808" fmla="*/ 10580956 w 12248682"/>
              <a:gd name="connsiteY1808" fmla="*/ 196339 h 823468"/>
              <a:gd name="connsiteX1809" fmla="*/ 10601745 w 12248682"/>
              <a:gd name="connsiteY1809" fmla="*/ 175550 h 823468"/>
              <a:gd name="connsiteX1810" fmla="*/ 8027949 w 12248682"/>
              <a:gd name="connsiteY1810" fmla="*/ 175550 h 823468"/>
              <a:gd name="connsiteX1811" fmla="*/ 8048737 w 12248682"/>
              <a:gd name="connsiteY1811" fmla="*/ 196339 h 823468"/>
              <a:gd name="connsiteX1812" fmla="*/ 8027949 w 12248682"/>
              <a:gd name="connsiteY1812" fmla="*/ 217128 h 823468"/>
              <a:gd name="connsiteX1813" fmla="*/ 8007160 w 12248682"/>
              <a:gd name="connsiteY1813" fmla="*/ 196339 h 823468"/>
              <a:gd name="connsiteX1814" fmla="*/ 8027949 w 12248682"/>
              <a:gd name="connsiteY1814" fmla="*/ 175550 h 823468"/>
              <a:gd name="connsiteX1815" fmla="*/ 7892822 w 12248682"/>
              <a:gd name="connsiteY1815" fmla="*/ 175550 h 823468"/>
              <a:gd name="connsiteX1816" fmla="*/ 7913611 w 12248682"/>
              <a:gd name="connsiteY1816" fmla="*/ 196339 h 823468"/>
              <a:gd name="connsiteX1817" fmla="*/ 7892822 w 12248682"/>
              <a:gd name="connsiteY1817" fmla="*/ 217128 h 823468"/>
              <a:gd name="connsiteX1818" fmla="*/ 7872031 w 12248682"/>
              <a:gd name="connsiteY1818" fmla="*/ 196339 h 823468"/>
              <a:gd name="connsiteX1819" fmla="*/ 7892822 w 12248682"/>
              <a:gd name="connsiteY1819" fmla="*/ 175550 h 823468"/>
              <a:gd name="connsiteX1820" fmla="*/ 7757693 w 12248682"/>
              <a:gd name="connsiteY1820" fmla="*/ 175550 h 823468"/>
              <a:gd name="connsiteX1821" fmla="*/ 7778483 w 12248682"/>
              <a:gd name="connsiteY1821" fmla="*/ 196339 h 823468"/>
              <a:gd name="connsiteX1822" fmla="*/ 7757693 w 12248682"/>
              <a:gd name="connsiteY1822" fmla="*/ 217128 h 823468"/>
              <a:gd name="connsiteX1823" fmla="*/ 7736906 w 12248682"/>
              <a:gd name="connsiteY1823" fmla="*/ 196339 h 823468"/>
              <a:gd name="connsiteX1824" fmla="*/ 7757693 w 12248682"/>
              <a:gd name="connsiteY1824" fmla="*/ 175550 h 823468"/>
              <a:gd name="connsiteX1825" fmla="*/ 7622566 w 12248682"/>
              <a:gd name="connsiteY1825" fmla="*/ 175550 h 823468"/>
              <a:gd name="connsiteX1826" fmla="*/ 7643355 w 12248682"/>
              <a:gd name="connsiteY1826" fmla="*/ 196339 h 823468"/>
              <a:gd name="connsiteX1827" fmla="*/ 7622566 w 12248682"/>
              <a:gd name="connsiteY1827" fmla="*/ 217128 h 823468"/>
              <a:gd name="connsiteX1828" fmla="*/ 7601778 w 12248682"/>
              <a:gd name="connsiteY1828" fmla="*/ 196339 h 823468"/>
              <a:gd name="connsiteX1829" fmla="*/ 7622566 w 12248682"/>
              <a:gd name="connsiteY1829" fmla="*/ 175550 h 823468"/>
              <a:gd name="connsiteX1830" fmla="*/ 7486284 w 12248682"/>
              <a:gd name="connsiteY1830" fmla="*/ 175550 h 823468"/>
              <a:gd name="connsiteX1831" fmla="*/ 7507074 w 12248682"/>
              <a:gd name="connsiteY1831" fmla="*/ 196339 h 823468"/>
              <a:gd name="connsiteX1832" fmla="*/ 7486284 w 12248682"/>
              <a:gd name="connsiteY1832" fmla="*/ 217128 h 823468"/>
              <a:gd name="connsiteX1833" fmla="*/ 7465495 w 12248682"/>
              <a:gd name="connsiteY1833" fmla="*/ 196339 h 823468"/>
              <a:gd name="connsiteX1834" fmla="*/ 7486284 w 12248682"/>
              <a:gd name="connsiteY1834" fmla="*/ 175550 h 823468"/>
              <a:gd name="connsiteX1835" fmla="*/ 7351157 w 12248682"/>
              <a:gd name="connsiteY1835" fmla="*/ 175550 h 823468"/>
              <a:gd name="connsiteX1836" fmla="*/ 7371946 w 12248682"/>
              <a:gd name="connsiteY1836" fmla="*/ 196339 h 823468"/>
              <a:gd name="connsiteX1837" fmla="*/ 7351157 w 12248682"/>
              <a:gd name="connsiteY1837" fmla="*/ 217128 h 823468"/>
              <a:gd name="connsiteX1838" fmla="*/ 7330369 w 12248682"/>
              <a:gd name="connsiteY1838" fmla="*/ 196339 h 823468"/>
              <a:gd name="connsiteX1839" fmla="*/ 7351157 w 12248682"/>
              <a:gd name="connsiteY1839" fmla="*/ 175550 h 823468"/>
              <a:gd name="connsiteX1840" fmla="*/ 7216030 w 12248682"/>
              <a:gd name="connsiteY1840" fmla="*/ 175550 h 823468"/>
              <a:gd name="connsiteX1841" fmla="*/ 7236819 w 12248682"/>
              <a:gd name="connsiteY1841" fmla="*/ 196339 h 823468"/>
              <a:gd name="connsiteX1842" fmla="*/ 7216030 w 12248682"/>
              <a:gd name="connsiteY1842" fmla="*/ 217128 h 823468"/>
              <a:gd name="connsiteX1843" fmla="*/ 7195241 w 12248682"/>
              <a:gd name="connsiteY1843" fmla="*/ 196339 h 823468"/>
              <a:gd name="connsiteX1844" fmla="*/ 7216030 w 12248682"/>
              <a:gd name="connsiteY1844" fmla="*/ 175550 h 823468"/>
              <a:gd name="connsiteX1845" fmla="*/ 7079748 w 12248682"/>
              <a:gd name="connsiteY1845" fmla="*/ 175550 h 823468"/>
              <a:gd name="connsiteX1846" fmla="*/ 7100537 w 12248682"/>
              <a:gd name="connsiteY1846" fmla="*/ 196339 h 823468"/>
              <a:gd name="connsiteX1847" fmla="*/ 7079748 w 12248682"/>
              <a:gd name="connsiteY1847" fmla="*/ 217128 h 823468"/>
              <a:gd name="connsiteX1848" fmla="*/ 7058959 w 12248682"/>
              <a:gd name="connsiteY1848" fmla="*/ 196339 h 823468"/>
              <a:gd name="connsiteX1849" fmla="*/ 7079748 w 12248682"/>
              <a:gd name="connsiteY1849" fmla="*/ 175550 h 823468"/>
              <a:gd name="connsiteX1850" fmla="*/ 6131548 w 12248682"/>
              <a:gd name="connsiteY1850" fmla="*/ 175550 h 823468"/>
              <a:gd name="connsiteX1851" fmla="*/ 6152336 w 12248682"/>
              <a:gd name="connsiteY1851" fmla="*/ 196339 h 823468"/>
              <a:gd name="connsiteX1852" fmla="*/ 6131548 w 12248682"/>
              <a:gd name="connsiteY1852" fmla="*/ 217128 h 823468"/>
              <a:gd name="connsiteX1853" fmla="*/ 6110759 w 12248682"/>
              <a:gd name="connsiteY1853" fmla="*/ 196339 h 823468"/>
              <a:gd name="connsiteX1854" fmla="*/ 6131548 w 12248682"/>
              <a:gd name="connsiteY1854" fmla="*/ 175550 h 823468"/>
              <a:gd name="connsiteX1855" fmla="*/ 5996418 w 12248682"/>
              <a:gd name="connsiteY1855" fmla="*/ 175550 h 823468"/>
              <a:gd name="connsiteX1856" fmla="*/ 6017209 w 12248682"/>
              <a:gd name="connsiteY1856" fmla="*/ 196339 h 823468"/>
              <a:gd name="connsiteX1857" fmla="*/ 5996418 w 12248682"/>
              <a:gd name="connsiteY1857" fmla="*/ 217128 h 823468"/>
              <a:gd name="connsiteX1858" fmla="*/ 5975630 w 12248682"/>
              <a:gd name="connsiteY1858" fmla="*/ 196339 h 823468"/>
              <a:gd name="connsiteX1859" fmla="*/ 5996418 w 12248682"/>
              <a:gd name="connsiteY1859" fmla="*/ 175550 h 823468"/>
              <a:gd name="connsiteX1860" fmla="*/ 3415142 w 12248682"/>
              <a:gd name="connsiteY1860" fmla="*/ 175550 h 823468"/>
              <a:gd name="connsiteX1861" fmla="*/ 3435930 w 12248682"/>
              <a:gd name="connsiteY1861" fmla="*/ 196339 h 823468"/>
              <a:gd name="connsiteX1862" fmla="*/ 3415142 w 12248682"/>
              <a:gd name="connsiteY1862" fmla="*/ 217128 h 823468"/>
              <a:gd name="connsiteX1863" fmla="*/ 3394352 w 12248682"/>
              <a:gd name="connsiteY1863" fmla="*/ 196339 h 823468"/>
              <a:gd name="connsiteX1864" fmla="*/ 3415142 w 12248682"/>
              <a:gd name="connsiteY1864" fmla="*/ 175550 h 823468"/>
              <a:gd name="connsiteX1865" fmla="*/ 3280013 w 12248682"/>
              <a:gd name="connsiteY1865" fmla="*/ 175550 h 823468"/>
              <a:gd name="connsiteX1866" fmla="*/ 3300802 w 12248682"/>
              <a:gd name="connsiteY1866" fmla="*/ 196339 h 823468"/>
              <a:gd name="connsiteX1867" fmla="*/ 3280013 w 12248682"/>
              <a:gd name="connsiteY1867" fmla="*/ 217128 h 823468"/>
              <a:gd name="connsiteX1868" fmla="*/ 3259224 w 12248682"/>
              <a:gd name="connsiteY1868" fmla="*/ 196339 h 823468"/>
              <a:gd name="connsiteX1869" fmla="*/ 3280013 w 12248682"/>
              <a:gd name="connsiteY1869" fmla="*/ 175550 h 823468"/>
              <a:gd name="connsiteX1870" fmla="*/ 3144887 w 12248682"/>
              <a:gd name="connsiteY1870" fmla="*/ 175550 h 823468"/>
              <a:gd name="connsiteX1871" fmla="*/ 3165675 w 12248682"/>
              <a:gd name="connsiteY1871" fmla="*/ 196339 h 823468"/>
              <a:gd name="connsiteX1872" fmla="*/ 3144887 w 12248682"/>
              <a:gd name="connsiteY1872" fmla="*/ 217128 h 823468"/>
              <a:gd name="connsiteX1873" fmla="*/ 3124098 w 12248682"/>
              <a:gd name="connsiteY1873" fmla="*/ 196339 h 823468"/>
              <a:gd name="connsiteX1874" fmla="*/ 3144887 w 12248682"/>
              <a:gd name="connsiteY1874" fmla="*/ 175550 h 823468"/>
              <a:gd name="connsiteX1875" fmla="*/ 3009759 w 12248682"/>
              <a:gd name="connsiteY1875" fmla="*/ 175550 h 823468"/>
              <a:gd name="connsiteX1876" fmla="*/ 3030548 w 12248682"/>
              <a:gd name="connsiteY1876" fmla="*/ 196339 h 823468"/>
              <a:gd name="connsiteX1877" fmla="*/ 3009759 w 12248682"/>
              <a:gd name="connsiteY1877" fmla="*/ 217128 h 823468"/>
              <a:gd name="connsiteX1878" fmla="*/ 2988971 w 12248682"/>
              <a:gd name="connsiteY1878" fmla="*/ 196339 h 823468"/>
              <a:gd name="connsiteX1879" fmla="*/ 3009759 w 12248682"/>
              <a:gd name="connsiteY1879" fmla="*/ 175550 h 823468"/>
              <a:gd name="connsiteX1880" fmla="*/ 2873476 w 12248682"/>
              <a:gd name="connsiteY1880" fmla="*/ 175550 h 823468"/>
              <a:gd name="connsiteX1881" fmla="*/ 2894265 w 12248682"/>
              <a:gd name="connsiteY1881" fmla="*/ 196339 h 823468"/>
              <a:gd name="connsiteX1882" fmla="*/ 2873476 w 12248682"/>
              <a:gd name="connsiteY1882" fmla="*/ 217128 h 823468"/>
              <a:gd name="connsiteX1883" fmla="*/ 2852688 w 12248682"/>
              <a:gd name="connsiteY1883" fmla="*/ 196339 h 823468"/>
              <a:gd name="connsiteX1884" fmla="*/ 2873476 w 12248682"/>
              <a:gd name="connsiteY1884" fmla="*/ 175550 h 823468"/>
              <a:gd name="connsiteX1885" fmla="*/ 2738350 w 12248682"/>
              <a:gd name="connsiteY1885" fmla="*/ 175550 h 823468"/>
              <a:gd name="connsiteX1886" fmla="*/ 2759139 w 12248682"/>
              <a:gd name="connsiteY1886" fmla="*/ 196339 h 823468"/>
              <a:gd name="connsiteX1887" fmla="*/ 2738350 w 12248682"/>
              <a:gd name="connsiteY1887" fmla="*/ 217128 h 823468"/>
              <a:gd name="connsiteX1888" fmla="*/ 2717562 w 12248682"/>
              <a:gd name="connsiteY1888" fmla="*/ 196339 h 823468"/>
              <a:gd name="connsiteX1889" fmla="*/ 2738350 w 12248682"/>
              <a:gd name="connsiteY1889" fmla="*/ 175550 h 823468"/>
              <a:gd name="connsiteX1890" fmla="*/ 2603222 w 12248682"/>
              <a:gd name="connsiteY1890" fmla="*/ 175550 h 823468"/>
              <a:gd name="connsiteX1891" fmla="*/ 2624011 w 12248682"/>
              <a:gd name="connsiteY1891" fmla="*/ 196339 h 823468"/>
              <a:gd name="connsiteX1892" fmla="*/ 2603222 w 12248682"/>
              <a:gd name="connsiteY1892" fmla="*/ 217128 h 823468"/>
              <a:gd name="connsiteX1893" fmla="*/ 2582433 w 12248682"/>
              <a:gd name="connsiteY1893" fmla="*/ 196339 h 823468"/>
              <a:gd name="connsiteX1894" fmla="*/ 2603222 w 12248682"/>
              <a:gd name="connsiteY1894" fmla="*/ 175550 h 823468"/>
              <a:gd name="connsiteX1895" fmla="*/ 2466940 w 12248682"/>
              <a:gd name="connsiteY1895" fmla="*/ 175550 h 823468"/>
              <a:gd name="connsiteX1896" fmla="*/ 2487729 w 12248682"/>
              <a:gd name="connsiteY1896" fmla="*/ 196339 h 823468"/>
              <a:gd name="connsiteX1897" fmla="*/ 2466940 w 12248682"/>
              <a:gd name="connsiteY1897" fmla="*/ 217128 h 823468"/>
              <a:gd name="connsiteX1898" fmla="*/ 2446151 w 12248682"/>
              <a:gd name="connsiteY1898" fmla="*/ 196339 h 823468"/>
              <a:gd name="connsiteX1899" fmla="*/ 2466940 w 12248682"/>
              <a:gd name="connsiteY1899" fmla="*/ 175550 h 823468"/>
              <a:gd name="connsiteX1900" fmla="*/ 1518739 w 12248682"/>
              <a:gd name="connsiteY1900" fmla="*/ 175550 h 823468"/>
              <a:gd name="connsiteX1901" fmla="*/ 1539528 w 12248682"/>
              <a:gd name="connsiteY1901" fmla="*/ 196339 h 823468"/>
              <a:gd name="connsiteX1902" fmla="*/ 1518739 w 12248682"/>
              <a:gd name="connsiteY1902" fmla="*/ 217128 h 823468"/>
              <a:gd name="connsiteX1903" fmla="*/ 1497951 w 12248682"/>
              <a:gd name="connsiteY1903" fmla="*/ 196339 h 823468"/>
              <a:gd name="connsiteX1904" fmla="*/ 1518739 w 12248682"/>
              <a:gd name="connsiteY1904" fmla="*/ 175550 h 823468"/>
              <a:gd name="connsiteX1905" fmla="*/ 1383611 w 12248682"/>
              <a:gd name="connsiteY1905" fmla="*/ 175550 h 823468"/>
              <a:gd name="connsiteX1906" fmla="*/ 1404400 w 12248682"/>
              <a:gd name="connsiteY1906" fmla="*/ 196339 h 823468"/>
              <a:gd name="connsiteX1907" fmla="*/ 1383611 w 12248682"/>
              <a:gd name="connsiteY1907" fmla="*/ 217128 h 823468"/>
              <a:gd name="connsiteX1908" fmla="*/ 1362823 w 12248682"/>
              <a:gd name="connsiteY1908" fmla="*/ 196339 h 823468"/>
              <a:gd name="connsiteX1909" fmla="*/ 1383611 w 12248682"/>
              <a:gd name="connsiteY1909" fmla="*/ 175550 h 823468"/>
              <a:gd name="connsiteX1910" fmla="*/ 11549947 w 12248682"/>
              <a:gd name="connsiteY1910" fmla="*/ 172086 h 823468"/>
              <a:gd name="connsiteX1911" fmla="*/ 11573046 w 12248682"/>
              <a:gd name="connsiteY1911" fmla="*/ 195185 h 823468"/>
              <a:gd name="connsiteX1912" fmla="*/ 11549947 w 12248682"/>
              <a:gd name="connsiteY1912" fmla="*/ 218283 h 823468"/>
              <a:gd name="connsiteX1913" fmla="*/ 11526848 w 12248682"/>
              <a:gd name="connsiteY1913" fmla="*/ 195185 h 823468"/>
              <a:gd name="connsiteX1914" fmla="*/ 11549947 w 12248682"/>
              <a:gd name="connsiteY1914" fmla="*/ 172086 h 823468"/>
              <a:gd name="connsiteX1915" fmla="*/ 10466618 w 12248682"/>
              <a:gd name="connsiteY1915" fmla="*/ 172086 h 823468"/>
              <a:gd name="connsiteX1916" fmla="*/ 10489717 w 12248682"/>
              <a:gd name="connsiteY1916" fmla="*/ 195185 h 823468"/>
              <a:gd name="connsiteX1917" fmla="*/ 10466618 w 12248682"/>
              <a:gd name="connsiteY1917" fmla="*/ 218283 h 823468"/>
              <a:gd name="connsiteX1918" fmla="*/ 10443520 w 12248682"/>
              <a:gd name="connsiteY1918" fmla="*/ 195185 h 823468"/>
              <a:gd name="connsiteX1919" fmla="*/ 10466618 w 12248682"/>
              <a:gd name="connsiteY1919" fmla="*/ 172086 h 823468"/>
              <a:gd name="connsiteX1920" fmla="*/ 9244698 w 12248682"/>
              <a:gd name="connsiteY1920" fmla="*/ 172086 h 823468"/>
              <a:gd name="connsiteX1921" fmla="*/ 9270107 w 12248682"/>
              <a:gd name="connsiteY1921" fmla="*/ 194029 h 823468"/>
              <a:gd name="connsiteX1922" fmla="*/ 9249318 w 12248682"/>
              <a:gd name="connsiteY1922" fmla="*/ 219438 h 823468"/>
              <a:gd name="connsiteX1923" fmla="*/ 9223909 w 12248682"/>
              <a:gd name="connsiteY1923" fmla="*/ 197494 h 823468"/>
              <a:gd name="connsiteX1924" fmla="*/ 9244698 w 12248682"/>
              <a:gd name="connsiteY1924" fmla="*/ 172086 h 823468"/>
              <a:gd name="connsiteX1925" fmla="*/ 8164231 w 12248682"/>
              <a:gd name="connsiteY1925" fmla="*/ 172086 h 823468"/>
              <a:gd name="connsiteX1926" fmla="*/ 8187331 w 12248682"/>
              <a:gd name="connsiteY1926" fmla="*/ 195185 h 823468"/>
              <a:gd name="connsiteX1927" fmla="*/ 8164231 w 12248682"/>
              <a:gd name="connsiteY1927" fmla="*/ 218283 h 823468"/>
              <a:gd name="connsiteX1928" fmla="*/ 8141133 w 12248682"/>
              <a:gd name="connsiteY1928" fmla="*/ 195185 h 823468"/>
              <a:gd name="connsiteX1929" fmla="*/ 8164231 w 12248682"/>
              <a:gd name="connsiteY1929" fmla="*/ 172086 h 823468"/>
              <a:gd name="connsiteX1930" fmla="*/ 6944621 w 12248682"/>
              <a:gd name="connsiteY1930" fmla="*/ 172086 h 823468"/>
              <a:gd name="connsiteX1931" fmla="*/ 6967719 w 12248682"/>
              <a:gd name="connsiteY1931" fmla="*/ 195185 h 823468"/>
              <a:gd name="connsiteX1932" fmla="*/ 6944621 w 12248682"/>
              <a:gd name="connsiteY1932" fmla="*/ 218283 h 823468"/>
              <a:gd name="connsiteX1933" fmla="*/ 6921522 w 12248682"/>
              <a:gd name="connsiteY1933" fmla="*/ 195185 h 823468"/>
              <a:gd name="connsiteX1934" fmla="*/ 6944621 w 12248682"/>
              <a:gd name="connsiteY1934" fmla="*/ 172086 h 823468"/>
              <a:gd name="connsiteX1935" fmla="*/ 5861292 w 12248682"/>
              <a:gd name="connsiteY1935" fmla="*/ 172086 h 823468"/>
              <a:gd name="connsiteX1936" fmla="*/ 5884392 w 12248682"/>
              <a:gd name="connsiteY1936" fmla="*/ 195185 h 823468"/>
              <a:gd name="connsiteX1937" fmla="*/ 5861292 w 12248682"/>
              <a:gd name="connsiteY1937" fmla="*/ 218283 h 823468"/>
              <a:gd name="connsiteX1938" fmla="*/ 5838194 w 12248682"/>
              <a:gd name="connsiteY1938" fmla="*/ 195185 h 823468"/>
              <a:gd name="connsiteX1939" fmla="*/ 5861292 w 12248682"/>
              <a:gd name="connsiteY1939" fmla="*/ 172086 h 823468"/>
              <a:gd name="connsiteX1940" fmla="*/ 4639373 w 12248682"/>
              <a:gd name="connsiteY1940" fmla="*/ 172086 h 823468"/>
              <a:gd name="connsiteX1941" fmla="*/ 4664780 w 12248682"/>
              <a:gd name="connsiteY1941" fmla="*/ 192875 h 823468"/>
              <a:gd name="connsiteX1942" fmla="*/ 4643991 w 12248682"/>
              <a:gd name="connsiteY1942" fmla="*/ 218283 h 823468"/>
              <a:gd name="connsiteX1943" fmla="*/ 4618583 w 12248682"/>
              <a:gd name="connsiteY1943" fmla="*/ 197494 h 823468"/>
              <a:gd name="connsiteX1944" fmla="*/ 4639373 w 12248682"/>
              <a:gd name="connsiteY1944" fmla="*/ 172086 h 823468"/>
              <a:gd name="connsiteX1945" fmla="*/ 3551423 w 12248682"/>
              <a:gd name="connsiteY1945" fmla="*/ 172086 h 823468"/>
              <a:gd name="connsiteX1946" fmla="*/ 3574522 w 12248682"/>
              <a:gd name="connsiteY1946" fmla="*/ 195185 h 823468"/>
              <a:gd name="connsiteX1947" fmla="*/ 3551423 w 12248682"/>
              <a:gd name="connsiteY1947" fmla="*/ 218283 h 823468"/>
              <a:gd name="connsiteX1948" fmla="*/ 3528325 w 12248682"/>
              <a:gd name="connsiteY1948" fmla="*/ 195185 h 823468"/>
              <a:gd name="connsiteX1949" fmla="*/ 3551423 w 12248682"/>
              <a:gd name="connsiteY1949" fmla="*/ 172086 h 823468"/>
              <a:gd name="connsiteX1950" fmla="*/ 2331813 w 12248682"/>
              <a:gd name="connsiteY1950" fmla="*/ 172086 h 823468"/>
              <a:gd name="connsiteX1951" fmla="*/ 2354912 w 12248682"/>
              <a:gd name="connsiteY1951" fmla="*/ 195185 h 823468"/>
              <a:gd name="connsiteX1952" fmla="*/ 2331813 w 12248682"/>
              <a:gd name="connsiteY1952" fmla="*/ 218283 h 823468"/>
              <a:gd name="connsiteX1953" fmla="*/ 2308714 w 12248682"/>
              <a:gd name="connsiteY1953" fmla="*/ 195185 h 823468"/>
              <a:gd name="connsiteX1954" fmla="*/ 2331813 w 12248682"/>
              <a:gd name="connsiteY1954" fmla="*/ 172086 h 823468"/>
              <a:gd name="connsiteX1955" fmla="*/ 1248485 w 12248682"/>
              <a:gd name="connsiteY1955" fmla="*/ 172086 h 823468"/>
              <a:gd name="connsiteX1956" fmla="*/ 1271583 w 12248682"/>
              <a:gd name="connsiteY1956" fmla="*/ 195185 h 823468"/>
              <a:gd name="connsiteX1957" fmla="*/ 1248485 w 12248682"/>
              <a:gd name="connsiteY1957" fmla="*/ 218283 h 823468"/>
              <a:gd name="connsiteX1958" fmla="*/ 1225386 w 12248682"/>
              <a:gd name="connsiteY1958" fmla="*/ 195185 h 823468"/>
              <a:gd name="connsiteX1959" fmla="*/ 1248485 w 12248682"/>
              <a:gd name="connsiteY1959" fmla="*/ 172086 h 823468"/>
              <a:gd name="connsiteX1960" fmla="*/ 26564 w 12248682"/>
              <a:gd name="connsiteY1960" fmla="*/ 172086 h 823468"/>
              <a:gd name="connsiteX1961" fmla="*/ 51973 w 12248682"/>
              <a:gd name="connsiteY1961" fmla="*/ 194029 h 823468"/>
              <a:gd name="connsiteX1962" fmla="*/ 31184 w 12248682"/>
              <a:gd name="connsiteY1962" fmla="*/ 219438 h 823468"/>
              <a:gd name="connsiteX1963" fmla="*/ 5776 w 12248682"/>
              <a:gd name="connsiteY1963" fmla="*/ 197494 h 823468"/>
              <a:gd name="connsiteX1964" fmla="*/ 26564 w 12248682"/>
              <a:gd name="connsiteY1964" fmla="*/ 172086 h 823468"/>
              <a:gd name="connsiteX1965" fmla="*/ 11414819 w 12248682"/>
              <a:gd name="connsiteY1965" fmla="*/ 166311 h 823468"/>
              <a:gd name="connsiteX1966" fmla="*/ 11443693 w 12248682"/>
              <a:gd name="connsiteY1966" fmla="*/ 195185 h 823468"/>
              <a:gd name="connsiteX1967" fmla="*/ 11414819 w 12248682"/>
              <a:gd name="connsiteY1967" fmla="*/ 224057 h 823468"/>
              <a:gd name="connsiteX1968" fmla="*/ 11385946 w 12248682"/>
              <a:gd name="connsiteY1968" fmla="*/ 195185 h 823468"/>
              <a:gd name="connsiteX1969" fmla="*/ 11414819 w 12248682"/>
              <a:gd name="connsiteY1969" fmla="*/ 166311 h 823468"/>
              <a:gd name="connsiteX1970" fmla="*/ 10330336 w 12248682"/>
              <a:gd name="connsiteY1970" fmla="*/ 166311 h 823468"/>
              <a:gd name="connsiteX1971" fmla="*/ 10359209 w 12248682"/>
              <a:gd name="connsiteY1971" fmla="*/ 195185 h 823468"/>
              <a:gd name="connsiteX1972" fmla="*/ 10330336 w 12248682"/>
              <a:gd name="connsiteY1972" fmla="*/ 224057 h 823468"/>
              <a:gd name="connsiteX1973" fmla="*/ 10301462 w 12248682"/>
              <a:gd name="connsiteY1973" fmla="*/ 195185 h 823468"/>
              <a:gd name="connsiteX1974" fmla="*/ 10330336 w 12248682"/>
              <a:gd name="connsiteY1974" fmla="*/ 166311 h 823468"/>
              <a:gd name="connsiteX1975" fmla="*/ 9382135 w 12248682"/>
              <a:gd name="connsiteY1975" fmla="*/ 166311 h 823468"/>
              <a:gd name="connsiteX1976" fmla="*/ 9411009 w 12248682"/>
              <a:gd name="connsiteY1976" fmla="*/ 195185 h 823468"/>
              <a:gd name="connsiteX1977" fmla="*/ 9382135 w 12248682"/>
              <a:gd name="connsiteY1977" fmla="*/ 224057 h 823468"/>
              <a:gd name="connsiteX1978" fmla="*/ 9353262 w 12248682"/>
              <a:gd name="connsiteY1978" fmla="*/ 195185 h 823468"/>
              <a:gd name="connsiteX1979" fmla="*/ 9382135 w 12248682"/>
              <a:gd name="connsiteY1979" fmla="*/ 166311 h 823468"/>
              <a:gd name="connsiteX1980" fmla="*/ 9112431 w 12248682"/>
              <a:gd name="connsiteY1980" fmla="*/ 166311 h 823468"/>
              <a:gd name="connsiteX1981" fmla="*/ 9141305 w 12248682"/>
              <a:gd name="connsiteY1981" fmla="*/ 195185 h 823468"/>
              <a:gd name="connsiteX1982" fmla="*/ 9112431 w 12248682"/>
              <a:gd name="connsiteY1982" fmla="*/ 224057 h 823468"/>
              <a:gd name="connsiteX1983" fmla="*/ 9083558 w 12248682"/>
              <a:gd name="connsiteY1983" fmla="*/ 195185 h 823468"/>
              <a:gd name="connsiteX1984" fmla="*/ 9112431 w 12248682"/>
              <a:gd name="connsiteY1984" fmla="*/ 166311 h 823468"/>
              <a:gd name="connsiteX1985" fmla="*/ 8299358 w 12248682"/>
              <a:gd name="connsiteY1985" fmla="*/ 166311 h 823468"/>
              <a:gd name="connsiteX1986" fmla="*/ 8328231 w 12248682"/>
              <a:gd name="connsiteY1986" fmla="*/ 195185 h 823468"/>
              <a:gd name="connsiteX1987" fmla="*/ 8299358 w 12248682"/>
              <a:gd name="connsiteY1987" fmla="*/ 224057 h 823468"/>
              <a:gd name="connsiteX1988" fmla="*/ 8270485 w 12248682"/>
              <a:gd name="connsiteY1988" fmla="*/ 195185 h 823468"/>
              <a:gd name="connsiteX1989" fmla="*/ 8299358 w 12248682"/>
              <a:gd name="connsiteY1989" fmla="*/ 166311 h 823468"/>
              <a:gd name="connsiteX1990" fmla="*/ 6809492 w 12248682"/>
              <a:gd name="connsiteY1990" fmla="*/ 166311 h 823468"/>
              <a:gd name="connsiteX1991" fmla="*/ 6838367 w 12248682"/>
              <a:gd name="connsiteY1991" fmla="*/ 195185 h 823468"/>
              <a:gd name="connsiteX1992" fmla="*/ 6809492 w 12248682"/>
              <a:gd name="connsiteY1992" fmla="*/ 224057 h 823468"/>
              <a:gd name="connsiteX1993" fmla="*/ 6780620 w 12248682"/>
              <a:gd name="connsiteY1993" fmla="*/ 195185 h 823468"/>
              <a:gd name="connsiteX1994" fmla="*/ 6809492 w 12248682"/>
              <a:gd name="connsiteY1994" fmla="*/ 166311 h 823468"/>
              <a:gd name="connsiteX1995" fmla="*/ 5726165 w 12248682"/>
              <a:gd name="connsiteY1995" fmla="*/ 166311 h 823468"/>
              <a:gd name="connsiteX1996" fmla="*/ 5755038 w 12248682"/>
              <a:gd name="connsiteY1996" fmla="*/ 195185 h 823468"/>
              <a:gd name="connsiteX1997" fmla="*/ 5726165 w 12248682"/>
              <a:gd name="connsiteY1997" fmla="*/ 224057 h 823468"/>
              <a:gd name="connsiteX1998" fmla="*/ 5697292 w 12248682"/>
              <a:gd name="connsiteY1998" fmla="*/ 195185 h 823468"/>
              <a:gd name="connsiteX1999" fmla="*/ 5726165 w 12248682"/>
              <a:gd name="connsiteY1999" fmla="*/ 166311 h 823468"/>
              <a:gd name="connsiteX2000" fmla="*/ 4776809 w 12248682"/>
              <a:gd name="connsiteY2000" fmla="*/ 166311 h 823468"/>
              <a:gd name="connsiteX2001" fmla="*/ 4805682 w 12248682"/>
              <a:gd name="connsiteY2001" fmla="*/ 195185 h 823468"/>
              <a:gd name="connsiteX2002" fmla="*/ 4776809 w 12248682"/>
              <a:gd name="connsiteY2002" fmla="*/ 224057 h 823468"/>
              <a:gd name="connsiteX2003" fmla="*/ 4747936 w 12248682"/>
              <a:gd name="connsiteY2003" fmla="*/ 195185 h 823468"/>
              <a:gd name="connsiteX2004" fmla="*/ 4776809 w 12248682"/>
              <a:gd name="connsiteY2004" fmla="*/ 166311 h 823468"/>
              <a:gd name="connsiteX2005" fmla="*/ 4499625 w 12248682"/>
              <a:gd name="connsiteY2005" fmla="*/ 166311 h 823468"/>
              <a:gd name="connsiteX2006" fmla="*/ 4528499 w 12248682"/>
              <a:gd name="connsiteY2006" fmla="*/ 195185 h 823468"/>
              <a:gd name="connsiteX2007" fmla="*/ 4499625 w 12248682"/>
              <a:gd name="connsiteY2007" fmla="*/ 224057 h 823468"/>
              <a:gd name="connsiteX2008" fmla="*/ 4470752 w 12248682"/>
              <a:gd name="connsiteY2008" fmla="*/ 195185 h 823468"/>
              <a:gd name="connsiteX2009" fmla="*/ 4499625 w 12248682"/>
              <a:gd name="connsiteY2009" fmla="*/ 166311 h 823468"/>
              <a:gd name="connsiteX2010" fmla="*/ 3686551 w 12248682"/>
              <a:gd name="connsiteY2010" fmla="*/ 166311 h 823468"/>
              <a:gd name="connsiteX2011" fmla="*/ 3715424 w 12248682"/>
              <a:gd name="connsiteY2011" fmla="*/ 195185 h 823468"/>
              <a:gd name="connsiteX2012" fmla="*/ 3686551 w 12248682"/>
              <a:gd name="connsiteY2012" fmla="*/ 224057 h 823468"/>
              <a:gd name="connsiteX2013" fmla="*/ 3657677 w 12248682"/>
              <a:gd name="connsiteY2013" fmla="*/ 195185 h 823468"/>
              <a:gd name="connsiteX2014" fmla="*/ 3686551 w 12248682"/>
              <a:gd name="connsiteY2014" fmla="*/ 166311 h 823468"/>
              <a:gd name="connsiteX2015" fmla="*/ 2196685 w 12248682"/>
              <a:gd name="connsiteY2015" fmla="*/ 166311 h 823468"/>
              <a:gd name="connsiteX2016" fmla="*/ 2225559 w 12248682"/>
              <a:gd name="connsiteY2016" fmla="*/ 195185 h 823468"/>
              <a:gd name="connsiteX2017" fmla="*/ 2196685 w 12248682"/>
              <a:gd name="connsiteY2017" fmla="*/ 224057 h 823468"/>
              <a:gd name="connsiteX2018" fmla="*/ 2167813 w 12248682"/>
              <a:gd name="connsiteY2018" fmla="*/ 195185 h 823468"/>
              <a:gd name="connsiteX2019" fmla="*/ 2196685 w 12248682"/>
              <a:gd name="connsiteY2019" fmla="*/ 166311 h 823468"/>
              <a:gd name="connsiteX2020" fmla="*/ 1112202 w 12248682"/>
              <a:gd name="connsiteY2020" fmla="*/ 166311 h 823468"/>
              <a:gd name="connsiteX2021" fmla="*/ 1141075 w 12248682"/>
              <a:gd name="connsiteY2021" fmla="*/ 195185 h 823468"/>
              <a:gd name="connsiteX2022" fmla="*/ 1112202 w 12248682"/>
              <a:gd name="connsiteY2022" fmla="*/ 224057 h 823468"/>
              <a:gd name="connsiteX2023" fmla="*/ 1083328 w 12248682"/>
              <a:gd name="connsiteY2023" fmla="*/ 195185 h 823468"/>
              <a:gd name="connsiteX2024" fmla="*/ 1112202 w 12248682"/>
              <a:gd name="connsiteY2024" fmla="*/ 166311 h 823468"/>
              <a:gd name="connsiteX2025" fmla="*/ 164001 w 12248682"/>
              <a:gd name="connsiteY2025" fmla="*/ 166311 h 823468"/>
              <a:gd name="connsiteX2026" fmla="*/ 192875 w 12248682"/>
              <a:gd name="connsiteY2026" fmla="*/ 195185 h 823468"/>
              <a:gd name="connsiteX2027" fmla="*/ 164001 w 12248682"/>
              <a:gd name="connsiteY2027" fmla="*/ 224057 h 823468"/>
              <a:gd name="connsiteX2028" fmla="*/ 135128 w 12248682"/>
              <a:gd name="connsiteY2028" fmla="*/ 195185 h 823468"/>
              <a:gd name="connsiteX2029" fmla="*/ 164001 w 12248682"/>
              <a:gd name="connsiteY2029" fmla="*/ 166311 h 823468"/>
              <a:gd name="connsiteX2030" fmla="*/ 11279692 w 12248682"/>
              <a:gd name="connsiteY2030" fmla="*/ 160537 h 823468"/>
              <a:gd name="connsiteX2031" fmla="*/ 11314340 w 12248682"/>
              <a:gd name="connsiteY2031" fmla="*/ 195185 h 823468"/>
              <a:gd name="connsiteX2032" fmla="*/ 11279692 w 12248682"/>
              <a:gd name="connsiteY2032" fmla="*/ 229833 h 823468"/>
              <a:gd name="connsiteX2033" fmla="*/ 11245044 w 12248682"/>
              <a:gd name="connsiteY2033" fmla="*/ 195185 h 823468"/>
              <a:gd name="connsiteX2034" fmla="*/ 11279692 w 12248682"/>
              <a:gd name="connsiteY2034" fmla="*/ 160537 h 823468"/>
              <a:gd name="connsiteX2035" fmla="*/ 10195208 w 12248682"/>
              <a:gd name="connsiteY2035" fmla="*/ 160537 h 823468"/>
              <a:gd name="connsiteX2036" fmla="*/ 10229856 w 12248682"/>
              <a:gd name="connsiteY2036" fmla="*/ 195185 h 823468"/>
              <a:gd name="connsiteX2037" fmla="*/ 10195208 w 12248682"/>
              <a:gd name="connsiteY2037" fmla="*/ 229833 h 823468"/>
              <a:gd name="connsiteX2038" fmla="*/ 10160560 w 12248682"/>
              <a:gd name="connsiteY2038" fmla="*/ 195185 h 823468"/>
              <a:gd name="connsiteX2039" fmla="*/ 10195208 w 12248682"/>
              <a:gd name="connsiteY2039" fmla="*/ 160537 h 823468"/>
              <a:gd name="connsiteX2040" fmla="*/ 9518417 w 12248682"/>
              <a:gd name="connsiteY2040" fmla="*/ 160537 h 823468"/>
              <a:gd name="connsiteX2041" fmla="*/ 9553065 w 12248682"/>
              <a:gd name="connsiteY2041" fmla="*/ 195185 h 823468"/>
              <a:gd name="connsiteX2042" fmla="*/ 9518417 w 12248682"/>
              <a:gd name="connsiteY2042" fmla="*/ 229833 h 823468"/>
              <a:gd name="connsiteX2043" fmla="*/ 9483769 w 12248682"/>
              <a:gd name="connsiteY2043" fmla="*/ 195185 h 823468"/>
              <a:gd name="connsiteX2044" fmla="*/ 9518417 w 12248682"/>
              <a:gd name="connsiteY2044" fmla="*/ 160537 h 823468"/>
              <a:gd name="connsiteX2045" fmla="*/ 8977304 w 12248682"/>
              <a:gd name="connsiteY2045" fmla="*/ 160537 h 823468"/>
              <a:gd name="connsiteX2046" fmla="*/ 9011952 w 12248682"/>
              <a:gd name="connsiteY2046" fmla="*/ 195185 h 823468"/>
              <a:gd name="connsiteX2047" fmla="*/ 8977304 w 12248682"/>
              <a:gd name="connsiteY2047" fmla="*/ 229833 h 823468"/>
              <a:gd name="connsiteX2048" fmla="*/ 8942656 w 12248682"/>
              <a:gd name="connsiteY2048" fmla="*/ 195185 h 823468"/>
              <a:gd name="connsiteX2049" fmla="*/ 8977304 w 12248682"/>
              <a:gd name="connsiteY2049" fmla="*/ 160537 h 823468"/>
              <a:gd name="connsiteX2050" fmla="*/ 8434485 w 12248682"/>
              <a:gd name="connsiteY2050" fmla="*/ 160537 h 823468"/>
              <a:gd name="connsiteX2051" fmla="*/ 8469133 w 12248682"/>
              <a:gd name="connsiteY2051" fmla="*/ 195185 h 823468"/>
              <a:gd name="connsiteX2052" fmla="*/ 8434485 w 12248682"/>
              <a:gd name="connsiteY2052" fmla="*/ 229833 h 823468"/>
              <a:gd name="connsiteX2053" fmla="*/ 8399837 w 12248682"/>
              <a:gd name="connsiteY2053" fmla="*/ 195185 h 823468"/>
              <a:gd name="connsiteX2054" fmla="*/ 8434485 w 12248682"/>
              <a:gd name="connsiteY2054" fmla="*/ 160537 h 823468"/>
              <a:gd name="connsiteX2055" fmla="*/ 6674366 w 12248682"/>
              <a:gd name="connsiteY2055" fmla="*/ 160537 h 823468"/>
              <a:gd name="connsiteX2056" fmla="*/ 6709014 w 12248682"/>
              <a:gd name="connsiteY2056" fmla="*/ 195185 h 823468"/>
              <a:gd name="connsiteX2057" fmla="*/ 6674366 w 12248682"/>
              <a:gd name="connsiteY2057" fmla="*/ 229833 h 823468"/>
              <a:gd name="connsiteX2058" fmla="*/ 6639717 w 12248682"/>
              <a:gd name="connsiteY2058" fmla="*/ 195185 h 823468"/>
              <a:gd name="connsiteX2059" fmla="*/ 6674366 w 12248682"/>
              <a:gd name="connsiteY2059" fmla="*/ 160537 h 823468"/>
              <a:gd name="connsiteX2060" fmla="*/ 5589882 w 12248682"/>
              <a:gd name="connsiteY2060" fmla="*/ 160537 h 823468"/>
              <a:gd name="connsiteX2061" fmla="*/ 5624531 w 12248682"/>
              <a:gd name="connsiteY2061" fmla="*/ 195185 h 823468"/>
              <a:gd name="connsiteX2062" fmla="*/ 5589882 w 12248682"/>
              <a:gd name="connsiteY2062" fmla="*/ 229833 h 823468"/>
              <a:gd name="connsiteX2063" fmla="*/ 5555234 w 12248682"/>
              <a:gd name="connsiteY2063" fmla="*/ 195185 h 823468"/>
              <a:gd name="connsiteX2064" fmla="*/ 5589882 w 12248682"/>
              <a:gd name="connsiteY2064" fmla="*/ 160537 h 823468"/>
              <a:gd name="connsiteX2065" fmla="*/ 4913091 w 12248682"/>
              <a:gd name="connsiteY2065" fmla="*/ 160537 h 823468"/>
              <a:gd name="connsiteX2066" fmla="*/ 4947739 w 12248682"/>
              <a:gd name="connsiteY2066" fmla="*/ 195185 h 823468"/>
              <a:gd name="connsiteX2067" fmla="*/ 4913091 w 12248682"/>
              <a:gd name="connsiteY2067" fmla="*/ 229833 h 823468"/>
              <a:gd name="connsiteX2068" fmla="*/ 4878443 w 12248682"/>
              <a:gd name="connsiteY2068" fmla="*/ 195185 h 823468"/>
              <a:gd name="connsiteX2069" fmla="*/ 4913091 w 12248682"/>
              <a:gd name="connsiteY2069" fmla="*/ 160537 h 823468"/>
              <a:gd name="connsiteX2070" fmla="*/ 4364498 w 12248682"/>
              <a:gd name="connsiteY2070" fmla="*/ 160537 h 823468"/>
              <a:gd name="connsiteX2071" fmla="*/ 4399146 w 12248682"/>
              <a:gd name="connsiteY2071" fmla="*/ 195185 h 823468"/>
              <a:gd name="connsiteX2072" fmla="*/ 4364498 w 12248682"/>
              <a:gd name="connsiteY2072" fmla="*/ 229833 h 823468"/>
              <a:gd name="connsiteX2073" fmla="*/ 4329850 w 12248682"/>
              <a:gd name="connsiteY2073" fmla="*/ 195185 h 823468"/>
              <a:gd name="connsiteX2074" fmla="*/ 4364498 w 12248682"/>
              <a:gd name="connsiteY2074" fmla="*/ 160537 h 823468"/>
              <a:gd name="connsiteX2075" fmla="*/ 3821678 w 12248682"/>
              <a:gd name="connsiteY2075" fmla="*/ 160537 h 823468"/>
              <a:gd name="connsiteX2076" fmla="*/ 3856326 w 12248682"/>
              <a:gd name="connsiteY2076" fmla="*/ 195185 h 823468"/>
              <a:gd name="connsiteX2077" fmla="*/ 3821678 w 12248682"/>
              <a:gd name="connsiteY2077" fmla="*/ 229833 h 823468"/>
              <a:gd name="connsiteX2078" fmla="*/ 3787030 w 12248682"/>
              <a:gd name="connsiteY2078" fmla="*/ 195185 h 823468"/>
              <a:gd name="connsiteX2079" fmla="*/ 3821678 w 12248682"/>
              <a:gd name="connsiteY2079" fmla="*/ 160537 h 823468"/>
              <a:gd name="connsiteX2080" fmla="*/ 2061558 w 12248682"/>
              <a:gd name="connsiteY2080" fmla="*/ 160537 h 823468"/>
              <a:gd name="connsiteX2081" fmla="*/ 2096206 w 12248682"/>
              <a:gd name="connsiteY2081" fmla="*/ 195185 h 823468"/>
              <a:gd name="connsiteX2082" fmla="*/ 2061558 w 12248682"/>
              <a:gd name="connsiteY2082" fmla="*/ 229833 h 823468"/>
              <a:gd name="connsiteX2083" fmla="*/ 2026910 w 12248682"/>
              <a:gd name="connsiteY2083" fmla="*/ 195185 h 823468"/>
              <a:gd name="connsiteX2084" fmla="*/ 2061558 w 12248682"/>
              <a:gd name="connsiteY2084" fmla="*/ 160537 h 823468"/>
              <a:gd name="connsiteX2085" fmla="*/ 977075 w 12248682"/>
              <a:gd name="connsiteY2085" fmla="*/ 160537 h 823468"/>
              <a:gd name="connsiteX2086" fmla="*/ 1011723 w 12248682"/>
              <a:gd name="connsiteY2086" fmla="*/ 195185 h 823468"/>
              <a:gd name="connsiteX2087" fmla="*/ 977075 w 12248682"/>
              <a:gd name="connsiteY2087" fmla="*/ 229833 h 823468"/>
              <a:gd name="connsiteX2088" fmla="*/ 942427 w 12248682"/>
              <a:gd name="connsiteY2088" fmla="*/ 195185 h 823468"/>
              <a:gd name="connsiteX2089" fmla="*/ 977075 w 12248682"/>
              <a:gd name="connsiteY2089" fmla="*/ 160537 h 823468"/>
              <a:gd name="connsiteX2090" fmla="*/ 300283 w 12248682"/>
              <a:gd name="connsiteY2090" fmla="*/ 160537 h 823468"/>
              <a:gd name="connsiteX2091" fmla="*/ 334931 w 12248682"/>
              <a:gd name="connsiteY2091" fmla="*/ 195185 h 823468"/>
              <a:gd name="connsiteX2092" fmla="*/ 300283 w 12248682"/>
              <a:gd name="connsiteY2092" fmla="*/ 229833 h 823468"/>
              <a:gd name="connsiteX2093" fmla="*/ 265635 w 12248682"/>
              <a:gd name="connsiteY2093" fmla="*/ 195185 h 823468"/>
              <a:gd name="connsiteX2094" fmla="*/ 300283 w 12248682"/>
              <a:gd name="connsiteY2094" fmla="*/ 160537 h 823468"/>
              <a:gd name="connsiteX2095" fmla="*/ 11143410 w 12248682"/>
              <a:gd name="connsiteY2095" fmla="*/ 154761 h 823468"/>
              <a:gd name="connsiteX2096" fmla="*/ 11183832 w 12248682"/>
              <a:gd name="connsiteY2096" fmla="*/ 195185 h 823468"/>
              <a:gd name="connsiteX2097" fmla="*/ 11143410 w 12248682"/>
              <a:gd name="connsiteY2097" fmla="*/ 235607 h 823468"/>
              <a:gd name="connsiteX2098" fmla="*/ 11102987 w 12248682"/>
              <a:gd name="connsiteY2098" fmla="*/ 195185 h 823468"/>
              <a:gd name="connsiteX2099" fmla="*/ 11143410 w 12248682"/>
              <a:gd name="connsiteY2099" fmla="*/ 154761 h 823468"/>
              <a:gd name="connsiteX2100" fmla="*/ 10873155 w 12248682"/>
              <a:gd name="connsiteY2100" fmla="*/ 154761 h 823468"/>
              <a:gd name="connsiteX2101" fmla="*/ 10913577 w 12248682"/>
              <a:gd name="connsiteY2101" fmla="*/ 195185 h 823468"/>
              <a:gd name="connsiteX2102" fmla="*/ 10873155 w 12248682"/>
              <a:gd name="connsiteY2102" fmla="*/ 235607 h 823468"/>
              <a:gd name="connsiteX2103" fmla="*/ 10832732 w 12248682"/>
              <a:gd name="connsiteY2103" fmla="*/ 195185 h 823468"/>
              <a:gd name="connsiteX2104" fmla="*/ 10873155 w 12248682"/>
              <a:gd name="connsiteY2104" fmla="*/ 154761 h 823468"/>
              <a:gd name="connsiteX2105" fmla="*/ 10060082 w 12248682"/>
              <a:gd name="connsiteY2105" fmla="*/ 154761 h 823468"/>
              <a:gd name="connsiteX2106" fmla="*/ 10100504 w 12248682"/>
              <a:gd name="connsiteY2106" fmla="*/ 195185 h 823468"/>
              <a:gd name="connsiteX2107" fmla="*/ 10060082 w 12248682"/>
              <a:gd name="connsiteY2107" fmla="*/ 235607 h 823468"/>
              <a:gd name="connsiteX2108" fmla="*/ 10019658 w 12248682"/>
              <a:gd name="connsiteY2108" fmla="*/ 195185 h 823468"/>
              <a:gd name="connsiteX2109" fmla="*/ 10060082 w 12248682"/>
              <a:gd name="connsiteY2109" fmla="*/ 154761 h 823468"/>
              <a:gd name="connsiteX2110" fmla="*/ 9653545 w 12248682"/>
              <a:gd name="connsiteY2110" fmla="*/ 154761 h 823468"/>
              <a:gd name="connsiteX2111" fmla="*/ 9693967 w 12248682"/>
              <a:gd name="connsiteY2111" fmla="*/ 195185 h 823468"/>
              <a:gd name="connsiteX2112" fmla="*/ 9653545 w 12248682"/>
              <a:gd name="connsiteY2112" fmla="*/ 235607 h 823468"/>
              <a:gd name="connsiteX2113" fmla="*/ 9613122 w 12248682"/>
              <a:gd name="connsiteY2113" fmla="*/ 195185 h 823468"/>
              <a:gd name="connsiteX2114" fmla="*/ 9653545 w 12248682"/>
              <a:gd name="connsiteY2114" fmla="*/ 154761 h 823468"/>
              <a:gd name="connsiteX2115" fmla="*/ 8841022 w 12248682"/>
              <a:gd name="connsiteY2115" fmla="*/ 154761 h 823468"/>
              <a:gd name="connsiteX2116" fmla="*/ 8881444 w 12248682"/>
              <a:gd name="connsiteY2116" fmla="*/ 195185 h 823468"/>
              <a:gd name="connsiteX2117" fmla="*/ 8841022 w 12248682"/>
              <a:gd name="connsiteY2117" fmla="*/ 235607 h 823468"/>
              <a:gd name="connsiteX2118" fmla="*/ 8800599 w 12248682"/>
              <a:gd name="connsiteY2118" fmla="*/ 195185 h 823468"/>
              <a:gd name="connsiteX2119" fmla="*/ 8841022 w 12248682"/>
              <a:gd name="connsiteY2119" fmla="*/ 154761 h 823468"/>
              <a:gd name="connsiteX2120" fmla="*/ 8570767 w 12248682"/>
              <a:gd name="connsiteY2120" fmla="*/ 154761 h 823468"/>
              <a:gd name="connsiteX2121" fmla="*/ 8611190 w 12248682"/>
              <a:gd name="connsiteY2121" fmla="*/ 195185 h 823468"/>
              <a:gd name="connsiteX2122" fmla="*/ 8570767 w 12248682"/>
              <a:gd name="connsiteY2122" fmla="*/ 235607 h 823468"/>
              <a:gd name="connsiteX2123" fmla="*/ 8530344 w 12248682"/>
              <a:gd name="connsiteY2123" fmla="*/ 195185 h 823468"/>
              <a:gd name="connsiteX2124" fmla="*/ 8570767 w 12248682"/>
              <a:gd name="connsiteY2124" fmla="*/ 154761 h 823468"/>
              <a:gd name="connsiteX2125" fmla="*/ 6538083 w 12248682"/>
              <a:gd name="connsiteY2125" fmla="*/ 154761 h 823468"/>
              <a:gd name="connsiteX2126" fmla="*/ 6578507 w 12248682"/>
              <a:gd name="connsiteY2126" fmla="*/ 195185 h 823468"/>
              <a:gd name="connsiteX2127" fmla="*/ 6538083 w 12248682"/>
              <a:gd name="connsiteY2127" fmla="*/ 235607 h 823468"/>
              <a:gd name="connsiteX2128" fmla="*/ 6497661 w 12248682"/>
              <a:gd name="connsiteY2128" fmla="*/ 195185 h 823468"/>
              <a:gd name="connsiteX2129" fmla="*/ 6538083 w 12248682"/>
              <a:gd name="connsiteY2129" fmla="*/ 154761 h 823468"/>
              <a:gd name="connsiteX2130" fmla="*/ 6267830 w 12248682"/>
              <a:gd name="connsiteY2130" fmla="*/ 154761 h 823468"/>
              <a:gd name="connsiteX2131" fmla="*/ 6308251 w 12248682"/>
              <a:gd name="connsiteY2131" fmla="*/ 195185 h 823468"/>
              <a:gd name="connsiteX2132" fmla="*/ 6267830 w 12248682"/>
              <a:gd name="connsiteY2132" fmla="*/ 235607 h 823468"/>
              <a:gd name="connsiteX2133" fmla="*/ 6227406 w 12248682"/>
              <a:gd name="connsiteY2133" fmla="*/ 195185 h 823468"/>
              <a:gd name="connsiteX2134" fmla="*/ 6267830 w 12248682"/>
              <a:gd name="connsiteY2134" fmla="*/ 154761 h 823468"/>
              <a:gd name="connsiteX2135" fmla="*/ 5454756 w 12248682"/>
              <a:gd name="connsiteY2135" fmla="*/ 154761 h 823468"/>
              <a:gd name="connsiteX2136" fmla="*/ 5495178 w 12248682"/>
              <a:gd name="connsiteY2136" fmla="*/ 195185 h 823468"/>
              <a:gd name="connsiteX2137" fmla="*/ 5454756 w 12248682"/>
              <a:gd name="connsiteY2137" fmla="*/ 235607 h 823468"/>
              <a:gd name="connsiteX2138" fmla="*/ 5414332 w 12248682"/>
              <a:gd name="connsiteY2138" fmla="*/ 195185 h 823468"/>
              <a:gd name="connsiteX2139" fmla="*/ 5454756 w 12248682"/>
              <a:gd name="connsiteY2139" fmla="*/ 154761 h 823468"/>
              <a:gd name="connsiteX2140" fmla="*/ 5048218 w 12248682"/>
              <a:gd name="connsiteY2140" fmla="*/ 154761 h 823468"/>
              <a:gd name="connsiteX2141" fmla="*/ 5088641 w 12248682"/>
              <a:gd name="connsiteY2141" fmla="*/ 195185 h 823468"/>
              <a:gd name="connsiteX2142" fmla="*/ 5048218 w 12248682"/>
              <a:gd name="connsiteY2142" fmla="*/ 235607 h 823468"/>
              <a:gd name="connsiteX2143" fmla="*/ 5007796 w 12248682"/>
              <a:gd name="connsiteY2143" fmla="*/ 195185 h 823468"/>
              <a:gd name="connsiteX2144" fmla="*/ 5048218 w 12248682"/>
              <a:gd name="connsiteY2144" fmla="*/ 154761 h 823468"/>
              <a:gd name="connsiteX2145" fmla="*/ 4228216 w 12248682"/>
              <a:gd name="connsiteY2145" fmla="*/ 154761 h 823468"/>
              <a:gd name="connsiteX2146" fmla="*/ 4268637 w 12248682"/>
              <a:gd name="connsiteY2146" fmla="*/ 195185 h 823468"/>
              <a:gd name="connsiteX2147" fmla="*/ 4228216 w 12248682"/>
              <a:gd name="connsiteY2147" fmla="*/ 235607 h 823468"/>
              <a:gd name="connsiteX2148" fmla="*/ 4187792 w 12248682"/>
              <a:gd name="connsiteY2148" fmla="*/ 195185 h 823468"/>
              <a:gd name="connsiteX2149" fmla="*/ 4228216 w 12248682"/>
              <a:gd name="connsiteY2149" fmla="*/ 154761 h 823468"/>
              <a:gd name="connsiteX2150" fmla="*/ 3957960 w 12248682"/>
              <a:gd name="connsiteY2150" fmla="*/ 154761 h 823468"/>
              <a:gd name="connsiteX2151" fmla="*/ 3998382 w 12248682"/>
              <a:gd name="connsiteY2151" fmla="*/ 195185 h 823468"/>
              <a:gd name="connsiteX2152" fmla="*/ 3957960 w 12248682"/>
              <a:gd name="connsiteY2152" fmla="*/ 235607 h 823468"/>
              <a:gd name="connsiteX2153" fmla="*/ 3917537 w 12248682"/>
              <a:gd name="connsiteY2153" fmla="*/ 195185 h 823468"/>
              <a:gd name="connsiteX2154" fmla="*/ 3957960 w 12248682"/>
              <a:gd name="connsiteY2154" fmla="*/ 154761 h 823468"/>
              <a:gd name="connsiteX2155" fmla="*/ 1925276 w 12248682"/>
              <a:gd name="connsiteY2155" fmla="*/ 154761 h 823468"/>
              <a:gd name="connsiteX2156" fmla="*/ 1965698 w 12248682"/>
              <a:gd name="connsiteY2156" fmla="*/ 195185 h 823468"/>
              <a:gd name="connsiteX2157" fmla="*/ 1925276 w 12248682"/>
              <a:gd name="connsiteY2157" fmla="*/ 235607 h 823468"/>
              <a:gd name="connsiteX2158" fmla="*/ 1884853 w 12248682"/>
              <a:gd name="connsiteY2158" fmla="*/ 195185 h 823468"/>
              <a:gd name="connsiteX2159" fmla="*/ 1925276 w 12248682"/>
              <a:gd name="connsiteY2159" fmla="*/ 154761 h 823468"/>
              <a:gd name="connsiteX2160" fmla="*/ 1655022 w 12248682"/>
              <a:gd name="connsiteY2160" fmla="*/ 154761 h 823468"/>
              <a:gd name="connsiteX2161" fmla="*/ 1695444 w 12248682"/>
              <a:gd name="connsiteY2161" fmla="*/ 195185 h 823468"/>
              <a:gd name="connsiteX2162" fmla="*/ 1655022 w 12248682"/>
              <a:gd name="connsiteY2162" fmla="*/ 235607 h 823468"/>
              <a:gd name="connsiteX2163" fmla="*/ 1614598 w 12248682"/>
              <a:gd name="connsiteY2163" fmla="*/ 195185 h 823468"/>
              <a:gd name="connsiteX2164" fmla="*/ 1655022 w 12248682"/>
              <a:gd name="connsiteY2164" fmla="*/ 154761 h 823468"/>
              <a:gd name="connsiteX2165" fmla="*/ 841948 w 12248682"/>
              <a:gd name="connsiteY2165" fmla="*/ 154761 h 823468"/>
              <a:gd name="connsiteX2166" fmla="*/ 882370 w 12248682"/>
              <a:gd name="connsiteY2166" fmla="*/ 195185 h 823468"/>
              <a:gd name="connsiteX2167" fmla="*/ 841948 w 12248682"/>
              <a:gd name="connsiteY2167" fmla="*/ 235607 h 823468"/>
              <a:gd name="connsiteX2168" fmla="*/ 801525 w 12248682"/>
              <a:gd name="connsiteY2168" fmla="*/ 195185 h 823468"/>
              <a:gd name="connsiteX2169" fmla="*/ 841948 w 12248682"/>
              <a:gd name="connsiteY2169" fmla="*/ 154761 h 823468"/>
              <a:gd name="connsiteX2170" fmla="*/ 435411 w 12248682"/>
              <a:gd name="connsiteY2170" fmla="*/ 154761 h 823468"/>
              <a:gd name="connsiteX2171" fmla="*/ 475833 w 12248682"/>
              <a:gd name="connsiteY2171" fmla="*/ 195185 h 823468"/>
              <a:gd name="connsiteX2172" fmla="*/ 435411 w 12248682"/>
              <a:gd name="connsiteY2172" fmla="*/ 235607 h 823468"/>
              <a:gd name="connsiteX2173" fmla="*/ 394988 w 12248682"/>
              <a:gd name="connsiteY2173" fmla="*/ 195185 h 823468"/>
              <a:gd name="connsiteX2174" fmla="*/ 435411 w 12248682"/>
              <a:gd name="connsiteY2174" fmla="*/ 154761 h 823468"/>
              <a:gd name="connsiteX2175" fmla="*/ 11008282 w 12248682"/>
              <a:gd name="connsiteY2175" fmla="*/ 144368 h 823468"/>
              <a:gd name="connsiteX2176" fmla="*/ 11059099 w 12248682"/>
              <a:gd name="connsiteY2176" fmla="*/ 195185 h 823468"/>
              <a:gd name="connsiteX2177" fmla="*/ 11008282 w 12248682"/>
              <a:gd name="connsiteY2177" fmla="*/ 246002 h 823468"/>
              <a:gd name="connsiteX2178" fmla="*/ 10957465 w 12248682"/>
              <a:gd name="connsiteY2178" fmla="*/ 195185 h 823468"/>
              <a:gd name="connsiteX2179" fmla="*/ 11008282 w 12248682"/>
              <a:gd name="connsiteY2179" fmla="*/ 144368 h 823468"/>
              <a:gd name="connsiteX2180" fmla="*/ 9924954 w 12248682"/>
              <a:gd name="connsiteY2180" fmla="*/ 144368 h 823468"/>
              <a:gd name="connsiteX2181" fmla="*/ 9975771 w 12248682"/>
              <a:gd name="connsiteY2181" fmla="*/ 195185 h 823468"/>
              <a:gd name="connsiteX2182" fmla="*/ 9924954 w 12248682"/>
              <a:gd name="connsiteY2182" fmla="*/ 246002 h 823468"/>
              <a:gd name="connsiteX2183" fmla="*/ 9874137 w 12248682"/>
              <a:gd name="connsiteY2183" fmla="*/ 195185 h 823468"/>
              <a:gd name="connsiteX2184" fmla="*/ 9924954 w 12248682"/>
              <a:gd name="connsiteY2184" fmla="*/ 144368 h 823468"/>
              <a:gd name="connsiteX2185" fmla="*/ 9788672 w 12248682"/>
              <a:gd name="connsiteY2185" fmla="*/ 144368 h 823468"/>
              <a:gd name="connsiteX2186" fmla="*/ 9839489 w 12248682"/>
              <a:gd name="connsiteY2186" fmla="*/ 195185 h 823468"/>
              <a:gd name="connsiteX2187" fmla="*/ 9788672 w 12248682"/>
              <a:gd name="connsiteY2187" fmla="*/ 246002 h 823468"/>
              <a:gd name="connsiteX2188" fmla="*/ 9737854 w 12248682"/>
              <a:gd name="connsiteY2188" fmla="*/ 195185 h 823468"/>
              <a:gd name="connsiteX2189" fmla="*/ 9788672 w 12248682"/>
              <a:gd name="connsiteY2189" fmla="*/ 144368 h 823468"/>
              <a:gd name="connsiteX2190" fmla="*/ 8705894 w 12248682"/>
              <a:gd name="connsiteY2190" fmla="*/ 144368 h 823468"/>
              <a:gd name="connsiteX2191" fmla="*/ 8756711 w 12248682"/>
              <a:gd name="connsiteY2191" fmla="*/ 195185 h 823468"/>
              <a:gd name="connsiteX2192" fmla="*/ 8705894 w 12248682"/>
              <a:gd name="connsiteY2192" fmla="*/ 246002 h 823468"/>
              <a:gd name="connsiteX2193" fmla="*/ 8655077 w 12248682"/>
              <a:gd name="connsiteY2193" fmla="*/ 195185 h 823468"/>
              <a:gd name="connsiteX2194" fmla="*/ 8705894 w 12248682"/>
              <a:gd name="connsiteY2194" fmla="*/ 144368 h 823468"/>
              <a:gd name="connsiteX2195" fmla="*/ 6402956 w 12248682"/>
              <a:gd name="connsiteY2195" fmla="*/ 144368 h 823468"/>
              <a:gd name="connsiteX2196" fmla="*/ 6453773 w 12248682"/>
              <a:gd name="connsiteY2196" fmla="*/ 195185 h 823468"/>
              <a:gd name="connsiteX2197" fmla="*/ 6402956 w 12248682"/>
              <a:gd name="connsiteY2197" fmla="*/ 246002 h 823468"/>
              <a:gd name="connsiteX2198" fmla="*/ 6352139 w 12248682"/>
              <a:gd name="connsiteY2198" fmla="*/ 195185 h 823468"/>
              <a:gd name="connsiteX2199" fmla="*/ 6402956 w 12248682"/>
              <a:gd name="connsiteY2199" fmla="*/ 144368 h 823468"/>
              <a:gd name="connsiteX2200" fmla="*/ 5319627 w 12248682"/>
              <a:gd name="connsiteY2200" fmla="*/ 144368 h 823468"/>
              <a:gd name="connsiteX2201" fmla="*/ 5370444 w 12248682"/>
              <a:gd name="connsiteY2201" fmla="*/ 195185 h 823468"/>
              <a:gd name="connsiteX2202" fmla="*/ 5319627 w 12248682"/>
              <a:gd name="connsiteY2202" fmla="*/ 246002 h 823468"/>
              <a:gd name="connsiteX2203" fmla="*/ 5268810 w 12248682"/>
              <a:gd name="connsiteY2203" fmla="*/ 195185 h 823468"/>
              <a:gd name="connsiteX2204" fmla="*/ 5319627 w 12248682"/>
              <a:gd name="connsiteY2204" fmla="*/ 144368 h 823468"/>
              <a:gd name="connsiteX2205" fmla="*/ 5183345 w 12248682"/>
              <a:gd name="connsiteY2205" fmla="*/ 144368 h 823468"/>
              <a:gd name="connsiteX2206" fmla="*/ 5234162 w 12248682"/>
              <a:gd name="connsiteY2206" fmla="*/ 195185 h 823468"/>
              <a:gd name="connsiteX2207" fmla="*/ 5183345 w 12248682"/>
              <a:gd name="connsiteY2207" fmla="*/ 246002 h 823468"/>
              <a:gd name="connsiteX2208" fmla="*/ 5132528 w 12248682"/>
              <a:gd name="connsiteY2208" fmla="*/ 195185 h 823468"/>
              <a:gd name="connsiteX2209" fmla="*/ 5183345 w 12248682"/>
              <a:gd name="connsiteY2209" fmla="*/ 144368 h 823468"/>
              <a:gd name="connsiteX2210" fmla="*/ 4093087 w 12248682"/>
              <a:gd name="connsiteY2210" fmla="*/ 144368 h 823468"/>
              <a:gd name="connsiteX2211" fmla="*/ 4143904 w 12248682"/>
              <a:gd name="connsiteY2211" fmla="*/ 195185 h 823468"/>
              <a:gd name="connsiteX2212" fmla="*/ 4093087 w 12248682"/>
              <a:gd name="connsiteY2212" fmla="*/ 246002 h 823468"/>
              <a:gd name="connsiteX2213" fmla="*/ 4042270 w 12248682"/>
              <a:gd name="connsiteY2213" fmla="*/ 195185 h 823468"/>
              <a:gd name="connsiteX2214" fmla="*/ 4093087 w 12248682"/>
              <a:gd name="connsiteY2214" fmla="*/ 144368 h 823468"/>
              <a:gd name="connsiteX2215" fmla="*/ 1790148 w 12248682"/>
              <a:gd name="connsiteY2215" fmla="*/ 144368 h 823468"/>
              <a:gd name="connsiteX2216" fmla="*/ 1840965 w 12248682"/>
              <a:gd name="connsiteY2216" fmla="*/ 195185 h 823468"/>
              <a:gd name="connsiteX2217" fmla="*/ 1790148 w 12248682"/>
              <a:gd name="connsiteY2217" fmla="*/ 246002 h 823468"/>
              <a:gd name="connsiteX2218" fmla="*/ 1739331 w 12248682"/>
              <a:gd name="connsiteY2218" fmla="*/ 195185 h 823468"/>
              <a:gd name="connsiteX2219" fmla="*/ 1790148 w 12248682"/>
              <a:gd name="connsiteY2219" fmla="*/ 144368 h 823468"/>
              <a:gd name="connsiteX2220" fmla="*/ 706820 w 12248682"/>
              <a:gd name="connsiteY2220" fmla="*/ 144368 h 823468"/>
              <a:gd name="connsiteX2221" fmla="*/ 757637 w 12248682"/>
              <a:gd name="connsiteY2221" fmla="*/ 195185 h 823468"/>
              <a:gd name="connsiteX2222" fmla="*/ 706820 w 12248682"/>
              <a:gd name="connsiteY2222" fmla="*/ 246002 h 823468"/>
              <a:gd name="connsiteX2223" fmla="*/ 656003 w 12248682"/>
              <a:gd name="connsiteY2223" fmla="*/ 195185 h 823468"/>
              <a:gd name="connsiteX2224" fmla="*/ 706820 w 12248682"/>
              <a:gd name="connsiteY2224" fmla="*/ 144368 h 823468"/>
              <a:gd name="connsiteX2225" fmla="*/ 570538 w 12248682"/>
              <a:gd name="connsiteY2225" fmla="*/ 144368 h 823468"/>
              <a:gd name="connsiteX2226" fmla="*/ 621355 w 12248682"/>
              <a:gd name="connsiteY2226" fmla="*/ 195185 h 823468"/>
              <a:gd name="connsiteX2227" fmla="*/ 570538 w 12248682"/>
              <a:gd name="connsiteY2227" fmla="*/ 246002 h 823468"/>
              <a:gd name="connsiteX2228" fmla="*/ 519721 w 12248682"/>
              <a:gd name="connsiteY2228" fmla="*/ 195185 h 823468"/>
              <a:gd name="connsiteX2229" fmla="*/ 570538 w 12248682"/>
              <a:gd name="connsiteY2229" fmla="*/ 144368 h 823468"/>
              <a:gd name="connsiteX2230" fmla="*/ 12180541 w 12248682"/>
              <a:gd name="connsiteY2230" fmla="*/ 31184 h 823468"/>
              <a:gd name="connsiteX2231" fmla="*/ 12201330 w 12248682"/>
              <a:gd name="connsiteY2231" fmla="*/ 51973 h 823468"/>
              <a:gd name="connsiteX2232" fmla="*/ 12180541 w 12248682"/>
              <a:gd name="connsiteY2232" fmla="*/ 72762 h 823468"/>
              <a:gd name="connsiteX2233" fmla="*/ 12159752 w 12248682"/>
              <a:gd name="connsiteY2233" fmla="*/ 51973 h 823468"/>
              <a:gd name="connsiteX2234" fmla="*/ 12180541 w 12248682"/>
              <a:gd name="connsiteY2234" fmla="*/ 31184 h 823468"/>
              <a:gd name="connsiteX2235" fmla="*/ 12040793 w 12248682"/>
              <a:gd name="connsiteY2235" fmla="*/ 31184 h 823468"/>
              <a:gd name="connsiteX2236" fmla="*/ 12061582 w 12248682"/>
              <a:gd name="connsiteY2236" fmla="*/ 51973 h 823468"/>
              <a:gd name="connsiteX2237" fmla="*/ 12040793 w 12248682"/>
              <a:gd name="connsiteY2237" fmla="*/ 72762 h 823468"/>
              <a:gd name="connsiteX2238" fmla="*/ 12020004 w 12248682"/>
              <a:gd name="connsiteY2238" fmla="*/ 51973 h 823468"/>
              <a:gd name="connsiteX2239" fmla="*/ 12040793 w 12248682"/>
              <a:gd name="connsiteY2239" fmla="*/ 31184 h 823468"/>
              <a:gd name="connsiteX2240" fmla="*/ 11901047 w 12248682"/>
              <a:gd name="connsiteY2240" fmla="*/ 31184 h 823468"/>
              <a:gd name="connsiteX2241" fmla="*/ 11921836 w 12248682"/>
              <a:gd name="connsiteY2241" fmla="*/ 51973 h 823468"/>
              <a:gd name="connsiteX2242" fmla="*/ 11901047 w 12248682"/>
              <a:gd name="connsiteY2242" fmla="*/ 72762 h 823468"/>
              <a:gd name="connsiteX2243" fmla="*/ 11880258 w 12248682"/>
              <a:gd name="connsiteY2243" fmla="*/ 51973 h 823468"/>
              <a:gd name="connsiteX2244" fmla="*/ 11901047 w 12248682"/>
              <a:gd name="connsiteY2244" fmla="*/ 31184 h 823468"/>
              <a:gd name="connsiteX2245" fmla="*/ 11761299 w 12248682"/>
              <a:gd name="connsiteY2245" fmla="*/ 31184 h 823468"/>
              <a:gd name="connsiteX2246" fmla="*/ 11782088 w 12248682"/>
              <a:gd name="connsiteY2246" fmla="*/ 51973 h 823468"/>
              <a:gd name="connsiteX2247" fmla="*/ 11761299 w 12248682"/>
              <a:gd name="connsiteY2247" fmla="*/ 72762 h 823468"/>
              <a:gd name="connsiteX2248" fmla="*/ 11740510 w 12248682"/>
              <a:gd name="connsiteY2248" fmla="*/ 51973 h 823468"/>
              <a:gd name="connsiteX2249" fmla="*/ 11761299 w 12248682"/>
              <a:gd name="connsiteY2249" fmla="*/ 31184 h 823468"/>
              <a:gd name="connsiteX2250" fmla="*/ 11621553 w 12248682"/>
              <a:gd name="connsiteY2250" fmla="*/ 31184 h 823468"/>
              <a:gd name="connsiteX2251" fmla="*/ 11642342 w 12248682"/>
              <a:gd name="connsiteY2251" fmla="*/ 51973 h 823468"/>
              <a:gd name="connsiteX2252" fmla="*/ 11621553 w 12248682"/>
              <a:gd name="connsiteY2252" fmla="*/ 72762 h 823468"/>
              <a:gd name="connsiteX2253" fmla="*/ 11600764 w 12248682"/>
              <a:gd name="connsiteY2253" fmla="*/ 51973 h 823468"/>
              <a:gd name="connsiteX2254" fmla="*/ 11621553 w 12248682"/>
              <a:gd name="connsiteY2254" fmla="*/ 31184 h 823468"/>
              <a:gd name="connsiteX2255" fmla="*/ 11481805 w 12248682"/>
              <a:gd name="connsiteY2255" fmla="*/ 31184 h 823468"/>
              <a:gd name="connsiteX2256" fmla="*/ 11502594 w 12248682"/>
              <a:gd name="connsiteY2256" fmla="*/ 51973 h 823468"/>
              <a:gd name="connsiteX2257" fmla="*/ 11481805 w 12248682"/>
              <a:gd name="connsiteY2257" fmla="*/ 72762 h 823468"/>
              <a:gd name="connsiteX2258" fmla="*/ 11461016 w 12248682"/>
              <a:gd name="connsiteY2258" fmla="*/ 51973 h 823468"/>
              <a:gd name="connsiteX2259" fmla="*/ 11481805 w 12248682"/>
              <a:gd name="connsiteY2259" fmla="*/ 31184 h 823468"/>
              <a:gd name="connsiteX2260" fmla="*/ 10644478 w 12248682"/>
              <a:gd name="connsiteY2260" fmla="*/ 31184 h 823468"/>
              <a:gd name="connsiteX2261" fmla="*/ 10665267 w 12248682"/>
              <a:gd name="connsiteY2261" fmla="*/ 51973 h 823468"/>
              <a:gd name="connsiteX2262" fmla="*/ 10644478 w 12248682"/>
              <a:gd name="connsiteY2262" fmla="*/ 72762 h 823468"/>
              <a:gd name="connsiteX2263" fmla="*/ 10623690 w 12248682"/>
              <a:gd name="connsiteY2263" fmla="*/ 51973 h 823468"/>
              <a:gd name="connsiteX2264" fmla="*/ 10644478 w 12248682"/>
              <a:gd name="connsiteY2264" fmla="*/ 31184 h 823468"/>
              <a:gd name="connsiteX2265" fmla="*/ 10504731 w 12248682"/>
              <a:gd name="connsiteY2265" fmla="*/ 31184 h 823468"/>
              <a:gd name="connsiteX2266" fmla="*/ 10525520 w 12248682"/>
              <a:gd name="connsiteY2266" fmla="*/ 51973 h 823468"/>
              <a:gd name="connsiteX2267" fmla="*/ 10504731 w 12248682"/>
              <a:gd name="connsiteY2267" fmla="*/ 72762 h 823468"/>
              <a:gd name="connsiteX2268" fmla="*/ 10483942 w 12248682"/>
              <a:gd name="connsiteY2268" fmla="*/ 51973 h 823468"/>
              <a:gd name="connsiteX2269" fmla="*/ 10504731 w 12248682"/>
              <a:gd name="connsiteY2269" fmla="*/ 31184 h 823468"/>
              <a:gd name="connsiteX2270" fmla="*/ 10364984 w 12248682"/>
              <a:gd name="connsiteY2270" fmla="*/ 31184 h 823468"/>
              <a:gd name="connsiteX2271" fmla="*/ 10385773 w 12248682"/>
              <a:gd name="connsiteY2271" fmla="*/ 51973 h 823468"/>
              <a:gd name="connsiteX2272" fmla="*/ 10364984 w 12248682"/>
              <a:gd name="connsiteY2272" fmla="*/ 72762 h 823468"/>
              <a:gd name="connsiteX2273" fmla="*/ 10344196 w 12248682"/>
              <a:gd name="connsiteY2273" fmla="*/ 51973 h 823468"/>
              <a:gd name="connsiteX2274" fmla="*/ 10364984 w 12248682"/>
              <a:gd name="connsiteY2274" fmla="*/ 31184 h 823468"/>
              <a:gd name="connsiteX2275" fmla="*/ 7854709 w 12248682"/>
              <a:gd name="connsiteY2275" fmla="*/ 31184 h 823468"/>
              <a:gd name="connsiteX2276" fmla="*/ 7875498 w 12248682"/>
              <a:gd name="connsiteY2276" fmla="*/ 51973 h 823468"/>
              <a:gd name="connsiteX2277" fmla="*/ 7854709 w 12248682"/>
              <a:gd name="connsiteY2277" fmla="*/ 72762 h 823468"/>
              <a:gd name="connsiteX2278" fmla="*/ 7833921 w 12248682"/>
              <a:gd name="connsiteY2278" fmla="*/ 51973 h 823468"/>
              <a:gd name="connsiteX2279" fmla="*/ 7854709 w 12248682"/>
              <a:gd name="connsiteY2279" fmla="*/ 31184 h 823468"/>
              <a:gd name="connsiteX2280" fmla="*/ 7714960 w 12248682"/>
              <a:gd name="connsiteY2280" fmla="*/ 31184 h 823468"/>
              <a:gd name="connsiteX2281" fmla="*/ 7735749 w 12248682"/>
              <a:gd name="connsiteY2281" fmla="*/ 51973 h 823468"/>
              <a:gd name="connsiteX2282" fmla="*/ 7714960 w 12248682"/>
              <a:gd name="connsiteY2282" fmla="*/ 72762 h 823468"/>
              <a:gd name="connsiteX2283" fmla="*/ 7694172 w 12248682"/>
              <a:gd name="connsiteY2283" fmla="*/ 51973 h 823468"/>
              <a:gd name="connsiteX2284" fmla="*/ 7714960 w 12248682"/>
              <a:gd name="connsiteY2284" fmla="*/ 31184 h 823468"/>
              <a:gd name="connsiteX2285" fmla="*/ 7575214 w 12248682"/>
              <a:gd name="connsiteY2285" fmla="*/ 31184 h 823468"/>
              <a:gd name="connsiteX2286" fmla="*/ 7596004 w 12248682"/>
              <a:gd name="connsiteY2286" fmla="*/ 51973 h 823468"/>
              <a:gd name="connsiteX2287" fmla="*/ 7575214 w 12248682"/>
              <a:gd name="connsiteY2287" fmla="*/ 72762 h 823468"/>
              <a:gd name="connsiteX2288" fmla="*/ 7554427 w 12248682"/>
              <a:gd name="connsiteY2288" fmla="*/ 51973 h 823468"/>
              <a:gd name="connsiteX2289" fmla="*/ 7575214 w 12248682"/>
              <a:gd name="connsiteY2289" fmla="*/ 31184 h 823468"/>
              <a:gd name="connsiteX2290" fmla="*/ 7435467 w 12248682"/>
              <a:gd name="connsiteY2290" fmla="*/ 31184 h 823468"/>
              <a:gd name="connsiteX2291" fmla="*/ 7456257 w 12248682"/>
              <a:gd name="connsiteY2291" fmla="*/ 51973 h 823468"/>
              <a:gd name="connsiteX2292" fmla="*/ 7435467 w 12248682"/>
              <a:gd name="connsiteY2292" fmla="*/ 72762 h 823468"/>
              <a:gd name="connsiteX2293" fmla="*/ 7414678 w 12248682"/>
              <a:gd name="connsiteY2293" fmla="*/ 51973 h 823468"/>
              <a:gd name="connsiteX2294" fmla="*/ 7435467 w 12248682"/>
              <a:gd name="connsiteY2294" fmla="*/ 31184 h 823468"/>
              <a:gd name="connsiteX2295" fmla="*/ 7295720 w 12248682"/>
              <a:gd name="connsiteY2295" fmla="*/ 31184 h 823468"/>
              <a:gd name="connsiteX2296" fmla="*/ 7316509 w 12248682"/>
              <a:gd name="connsiteY2296" fmla="*/ 51973 h 823468"/>
              <a:gd name="connsiteX2297" fmla="*/ 7295720 w 12248682"/>
              <a:gd name="connsiteY2297" fmla="*/ 72762 h 823468"/>
              <a:gd name="connsiteX2298" fmla="*/ 7274932 w 12248682"/>
              <a:gd name="connsiteY2298" fmla="*/ 51973 h 823468"/>
              <a:gd name="connsiteX2299" fmla="*/ 7295720 w 12248682"/>
              <a:gd name="connsiteY2299" fmla="*/ 31184 h 823468"/>
              <a:gd name="connsiteX2300" fmla="*/ 7155974 w 12248682"/>
              <a:gd name="connsiteY2300" fmla="*/ 31184 h 823468"/>
              <a:gd name="connsiteX2301" fmla="*/ 7176762 w 12248682"/>
              <a:gd name="connsiteY2301" fmla="*/ 51973 h 823468"/>
              <a:gd name="connsiteX2302" fmla="*/ 7155974 w 12248682"/>
              <a:gd name="connsiteY2302" fmla="*/ 72762 h 823468"/>
              <a:gd name="connsiteX2303" fmla="*/ 7135183 w 12248682"/>
              <a:gd name="connsiteY2303" fmla="*/ 51973 h 823468"/>
              <a:gd name="connsiteX2304" fmla="*/ 7155974 w 12248682"/>
              <a:gd name="connsiteY2304" fmla="*/ 31184 h 823468"/>
              <a:gd name="connsiteX2305" fmla="*/ 7016227 w 12248682"/>
              <a:gd name="connsiteY2305" fmla="*/ 31184 h 823468"/>
              <a:gd name="connsiteX2306" fmla="*/ 7037016 w 12248682"/>
              <a:gd name="connsiteY2306" fmla="*/ 51973 h 823468"/>
              <a:gd name="connsiteX2307" fmla="*/ 7016227 w 12248682"/>
              <a:gd name="connsiteY2307" fmla="*/ 72762 h 823468"/>
              <a:gd name="connsiteX2308" fmla="*/ 6995438 w 12248682"/>
              <a:gd name="connsiteY2308" fmla="*/ 51973 h 823468"/>
              <a:gd name="connsiteX2309" fmla="*/ 7016227 w 12248682"/>
              <a:gd name="connsiteY2309" fmla="*/ 31184 h 823468"/>
              <a:gd name="connsiteX2310" fmla="*/ 6877634 w 12248682"/>
              <a:gd name="connsiteY2310" fmla="*/ 31184 h 823468"/>
              <a:gd name="connsiteX2311" fmla="*/ 6898424 w 12248682"/>
              <a:gd name="connsiteY2311" fmla="*/ 51973 h 823468"/>
              <a:gd name="connsiteX2312" fmla="*/ 6877634 w 12248682"/>
              <a:gd name="connsiteY2312" fmla="*/ 72762 h 823468"/>
              <a:gd name="connsiteX2313" fmla="*/ 6856845 w 12248682"/>
              <a:gd name="connsiteY2313" fmla="*/ 51973 h 823468"/>
              <a:gd name="connsiteX2314" fmla="*/ 6877634 w 12248682"/>
              <a:gd name="connsiteY2314" fmla="*/ 31184 h 823468"/>
              <a:gd name="connsiteX2315" fmla="*/ 6039151 w 12248682"/>
              <a:gd name="connsiteY2315" fmla="*/ 31184 h 823468"/>
              <a:gd name="connsiteX2316" fmla="*/ 6059942 w 12248682"/>
              <a:gd name="connsiteY2316" fmla="*/ 51973 h 823468"/>
              <a:gd name="connsiteX2317" fmla="*/ 6039151 w 12248682"/>
              <a:gd name="connsiteY2317" fmla="*/ 72762 h 823468"/>
              <a:gd name="connsiteX2318" fmla="*/ 6018363 w 12248682"/>
              <a:gd name="connsiteY2318" fmla="*/ 51973 h 823468"/>
              <a:gd name="connsiteX2319" fmla="*/ 6039151 w 12248682"/>
              <a:gd name="connsiteY2319" fmla="*/ 31184 h 823468"/>
              <a:gd name="connsiteX2320" fmla="*/ 5899405 w 12248682"/>
              <a:gd name="connsiteY2320" fmla="*/ 31184 h 823468"/>
              <a:gd name="connsiteX2321" fmla="*/ 5920193 w 12248682"/>
              <a:gd name="connsiteY2321" fmla="*/ 51973 h 823468"/>
              <a:gd name="connsiteX2322" fmla="*/ 5899405 w 12248682"/>
              <a:gd name="connsiteY2322" fmla="*/ 72762 h 823468"/>
              <a:gd name="connsiteX2323" fmla="*/ 5878616 w 12248682"/>
              <a:gd name="connsiteY2323" fmla="*/ 51973 h 823468"/>
              <a:gd name="connsiteX2324" fmla="*/ 5899405 w 12248682"/>
              <a:gd name="connsiteY2324" fmla="*/ 31184 h 823468"/>
              <a:gd name="connsiteX2325" fmla="*/ 5759658 w 12248682"/>
              <a:gd name="connsiteY2325" fmla="*/ 31184 h 823468"/>
              <a:gd name="connsiteX2326" fmla="*/ 5780447 w 12248682"/>
              <a:gd name="connsiteY2326" fmla="*/ 51973 h 823468"/>
              <a:gd name="connsiteX2327" fmla="*/ 5759658 w 12248682"/>
              <a:gd name="connsiteY2327" fmla="*/ 72762 h 823468"/>
              <a:gd name="connsiteX2328" fmla="*/ 5738869 w 12248682"/>
              <a:gd name="connsiteY2328" fmla="*/ 51973 h 823468"/>
              <a:gd name="connsiteX2329" fmla="*/ 5759658 w 12248682"/>
              <a:gd name="connsiteY2329" fmla="*/ 31184 h 823468"/>
              <a:gd name="connsiteX2330" fmla="*/ 3241901 w 12248682"/>
              <a:gd name="connsiteY2330" fmla="*/ 31184 h 823468"/>
              <a:gd name="connsiteX2331" fmla="*/ 3262690 w 12248682"/>
              <a:gd name="connsiteY2331" fmla="*/ 51973 h 823468"/>
              <a:gd name="connsiteX2332" fmla="*/ 3241901 w 12248682"/>
              <a:gd name="connsiteY2332" fmla="*/ 72762 h 823468"/>
              <a:gd name="connsiteX2333" fmla="*/ 3221112 w 12248682"/>
              <a:gd name="connsiteY2333" fmla="*/ 51973 h 823468"/>
              <a:gd name="connsiteX2334" fmla="*/ 3241901 w 12248682"/>
              <a:gd name="connsiteY2334" fmla="*/ 31184 h 823468"/>
              <a:gd name="connsiteX2335" fmla="*/ 3102153 w 12248682"/>
              <a:gd name="connsiteY2335" fmla="*/ 31184 h 823468"/>
              <a:gd name="connsiteX2336" fmla="*/ 3122942 w 12248682"/>
              <a:gd name="connsiteY2336" fmla="*/ 51973 h 823468"/>
              <a:gd name="connsiteX2337" fmla="*/ 3102153 w 12248682"/>
              <a:gd name="connsiteY2337" fmla="*/ 72762 h 823468"/>
              <a:gd name="connsiteX2338" fmla="*/ 3081365 w 12248682"/>
              <a:gd name="connsiteY2338" fmla="*/ 51973 h 823468"/>
              <a:gd name="connsiteX2339" fmla="*/ 3102153 w 12248682"/>
              <a:gd name="connsiteY2339" fmla="*/ 31184 h 823468"/>
              <a:gd name="connsiteX2340" fmla="*/ 2962407 w 12248682"/>
              <a:gd name="connsiteY2340" fmla="*/ 31184 h 823468"/>
              <a:gd name="connsiteX2341" fmla="*/ 2983196 w 12248682"/>
              <a:gd name="connsiteY2341" fmla="*/ 51973 h 823468"/>
              <a:gd name="connsiteX2342" fmla="*/ 2962407 w 12248682"/>
              <a:gd name="connsiteY2342" fmla="*/ 72762 h 823468"/>
              <a:gd name="connsiteX2343" fmla="*/ 2941618 w 12248682"/>
              <a:gd name="connsiteY2343" fmla="*/ 51973 h 823468"/>
              <a:gd name="connsiteX2344" fmla="*/ 2962407 w 12248682"/>
              <a:gd name="connsiteY2344" fmla="*/ 31184 h 823468"/>
              <a:gd name="connsiteX2345" fmla="*/ 2822659 w 12248682"/>
              <a:gd name="connsiteY2345" fmla="*/ 31184 h 823468"/>
              <a:gd name="connsiteX2346" fmla="*/ 2843448 w 12248682"/>
              <a:gd name="connsiteY2346" fmla="*/ 51973 h 823468"/>
              <a:gd name="connsiteX2347" fmla="*/ 2822659 w 12248682"/>
              <a:gd name="connsiteY2347" fmla="*/ 72762 h 823468"/>
              <a:gd name="connsiteX2348" fmla="*/ 2801871 w 12248682"/>
              <a:gd name="connsiteY2348" fmla="*/ 51973 h 823468"/>
              <a:gd name="connsiteX2349" fmla="*/ 2822659 w 12248682"/>
              <a:gd name="connsiteY2349" fmla="*/ 31184 h 823468"/>
              <a:gd name="connsiteX2350" fmla="*/ 2682913 w 12248682"/>
              <a:gd name="connsiteY2350" fmla="*/ 31184 h 823468"/>
              <a:gd name="connsiteX2351" fmla="*/ 2703702 w 12248682"/>
              <a:gd name="connsiteY2351" fmla="*/ 51973 h 823468"/>
              <a:gd name="connsiteX2352" fmla="*/ 2682913 w 12248682"/>
              <a:gd name="connsiteY2352" fmla="*/ 72762 h 823468"/>
              <a:gd name="connsiteX2353" fmla="*/ 2662124 w 12248682"/>
              <a:gd name="connsiteY2353" fmla="*/ 51973 h 823468"/>
              <a:gd name="connsiteX2354" fmla="*/ 2682913 w 12248682"/>
              <a:gd name="connsiteY2354" fmla="*/ 31184 h 823468"/>
              <a:gd name="connsiteX2355" fmla="*/ 2543167 w 12248682"/>
              <a:gd name="connsiteY2355" fmla="*/ 31184 h 823468"/>
              <a:gd name="connsiteX2356" fmla="*/ 2563954 w 12248682"/>
              <a:gd name="connsiteY2356" fmla="*/ 51973 h 823468"/>
              <a:gd name="connsiteX2357" fmla="*/ 2543167 w 12248682"/>
              <a:gd name="connsiteY2357" fmla="*/ 72762 h 823468"/>
              <a:gd name="connsiteX2358" fmla="*/ 2522376 w 12248682"/>
              <a:gd name="connsiteY2358" fmla="*/ 51973 h 823468"/>
              <a:gd name="connsiteX2359" fmla="*/ 2543167 w 12248682"/>
              <a:gd name="connsiteY2359" fmla="*/ 31184 h 823468"/>
              <a:gd name="connsiteX2360" fmla="*/ 2403419 w 12248682"/>
              <a:gd name="connsiteY2360" fmla="*/ 31184 h 823468"/>
              <a:gd name="connsiteX2361" fmla="*/ 2424209 w 12248682"/>
              <a:gd name="connsiteY2361" fmla="*/ 51973 h 823468"/>
              <a:gd name="connsiteX2362" fmla="*/ 2403419 w 12248682"/>
              <a:gd name="connsiteY2362" fmla="*/ 72762 h 823468"/>
              <a:gd name="connsiteX2363" fmla="*/ 2382630 w 12248682"/>
              <a:gd name="connsiteY2363" fmla="*/ 51973 h 823468"/>
              <a:gd name="connsiteX2364" fmla="*/ 2403419 w 12248682"/>
              <a:gd name="connsiteY2364" fmla="*/ 31184 h 823468"/>
              <a:gd name="connsiteX2365" fmla="*/ 2263671 w 12248682"/>
              <a:gd name="connsiteY2365" fmla="*/ 31184 h 823468"/>
              <a:gd name="connsiteX2366" fmla="*/ 2284460 w 12248682"/>
              <a:gd name="connsiteY2366" fmla="*/ 51973 h 823468"/>
              <a:gd name="connsiteX2367" fmla="*/ 2263671 w 12248682"/>
              <a:gd name="connsiteY2367" fmla="*/ 72762 h 823468"/>
              <a:gd name="connsiteX2368" fmla="*/ 2242883 w 12248682"/>
              <a:gd name="connsiteY2368" fmla="*/ 51973 h 823468"/>
              <a:gd name="connsiteX2369" fmla="*/ 2263671 w 12248682"/>
              <a:gd name="connsiteY2369" fmla="*/ 31184 h 823468"/>
              <a:gd name="connsiteX2370" fmla="*/ 1426344 w 12248682"/>
              <a:gd name="connsiteY2370" fmla="*/ 31184 h 823468"/>
              <a:gd name="connsiteX2371" fmla="*/ 1447133 w 12248682"/>
              <a:gd name="connsiteY2371" fmla="*/ 51973 h 823468"/>
              <a:gd name="connsiteX2372" fmla="*/ 1426344 w 12248682"/>
              <a:gd name="connsiteY2372" fmla="*/ 72762 h 823468"/>
              <a:gd name="connsiteX2373" fmla="*/ 1405556 w 12248682"/>
              <a:gd name="connsiteY2373" fmla="*/ 51973 h 823468"/>
              <a:gd name="connsiteX2374" fmla="*/ 1426344 w 12248682"/>
              <a:gd name="connsiteY2374" fmla="*/ 31184 h 823468"/>
              <a:gd name="connsiteX2375" fmla="*/ 1286597 w 12248682"/>
              <a:gd name="connsiteY2375" fmla="*/ 31184 h 823468"/>
              <a:gd name="connsiteX2376" fmla="*/ 1307386 w 12248682"/>
              <a:gd name="connsiteY2376" fmla="*/ 51973 h 823468"/>
              <a:gd name="connsiteX2377" fmla="*/ 1286597 w 12248682"/>
              <a:gd name="connsiteY2377" fmla="*/ 72762 h 823468"/>
              <a:gd name="connsiteX2378" fmla="*/ 1265808 w 12248682"/>
              <a:gd name="connsiteY2378" fmla="*/ 51973 h 823468"/>
              <a:gd name="connsiteX2379" fmla="*/ 1286597 w 12248682"/>
              <a:gd name="connsiteY2379" fmla="*/ 31184 h 823468"/>
              <a:gd name="connsiteX2380" fmla="*/ 1146851 w 12248682"/>
              <a:gd name="connsiteY2380" fmla="*/ 31184 h 823468"/>
              <a:gd name="connsiteX2381" fmla="*/ 1167639 w 12248682"/>
              <a:gd name="connsiteY2381" fmla="*/ 51973 h 823468"/>
              <a:gd name="connsiteX2382" fmla="*/ 1146851 w 12248682"/>
              <a:gd name="connsiteY2382" fmla="*/ 72762 h 823468"/>
              <a:gd name="connsiteX2383" fmla="*/ 1126062 w 12248682"/>
              <a:gd name="connsiteY2383" fmla="*/ 51973 h 823468"/>
              <a:gd name="connsiteX2384" fmla="*/ 1146851 w 12248682"/>
              <a:gd name="connsiteY2384" fmla="*/ 31184 h 823468"/>
              <a:gd name="connsiteX2385" fmla="*/ 11343213 w 12248682"/>
              <a:gd name="connsiteY2385" fmla="*/ 27719 h 823468"/>
              <a:gd name="connsiteX2386" fmla="*/ 11366312 w 12248682"/>
              <a:gd name="connsiteY2386" fmla="*/ 50817 h 823468"/>
              <a:gd name="connsiteX2387" fmla="*/ 11343213 w 12248682"/>
              <a:gd name="connsiteY2387" fmla="*/ 73916 h 823468"/>
              <a:gd name="connsiteX2388" fmla="*/ 11320114 w 12248682"/>
              <a:gd name="connsiteY2388" fmla="*/ 50817 h 823468"/>
              <a:gd name="connsiteX2389" fmla="*/ 11343213 w 12248682"/>
              <a:gd name="connsiteY2389" fmla="*/ 27719 h 823468"/>
              <a:gd name="connsiteX2390" fmla="*/ 10225237 w 12248682"/>
              <a:gd name="connsiteY2390" fmla="*/ 27719 h 823468"/>
              <a:gd name="connsiteX2391" fmla="*/ 10248335 w 12248682"/>
              <a:gd name="connsiteY2391" fmla="*/ 50817 h 823468"/>
              <a:gd name="connsiteX2392" fmla="*/ 10225237 w 12248682"/>
              <a:gd name="connsiteY2392" fmla="*/ 73916 h 823468"/>
              <a:gd name="connsiteX2393" fmla="*/ 10202138 w 12248682"/>
              <a:gd name="connsiteY2393" fmla="*/ 50817 h 823468"/>
              <a:gd name="connsiteX2394" fmla="*/ 10225237 w 12248682"/>
              <a:gd name="connsiteY2394" fmla="*/ 27719 h 823468"/>
              <a:gd name="connsiteX2395" fmla="*/ 9112431 w 12248682"/>
              <a:gd name="connsiteY2395" fmla="*/ 27719 h 823468"/>
              <a:gd name="connsiteX2396" fmla="*/ 9135530 w 12248682"/>
              <a:gd name="connsiteY2396" fmla="*/ 50817 h 823468"/>
              <a:gd name="connsiteX2397" fmla="*/ 9112431 w 12248682"/>
              <a:gd name="connsiteY2397" fmla="*/ 73916 h 823468"/>
              <a:gd name="connsiteX2398" fmla="*/ 9089332 w 12248682"/>
              <a:gd name="connsiteY2398" fmla="*/ 50817 h 823468"/>
              <a:gd name="connsiteX2399" fmla="*/ 9112431 w 12248682"/>
              <a:gd name="connsiteY2399" fmla="*/ 27719 h 823468"/>
              <a:gd name="connsiteX2400" fmla="*/ 7994456 w 12248682"/>
              <a:gd name="connsiteY2400" fmla="*/ 27719 h 823468"/>
              <a:gd name="connsiteX2401" fmla="*/ 8017555 w 12248682"/>
              <a:gd name="connsiteY2401" fmla="*/ 50817 h 823468"/>
              <a:gd name="connsiteX2402" fmla="*/ 7994456 w 12248682"/>
              <a:gd name="connsiteY2402" fmla="*/ 73916 h 823468"/>
              <a:gd name="connsiteX2403" fmla="*/ 7971356 w 12248682"/>
              <a:gd name="connsiteY2403" fmla="*/ 50817 h 823468"/>
              <a:gd name="connsiteX2404" fmla="*/ 7994456 w 12248682"/>
              <a:gd name="connsiteY2404" fmla="*/ 27719 h 823468"/>
              <a:gd name="connsiteX2405" fmla="*/ 6737887 w 12248682"/>
              <a:gd name="connsiteY2405" fmla="*/ 27719 h 823468"/>
              <a:gd name="connsiteX2406" fmla="*/ 6760986 w 12248682"/>
              <a:gd name="connsiteY2406" fmla="*/ 50817 h 823468"/>
              <a:gd name="connsiteX2407" fmla="*/ 6737887 w 12248682"/>
              <a:gd name="connsiteY2407" fmla="*/ 73916 h 823468"/>
              <a:gd name="connsiteX2408" fmla="*/ 6714789 w 12248682"/>
              <a:gd name="connsiteY2408" fmla="*/ 50817 h 823468"/>
              <a:gd name="connsiteX2409" fmla="*/ 6737887 w 12248682"/>
              <a:gd name="connsiteY2409" fmla="*/ 27719 h 823468"/>
              <a:gd name="connsiteX2410" fmla="*/ 5619911 w 12248682"/>
              <a:gd name="connsiteY2410" fmla="*/ 27719 h 823468"/>
              <a:gd name="connsiteX2411" fmla="*/ 5643008 w 12248682"/>
              <a:gd name="connsiteY2411" fmla="*/ 50817 h 823468"/>
              <a:gd name="connsiteX2412" fmla="*/ 5619911 w 12248682"/>
              <a:gd name="connsiteY2412" fmla="*/ 73916 h 823468"/>
              <a:gd name="connsiteX2413" fmla="*/ 5596812 w 12248682"/>
              <a:gd name="connsiteY2413" fmla="*/ 50817 h 823468"/>
              <a:gd name="connsiteX2414" fmla="*/ 5619911 w 12248682"/>
              <a:gd name="connsiteY2414" fmla="*/ 27719 h 823468"/>
              <a:gd name="connsiteX2415" fmla="*/ 4499625 w 12248682"/>
              <a:gd name="connsiteY2415" fmla="*/ 27719 h 823468"/>
              <a:gd name="connsiteX2416" fmla="*/ 4522722 w 12248682"/>
              <a:gd name="connsiteY2416" fmla="*/ 50817 h 823468"/>
              <a:gd name="connsiteX2417" fmla="*/ 4499625 w 12248682"/>
              <a:gd name="connsiteY2417" fmla="*/ 73916 h 823468"/>
              <a:gd name="connsiteX2418" fmla="*/ 4476525 w 12248682"/>
              <a:gd name="connsiteY2418" fmla="*/ 50817 h 823468"/>
              <a:gd name="connsiteX2419" fmla="*/ 4499625 w 12248682"/>
              <a:gd name="connsiteY2419" fmla="*/ 27719 h 823468"/>
              <a:gd name="connsiteX2420" fmla="*/ 3381648 w 12248682"/>
              <a:gd name="connsiteY2420" fmla="*/ 27719 h 823468"/>
              <a:gd name="connsiteX2421" fmla="*/ 3404746 w 12248682"/>
              <a:gd name="connsiteY2421" fmla="*/ 50817 h 823468"/>
              <a:gd name="connsiteX2422" fmla="*/ 3381648 w 12248682"/>
              <a:gd name="connsiteY2422" fmla="*/ 73916 h 823468"/>
              <a:gd name="connsiteX2423" fmla="*/ 3358549 w 12248682"/>
              <a:gd name="connsiteY2423" fmla="*/ 50817 h 823468"/>
              <a:gd name="connsiteX2424" fmla="*/ 3381648 w 12248682"/>
              <a:gd name="connsiteY2424" fmla="*/ 27719 h 823468"/>
              <a:gd name="connsiteX2425" fmla="*/ 2125079 w 12248682"/>
              <a:gd name="connsiteY2425" fmla="*/ 27719 h 823468"/>
              <a:gd name="connsiteX2426" fmla="*/ 2148178 w 12248682"/>
              <a:gd name="connsiteY2426" fmla="*/ 50817 h 823468"/>
              <a:gd name="connsiteX2427" fmla="*/ 2125079 w 12248682"/>
              <a:gd name="connsiteY2427" fmla="*/ 73916 h 823468"/>
              <a:gd name="connsiteX2428" fmla="*/ 2101980 w 12248682"/>
              <a:gd name="connsiteY2428" fmla="*/ 50817 h 823468"/>
              <a:gd name="connsiteX2429" fmla="*/ 2125079 w 12248682"/>
              <a:gd name="connsiteY2429" fmla="*/ 27719 h 823468"/>
              <a:gd name="connsiteX2430" fmla="*/ 1007103 w 12248682"/>
              <a:gd name="connsiteY2430" fmla="*/ 27719 h 823468"/>
              <a:gd name="connsiteX2431" fmla="*/ 1030201 w 12248682"/>
              <a:gd name="connsiteY2431" fmla="*/ 50817 h 823468"/>
              <a:gd name="connsiteX2432" fmla="*/ 1007103 w 12248682"/>
              <a:gd name="connsiteY2432" fmla="*/ 73916 h 823468"/>
              <a:gd name="connsiteX2433" fmla="*/ 984004 w 12248682"/>
              <a:gd name="connsiteY2433" fmla="*/ 50817 h 823468"/>
              <a:gd name="connsiteX2434" fmla="*/ 1007103 w 12248682"/>
              <a:gd name="connsiteY2434" fmla="*/ 27719 h 823468"/>
              <a:gd name="connsiteX2435" fmla="*/ 11203466 w 12248682"/>
              <a:gd name="connsiteY2435" fmla="*/ 21945 h 823468"/>
              <a:gd name="connsiteX2436" fmla="*/ 11232339 w 12248682"/>
              <a:gd name="connsiteY2436" fmla="*/ 50817 h 823468"/>
              <a:gd name="connsiteX2437" fmla="*/ 11203466 w 12248682"/>
              <a:gd name="connsiteY2437" fmla="*/ 79691 h 823468"/>
              <a:gd name="connsiteX2438" fmla="*/ 11174593 w 12248682"/>
              <a:gd name="connsiteY2438" fmla="*/ 50817 h 823468"/>
              <a:gd name="connsiteX2439" fmla="*/ 11203466 w 12248682"/>
              <a:gd name="connsiteY2439" fmla="*/ 21945 h 823468"/>
              <a:gd name="connsiteX2440" fmla="*/ 10085490 w 12248682"/>
              <a:gd name="connsiteY2440" fmla="*/ 21945 h 823468"/>
              <a:gd name="connsiteX2441" fmla="*/ 10114363 w 12248682"/>
              <a:gd name="connsiteY2441" fmla="*/ 51973 h 823468"/>
              <a:gd name="connsiteX2442" fmla="*/ 10085490 w 12248682"/>
              <a:gd name="connsiteY2442" fmla="*/ 80846 h 823468"/>
              <a:gd name="connsiteX2443" fmla="*/ 10056616 w 12248682"/>
              <a:gd name="connsiteY2443" fmla="*/ 50817 h 823468"/>
              <a:gd name="connsiteX2444" fmla="*/ 10085490 w 12248682"/>
              <a:gd name="connsiteY2444" fmla="*/ 21945 h 823468"/>
              <a:gd name="connsiteX2445" fmla="*/ 9247008 w 12248682"/>
              <a:gd name="connsiteY2445" fmla="*/ 21945 h 823468"/>
              <a:gd name="connsiteX2446" fmla="*/ 9275881 w 12248682"/>
              <a:gd name="connsiteY2446" fmla="*/ 50817 h 823468"/>
              <a:gd name="connsiteX2447" fmla="*/ 9247008 w 12248682"/>
              <a:gd name="connsiteY2447" fmla="*/ 80846 h 823468"/>
              <a:gd name="connsiteX2448" fmla="*/ 9218134 w 12248682"/>
              <a:gd name="connsiteY2448" fmla="*/ 50817 h 823468"/>
              <a:gd name="connsiteX2449" fmla="*/ 9247008 w 12248682"/>
              <a:gd name="connsiteY2449" fmla="*/ 21945 h 823468"/>
              <a:gd name="connsiteX2450" fmla="*/ 8972685 w 12248682"/>
              <a:gd name="connsiteY2450" fmla="*/ 21945 h 823468"/>
              <a:gd name="connsiteX2451" fmla="*/ 9001557 w 12248682"/>
              <a:gd name="connsiteY2451" fmla="*/ 50817 h 823468"/>
              <a:gd name="connsiteX2452" fmla="*/ 8972685 w 12248682"/>
              <a:gd name="connsiteY2452" fmla="*/ 79691 h 823468"/>
              <a:gd name="connsiteX2453" fmla="*/ 8943811 w 12248682"/>
              <a:gd name="connsiteY2453" fmla="*/ 50817 h 823468"/>
              <a:gd name="connsiteX2454" fmla="*/ 8972685 w 12248682"/>
              <a:gd name="connsiteY2454" fmla="*/ 21945 h 823468"/>
              <a:gd name="connsiteX2455" fmla="*/ 8134203 w 12248682"/>
              <a:gd name="connsiteY2455" fmla="*/ 21945 h 823468"/>
              <a:gd name="connsiteX2456" fmla="*/ 8163075 w 12248682"/>
              <a:gd name="connsiteY2456" fmla="*/ 50817 h 823468"/>
              <a:gd name="connsiteX2457" fmla="*/ 8134203 w 12248682"/>
              <a:gd name="connsiteY2457" fmla="*/ 79691 h 823468"/>
              <a:gd name="connsiteX2458" fmla="*/ 8105330 w 12248682"/>
              <a:gd name="connsiteY2458" fmla="*/ 50817 h 823468"/>
              <a:gd name="connsiteX2459" fmla="*/ 8134203 w 12248682"/>
              <a:gd name="connsiteY2459" fmla="*/ 21945 h 823468"/>
              <a:gd name="connsiteX2460" fmla="*/ 6598140 w 12248682"/>
              <a:gd name="connsiteY2460" fmla="*/ 21945 h 823468"/>
              <a:gd name="connsiteX2461" fmla="*/ 6627013 w 12248682"/>
              <a:gd name="connsiteY2461" fmla="*/ 50817 h 823468"/>
              <a:gd name="connsiteX2462" fmla="*/ 6598140 w 12248682"/>
              <a:gd name="connsiteY2462" fmla="*/ 79691 h 823468"/>
              <a:gd name="connsiteX2463" fmla="*/ 6569267 w 12248682"/>
              <a:gd name="connsiteY2463" fmla="*/ 50817 h 823468"/>
              <a:gd name="connsiteX2464" fmla="*/ 6598140 w 12248682"/>
              <a:gd name="connsiteY2464" fmla="*/ 21945 h 823468"/>
              <a:gd name="connsiteX2465" fmla="*/ 5480165 w 12248682"/>
              <a:gd name="connsiteY2465" fmla="*/ 21945 h 823468"/>
              <a:gd name="connsiteX2466" fmla="*/ 5509037 w 12248682"/>
              <a:gd name="connsiteY2466" fmla="*/ 50817 h 823468"/>
              <a:gd name="connsiteX2467" fmla="*/ 5480165 w 12248682"/>
              <a:gd name="connsiteY2467" fmla="*/ 79691 h 823468"/>
              <a:gd name="connsiteX2468" fmla="*/ 5451289 w 12248682"/>
              <a:gd name="connsiteY2468" fmla="*/ 50817 h 823468"/>
              <a:gd name="connsiteX2469" fmla="*/ 5480165 w 12248682"/>
              <a:gd name="connsiteY2469" fmla="*/ 21945 h 823468"/>
              <a:gd name="connsiteX2470" fmla="*/ 4641682 w 12248682"/>
              <a:gd name="connsiteY2470" fmla="*/ 21945 h 823468"/>
              <a:gd name="connsiteX2471" fmla="*/ 4670555 w 12248682"/>
              <a:gd name="connsiteY2471" fmla="*/ 50817 h 823468"/>
              <a:gd name="connsiteX2472" fmla="*/ 4641682 w 12248682"/>
              <a:gd name="connsiteY2472" fmla="*/ 79691 h 823468"/>
              <a:gd name="connsiteX2473" fmla="*/ 4612809 w 12248682"/>
              <a:gd name="connsiteY2473" fmla="*/ 50817 h 823468"/>
              <a:gd name="connsiteX2474" fmla="*/ 4641682 w 12248682"/>
              <a:gd name="connsiteY2474" fmla="*/ 21945 h 823468"/>
              <a:gd name="connsiteX2475" fmla="*/ 4359878 w 12248682"/>
              <a:gd name="connsiteY2475" fmla="*/ 21945 h 823468"/>
              <a:gd name="connsiteX2476" fmla="*/ 4388751 w 12248682"/>
              <a:gd name="connsiteY2476" fmla="*/ 50817 h 823468"/>
              <a:gd name="connsiteX2477" fmla="*/ 4359878 w 12248682"/>
              <a:gd name="connsiteY2477" fmla="*/ 79691 h 823468"/>
              <a:gd name="connsiteX2478" fmla="*/ 4331003 w 12248682"/>
              <a:gd name="connsiteY2478" fmla="*/ 50817 h 823468"/>
              <a:gd name="connsiteX2479" fmla="*/ 4359878 w 12248682"/>
              <a:gd name="connsiteY2479" fmla="*/ 21945 h 823468"/>
              <a:gd name="connsiteX2480" fmla="*/ 3521396 w 12248682"/>
              <a:gd name="connsiteY2480" fmla="*/ 21945 h 823468"/>
              <a:gd name="connsiteX2481" fmla="*/ 3550268 w 12248682"/>
              <a:gd name="connsiteY2481" fmla="*/ 50817 h 823468"/>
              <a:gd name="connsiteX2482" fmla="*/ 3521396 w 12248682"/>
              <a:gd name="connsiteY2482" fmla="*/ 79691 h 823468"/>
              <a:gd name="connsiteX2483" fmla="*/ 3492521 w 12248682"/>
              <a:gd name="connsiteY2483" fmla="*/ 50817 h 823468"/>
              <a:gd name="connsiteX2484" fmla="*/ 3521396 w 12248682"/>
              <a:gd name="connsiteY2484" fmla="*/ 21945 h 823468"/>
              <a:gd name="connsiteX2485" fmla="*/ 1985333 w 12248682"/>
              <a:gd name="connsiteY2485" fmla="*/ 21945 h 823468"/>
              <a:gd name="connsiteX2486" fmla="*/ 2014205 w 12248682"/>
              <a:gd name="connsiteY2486" fmla="*/ 50817 h 823468"/>
              <a:gd name="connsiteX2487" fmla="*/ 1985333 w 12248682"/>
              <a:gd name="connsiteY2487" fmla="*/ 79691 h 823468"/>
              <a:gd name="connsiteX2488" fmla="*/ 1956459 w 12248682"/>
              <a:gd name="connsiteY2488" fmla="*/ 50817 h 823468"/>
              <a:gd name="connsiteX2489" fmla="*/ 1985333 w 12248682"/>
              <a:gd name="connsiteY2489" fmla="*/ 21945 h 823468"/>
              <a:gd name="connsiteX2490" fmla="*/ 867356 w 12248682"/>
              <a:gd name="connsiteY2490" fmla="*/ 21945 h 823468"/>
              <a:gd name="connsiteX2491" fmla="*/ 896229 w 12248682"/>
              <a:gd name="connsiteY2491" fmla="*/ 51973 h 823468"/>
              <a:gd name="connsiteX2492" fmla="*/ 867356 w 12248682"/>
              <a:gd name="connsiteY2492" fmla="*/ 80846 h 823468"/>
              <a:gd name="connsiteX2493" fmla="*/ 838482 w 12248682"/>
              <a:gd name="connsiteY2493" fmla="*/ 50817 h 823468"/>
              <a:gd name="connsiteX2494" fmla="*/ 867356 w 12248682"/>
              <a:gd name="connsiteY2494" fmla="*/ 21945 h 823468"/>
              <a:gd name="connsiteX2495" fmla="*/ 28874 w 12248682"/>
              <a:gd name="connsiteY2495" fmla="*/ 21945 h 823468"/>
              <a:gd name="connsiteX2496" fmla="*/ 57747 w 12248682"/>
              <a:gd name="connsiteY2496" fmla="*/ 50817 h 823468"/>
              <a:gd name="connsiteX2497" fmla="*/ 28874 w 12248682"/>
              <a:gd name="connsiteY2497" fmla="*/ 80846 h 823468"/>
              <a:gd name="connsiteX2498" fmla="*/ 0 w 12248682"/>
              <a:gd name="connsiteY2498" fmla="*/ 50817 h 823468"/>
              <a:gd name="connsiteX2499" fmla="*/ 28874 w 12248682"/>
              <a:gd name="connsiteY2499" fmla="*/ 21945 h 823468"/>
              <a:gd name="connsiteX2500" fmla="*/ 11063719 w 12248682"/>
              <a:gd name="connsiteY2500" fmla="*/ 16169 h 823468"/>
              <a:gd name="connsiteX2501" fmla="*/ 11098367 w 12248682"/>
              <a:gd name="connsiteY2501" fmla="*/ 50817 h 823468"/>
              <a:gd name="connsiteX2502" fmla="*/ 11063719 w 12248682"/>
              <a:gd name="connsiteY2502" fmla="*/ 85465 h 823468"/>
              <a:gd name="connsiteX2503" fmla="*/ 11029071 w 12248682"/>
              <a:gd name="connsiteY2503" fmla="*/ 50817 h 823468"/>
              <a:gd name="connsiteX2504" fmla="*/ 11063719 w 12248682"/>
              <a:gd name="connsiteY2504" fmla="*/ 16169 h 823468"/>
              <a:gd name="connsiteX2505" fmla="*/ 9945743 w 12248682"/>
              <a:gd name="connsiteY2505" fmla="*/ 16169 h 823468"/>
              <a:gd name="connsiteX2506" fmla="*/ 9980391 w 12248682"/>
              <a:gd name="connsiteY2506" fmla="*/ 50817 h 823468"/>
              <a:gd name="connsiteX2507" fmla="*/ 9945743 w 12248682"/>
              <a:gd name="connsiteY2507" fmla="*/ 85465 h 823468"/>
              <a:gd name="connsiteX2508" fmla="*/ 9911094 w 12248682"/>
              <a:gd name="connsiteY2508" fmla="*/ 50817 h 823468"/>
              <a:gd name="connsiteX2509" fmla="*/ 9945743 w 12248682"/>
              <a:gd name="connsiteY2509" fmla="*/ 16169 h 823468"/>
              <a:gd name="connsiteX2510" fmla="*/ 9386754 w 12248682"/>
              <a:gd name="connsiteY2510" fmla="*/ 16169 h 823468"/>
              <a:gd name="connsiteX2511" fmla="*/ 9421402 w 12248682"/>
              <a:gd name="connsiteY2511" fmla="*/ 50817 h 823468"/>
              <a:gd name="connsiteX2512" fmla="*/ 9386754 w 12248682"/>
              <a:gd name="connsiteY2512" fmla="*/ 85465 h 823468"/>
              <a:gd name="connsiteX2513" fmla="*/ 9352106 w 12248682"/>
              <a:gd name="connsiteY2513" fmla="*/ 50817 h 823468"/>
              <a:gd name="connsiteX2514" fmla="*/ 9386754 w 12248682"/>
              <a:gd name="connsiteY2514" fmla="*/ 16169 h 823468"/>
              <a:gd name="connsiteX2515" fmla="*/ 8832937 w 12248682"/>
              <a:gd name="connsiteY2515" fmla="*/ 16169 h 823468"/>
              <a:gd name="connsiteX2516" fmla="*/ 8867585 w 12248682"/>
              <a:gd name="connsiteY2516" fmla="*/ 50817 h 823468"/>
              <a:gd name="connsiteX2517" fmla="*/ 8832937 w 12248682"/>
              <a:gd name="connsiteY2517" fmla="*/ 85465 h 823468"/>
              <a:gd name="connsiteX2518" fmla="*/ 8798289 w 12248682"/>
              <a:gd name="connsiteY2518" fmla="*/ 50817 h 823468"/>
              <a:gd name="connsiteX2519" fmla="*/ 8832937 w 12248682"/>
              <a:gd name="connsiteY2519" fmla="*/ 16169 h 823468"/>
              <a:gd name="connsiteX2520" fmla="*/ 8273949 w 12248682"/>
              <a:gd name="connsiteY2520" fmla="*/ 16169 h 823468"/>
              <a:gd name="connsiteX2521" fmla="*/ 8308598 w 12248682"/>
              <a:gd name="connsiteY2521" fmla="*/ 50817 h 823468"/>
              <a:gd name="connsiteX2522" fmla="*/ 8273949 w 12248682"/>
              <a:gd name="connsiteY2522" fmla="*/ 85465 h 823468"/>
              <a:gd name="connsiteX2523" fmla="*/ 8239301 w 12248682"/>
              <a:gd name="connsiteY2523" fmla="*/ 50817 h 823468"/>
              <a:gd name="connsiteX2524" fmla="*/ 8273949 w 12248682"/>
              <a:gd name="connsiteY2524" fmla="*/ 16169 h 823468"/>
              <a:gd name="connsiteX2525" fmla="*/ 6458393 w 12248682"/>
              <a:gd name="connsiteY2525" fmla="*/ 16169 h 823468"/>
              <a:gd name="connsiteX2526" fmla="*/ 6493041 w 12248682"/>
              <a:gd name="connsiteY2526" fmla="*/ 50817 h 823468"/>
              <a:gd name="connsiteX2527" fmla="*/ 6458393 w 12248682"/>
              <a:gd name="connsiteY2527" fmla="*/ 85465 h 823468"/>
              <a:gd name="connsiteX2528" fmla="*/ 6423745 w 12248682"/>
              <a:gd name="connsiteY2528" fmla="*/ 50817 h 823468"/>
              <a:gd name="connsiteX2529" fmla="*/ 6458393 w 12248682"/>
              <a:gd name="connsiteY2529" fmla="*/ 16169 h 823468"/>
              <a:gd name="connsiteX2530" fmla="*/ 5340416 w 12248682"/>
              <a:gd name="connsiteY2530" fmla="*/ 16169 h 823468"/>
              <a:gd name="connsiteX2531" fmla="*/ 5375064 w 12248682"/>
              <a:gd name="connsiteY2531" fmla="*/ 50817 h 823468"/>
              <a:gd name="connsiteX2532" fmla="*/ 5340416 w 12248682"/>
              <a:gd name="connsiteY2532" fmla="*/ 85465 h 823468"/>
              <a:gd name="connsiteX2533" fmla="*/ 5305769 w 12248682"/>
              <a:gd name="connsiteY2533" fmla="*/ 50817 h 823468"/>
              <a:gd name="connsiteX2534" fmla="*/ 5340416 w 12248682"/>
              <a:gd name="connsiteY2534" fmla="*/ 16169 h 823468"/>
              <a:gd name="connsiteX2535" fmla="*/ 4781429 w 12248682"/>
              <a:gd name="connsiteY2535" fmla="*/ 16169 h 823468"/>
              <a:gd name="connsiteX2536" fmla="*/ 4816075 w 12248682"/>
              <a:gd name="connsiteY2536" fmla="*/ 50817 h 823468"/>
              <a:gd name="connsiteX2537" fmla="*/ 4781429 w 12248682"/>
              <a:gd name="connsiteY2537" fmla="*/ 85465 h 823468"/>
              <a:gd name="connsiteX2538" fmla="*/ 4746781 w 12248682"/>
              <a:gd name="connsiteY2538" fmla="*/ 50817 h 823468"/>
              <a:gd name="connsiteX2539" fmla="*/ 4781429 w 12248682"/>
              <a:gd name="connsiteY2539" fmla="*/ 16169 h 823468"/>
              <a:gd name="connsiteX2540" fmla="*/ 4220129 w 12248682"/>
              <a:gd name="connsiteY2540" fmla="*/ 16169 h 823468"/>
              <a:gd name="connsiteX2541" fmla="*/ 4254779 w 12248682"/>
              <a:gd name="connsiteY2541" fmla="*/ 50817 h 823468"/>
              <a:gd name="connsiteX2542" fmla="*/ 4220129 w 12248682"/>
              <a:gd name="connsiteY2542" fmla="*/ 85465 h 823468"/>
              <a:gd name="connsiteX2543" fmla="*/ 4185482 w 12248682"/>
              <a:gd name="connsiteY2543" fmla="*/ 50817 h 823468"/>
              <a:gd name="connsiteX2544" fmla="*/ 4220129 w 12248682"/>
              <a:gd name="connsiteY2544" fmla="*/ 16169 h 823468"/>
              <a:gd name="connsiteX2545" fmla="*/ 3661142 w 12248682"/>
              <a:gd name="connsiteY2545" fmla="*/ 16169 h 823468"/>
              <a:gd name="connsiteX2546" fmla="*/ 3695791 w 12248682"/>
              <a:gd name="connsiteY2546" fmla="*/ 50817 h 823468"/>
              <a:gd name="connsiteX2547" fmla="*/ 3661142 w 12248682"/>
              <a:gd name="connsiteY2547" fmla="*/ 85465 h 823468"/>
              <a:gd name="connsiteX2548" fmla="*/ 3626494 w 12248682"/>
              <a:gd name="connsiteY2548" fmla="*/ 50817 h 823468"/>
              <a:gd name="connsiteX2549" fmla="*/ 3661142 w 12248682"/>
              <a:gd name="connsiteY2549" fmla="*/ 16169 h 823468"/>
              <a:gd name="connsiteX2550" fmla="*/ 1845585 w 12248682"/>
              <a:gd name="connsiteY2550" fmla="*/ 16169 h 823468"/>
              <a:gd name="connsiteX2551" fmla="*/ 1880233 w 12248682"/>
              <a:gd name="connsiteY2551" fmla="*/ 50817 h 823468"/>
              <a:gd name="connsiteX2552" fmla="*/ 1845585 w 12248682"/>
              <a:gd name="connsiteY2552" fmla="*/ 85465 h 823468"/>
              <a:gd name="connsiteX2553" fmla="*/ 1810937 w 12248682"/>
              <a:gd name="connsiteY2553" fmla="*/ 50817 h 823468"/>
              <a:gd name="connsiteX2554" fmla="*/ 1845585 w 12248682"/>
              <a:gd name="connsiteY2554" fmla="*/ 16169 h 823468"/>
              <a:gd name="connsiteX2555" fmla="*/ 727609 w 12248682"/>
              <a:gd name="connsiteY2555" fmla="*/ 16169 h 823468"/>
              <a:gd name="connsiteX2556" fmla="*/ 762257 w 12248682"/>
              <a:gd name="connsiteY2556" fmla="*/ 50817 h 823468"/>
              <a:gd name="connsiteX2557" fmla="*/ 727609 w 12248682"/>
              <a:gd name="connsiteY2557" fmla="*/ 85465 h 823468"/>
              <a:gd name="connsiteX2558" fmla="*/ 692961 w 12248682"/>
              <a:gd name="connsiteY2558" fmla="*/ 50817 h 823468"/>
              <a:gd name="connsiteX2559" fmla="*/ 727609 w 12248682"/>
              <a:gd name="connsiteY2559" fmla="*/ 16169 h 823468"/>
              <a:gd name="connsiteX2560" fmla="*/ 168621 w 12248682"/>
              <a:gd name="connsiteY2560" fmla="*/ 16169 h 823468"/>
              <a:gd name="connsiteX2561" fmla="*/ 203269 w 12248682"/>
              <a:gd name="connsiteY2561" fmla="*/ 50817 h 823468"/>
              <a:gd name="connsiteX2562" fmla="*/ 168621 w 12248682"/>
              <a:gd name="connsiteY2562" fmla="*/ 85465 h 823468"/>
              <a:gd name="connsiteX2563" fmla="*/ 133973 w 12248682"/>
              <a:gd name="connsiteY2563" fmla="*/ 50817 h 823468"/>
              <a:gd name="connsiteX2564" fmla="*/ 168621 w 12248682"/>
              <a:gd name="connsiteY2564" fmla="*/ 16169 h 823468"/>
              <a:gd name="connsiteX2565" fmla="*/ 10923972 w 12248682"/>
              <a:gd name="connsiteY2565" fmla="*/ 10395 h 823468"/>
              <a:gd name="connsiteX2566" fmla="*/ 10964394 w 12248682"/>
              <a:gd name="connsiteY2566" fmla="*/ 50817 h 823468"/>
              <a:gd name="connsiteX2567" fmla="*/ 10923972 w 12248682"/>
              <a:gd name="connsiteY2567" fmla="*/ 91241 h 823468"/>
              <a:gd name="connsiteX2568" fmla="*/ 10883549 w 12248682"/>
              <a:gd name="connsiteY2568" fmla="*/ 50817 h 823468"/>
              <a:gd name="connsiteX2569" fmla="*/ 10923972 w 12248682"/>
              <a:gd name="connsiteY2569" fmla="*/ 10395 h 823468"/>
              <a:gd name="connsiteX2570" fmla="*/ 9805996 w 12248682"/>
              <a:gd name="connsiteY2570" fmla="*/ 10395 h 823468"/>
              <a:gd name="connsiteX2571" fmla="*/ 9846418 w 12248682"/>
              <a:gd name="connsiteY2571" fmla="*/ 51973 h 823468"/>
              <a:gd name="connsiteX2572" fmla="*/ 9805996 w 12248682"/>
              <a:gd name="connsiteY2572" fmla="*/ 92395 h 823468"/>
              <a:gd name="connsiteX2573" fmla="*/ 9765573 w 12248682"/>
              <a:gd name="connsiteY2573" fmla="*/ 50817 h 823468"/>
              <a:gd name="connsiteX2574" fmla="*/ 9805996 w 12248682"/>
              <a:gd name="connsiteY2574" fmla="*/ 10395 h 823468"/>
              <a:gd name="connsiteX2575" fmla="*/ 9526502 w 12248682"/>
              <a:gd name="connsiteY2575" fmla="*/ 10395 h 823468"/>
              <a:gd name="connsiteX2576" fmla="*/ 9566924 w 12248682"/>
              <a:gd name="connsiteY2576" fmla="*/ 51973 h 823468"/>
              <a:gd name="connsiteX2577" fmla="*/ 9526502 w 12248682"/>
              <a:gd name="connsiteY2577" fmla="*/ 92395 h 823468"/>
              <a:gd name="connsiteX2578" fmla="*/ 9486079 w 12248682"/>
              <a:gd name="connsiteY2578" fmla="*/ 50817 h 823468"/>
              <a:gd name="connsiteX2579" fmla="*/ 9526502 w 12248682"/>
              <a:gd name="connsiteY2579" fmla="*/ 10395 h 823468"/>
              <a:gd name="connsiteX2580" fmla="*/ 8693190 w 12248682"/>
              <a:gd name="connsiteY2580" fmla="*/ 10395 h 823468"/>
              <a:gd name="connsiteX2581" fmla="*/ 8733613 w 12248682"/>
              <a:gd name="connsiteY2581" fmla="*/ 50817 h 823468"/>
              <a:gd name="connsiteX2582" fmla="*/ 8693190 w 12248682"/>
              <a:gd name="connsiteY2582" fmla="*/ 91241 h 823468"/>
              <a:gd name="connsiteX2583" fmla="*/ 8652767 w 12248682"/>
              <a:gd name="connsiteY2583" fmla="*/ 50817 h 823468"/>
              <a:gd name="connsiteX2584" fmla="*/ 8693190 w 12248682"/>
              <a:gd name="connsiteY2584" fmla="*/ 10395 h 823468"/>
              <a:gd name="connsiteX2585" fmla="*/ 8413696 w 12248682"/>
              <a:gd name="connsiteY2585" fmla="*/ 10395 h 823468"/>
              <a:gd name="connsiteX2586" fmla="*/ 8454118 w 12248682"/>
              <a:gd name="connsiteY2586" fmla="*/ 50817 h 823468"/>
              <a:gd name="connsiteX2587" fmla="*/ 8413696 w 12248682"/>
              <a:gd name="connsiteY2587" fmla="*/ 91241 h 823468"/>
              <a:gd name="connsiteX2588" fmla="*/ 8373274 w 12248682"/>
              <a:gd name="connsiteY2588" fmla="*/ 50817 h 823468"/>
              <a:gd name="connsiteX2589" fmla="*/ 8413696 w 12248682"/>
              <a:gd name="connsiteY2589" fmla="*/ 10395 h 823468"/>
              <a:gd name="connsiteX2590" fmla="*/ 6318647 w 12248682"/>
              <a:gd name="connsiteY2590" fmla="*/ 10395 h 823468"/>
              <a:gd name="connsiteX2591" fmla="*/ 6359068 w 12248682"/>
              <a:gd name="connsiteY2591" fmla="*/ 50817 h 823468"/>
              <a:gd name="connsiteX2592" fmla="*/ 6318647 w 12248682"/>
              <a:gd name="connsiteY2592" fmla="*/ 91241 h 823468"/>
              <a:gd name="connsiteX2593" fmla="*/ 6278223 w 12248682"/>
              <a:gd name="connsiteY2593" fmla="*/ 50817 h 823468"/>
              <a:gd name="connsiteX2594" fmla="*/ 6318647 w 12248682"/>
              <a:gd name="connsiteY2594" fmla="*/ 10395 h 823468"/>
              <a:gd name="connsiteX2595" fmla="*/ 5200669 w 12248682"/>
              <a:gd name="connsiteY2595" fmla="*/ 10395 h 823468"/>
              <a:gd name="connsiteX2596" fmla="*/ 5241093 w 12248682"/>
              <a:gd name="connsiteY2596" fmla="*/ 50817 h 823468"/>
              <a:gd name="connsiteX2597" fmla="*/ 5200669 w 12248682"/>
              <a:gd name="connsiteY2597" fmla="*/ 91241 h 823468"/>
              <a:gd name="connsiteX2598" fmla="*/ 5160247 w 12248682"/>
              <a:gd name="connsiteY2598" fmla="*/ 50817 h 823468"/>
              <a:gd name="connsiteX2599" fmla="*/ 5200669 w 12248682"/>
              <a:gd name="connsiteY2599" fmla="*/ 10395 h 823468"/>
              <a:gd name="connsiteX2600" fmla="*/ 4921176 w 12248682"/>
              <a:gd name="connsiteY2600" fmla="*/ 10395 h 823468"/>
              <a:gd name="connsiteX2601" fmla="*/ 4961597 w 12248682"/>
              <a:gd name="connsiteY2601" fmla="*/ 50817 h 823468"/>
              <a:gd name="connsiteX2602" fmla="*/ 4921176 w 12248682"/>
              <a:gd name="connsiteY2602" fmla="*/ 91241 h 823468"/>
              <a:gd name="connsiteX2603" fmla="*/ 4880752 w 12248682"/>
              <a:gd name="connsiteY2603" fmla="*/ 50817 h 823468"/>
              <a:gd name="connsiteX2604" fmla="*/ 4921176 w 12248682"/>
              <a:gd name="connsiteY2604" fmla="*/ 10395 h 823468"/>
              <a:gd name="connsiteX2605" fmla="*/ 4080383 w 12248682"/>
              <a:gd name="connsiteY2605" fmla="*/ 10395 h 823468"/>
              <a:gd name="connsiteX2606" fmla="*/ 4120806 w 12248682"/>
              <a:gd name="connsiteY2606" fmla="*/ 50817 h 823468"/>
              <a:gd name="connsiteX2607" fmla="*/ 4080383 w 12248682"/>
              <a:gd name="connsiteY2607" fmla="*/ 91241 h 823468"/>
              <a:gd name="connsiteX2608" fmla="*/ 4039961 w 12248682"/>
              <a:gd name="connsiteY2608" fmla="*/ 50817 h 823468"/>
              <a:gd name="connsiteX2609" fmla="*/ 4080383 w 12248682"/>
              <a:gd name="connsiteY2609" fmla="*/ 10395 h 823468"/>
              <a:gd name="connsiteX2610" fmla="*/ 3800889 w 12248682"/>
              <a:gd name="connsiteY2610" fmla="*/ 10395 h 823468"/>
              <a:gd name="connsiteX2611" fmla="*/ 3841311 w 12248682"/>
              <a:gd name="connsiteY2611" fmla="*/ 50817 h 823468"/>
              <a:gd name="connsiteX2612" fmla="*/ 3800889 w 12248682"/>
              <a:gd name="connsiteY2612" fmla="*/ 91241 h 823468"/>
              <a:gd name="connsiteX2613" fmla="*/ 3760466 w 12248682"/>
              <a:gd name="connsiteY2613" fmla="*/ 50817 h 823468"/>
              <a:gd name="connsiteX2614" fmla="*/ 3800889 w 12248682"/>
              <a:gd name="connsiteY2614" fmla="*/ 10395 h 823468"/>
              <a:gd name="connsiteX2615" fmla="*/ 1705839 w 12248682"/>
              <a:gd name="connsiteY2615" fmla="*/ 10395 h 823468"/>
              <a:gd name="connsiteX2616" fmla="*/ 1746261 w 12248682"/>
              <a:gd name="connsiteY2616" fmla="*/ 50817 h 823468"/>
              <a:gd name="connsiteX2617" fmla="*/ 1705839 w 12248682"/>
              <a:gd name="connsiteY2617" fmla="*/ 91241 h 823468"/>
              <a:gd name="connsiteX2618" fmla="*/ 1665415 w 12248682"/>
              <a:gd name="connsiteY2618" fmla="*/ 50817 h 823468"/>
              <a:gd name="connsiteX2619" fmla="*/ 1705839 w 12248682"/>
              <a:gd name="connsiteY2619" fmla="*/ 10395 h 823468"/>
              <a:gd name="connsiteX2620" fmla="*/ 587862 w 12248682"/>
              <a:gd name="connsiteY2620" fmla="*/ 10395 h 823468"/>
              <a:gd name="connsiteX2621" fmla="*/ 628284 w 12248682"/>
              <a:gd name="connsiteY2621" fmla="*/ 51973 h 823468"/>
              <a:gd name="connsiteX2622" fmla="*/ 587862 w 12248682"/>
              <a:gd name="connsiteY2622" fmla="*/ 92395 h 823468"/>
              <a:gd name="connsiteX2623" fmla="*/ 547439 w 12248682"/>
              <a:gd name="connsiteY2623" fmla="*/ 50817 h 823468"/>
              <a:gd name="connsiteX2624" fmla="*/ 587862 w 12248682"/>
              <a:gd name="connsiteY2624" fmla="*/ 10395 h 823468"/>
              <a:gd name="connsiteX2625" fmla="*/ 308368 w 12248682"/>
              <a:gd name="connsiteY2625" fmla="*/ 10395 h 823468"/>
              <a:gd name="connsiteX2626" fmla="*/ 348790 w 12248682"/>
              <a:gd name="connsiteY2626" fmla="*/ 51973 h 823468"/>
              <a:gd name="connsiteX2627" fmla="*/ 308368 w 12248682"/>
              <a:gd name="connsiteY2627" fmla="*/ 92395 h 823468"/>
              <a:gd name="connsiteX2628" fmla="*/ 267945 w 12248682"/>
              <a:gd name="connsiteY2628" fmla="*/ 50817 h 823468"/>
              <a:gd name="connsiteX2629" fmla="*/ 308368 w 12248682"/>
              <a:gd name="connsiteY2629" fmla="*/ 10395 h 823468"/>
              <a:gd name="connsiteX2630" fmla="*/ 10784225 w 12248682"/>
              <a:gd name="connsiteY2630" fmla="*/ 0 h 823468"/>
              <a:gd name="connsiteX2631" fmla="*/ 10835042 w 12248682"/>
              <a:gd name="connsiteY2631" fmla="*/ 50817 h 823468"/>
              <a:gd name="connsiteX2632" fmla="*/ 10784225 w 12248682"/>
              <a:gd name="connsiteY2632" fmla="*/ 101634 h 823468"/>
              <a:gd name="connsiteX2633" fmla="*/ 10733408 w 12248682"/>
              <a:gd name="connsiteY2633" fmla="*/ 50817 h 823468"/>
              <a:gd name="connsiteX2634" fmla="*/ 10784225 w 12248682"/>
              <a:gd name="connsiteY2634" fmla="*/ 0 h 823468"/>
              <a:gd name="connsiteX2635" fmla="*/ 9666248 w 12248682"/>
              <a:gd name="connsiteY2635" fmla="*/ 0 h 823468"/>
              <a:gd name="connsiteX2636" fmla="*/ 9717066 w 12248682"/>
              <a:gd name="connsiteY2636" fmla="*/ 50817 h 823468"/>
              <a:gd name="connsiteX2637" fmla="*/ 9666248 w 12248682"/>
              <a:gd name="connsiteY2637" fmla="*/ 101634 h 823468"/>
              <a:gd name="connsiteX2638" fmla="*/ 9615431 w 12248682"/>
              <a:gd name="connsiteY2638" fmla="*/ 50817 h 823468"/>
              <a:gd name="connsiteX2639" fmla="*/ 9666248 w 12248682"/>
              <a:gd name="connsiteY2639" fmla="*/ 0 h 823468"/>
              <a:gd name="connsiteX2640" fmla="*/ 8553443 w 12248682"/>
              <a:gd name="connsiteY2640" fmla="*/ 0 h 823468"/>
              <a:gd name="connsiteX2641" fmla="*/ 8604260 w 12248682"/>
              <a:gd name="connsiteY2641" fmla="*/ 50817 h 823468"/>
              <a:gd name="connsiteX2642" fmla="*/ 8553443 w 12248682"/>
              <a:gd name="connsiteY2642" fmla="*/ 101634 h 823468"/>
              <a:gd name="connsiteX2643" fmla="*/ 8502626 w 12248682"/>
              <a:gd name="connsiteY2643" fmla="*/ 50817 h 823468"/>
              <a:gd name="connsiteX2644" fmla="*/ 8553443 w 12248682"/>
              <a:gd name="connsiteY2644" fmla="*/ 0 h 823468"/>
              <a:gd name="connsiteX2645" fmla="*/ 6178898 w 12248682"/>
              <a:gd name="connsiteY2645" fmla="*/ 0 h 823468"/>
              <a:gd name="connsiteX2646" fmla="*/ 6229715 w 12248682"/>
              <a:gd name="connsiteY2646" fmla="*/ 50817 h 823468"/>
              <a:gd name="connsiteX2647" fmla="*/ 6178898 w 12248682"/>
              <a:gd name="connsiteY2647" fmla="*/ 101634 h 823468"/>
              <a:gd name="connsiteX2648" fmla="*/ 6128081 w 12248682"/>
              <a:gd name="connsiteY2648" fmla="*/ 50817 h 823468"/>
              <a:gd name="connsiteX2649" fmla="*/ 6178898 w 12248682"/>
              <a:gd name="connsiteY2649" fmla="*/ 0 h 823468"/>
              <a:gd name="connsiteX2650" fmla="*/ 5060922 w 12248682"/>
              <a:gd name="connsiteY2650" fmla="*/ 0 h 823468"/>
              <a:gd name="connsiteX2651" fmla="*/ 5111739 w 12248682"/>
              <a:gd name="connsiteY2651" fmla="*/ 50817 h 823468"/>
              <a:gd name="connsiteX2652" fmla="*/ 5060922 w 12248682"/>
              <a:gd name="connsiteY2652" fmla="*/ 101634 h 823468"/>
              <a:gd name="connsiteX2653" fmla="*/ 5010105 w 12248682"/>
              <a:gd name="connsiteY2653" fmla="*/ 50817 h 823468"/>
              <a:gd name="connsiteX2654" fmla="*/ 5060922 w 12248682"/>
              <a:gd name="connsiteY2654" fmla="*/ 0 h 823468"/>
              <a:gd name="connsiteX2655" fmla="*/ 3940636 w 12248682"/>
              <a:gd name="connsiteY2655" fmla="*/ 0 h 823468"/>
              <a:gd name="connsiteX2656" fmla="*/ 3991453 w 12248682"/>
              <a:gd name="connsiteY2656" fmla="*/ 50817 h 823468"/>
              <a:gd name="connsiteX2657" fmla="*/ 3940636 w 12248682"/>
              <a:gd name="connsiteY2657" fmla="*/ 101634 h 823468"/>
              <a:gd name="connsiteX2658" fmla="*/ 3889819 w 12248682"/>
              <a:gd name="connsiteY2658" fmla="*/ 50817 h 823468"/>
              <a:gd name="connsiteX2659" fmla="*/ 3940636 w 12248682"/>
              <a:gd name="connsiteY2659" fmla="*/ 0 h 823468"/>
              <a:gd name="connsiteX2660" fmla="*/ 1566091 w 12248682"/>
              <a:gd name="connsiteY2660" fmla="*/ 0 h 823468"/>
              <a:gd name="connsiteX2661" fmla="*/ 1616908 w 12248682"/>
              <a:gd name="connsiteY2661" fmla="*/ 50817 h 823468"/>
              <a:gd name="connsiteX2662" fmla="*/ 1566091 w 12248682"/>
              <a:gd name="connsiteY2662" fmla="*/ 101634 h 823468"/>
              <a:gd name="connsiteX2663" fmla="*/ 1515274 w 12248682"/>
              <a:gd name="connsiteY2663" fmla="*/ 50817 h 823468"/>
              <a:gd name="connsiteX2664" fmla="*/ 1566091 w 12248682"/>
              <a:gd name="connsiteY2664" fmla="*/ 0 h 823468"/>
              <a:gd name="connsiteX2665" fmla="*/ 448115 w 12248682"/>
              <a:gd name="connsiteY2665" fmla="*/ 0 h 823468"/>
              <a:gd name="connsiteX2666" fmla="*/ 498932 w 12248682"/>
              <a:gd name="connsiteY2666" fmla="*/ 50817 h 823468"/>
              <a:gd name="connsiteX2667" fmla="*/ 448115 w 12248682"/>
              <a:gd name="connsiteY2667" fmla="*/ 101634 h 823468"/>
              <a:gd name="connsiteX2668" fmla="*/ 397298 w 12248682"/>
              <a:gd name="connsiteY2668" fmla="*/ 50817 h 823468"/>
              <a:gd name="connsiteX2669" fmla="*/ 448115 w 12248682"/>
              <a:gd name="connsiteY2669" fmla="*/ 0 h 823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</a:cxnLst>
            <a:rect l="l" t="t" r="r" b="b"/>
            <a:pathLst>
              <a:path w="12248682" h="823468">
                <a:moveTo>
                  <a:pt x="12210569" y="753017"/>
                </a:moveTo>
                <a:cubicBezTo>
                  <a:pt x="12220963" y="753017"/>
                  <a:pt x="12230202" y="762256"/>
                  <a:pt x="12231358" y="773806"/>
                </a:cubicBezTo>
                <a:cubicBezTo>
                  <a:pt x="12231358" y="785355"/>
                  <a:pt x="12222118" y="794594"/>
                  <a:pt x="12210569" y="794594"/>
                </a:cubicBezTo>
                <a:cubicBezTo>
                  <a:pt x="12199020" y="794594"/>
                  <a:pt x="12189780" y="785355"/>
                  <a:pt x="12189780" y="773806"/>
                </a:cubicBezTo>
                <a:cubicBezTo>
                  <a:pt x="12189780" y="762256"/>
                  <a:pt x="12199020" y="753017"/>
                  <a:pt x="12210569" y="753017"/>
                </a:cubicBezTo>
                <a:close/>
                <a:moveTo>
                  <a:pt x="12071977" y="753017"/>
                </a:moveTo>
                <a:cubicBezTo>
                  <a:pt x="12083526" y="753017"/>
                  <a:pt x="12092766" y="762256"/>
                  <a:pt x="12092766" y="773806"/>
                </a:cubicBezTo>
                <a:cubicBezTo>
                  <a:pt x="12092766" y="785355"/>
                  <a:pt x="12083526" y="794594"/>
                  <a:pt x="12071977" y="794594"/>
                </a:cubicBezTo>
                <a:cubicBezTo>
                  <a:pt x="12060428" y="794594"/>
                  <a:pt x="12051188" y="785355"/>
                  <a:pt x="12051188" y="773806"/>
                </a:cubicBezTo>
                <a:cubicBezTo>
                  <a:pt x="12051188" y="762256"/>
                  <a:pt x="12060428" y="753017"/>
                  <a:pt x="12071977" y="753017"/>
                </a:cubicBezTo>
                <a:close/>
                <a:moveTo>
                  <a:pt x="11934539" y="753017"/>
                </a:moveTo>
                <a:cubicBezTo>
                  <a:pt x="11946088" y="753017"/>
                  <a:pt x="11955328" y="762256"/>
                  <a:pt x="11955328" y="773806"/>
                </a:cubicBezTo>
                <a:cubicBezTo>
                  <a:pt x="11955328" y="785355"/>
                  <a:pt x="11946088" y="794594"/>
                  <a:pt x="11934539" y="794594"/>
                </a:cubicBezTo>
                <a:cubicBezTo>
                  <a:pt x="11922990" y="794594"/>
                  <a:pt x="11913750" y="785355"/>
                  <a:pt x="11913750" y="773806"/>
                </a:cubicBezTo>
                <a:cubicBezTo>
                  <a:pt x="11913750" y="762256"/>
                  <a:pt x="11922990" y="753017"/>
                  <a:pt x="11934539" y="753017"/>
                </a:cubicBezTo>
                <a:close/>
                <a:moveTo>
                  <a:pt x="11797103" y="753017"/>
                </a:moveTo>
                <a:cubicBezTo>
                  <a:pt x="11808652" y="753017"/>
                  <a:pt x="11816736" y="762256"/>
                  <a:pt x="11816736" y="773806"/>
                </a:cubicBezTo>
                <a:cubicBezTo>
                  <a:pt x="11816736" y="785355"/>
                  <a:pt x="11808652" y="794594"/>
                  <a:pt x="11797103" y="794594"/>
                </a:cubicBezTo>
                <a:cubicBezTo>
                  <a:pt x="11785553" y="794594"/>
                  <a:pt x="11776314" y="785355"/>
                  <a:pt x="11776314" y="773806"/>
                </a:cubicBezTo>
                <a:cubicBezTo>
                  <a:pt x="11776314" y="762256"/>
                  <a:pt x="11785553" y="753017"/>
                  <a:pt x="11797103" y="753017"/>
                </a:cubicBezTo>
                <a:close/>
                <a:moveTo>
                  <a:pt x="10645633" y="753017"/>
                </a:moveTo>
                <a:cubicBezTo>
                  <a:pt x="10657182" y="753017"/>
                  <a:pt x="10666422" y="762256"/>
                  <a:pt x="10666422" y="773806"/>
                </a:cubicBezTo>
                <a:cubicBezTo>
                  <a:pt x="10666422" y="785355"/>
                  <a:pt x="10657182" y="794594"/>
                  <a:pt x="10645633" y="794594"/>
                </a:cubicBezTo>
                <a:cubicBezTo>
                  <a:pt x="10634083" y="794594"/>
                  <a:pt x="10624844" y="785355"/>
                  <a:pt x="10624844" y="773806"/>
                </a:cubicBezTo>
                <a:cubicBezTo>
                  <a:pt x="10624844" y="762256"/>
                  <a:pt x="10634083" y="753017"/>
                  <a:pt x="10645633" y="753017"/>
                </a:cubicBezTo>
                <a:close/>
                <a:moveTo>
                  <a:pt x="9247008" y="753017"/>
                </a:moveTo>
                <a:cubicBezTo>
                  <a:pt x="9258557" y="753017"/>
                  <a:pt x="9267797" y="762256"/>
                  <a:pt x="9267797" y="773806"/>
                </a:cubicBezTo>
                <a:cubicBezTo>
                  <a:pt x="9267797" y="785355"/>
                  <a:pt x="9258557" y="794594"/>
                  <a:pt x="9247008" y="794594"/>
                </a:cubicBezTo>
                <a:cubicBezTo>
                  <a:pt x="9235459" y="794594"/>
                  <a:pt x="9226219" y="785355"/>
                  <a:pt x="9226219" y="773806"/>
                </a:cubicBezTo>
                <a:cubicBezTo>
                  <a:pt x="9226219" y="762256"/>
                  <a:pt x="9235459" y="753017"/>
                  <a:pt x="9247008" y="753017"/>
                </a:cubicBezTo>
                <a:close/>
                <a:moveTo>
                  <a:pt x="8148062" y="753017"/>
                </a:moveTo>
                <a:cubicBezTo>
                  <a:pt x="8158457" y="753017"/>
                  <a:pt x="8167695" y="762256"/>
                  <a:pt x="8168851" y="773806"/>
                </a:cubicBezTo>
                <a:cubicBezTo>
                  <a:pt x="8168851" y="785355"/>
                  <a:pt x="8159611" y="794594"/>
                  <a:pt x="8148062" y="794594"/>
                </a:cubicBezTo>
                <a:cubicBezTo>
                  <a:pt x="8136513" y="794594"/>
                  <a:pt x="8127274" y="785355"/>
                  <a:pt x="8127274" y="773806"/>
                </a:cubicBezTo>
                <a:cubicBezTo>
                  <a:pt x="8127274" y="762256"/>
                  <a:pt x="8136513" y="753017"/>
                  <a:pt x="8148062" y="753017"/>
                </a:cubicBezTo>
                <a:close/>
                <a:moveTo>
                  <a:pt x="8009471" y="753017"/>
                </a:moveTo>
                <a:cubicBezTo>
                  <a:pt x="8021020" y="753017"/>
                  <a:pt x="8030259" y="762256"/>
                  <a:pt x="8030259" y="773806"/>
                </a:cubicBezTo>
                <a:cubicBezTo>
                  <a:pt x="8030259" y="785355"/>
                  <a:pt x="8021020" y="794594"/>
                  <a:pt x="8009471" y="794594"/>
                </a:cubicBezTo>
                <a:cubicBezTo>
                  <a:pt x="7997920" y="794594"/>
                  <a:pt x="7988682" y="785355"/>
                  <a:pt x="7988682" y="773806"/>
                </a:cubicBezTo>
                <a:cubicBezTo>
                  <a:pt x="7988682" y="762256"/>
                  <a:pt x="7997920" y="753017"/>
                  <a:pt x="8009471" y="753017"/>
                </a:cubicBezTo>
                <a:close/>
                <a:moveTo>
                  <a:pt x="7872031" y="753017"/>
                </a:moveTo>
                <a:cubicBezTo>
                  <a:pt x="7883582" y="753017"/>
                  <a:pt x="7892822" y="762256"/>
                  <a:pt x="7892822" y="773806"/>
                </a:cubicBezTo>
                <a:cubicBezTo>
                  <a:pt x="7892822" y="785355"/>
                  <a:pt x="7883582" y="794594"/>
                  <a:pt x="7872031" y="794594"/>
                </a:cubicBezTo>
                <a:cubicBezTo>
                  <a:pt x="7860484" y="794594"/>
                  <a:pt x="7851244" y="785355"/>
                  <a:pt x="7851244" y="773806"/>
                </a:cubicBezTo>
                <a:cubicBezTo>
                  <a:pt x="7851244" y="762256"/>
                  <a:pt x="7860484" y="753017"/>
                  <a:pt x="7872031" y="753017"/>
                </a:cubicBezTo>
                <a:close/>
                <a:moveTo>
                  <a:pt x="7713807" y="753017"/>
                </a:moveTo>
                <a:cubicBezTo>
                  <a:pt x="7725356" y="753017"/>
                  <a:pt x="7734596" y="762256"/>
                  <a:pt x="7734596" y="773806"/>
                </a:cubicBezTo>
                <a:cubicBezTo>
                  <a:pt x="7734596" y="785355"/>
                  <a:pt x="7725356" y="794594"/>
                  <a:pt x="7713807" y="794594"/>
                </a:cubicBezTo>
                <a:cubicBezTo>
                  <a:pt x="7702258" y="794594"/>
                  <a:pt x="7693019" y="785355"/>
                  <a:pt x="7693019" y="773806"/>
                </a:cubicBezTo>
                <a:cubicBezTo>
                  <a:pt x="7693019" y="762256"/>
                  <a:pt x="7702258" y="753017"/>
                  <a:pt x="7713807" y="753017"/>
                </a:cubicBezTo>
                <a:close/>
                <a:moveTo>
                  <a:pt x="7605244" y="753017"/>
                </a:moveTo>
                <a:cubicBezTo>
                  <a:pt x="7616793" y="753017"/>
                  <a:pt x="7624875" y="762256"/>
                  <a:pt x="7626031" y="773806"/>
                </a:cubicBezTo>
                <a:cubicBezTo>
                  <a:pt x="7626031" y="785355"/>
                  <a:pt x="7616793" y="794594"/>
                  <a:pt x="7605244" y="794594"/>
                </a:cubicBezTo>
                <a:cubicBezTo>
                  <a:pt x="7593693" y="794594"/>
                  <a:pt x="7584454" y="785355"/>
                  <a:pt x="7584454" y="773806"/>
                </a:cubicBezTo>
                <a:cubicBezTo>
                  <a:pt x="7584454" y="762256"/>
                  <a:pt x="7593693" y="753017"/>
                  <a:pt x="7605244" y="753017"/>
                </a:cubicBezTo>
                <a:close/>
                <a:moveTo>
                  <a:pt x="7466651" y="753017"/>
                </a:moveTo>
                <a:cubicBezTo>
                  <a:pt x="7478200" y="753017"/>
                  <a:pt x="7487439" y="762256"/>
                  <a:pt x="7487439" y="773806"/>
                </a:cubicBezTo>
                <a:cubicBezTo>
                  <a:pt x="7487439" y="785355"/>
                  <a:pt x="7478200" y="794594"/>
                  <a:pt x="7466651" y="794594"/>
                </a:cubicBezTo>
                <a:cubicBezTo>
                  <a:pt x="7455102" y="794594"/>
                  <a:pt x="7445863" y="785355"/>
                  <a:pt x="7445863" y="773806"/>
                </a:cubicBezTo>
                <a:cubicBezTo>
                  <a:pt x="7445863" y="762256"/>
                  <a:pt x="7455102" y="753017"/>
                  <a:pt x="7466651" y="753017"/>
                </a:cubicBezTo>
                <a:close/>
                <a:moveTo>
                  <a:pt x="7329213" y="753017"/>
                </a:moveTo>
                <a:cubicBezTo>
                  <a:pt x="7340762" y="753017"/>
                  <a:pt x="7350002" y="762256"/>
                  <a:pt x="7350002" y="773806"/>
                </a:cubicBezTo>
                <a:cubicBezTo>
                  <a:pt x="7350002" y="785355"/>
                  <a:pt x="7340762" y="794594"/>
                  <a:pt x="7329213" y="794594"/>
                </a:cubicBezTo>
                <a:cubicBezTo>
                  <a:pt x="7317664" y="794594"/>
                  <a:pt x="7308425" y="785355"/>
                  <a:pt x="7308425" y="773806"/>
                </a:cubicBezTo>
                <a:cubicBezTo>
                  <a:pt x="7308425" y="762256"/>
                  <a:pt x="7317664" y="753017"/>
                  <a:pt x="7329213" y="753017"/>
                </a:cubicBezTo>
                <a:close/>
                <a:moveTo>
                  <a:pt x="7191777" y="753017"/>
                </a:moveTo>
                <a:cubicBezTo>
                  <a:pt x="7203326" y="753017"/>
                  <a:pt x="7212566" y="762256"/>
                  <a:pt x="7212566" y="773806"/>
                </a:cubicBezTo>
                <a:cubicBezTo>
                  <a:pt x="7212566" y="785355"/>
                  <a:pt x="7203326" y="794594"/>
                  <a:pt x="7191777" y="794594"/>
                </a:cubicBezTo>
                <a:cubicBezTo>
                  <a:pt x="7180226" y="794594"/>
                  <a:pt x="7170987" y="785355"/>
                  <a:pt x="7170987" y="773806"/>
                </a:cubicBezTo>
                <a:cubicBezTo>
                  <a:pt x="7170987" y="762256"/>
                  <a:pt x="7180226" y="753017"/>
                  <a:pt x="7191777" y="753017"/>
                </a:cubicBezTo>
                <a:close/>
                <a:moveTo>
                  <a:pt x="6040307" y="753017"/>
                </a:moveTo>
                <a:cubicBezTo>
                  <a:pt x="6051855" y="753017"/>
                  <a:pt x="6061095" y="762256"/>
                  <a:pt x="6061095" y="773806"/>
                </a:cubicBezTo>
                <a:cubicBezTo>
                  <a:pt x="6061095" y="785355"/>
                  <a:pt x="6051855" y="794594"/>
                  <a:pt x="6040307" y="794594"/>
                </a:cubicBezTo>
                <a:cubicBezTo>
                  <a:pt x="6028758" y="794594"/>
                  <a:pt x="6019518" y="785355"/>
                  <a:pt x="6019518" y="773806"/>
                </a:cubicBezTo>
                <a:cubicBezTo>
                  <a:pt x="6019518" y="762256"/>
                  <a:pt x="6028758" y="753017"/>
                  <a:pt x="6040307" y="753017"/>
                </a:cubicBezTo>
                <a:close/>
                <a:moveTo>
                  <a:pt x="4641682" y="753017"/>
                </a:moveTo>
                <a:cubicBezTo>
                  <a:pt x="4653231" y="753017"/>
                  <a:pt x="4662471" y="762256"/>
                  <a:pt x="4662471" y="773806"/>
                </a:cubicBezTo>
                <a:cubicBezTo>
                  <a:pt x="4662471" y="785355"/>
                  <a:pt x="4653231" y="794594"/>
                  <a:pt x="4641682" y="794594"/>
                </a:cubicBezTo>
                <a:cubicBezTo>
                  <a:pt x="4630133" y="794594"/>
                  <a:pt x="4620893" y="785355"/>
                  <a:pt x="4620893" y="773806"/>
                </a:cubicBezTo>
                <a:cubicBezTo>
                  <a:pt x="4620893" y="762256"/>
                  <a:pt x="4630133" y="753017"/>
                  <a:pt x="4641682" y="753017"/>
                </a:cubicBezTo>
                <a:close/>
                <a:moveTo>
                  <a:pt x="3535254" y="753017"/>
                </a:moveTo>
                <a:cubicBezTo>
                  <a:pt x="3545648" y="753017"/>
                  <a:pt x="3554888" y="762256"/>
                  <a:pt x="3556043" y="773806"/>
                </a:cubicBezTo>
                <a:cubicBezTo>
                  <a:pt x="3556043" y="785355"/>
                  <a:pt x="3546804" y="794594"/>
                  <a:pt x="3535254" y="794594"/>
                </a:cubicBezTo>
                <a:cubicBezTo>
                  <a:pt x="3523705" y="794594"/>
                  <a:pt x="3514466" y="785355"/>
                  <a:pt x="3514466" y="773806"/>
                </a:cubicBezTo>
                <a:cubicBezTo>
                  <a:pt x="3514466" y="762256"/>
                  <a:pt x="3523705" y="753017"/>
                  <a:pt x="3535254" y="753017"/>
                </a:cubicBezTo>
                <a:close/>
                <a:moveTo>
                  <a:pt x="3396662" y="753017"/>
                </a:moveTo>
                <a:cubicBezTo>
                  <a:pt x="3408212" y="753017"/>
                  <a:pt x="3417451" y="762256"/>
                  <a:pt x="3417451" y="773806"/>
                </a:cubicBezTo>
                <a:cubicBezTo>
                  <a:pt x="3417451" y="785355"/>
                  <a:pt x="3408212" y="794594"/>
                  <a:pt x="3396662" y="794594"/>
                </a:cubicBezTo>
                <a:cubicBezTo>
                  <a:pt x="3385113" y="794594"/>
                  <a:pt x="3375874" y="785355"/>
                  <a:pt x="3375874" y="773806"/>
                </a:cubicBezTo>
                <a:cubicBezTo>
                  <a:pt x="3375874" y="762256"/>
                  <a:pt x="3385113" y="753017"/>
                  <a:pt x="3396662" y="753017"/>
                </a:cubicBezTo>
                <a:close/>
                <a:moveTo>
                  <a:pt x="3259224" y="753017"/>
                </a:moveTo>
                <a:cubicBezTo>
                  <a:pt x="3270774" y="753017"/>
                  <a:pt x="3280013" y="762256"/>
                  <a:pt x="3280013" y="773806"/>
                </a:cubicBezTo>
                <a:cubicBezTo>
                  <a:pt x="3280013" y="785355"/>
                  <a:pt x="3270774" y="794594"/>
                  <a:pt x="3259224" y="794594"/>
                </a:cubicBezTo>
                <a:cubicBezTo>
                  <a:pt x="3247675" y="794594"/>
                  <a:pt x="3238436" y="785355"/>
                  <a:pt x="3238436" y="773806"/>
                </a:cubicBezTo>
                <a:cubicBezTo>
                  <a:pt x="3238436" y="762256"/>
                  <a:pt x="3247675" y="753017"/>
                  <a:pt x="3259224" y="753017"/>
                </a:cubicBezTo>
                <a:close/>
                <a:moveTo>
                  <a:pt x="3100999" y="753017"/>
                </a:moveTo>
                <a:cubicBezTo>
                  <a:pt x="3112549" y="753017"/>
                  <a:pt x="3121789" y="762256"/>
                  <a:pt x="3121789" y="773806"/>
                </a:cubicBezTo>
                <a:cubicBezTo>
                  <a:pt x="3121789" y="785355"/>
                  <a:pt x="3112549" y="794594"/>
                  <a:pt x="3100999" y="794594"/>
                </a:cubicBezTo>
                <a:cubicBezTo>
                  <a:pt x="3089450" y="794594"/>
                  <a:pt x="3080212" y="785355"/>
                  <a:pt x="3080212" y="773806"/>
                </a:cubicBezTo>
                <a:cubicBezTo>
                  <a:pt x="3080212" y="762256"/>
                  <a:pt x="3089450" y="753017"/>
                  <a:pt x="3100999" y="753017"/>
                </a:cubicBezTo>
                <a:close/>
                <a:moveTo>
                  <a:pt x="2992435" y="753017"/>
                </a:moveTo>
                <a:cubicBezTo>
                  <a:pt x="3002829" y="753017"/>
                  <a:pt x="3012069" y="762256"/>
                  <a:pt x="3013224" y="773806"/>
                </a:cubicBezTo>
                <a:cubicBezTo>
                  <a:pt x="3013224" y="785355"/>
                  <a:pt x="3003985" y="794594"/>
                  <a:pt x="2992435" y="794594"/>
                </a:cubicBezTo>
                <a:cubicBezTo>
                  <a:pt x="2980886" y="794594"/>
                  <a:pt x="2971647" y="785355"/>
                  <a:pt x="2971647" y="773806"/>
                </a:cubicBezTo>
                <a:cubicBezTo>
                  <a:pt x="2971647" y="762256"/>
                  <a:pt x="2980886" y="753017"/>
                  <a:pt x="2992435" y="753017"/>
                </a:cubicBezTo>
                <a:close/>
                <a:moveTo>
                  <a:pt x="2853843" y="753017"/>
                </a:moveTo>
                <a:cubicBezTo>
                  <a:pt x="2865393" y="753017"/>
                  <a:pt x="2874633" y="762256"/>
                  <a:pt x="2874633" y="773806"/>
                </a:cubicBezTo>
                <a:cubicBezTo>
                  <a:pt x="2874633" y="785355"/>
                  <a:pt x="2865393" y="794594"/>
                  <a:pt x="2853843" y="794594"/>
                </a:cubicBezTo>
                <a:cubicBezTo>
                  <a:pt x="2842294" y="794594"/>
                  <a:pt x="2833056" y="785355"/>
                  <a:pt x="2833056" y="773806"/>
                </a:cubicBezTo>
                <a:cubicBezTo>
                  <a:pt x="2833056" y="762256"/>
                  <a:pt x="2842294" y="753017"/>
                  <a:pt x="2853843" y="753017"/>
                </a:cubicBezTo>
                <a:close/>
                <a:moveTo>
                  <a:pt x="2716405" y="753017"/>
                </a:moveTo>
                <a:cubicBezTo>
                  <a:pt x="2727955" y="753017"/>
                  <a:pt x="2737195" y="762256"/>
                  <a:pt x="2737195" y="773806"/>
                </a:cubicBezTo>
                <a:cubicBezTo>
                  <a:pt x="2737195" y="785355"/>
                  <a:pt x="2727955" y="794594"/>
                  <a:pt x="2716405" y="794594"/>
                </a:cubicBezTo>
                <a:cubicBezTo>
                  <a:pt x="2704856" y="794594"/>
                  <a:pt x="2695618" y="785355"/>
                  <a:pt x="2695618" y="773806"/>
                </a:cubicBezTo>
                <a:cubicBezTo>
                  <a:pt x="2695618" y="762256"/>
                  <a:pt x="2704856" y="753017"/>
                  <a:pt x="2716405" y="753017"/>
                </a:cubicBezTo>
                <a:close/>
                <a:moveTo>
                  <a:pt x="2578969" y="753017"/>
                </a:moveTo>
                <a:cubicBezTo>
                  <a:pt x="2590518" y="753017"/>
                  <a:pt x="2598602" y="762256"/>
                  <a:pt x="2598602" y="773806"/>
                </a:cubicBezTo>
                <a:cubicBezTo>
                  <a:pt x="2598602" y="785355"/>
                  <a:pt x="2590518" y="794594"/>
                  <a:pt x="2578969" y="794594"/>
                </a:cubicBezTo>
                <a:cubicBezTo>
                  <a:pt x="2567420" y="794594"/>
                  <a:pt x="2558180" y="785355"/>
                  <a:pt x="2558180" y="773806"/>
                </a:cubicBezTo>
                <a:cubicBezTo>
                  <a:pt x="2558180" y="762256"/>
                  <a:pt x="2567420" y="753017"/>
                  <a:pt x="2578969" y="753017"/>
                </a:cubicBezTo>
                <a:close/>
                <a:moveTo>
                  <a:pt x="1427499" y="753017"/>
                </a:moveTo>
                <a:cubicBezTo>
                  <a:pt x="1439048" y="753017"/>
                  <a:pt x="1448288" y="762256"/>
                  <a:pt x="1448288" y="773806"/>
                </a:cubicBezTo>
                <a:cubicBezTo>
                  <a:pt x="1448288" y="785355"/>
                  <a:pt x="1439048" y="794594"/>
                  <a:pt x="1427499" y="794594"/>
                </a:cubicBezTo>
                <a:cubicBezTo>
                  <a:pt x="1415950" y="794594"/>
                  <a:pt x="1406710" y="785355"/>
                  <a:pt x="1406710" y="773806"/>
                </a:cubicBezTo>
                <a:cubicBezTo>
                  <a:pt x="1406710" y="762256"/>
                  <a:pt x="1415950" y="753017"/>
                  <a:pt x="1427499" y="753017"/>
                </a:cubicBezTo>
                <a:close/>
                <a:moveTo>
                  <a:pt x="28874" y="753017"/>
                </a:moveTo>
                <a:cubicBezTo>
                  <a:pt x="40424" y="753017"/>
                  <a:pt x="49663" y="762256"/>
                  <a:pt x="49663" y="773806"/>
                </a:cubicBezTo>
                <a:cubicBezTo>
                  <a:pt x="49663" y="785355"/>
                  <a:pt x="40424" y="794594"/>
                  <a:pt x="28874" y="794594"/>
                </a:cubicBezTo>
                <a:cubicBezTo>
                  <a:pt x="17325" y="794594"/>
                  <a:pt x="8085" y="785355"/>
                  <a:pt x="8085" y="773806"/>
                </a:cubicBezTo>
                <a:cubicBezTo>
                  <a:pt x="8085" y="762256"/>
                  <a:pt x="17325" y="753017"/>
                  <a:pt x="28874" y="753017"/>
                </a:cubicBezTo>
                <a:close/>
                <a:moveTo>
                  <a:pt x="11658510" y="750707"/>
                </a:moveTo>
                <a:cubicBezTo>
                  <a:pt x="11671214" y="750707"/>
                  <a:pt x="11681609" y="761102"/>
                  <a:pt x="11681609" y="773806"/>
                </a:cubicBezTo>
                <a:cubicBezTo>
                  <a:pt x="11681609" y="786511"/>
                  <a:pt x="11671214" y="796904"/>
                  <a:pt x="11658510" y="796904"/>
                </a:cubicBezTo>
                <a:cubicBezTo>
                  <a:pt x="11645806" y="796904"/>
                  <a:pt x="11635412" y="786511"/>
                  <a:pt x="11635412" y="773806"/>
                </a:cubicBezTo>
                <a:cubicBezTo>
                  <a:pt x="11635412" y="761102"/>
                  <a:pt x="11645806" y="750707"/>
                  <a:pt x="11658510" y="750707"/>
                </a:cubicBezTo>
                <a:close/>
                <a:moveTo>
                  <a:pt x="10508196" y="750707"/>
                </a:moveTo>
                <a:cubicBezTo>
                  <a:pt x="10520900" y="750707"/>
                  <a:pt x="10531295" y="761102"/>
                  <a:pt x="10531295" y="773806"/>
                </a:cubicBezTo>
                <a:cubicBezTo>
                  <a:pt x="10531295" y="786511"/>
                  <a:pt x="10520900" y="796904"/>
                  <a:pt x="10508196" y="796904"/>
                </a:cubicBezTo>
                <a:cubicBezTo>
                  <a:pt x="10495491" y="796904"/>
                  <a:pt x="10485098" y="786511"/>
                  <a:pt x="10485098" y="773806"/>
                </a:cubicBezTo>
                <a:cubicBezTo>
                  <a:pt x="10485098" y="761102"/>
                  <a:pt x="10495491" y="750707"/>
                  <a:pt x="10508196" y="750707"/>
                </a:cubicBezTo>
                <a:close/>
                <a:moveTo>
                  <a:pt x="9405233" y="750707"/>
                </a:moveTo>
                <a:cubicBezTo>
                  <a:pt x="9417938" y="750707"/>
                  <a:pt x="9428332" y="761102"/>
                  <a:pt x="9428332" y="773806"/>
                </a:cubicBezTo>
                <a:cubicBezTo>
                  <a:pt x="9428332" y="786511"/>
                  <a:pt x="9417938" y="796904"/>
                  <a:pt x="9405233" y="796904"/>
                </a:cubicBezTo>
                <a:cubicBezTo>
                  <a:pt x="9392530" y="796904"/>
                  <a:pt x="9382135" y="786511"/>
                  <a:pt x="9382135" y="773806"/>
                </a:cubicBezTo>
                <a:cubicBezTo>
                  <a:pt x="9382135" y="761102"/>
                  <a:pt x="9392530" y="750707"/>
                  <a:pt x="9405233" y="750707"/>
                </a:cubicBezTo>
                <a:close/>
                <a:moveTo>
                  <a:pt x="8285498" y="750707"/>
                </a:moveTo>
                <a:cubicBezTo>
                  <a:pt x="8298204" y="750707"/>
                  <a:pt x="8308598" y="761102"/>
                  <a:pt x="8308598" y="773806"/>
                </a:cubicBezTo>
                <a:cubicBezTo>
                  <a:pt x="8308598" y="786511"/>
                  <a:pt x="8298204" y="796904"/>
                  <a:pt x="8285498" y="796904"/>
                </a:cubicBezTo>
                <a:cubicBezTo>
                  <a:pt x="8272794" y="796904"/>
                  <a:pt x="8262401" y="786511"/>
                  <a:pt x="8262401" y="773806"/>
                </a:cubicBezTo>
                <a:cubicBezTo>
                  <a:pt x="8262401" y="761102"/>
                  <a:pt x="8272794" y="750707"/>
                  <a:pt x="8285498" y="750707"/>
                </a:cubicBezTo>
                <a:close/>
                <a:moveTo>
                  <a:pt x="7053184" y="750707"/>
                </a:moveTo>
                <a:cubicBezTo>
                  <a:pt x="7067044" y="750707"/>
                  <a:pt x="7076283" y="761102"/>
                  <a:pt x="7076283" y="773806"/>
                </a:cubicBezTo>
                <a:cubicBezTo>
                  <a:pt x="7076283" y="786511"/>
                  <a:pt x="7065888" y="796904"/>
                  <a:pt x="7053184" y="796904"/>
                </a:cubicBezTo>
                <a:cubicBezTo>
                  <a:pt x="7040480" y="796904"/>
                  <a:pt x="7030086" y="786511"/>
                  <a:pt x="7030086" y="773806"/>
                </a:cubicBezTo>
                <a:cubicBezTo>
                  <a:pt x="7030086" y="761102"/>
                  <a:pt x="7040480" y="750707"/>
                  <a:pt x="7053184" y="750707"/>
                </a:cubicBezTo>
                <a:close/>
                <a:moveTo>
                  <a:pt x="5902869" y="750707"/>
                </a:moveTo>
                <a:cubicBezTo>
                  <a:pt x="5915573" y="750707"/>
                  <a:pt x="5925969" y="761102"/>
                  <a:pt x="5925969" y="773806"/>
                </a:cubicBezTo>
                <a:cubicBezTo>
                  <a:pt x="5925969" y="786511"/>
                  <a:pt x="5915573" y="796904"/>
                  <a:pt x="5902869" y="796904"/>
                </a:cubicBezTo>
                <a:cubicBezTo>
                  <a:pt x="5890165" y="796904"/>
                  <a:pt x="5879771" y="786511"/>
                  <a:pt x="5879771" y="773806"/>
                </a:cubicBezTo>
                <a:cubicBezTo>
                  <a:pt x="5879771" y="761102"/>
                  <a:pt x="5890165" y="750707"/>
                  <a:pt x="5902869" y="750707"/>
                </a:cubicBezTo>
                <a:close/>
                <a:moveTo>
                  <a:pt x="4799906" y="750707"/>
                </a:moveTo>
                <a:cubicBezTo>
                  <a:pt x="4812611" y="750707"/>
                  <a:pt x="4823006" y="761102"/>
                  <a:pt x="4823006" y="773806"/>
                </a:cubicBezTo>
                <a:cubicBezTo>
                  <a:pt x="4823006" y="786511"/>
                  <a:pt x="4812611" y="796904"/>
                  <a:pt x="4799906" y="796904"/>
                </a:cubicBezTo>
                <a:cubicBezTo>
                  <a:pt x="4787204" y="796904"/>
                  <a:pt x="4776809" y="786511"/>
                  <a:pt x="4776809" y="773806"/>
                </a:cubicBezTo>
                <a:cubicBezTo>
                  <a:pt x="4776809" y="761102"/>
                  <a:pt x="4787204" y="750707"/>
                  <a:pt x="4799906" y="750707"/>
                </a:cubicBezTo>
                <a:close/>
                <a:moveTo>
                  <a:pt x="3672691" y="750707"/>
                </a:moveTo>
                <a:cubicBezTo>
                  <a:pt x="3685396" y="750707"/>
                  <a:pt x="3695791" y="761102"/>
                  <a:pt x="3695791" y="773806"/>
                </a:cubicBezTo>
                <a:cubicBezTo>
                  <a:pt x="3695791" y="786511"/>
                  <a:pt x="3685396" y="796904"/>
                  <a:pt x="3672691" y="796904"/>
                </a:cubicBezTo>
                <a:cubicBezTo>
                  <a:pt x="3659987" y="796904"/>
                  <a:pt x="3649592" y="786511"/>
                  <a:pt x="3649592" y="773806"/>
                </a:cubicBezTo>
                <a:cubicBezTo>
                  <a:pt x="3649592" y="761102"/>
                  <a:pt x="3659987" y="750707"/>
                  <a:pt x="3672691" y="750707"/>
                </a:cubicBezTo>
                <a:close/>
                <a:moveTo>
                  <a:pt x="2440377" y="750707"/>
                </a:moveTo>
                <a:cubicBezTo>
                  <a:pt x="2453080" y="750707"/>
                  <a:pt x="2463475" y="761102"/>
                  <a:pt x="2463475" y="773806"/>
                </a:cubicBezTo>
                <a:cubicBezTo>
                  <a:pt x="2463475" y="786511"/>
                  <a:pt x="2453080" y="796904"/>
                  <a:pt x="2440377" y="796904"/>
                </a:cubicBezTo>
                <a:cubicBezTo>
                  <a:pt x="2427672" y="796904"/>
                  <a:pt x="2417278" y="786511"/>
                  <a:pt x="2417278" y="773806"/>
                </a:cubicBezTo>
                <a:cubicBezTo>
                  <a:pt x="2417278" y="761102"/>
                  <a:pt x="2427672" y="750707"/>
                  <a:pt x="2440377" y="750707"/>
                </a:cubicBezTo>
                <a:close/>
                <a:moveTo>
                  <a:pt x="1290062" y="750707"/>
                </a:moveTo>
                <a:cubicBezTo>
                  <a:pt x="1302766" y="750707"/>
                  <a:pt x="1313161" y="761102"/>
                  <a:pt x="1313161" y="773806"/>
                </a:cubicBezTo>
                <a:cubicBezTo>
                  <a:pt x="1313161" y="786511"/>
                  <a:pt x="1302766" y="796904"/>
                  <a:pt x="1290062" y="796904"/>
                </a:cubicBezTo>
                <a:cubicBezTo>
                  <a:pt x="1277357" y="796904"/>
                  <a:pt x="1266964" y="786511"/>
                  <a:pt x="1266964" y="773806"/>
                </a:cubicBezTo>
                <a:cubicBezTo>
                  <a:pt x="1266964" y="761102"/>
                  <a:pt x="1277357" y="750707"/>
                  <a:pt x="1290062" y="750707"/>
                </a:cubicBezTo>
                <a:close/>
                <a:moveTo>
                  <a:pt x="187100" y="750707"/>
                </a:moveTo>
                <a:cubicBezTo>
                  <a:pt x="199805" y="750707"/>
                  <a:pt x="210198" y="761102"/>
                  <a:pt x="210198" y="773806"/>
                </a:cubicBezTo>
                <a:cubicBezTo>
                  <a:pt x="210198" y="786511"/>
                  <a:pt x="199805" y="796904"/>
                  <a:pt x="187100" y="796904"/>
                </a:cubicBezTo>
                <a:cubicBezTo>
                  <a:pt x="174396" y="796904"/>
                  <a:pt x="164001" y="786511"/>
                  <a:pt x="164001" y="773806"/>
                </a:cubicBezTo>
                <a:cubicBezTo>
                  <a:pt x="164001" y="761102"/>
                  <a:pt x="174396" y="750707"/>
                  <a:pt x="187100" y="750707"/>
                </a:cubicBezTo>
                <a:close/>
                <a:moveTo>
                  <a:pt x="11521073" y="744933"/>
                </a:moveTo>
                <a:cubicBezTo>
                  <a:pt x="11537242" y="744933"/>
                  <a:pt x="11549947" y="757637"/>
                  <a:pt x="11549947" y="773806"/>
                </a:cubicBezTo>
                <a:cubicBezTo>
                  <a:pt x="11549947" y="789975"/>
                  <a:pt x="11537242" y="802680"/>
                  <a:pt x="11521073" y="802680"/>
                </a:cubicBezTo>
                <a:cubicBezTo>
                  <a:pt x="11504904" y="802680"/>
                  <a:pt x="11492200" y="789975"/>
                  <a:pt x="11492200" y="773806"/>
                </a:cubicBezTo>
                <a:cubicBezTo>
                  <a:pt x="11492200" y="757637"/>
                  <a:pt x="11504904" y="744933"/>
                  <a:pt x="11521073" y="744933"/>
                </a:cubicBezTo>
                <a:close/>
                <a:moveTo>
                  <a:pt x="10369604" y="744933"/>
                </a:moveTo>
                <a:cubicBezTo>
                  <a:pt x="10385773" y="744933"/>
                  <a:pt x="10399632" y="757637"/>
                  <a:pt x="10398477" y="773806"/>
                </a:cubicBezTo>
                <a:cubicBezTo>
                  <a:pt x="10398477" y="789975"/>
                  <a:pt x="10385773" y="802680"/>
                  <a:pt x="10369604" y="802680"/>
                </a:cubicBezTo>
                <a:cubicBezTo>
                  <a:pt x="10353435" y="802680"/>
                  <a:pt x="10340730" y="789975"/>
                  <a:pt x="10340730" y="773806"/>
                </a:cubicBezTo>
                <a:cubicBezTo>
                  <a:pt x="10340730" y="757637"/>
                  <a:pt x="10353435" y="744933"/>
                  <a:pt x="10369604" y="744933"/>
                </a:cubicBezTo>
                <a:close/>
                <a:moveTo>
                  <a:pt x="9543825" y="744933"/>
                </a:moveTo>
                <a:cubicBezTo>
                  <a:pt x="9558840" y="744933"/>
                  <a:pt x="9572699" y="757637"/>
                  <a:pt x="9572699" y="773806"/>
                </a:cubicBezTo>
                <a:cubicBezTo>
                  <a:pt x="9572699" y="789975"/>
                  <a:pt x="9559995" y="802680"/>
                  <a:pt x="9543825" y="802680"/>
                </a:cubicBezTo>
                <a:cubicBezTo>
                  <a:pt x="9527656" y="802680"/>
                  <a:pt x="9514953" y="789975"/>
                  <a:pt x="9514953" y="773806"/>
                </a:cubicBezTo>
                <a:cubicBezTo>
                  <a:pt x="9514953" y="757637"/>
                  <a:pt x="9527656" y="744933"/>
                  <a:pt x="9543825" y="744933"/>
                </a:cubicBezTo>
                <a:close/>
                <a:moveTo>
                  <a:pt x="8422936" y="744933"/>
                </a:moveTo>
                <a:cubicBezTo>
                  <a:pt x="8439105" y="744933"/>
                  <a:pt x="8451809" y="757637"/>
                  <a:pt x="8451809" y="773806"/>
                </a:cubicBezTo>
                <a:cubicBezTo>
                  <a:pt x="8451809" y="789975"/>
                  <a:pt x="8439105" y="802680"/>
                  <a:pt x="8422936" y="802680"/>
                </a:cubicBezTo>
                <a:cubicBezTo>
                  <a:pt x="8406767" y="802680"/>
                  <a:pt x="8394062" y="789975"/>
                  <a:pt x="8394062" y="773806"/>
                </a:cubicBezTo>
                <a:cubicBezTo>
                  <a:pt x="8394062" y="757637"/>
                  <a:pt x="8406767" y="744933"/>
                  <a:pt x="8422936" y="744933"/>
                </a:cubicBezTo>
                <a:close/>
                <a:moveTo>
                  <a:pt x="6915746" y="744933"/>
                </a:moveTo>
                <a:cubicBezTo>
                  <a:pt x="6931915" y="744933"/>
                  <a:pt x="6944621" y="757637"/>
                  <a:pt x="6944621" y="773806"/>
                </a:cubicBezTo>
                <a:cubicBezTo>
                  <a:pt x="6944621" y="789975"/>
                  <a:pt x="6931915" y="802680"/>
                  <a:pt x="6915746" y="802680"/>
                </a:cubicBezTo>
                <a:cubicBezTo>
                  <a:pt x="6899578" y="802680"/>
                  <a:pt x="6886873" y="789975"/>
                  <a:pt x="6886873" y="773806"/>
                </a:cubicBezTo>
                <a:cubicBezTo>
                  <a:pt x="6886873" y="757637"/>
                  <a:pt x="6899578" y="744933"/>
                  <a:pt x="6915746" y="744933"/>
                </a:cubicBezTo>
                <a:close/>
                <a:moveTo>
                  <a:pt x="5764278" y="744933"/>
                </a:moveTo>
                <a:cubicBezTo>
                  <a:pt x="5780447" y="744933"/>
                  <a:pt x="5794306" y="757637"/>
                  <a:pt x="5793151" y="773806"/>
                </a:cubicBezTo>
                <a:cubicBezTo>
                  <a:pt x="5793151" y="789975"/>
                  <a:pt x="5780447" y="802680"/>
                  <a:pt x="5764278" y="802680"/>
                </a:cubicBezTo>
                <a:cubicBezTo>
                  <a:pt x="5748109" y="802680"/>
                  <a:pt x="5735405" y="789975"/>
                  <a:pt x="5735405" y="773806"/>
                </a:cubicBezTo>
                <a:cubicBezTo>
                  <a:pt x="5735405" y="757637"/>
                  <a:pt x="5748109" y="744933"/>
                  <a:pt x="5764278" y="744933"/>
                </a:cubicBezTo>
                <a:close/>
                <a:moveTo>
                  <a:pt x="4938500" y="744933"/>
                </a:moveTo>
                <a:cubicBezTo>
                  <a:pt x="4953513" y="744933"/>
                  <a:pt x="4967373" y="757637"/>
                  <a:pt x="4967373" y="773806"/>
                </a:cubicBezTo>
                <a:cubicBezTo>
                  <a:pt x="4967373" y="789975"/>
                  <a:pt x="4954668" y="802680"/>
                  <a:pt x="4938500" y="802680"/>
                </a:cubicBezTo>
                <a:cubicBezTo>
                  <a:pt x="4922331" y="802680"/>
                  <a:pt x="4909627" y="789975"/>
                  <a:pt x="4909627" y="773806"/>
                </a:cubicBezTo>
                <a:cubicBezTo>
                  <a:pt x="4909627" y="757637"/>
                  <a:pt x="4922331" y="744933"/>
                  <a:pt x="4938500" y="744933"/>
                </a:cubicBezTo>
                <a:close/>
                <a:moveTo>
                  <a:pt x="3810129" y="744933"/>
                </a:moveTo>
                <a:cubicBezTo>
                  <a:pt x="3826298" y="744933"/>
                  <a:pt x="3839002" y="757637"/>
                  <a:pt x="3839002" y="773806"/>
                </a:cubicBezTo>
                <a:cubicBezTo>
                  <a:pt x="3839002" y="789975"/>
                  <a:pt x="3826298" y="802680"/>
                  <a:pt x="3810129" y="802680"/>
                </a:cubicBezTo>
                <a:cubicBezTo>
                  <a:pt x="3793960" y="802680"/>
                  <a:pt x="3781255" y="789975"/>
                  <a:pt x="3781255" y="773806"/>
                </a:cubicBezTo>
                <a:cubicBezTo>
                  <a:pt x="3781255" y="757637"/>
                  <a:pt x="3793960" y="744933"/>
                  <a:pt x="3810129" y="744933"/>
                </a:cubicBezTo>
                <a:close/>
                <a:moveTo>
                  <a:pt x="2302939" y="744933"/>
                </a:moveTo>
                <a:cubicBezTo>
                  <a:pt x="2319108" y="744933"/>
                  <a:pt x="2331813" y="757637"/>
                  <a:pt x="2331813" y="773806"/>
                </a:cubicBezTo>
                <a:cubicBezTo>
                  <a:pt x="2331813" y="789975"/>
                  <a:pt x="2319108" y="802680"/>
                  <a:pt x="2302939" y="802680"/>
                </a:cubicBezTo>
                <a:cubicBezTo>
                  <a:pt x="2286771" y="802680"/>
                  <a:pt x="2274067" y="789975"/>
                  <a:pt x="2274067" y="773806"/>
                </a:cubicBezTo>
                <a:cubicBezTo>
                  <a:pt x="2274067" y="757637"/>
                  <a:pt x="2286771" y="744933"/>
                  <a:pt x="2302939" y="744933"/>
                </a:cubicBezTo>
                <a:close/>
                <a:moveTo>
                  <a:pt x="1151470" y="744933"/>
                </a:moveTo>
                <a:cubicBezTo>
                  <a:pt x="1167639" y="744933"/>
                  <a:pt x="1181498" y="757637"/>
                  <a:pt x="1180343" y="773806"/>
                </a:cubicBezTo>
                <a:cubicBezTo>
                  <a:pt x="1180343" y="789975"/>
                  <a:pt x="1167639" y="802680"/>
                  <a:pt x="1151470" y="802680"/>
                </a:cubicBezTo>
                <a:cubicBezTo>
                  <a:pt x="1135301" y="802680"/>
                  <a:pt x="1122596" y="789975"/>
                  <a:pt x="1122596" y="773806"/>
                </a:cubicBezTo>
                <a:cubicBezTo>
                  <a:pt x="1122596" y="757637"/>
                  <a:pt x="1135301" y="744933"/>
                  <a:pt x="1151470" y="744933"/>
                </a:cubicBezTo>
                <a:close/>
                <a:moveTo>
                  <a:pt x="325692" y="744933"/>
                </a:moveTo>
                <a:cubicBezTo>
                  <a:pt x="340706" y="744933"/>
                  <a:pt x="354566" y="757637"/>
                  <a:pt x="354566" y="773806"/>
                </a:cubicBezTo>
                <a:cubicBezTo>
                  <a:pt x="354566" y="789975"/>
                  <a:pt x="341861" y="802680"/>
                  <a:pt x="325692" y="802680"/>
                </a:cubicBezTo>
                <a:cubicBezTo>
                  <a:pt x="309523" y="802680"/>
                  <a:pt x="296819" y="789975"/>
                  <a:pt x="296819" y="773806"/>
                </a:cubicBezTo>
                <a:cubicBezTo>
                  <a:pt x="296819" y="757637"/>
                  <a:pt x="309523" y="744933"/>
                  <a:pt x="325692" y="744933"/>
                </a:cubicBezTo>
                <a:close/>
                <a:moveTo>
                  <a:pt x="11383636" y="739158"/>
                </a:moveTo>
                <a:cubicBezTo>
                  <a:pt x="11402115" y="739158"/>
                  <a:pt x="11418284" y="755327"/>
                  <a:pt x="11418284" y="773806"/>
                </a:cubicBezTo>
                <a:cubicBezTo>
                  <a:pt x="11418284" y="792285"/>
                  <a:pt x="11403270" y="808454"/>
                  <a:pt x="11383636" y="808454"/>
                </a:cubicBezTo>
                <a:cubicBezTo>
                  <a:pt x="11365157" y="808454"/>
                  <a:pt x="11348988" y="792285"/>
                  <a:pt x="11348988" y="773806"/>
                </a:cubicBezTo>
                <a:cubicBezTo>
                  <a:pt x="11348988" y="755327"/>
                  <a:pt x="11364002" y="739158"/>
                  <a:pt x="11383636" y="739158"/>
                </a:cubicBezTo>
                <a:close/>
                <a:moveTo>
                  <a:pt x="10811943" y="739158"/>
                </a:moveTo>
                <a:cubicBezTo>
                  <a:pt x="10830422" y="739158"/>
                  <a:pt x="10846591" y="755327"/>
                  <a:pt x="10846591" y="773806"/>
                </a:cubicBezTo>
                <a:cubicBezTo>
                  <a:pt x="10846591" y="792285"/>
                  <a:pt x="10831578" y="808454"/>
                  <a:pt x="10811943" y="808454"/>
                </a:cubicBezTo>
                <a:cubicBezTo>
                  <a:pt x="10793464" y="808454"/>
                  <a:pt x="10777295" y="792285"/>
                  <a:pt x="10777295" y="773806"/>
                </a:cubicBezTo>
                <a:cubicBezTo>
                  <a:pt x="10777295" y="755327"/>
                  <a:pt x="10792310" y="739158"/>
                  <a:pt x="10811943" y="739158"/>
                </a:cubicBezTo>
                <a:close/>
                <a:moveTo>
                  <a:pt x="10232166" y="739158"/>
                </a:moveTo>
                <a:cubicBezTo>
                  <a:pt x="10251801" y="739158"/>
                  <a:pt x="10266814" y="755327"/>
                  <a:pt x="10266814" y="773806"/>
                </a:cubicBezTo>
                <a:cubicBezTo>
                  <a:pt x="10266814" y="792285"/>
                  <a:pt x="10250645" y="808454"/>
                  <a:pt x="10232166" y="808454"/>
                </a:cubicBezTo>
                <a:cubicBezTo>
                  <a:pt x="10213687" y="808454"/>
                  <a:pt x="10197518" y="792285"/>
                  <a:pt x="10197518" y="773806"/>
                </a:cubicBezTo>
                <a:cubicBezTo>
                  <a:pt x="10197518" y="755327"/>
                  <a:pt x="10212533" y="739158"/>
                  <a:pt x="10232166" y="739158"/>
                </a:cubicBezTo>
                <a:close/>
                <a:moveTo>
                  <a:pt x="9681263" y="739158"/>
                </a:moveTo>
                <a:cubicBezTo>
                  <a:pt x="9700896" y="739158"/>
                  <a:pt x="9715911" y="755327"/>
                  <a:pt x="9715911" y="773806"/>
                </a:cubicBezTo>
                <a:cubicBezTo>
                  <a:pt x="9715911" y="792285"/>
                  <a:pt x="9699742" y="808454"/>
                  <a:pt x="9681263" y="808454"/>
                </a:cubicBezTo>
                <a:cubicBezTo>
                  <a:pt x="9662784" y="808454"/>
                  <a:pt x="9646615" y="792285"/>
                  <a:pt x="9646615" y="773806"/>
                </a:cubicBezTo>
                <a:cubicBezTo>
                  <a:pt x="9646615" y="755327"/>
                  <a:pt x="9661629" y="739158"/>
                  <a:pt x="9681263" y="739158"/>
                </a:cubicBezTo>
                <a:close/>
                <a:moveTo>
                  <a:pt x="9112431" y="739158"/>
                </a:moveTo>
                <a:cubicBezTo>
                  <a:pt x="9130910" y="739158"/>
                  <a:pt x="9147079" y="755327"/>
                  <a:pt x="9147079" y="773806"/>
                </a:cubicBezTo>
                <a:cubicBezTo>
                  <a:pt x="9147079" y="792285"/>
                  <a:pt x="9132065" y="808454"/>
                  <a:pt x="9112431" y="808454"/>
                </a:cubicBezTo>
                <a:cubicBezTo>
                  <a:pt x="9093952" y="808454"/>
                  <a:pt x="9077783" y="792285"/>
                  <a:pt x="9077783" y="773806"/>
                </a:cubicBezTo>
                <a:cubicBezTo>
                  <a:pt x="9077783" y="755327"/>
                  <a:pt x="9092798" y="739158"/>
                  <a:pt x="9112431" y="739158"/>
                </a:cubicBezTo>
                <a:close/>
                <a:moveTo>
                  <a:pt x="8561528" y="739158"/>
                </a:moveTo>
                <a:cubicBezTo>
                  <a:pt x="8580007" y="739158"/>
                  <a:pt x="8596176" y="755327"/>
                  <a:pt x="8596176" y="773806"/>
                </a:cubicBezTo>
                <a:cubicBezTo>
                  <a:pt x="8596176" y="792285"/>
                  <a:pt x="8581161" y="808454"/>
                  <a:pt x="8561528" y="808454"/>
                </a:cubicBezTo>
                <a:cubicBezTo>
                  <a:pt x="8543049" y="808454"/>
                  <a:pt x="8526880" y="792285"/>
                  <a:pt x="8526880" y="773806"/>
                </a:cubicBezTo>
                <a:cubicBezTo>
                  <a:pt x="8526880" y="755327"/>
                  <a:pt x="8541893" y="739158"/>
                  <a:pt x="8561528" y="739158"/>
                </a:cubicBezTo>
                <a:close/>
                <a:moveTo>
                  <a:pt x="6778310" y="739158"/>
                </a:moveTo>
                <a:cubicBezTo>
                  <a:pt x="6796790" y="739158"/>
                  <a:pt x="6812959" y="755327"/>
                  <a:pt x="6812959" y="773806"/>
                </a:cubicBezTo>
                <a:cubicBezTo>
                  <a:pt x="6812959" y="792285"/>
                  <a:pt x="6796790" y="808454"/>
                  <a:pt x="6778310" y="808454"/>
                </a:cubicBezTo>
                <a:cubicBezTo>
                  <a:pt x="6759831" y="808454"/>
                  <a:pt x="6743662" y="792285"/>
                  <a:pt x="6743662" y="773806"/>
                </a:cubicBezTo>
                <a:cubicBezTo>
                  <a:pt x="6743662" y="755327"/>
                  <a:pt x="6758675" y="739158"/>
                  <a:pt x="6778310" y="739158"/>
                </a:cubicBezTo>
                <a:close/>
                <a:moveTo>
                  <a:pt x="6206618" y="739158"/>
                </a:moveTo>
                <a:cubicBezTo>
                  <a:pt x="6225097" y="739158"/>
                  <a:pt x="6241265" y="755327"/>
                  <a:pt x="6241265" y="773806"/>
                </a:cubicBezTo>
                <a:cubicBezTo>
                  <a:pt x="6241265" y="792285"/>
                  <a:pt x="6226251" y="808454"/>
                  <a:pt x="6206618" y="808454"/>
                </a:cubicBezTo>
                <a:cubicBezTo>
                  <a:pt x="6188138" y="808454"/>
                  <a:pt x="6171969" y="792285"/>
                  <a:pt x="6171969" y="773806"/>
                </a:cubicBezTo>
                <a:cubicBezTo>
                  <a:pt x="6171969" y="755327"/>
                  <a:pt x="6186984" y="739158"/>
                  <a:pt x="6206618" y="739158"/>
                </a:cubicBezTo>
                <a:close/>
                <a:moveTo>
                  <a:pt x="5626840" y="739158"/>
                </a:moveTo>
                <a:cubicBezTo>
                  <a:pt x="5646475" y="739158"/>
                  <a:pt x="5661488" y="755327"/>
                  <a:pt x="5661488" y="773806"/>
                </a:cubicBezTo>
                <a:cubicBezTo>
                  <a:pt x="5661488" y="792285"/>
                  <a:pt x="5646475" y="808454"/>
                  <a:pt x="5626840" y="808454"/>
                </a:cubicBezTo>
                <a:cubicBezTo>
                  <a:pt x="5608360" y="808454"/>
                  <a:pt x="5592192" y="792285"/>
                  <a:pt x="5592192" y="773806"/>
                </a:cubicBezTo>
                <a:cubicBezTo>
                  <a:pt x="5592192" y="755327"/>
                  <a:pt x="5607207" y="739158"/>
                  <a:pt x="5626840" y="739158"/>
                </a:cubicBezTo>
                <a:close/>
                <a:moveTo>
                  <a:pt x="5075938" y="739158"/>
                </a:moveTo>
                <a:cubicBezTo>
                  <a:pt x="5095571" y="739158"/>
                  <a:pt x="5110584" y="755327"/>
                  <a:pt x="5110584" y="773806"/>
                </a:cubicBezTo>
                <a:cubicBezTo>
                  <a:pt x="5110584" y="792285"/>
                  <a:pt x="5095571" y="808454"/>
                  <a:pt x="5075938" y="808454"/>
                </a:cubicBezTo>
                <a:cubicBezTo>
                  <a:pt x="5057458" y="808454"/>
                  <a:pt x="5041289" y="792285"/>
                  <a:pt x="5041289" y="773806"/>
                </a:cubicBezTo>
                <a:cubicBezTo>
                  <a:pt x="5041289" y="755327"/>
                  <a:pt x="5056302" y="739158"/>
                  <a:pt x="5075938" y="739158"/>
                </a:cubicBezTo>
                <a:close/>
                <a:moveTo>
                  <a:pt x="4499625" y="739158"/>
                </a:moveTo>
                <a:cubicBezTo>
                  <a:pt x="4518102" y="739158"/>
                  <a:pt x="4534273" y="755327"/>
                  <a:pt x="4534273" y="773806"/>
                </a:cubicBezTo>
                <a:cubicBezTo>
                  <a:pt x="4534273" y="792285"/>
                  <a:pt x="4519258" y="808454"/>
                  <a:pt x="4499625" y="808454"/>
                </a:cubicBezTo>
                <a:cubicBezTo>
                  <a:pt x="4481145" y="808454"/>
                  <a:pt x="4464976" y="792285"/>
                  <a:pt x="4464976" y="773806"/>
                </a:cubicBezTo>
                <a:cubicBezTo>
                  <a:pt x="4464976" y="755327"/>
                  <a:pt x="4479992" y="739158"/>
                  <a:pt x="4499625" y="739158"/>
                </a:cubicBezTo>
                <a:close/>
                <a:moveTo>
                  <a:pt x="3948721" y="739158"/>
                </a:moveTo>
                <a:cubicBezTo>
                  <a:pt x="3967200" y="739158"/>
                  <a:pt x="3983369" y="755327"/>
                  <a:pt x="3983369" y="773806"/>
                </a:cubicBezTo>
                <a:cubicBezTo>
                  <a:pt x="3983369" y="792285"/>
                  <a:pt x="3968354" y="808454"/>
                  <a:pt x="3948721" y="808454"/>
                </a:cubicBezTo>
                <a:cubicBezTo>
                  <a:pt x="3930243" y="808454"/>
                  <a:pt x="3914073" y="792285"/>
                  <a:pt x="3914073" y="773806"/>
                </a:cubicBezTo>
                <a:cubicBezTo>
                  <a:pt x="3914073" y="755327"/>
                  <a:pt x="3929086" y="739158"/>
                  <a:pt x="3948721" y="739158"/>
                </a:cubicBezTo>
                <a:close/>
                <a:moveTo>
                  <a:pt x="2165502" y="739158"/>
                </a:moveTo>
                <a:cubicBezTo>
                  <a:pt x="2183981" y="739158"/>
                  <a:pt x="2200150" y="755327"/>
                  <a:pt x="2200150" y="773806"/>
                </a:cubicBezTo>
                <a:cubicBezTo>
                  <a:pt x="2200150" y="792285"/>
                  <a:pt x="2185137" y="808454"/>
                  <a:pt x="2165502" y="808454"/>
                </a:cubicBezTo>
                <a:cubicBezTo>
                  <a:pt x="2147023" y="808454"/>
                  <a:pt x="2130854" y="792285"/>
                  <a:pt x="2130854" y="773806"/>
                </a:cubicBezTo>
                <a:cubicBezTo>
                  <a:pt x="2130854" y="755327"/>
                  <a:pt x="2145868" y="739158"/>
                  <a:pt x="2165502" y="739158"/>
                </a:cubicBezTo>
                <a:close/>
                <a:moveTo>
                  <a:pt x="1593810" y="739158"/>
                </a:moveTo>
                <a:cubicBezTo>
                  <a:pt x="1612288" y="739158"/>
                  <a:pt x="1628457" y="755327"/>
                  <a:pt x="1628457" y="773806"/>
                </a:cubicBezTo>
                <a:cubicBezTo>
                  <a:pt x="1628457" y="792285"/>
                  <a:pt x="1613444" y="808454"/>
                  <a:pt x="1593810" y="808454"/>
                </a:cubicBezTo>
                <a:cubicBezTo>
                  <a:pt x="1575330" y="808454"/>
                  <a:pt x="1559161" y="792285"/>
                  <a:pt x="1559161" y="773806"/>
                </a:cubicBezTo>
                <a:cubicBezTo>
                  <a:pt x="1559161" y="755327"/>
                  <a:pt x="1574176" y="739158"/>
                  <a:pt x="1593810" y="739158"/>
                </a:cubicBezTo>
                <a:close/>
                <a:moveTo>
                  <a:pt x="1014032" y="739158"/>
                </a:moveTo>
                <a:cubicBezTo>
                  <a:pt x="1033667" y="739158"/>
                  <a:pt x="1048681" y="755327"/>
                  <a:pt x="1048681" y="773806"/>
                </a:cubicBezTo>
                <a:cubicBezTo>
                  <a:pt x="1048681" y="792285"/>
                  <a:pt x="1032511" y="808454"/>
                  <a:pt x="1014032" y="808454"/>
                </a:cubicBezTo>
                <a:cubicBezTo>
                  <a:pt x="995554" y="808454"/>
                  <a:pt x="979384" y="792285"/>
                  <a:pt x="979384" y="773806"/>
                </a:cubicBezTo>
                <a:cubicBezTo>
                  <a:pt x="979384" y="755327"/>
                  <a:pt x="994399" y="739158"/>
                  <a:pt x="1014032" y="739158"/>
                </a:cubicBezTo>
                <a:close/>
                <a:moveTo>
                  <a:pt x="463129" y="739158"/>
                </a:moveTo>
                <a:cubicBezTo>
                  <a:pt x="482763" y="739158"/>
                  <a:pt x="497778" y="755327"/>
                  <a:pt x="497778" y="773806"/>
                </a:cubicBezTo>
                <a:cubicBezTo>
                  <a:pt x="497778" y="792285"/>
                  <a:pt x="481608" y="808454"/>
                  <a:pt x="463129" y="808454"/>
                </a:cubicBezTo>
                <a:cubicBezTo>
                  <a:pt x="444651" y="808454"/>
                  <a:pt x="428481" y="792285"/>
                  <a:pt x="428481" y="773806"/>
                </a:cubicBezTo>
                <a:cubicBezTo>
                  <a:pt x="428481" y="755327"/>
                  <a:pt x="443495" y="739158"/>
                  <a:pt x="463129" y="739158"/>
                </a:cubicBezTo>
                <a:close/>
                <a:moveTo>
                  <a:pt x="11245044" y="733384"/>
                </a:moveTo>
                <a:cubicBezTo>
                  <a:pt x="11268143" y="733384"/>
                  <a:pt x="11286622" y="750707"/>
                  <a:pt x="11285466" y="773806"/>
                </a:cubicBezTo>
                <a:cubicBezTo>
                  <a:pt x="11285466" y="795750"/>
                  <a:pt x="11266987" y="814229"/>
                  <a:pt x="11245044" y="814229"/>
                </a:cubicBezTo>
                <a:cubicBezTo>
                  <a:pt x="11223100" y="814229"/>
                  <a:pt x="11204621" y="795750"/>
                  <a:pt x="11204621" y="773806"/>
                </a:cubicBezTo>
                <a:cubicBezTo>
                  <a:pt x="11204621" y="751863"/>
                  <a:pt x="11223100" y="733384"/>
                  <a:pt x="11245044" y="733384"/>
                </a:cubicBezTo>
                <a:close/>
                <a:moveTo>
                  <a:pt x="10970170" y="733384"/>
                </a:moveTo>
                <a:cubicBezTo>
                  <a:pt x="10992113" y="733384"/>
                  <a:pt x="11010592" y="750707"/>
                  <a:pt x="11010592" y="773806"/>
                </a:cubicBezTo>
                <a:cubicBezTo>
                  <a:pt x="11010592" y="795750"/>
                  <a:pt x="10992113" y="814229"/>
                  <a:pt x="10970170" y="814229"/>
                </a:cubicBezTo>
                <a:cubicBezTo>
                  <a:pt x="10948226" y="814229"/>
                  <a:pt x="10929746" y="795750"/>
                  <a:pt x="10929746" y="773806"/>
                </a:cubicBezTo>
                <a:cubicBezTo>
                  <a:pt x="10929746" y="751863"/>
                  <a:pt x="10948226" y="733384"/>
                  <a:pt x="10970170" y="733384"/>
                </a:cubicBezTo>
                <a:close/>
                <a:moveTo>
                  <a:pt x="10094730" y="733384"/>
                </a:moveTo>
                <a:cubicBezTo>
                  <a:pt x="10116673" y="733384"/>
                  <a:pt x="10135152" y="750707"/>
                  <a:pt x="10135152" y="773806"/>
                </a:cubicBezTo>
                <a:cubicBezTo>
                  <a:pt x="10135152" y="795750"/>
                  <a:pt x="10116673" y="814229"/>
                  <a:pt x="10094730" y="814229"/>
                </a:cubicBezTo>
                <a:cubicBezTo>
                  <a:pt x="10072785" y="814229"/>
                  <a:pt x="10054306" y="795750"/>
                  <a:pt x="10054306" y="773806"/>
                </a:cubicBezTo>
                <a:cubicBezTo>
                  <a:pt x="10054306" y="751863"/>
                  <a:pt x="10072785" y="733384"/>
                  <a:pt x="10094730" y="733384"/>
                </a:cubicBezTo>
                <a:close/>
                <a:moveTo>
                  <a:pt x="9818700" y="733384"/>
                </a:moveTo>
                <a:cubicBezTo>
                  <a:pt x="9841798" y="733384"/>
                  <a:pt x="9859123" y="750707"/>
                  <a:pt x="9859123" y="773806"/>
                </a:cubicBezTo>
                <a:cubicBezTo>
                  <a:pt x="9859123" y="795750"/>
                  <a:pt x="9840644" y="814229"/>
                  <a:pt x="9818700" y="814229"/>
                </a:cubicBezTo>
                <a:cubicBezTo>
                  <a:pt x="9796757" y="814229"/>
                  <a:pt x="9778278" y="795750"/>
                  <a:pt x="9778278" y="773806"/>
                </a:cubicBezTo>
                <a:cubicBezTo>
                  <a:pt x="9778278" y="751863"/>
                  <a:pt x="9796757" y="733384"/>
                  <a:pt x="9818700" y="733384"/>
                </a:cubicBezTo>
                <a:close/>
                <a:moveTo>
                  <a:pt x="8974994" y="733384"/>
                </a:moveTo>
                <a:cubicBezTo>
                  <a:pt x="8996938" y="733384"/>
                  <a:pt x="9015416" y="750707"/>
                  <a:pt x="9015416" y="773806"/>
                </a:cubicBezTo>
                <a:cubicBezTo>
                  <a:pt x="9015416" y="795750"/>
                  <a:pt x="8996938" y="814229"/>
                  <a:pt x="8974994" y="814229"/>
                </a:cubicBezTo>
                <a:cubicBezTo>
                  <a:pt x="8953050" y="814229"/>
                  <a:pt x="8934571" y="795750"/>
                  <a:pt x="8934571" y="773806"/>
                </a:cubicBezTo>
                <a:cubicBezTo>
                  <a:pt x="8934571" y="751863"/>
                  <a:pt x="8953050" y="733384"/>
                  <a:pt x="8974994" y="733384"/>
                </a:cubicBezTo>
                <a:close/>
                <a:moveTo>
                  <a:pt x="8698965" y="733384"/>
                </a:moveTo>
                <a:cubicBezTo>
                  <a:pt x="8720909" y="733384"/>
                  <a:pt x="8739388" y="750707"/>
                  <a:pt x="8739388" y="773806"/>
                </a:cubicBezTo>
                <a:cubicBezTo>
                  <a:pt x="8739388" y="795750"/>
                  <a:pt x="8720909" y="814229"/>
                  <a:pt x="8698965" y="814229"/>
                </a:cubicBezTo>
                <a:cubicBezTo>
                  <a:pt x="8677021" y="814229"/>
                  <a:pt x="8658542" y="795750"/>
                  <a:pt x="8658542" y="773806"/>
                </a:cubicBezTo>
                <a:cubicBezTo>
                  <a:pt x="8658542" y="751863"/>
                  <a:pt x="8677021" y="733384"/>
                  <a:pt x="8698965" y="733384"/>
                </a:cubicBezTo>
                <a:close/>
                <a:moveTo>
                  <a:pt x="6639717" y="733384"/>
                </a:moveTo>
                <a:cubicBezTo>
                  <a:pt x="6662817" y="733384"/>
                  <a:pt x="6681296" y="750707"/>
                  <a:pt x="6680139" y="773806"/>
                </a:cubicBezTo>
                <a:cubicBezTo>
                  <a:pt x="6680139" y="795750"/>
                  <a:pt x="6661661" y="814229"/>
                  <a:pt x="6639717" y="814229"/>
                </a:cubicBezTo>
                <a:cubicBezTo>
                  <a:pt x="6617773" y="814229"/>
                  <a:pt x="6599295" y="795750"/>
                  <a:pt x="6599295" y="773806"/>
                </a:cubicBezTo>
                <a:cubicBezTo>
                  <a:pt x="6599295" y="751863"/>
                  <a:pt x="6617773" y="733384"/>
                  <a:pt x="6639717" y="733384"/>
                </a:cubicBezTo>
                <a:close/>
                <a:moveTo>
                  <a:pt x="6364844" y="733384"/>
                </a:moveTo>
                <a:cubicBezTo>
                  <a:pt x="6386786" y="733384"/>
                  <a:pt x="6405265" y="750707"/>
                  <a:pt x="6405265" y="773806"/>
                </a:cubicBezTo>
                <a:cubicBezTo>
                  <a:pt x="6405265" y="795750"/>
                  <a:pt x="6386786" y="814229"/>
                  <a:pt x="6364844" y="814229"/>
                </a:cubicBezTo>
                <a:cubicBezTo>
                  <a:pt x="6342899" y="814229"/>
                  <a:pt x="6324420" y="795750"/>
                  <a:pt x="6324420" y="773806"/>
                </a:cubicBezTo>
                <a:cubicBezTo>
                  <a:pt x="6324420" y="751863"/>
                  <a:pt x="6342899" y="733384"/>
                  <a:pt x="6364844" y="733384"/>
                </a:cubicBezTo>
                <a:close/>
                <a:moveTo>
                  <a:pt x="5489404" y="733384"/>
                </a:moveTo>
                <a:cubicBezTo>
                  <a:pt x="5511346" y="733384"/>
                  <a:pt x="5529826" y="750707"/>
                  <a:pt x="5529826" y="773806"/>
                </a:cubicBezTo>
                <a:cubicBezTo>
                  <a:pt x="5529826" y="795750"/>
                  <a:pt x="5511346" y="814229"/>
                  <a:pt x="5489404" y="814229"/>
                </a:cubicBezTo>
                <a:cubicBezTo>
                  <a:pt x="5467460" y="814229"/>
                  <a:pt x="5448980" y="795750"/>
                  <a:pt x="5448980" y="773806"/>
                </a:cubicBezTo>
                <a:cubicBezTo>
                  <a:pt x="5448980" y="751863"/>
                  <a:pt x="5467460" y="733384"/>
                  <a:pt x="5489404" y="733384"/>
                </a:cubicBezTo>
                <a:close/>
                <a:moveTo>
                  <a:pt x="5213373" y="733384"/>
                </a:moveTo>
                <a:cubicBezTo>
                  <a:pt x="5236473" y="733384"/>
                  <a:pt x="5253797" y="750707"/>
                  <a:pt x="5253797" y="773806"/>
                </a:cubicBezTo>
                <a:cubicBezTo>
                  <a:pt x="5253797" y="795750"/>
                  <a:pt x="5235319" y="814229"/>
                  <a:pt x="5213373" y="814229"/>
                </a:cubicBezTo>
                <a:cubicBezTo>
                  <a:pt x="5191431" y="814229"/>
                  <a:pt x="5172952" y="795750"/>
                  <a:pt x="5172952" y="773806"/>
                </a:cubicBezTo>
                <a:cubicBezTo>
                  <a:pt x="5172952" y="751863"/>
                  <a:pt x="5191431" y="733384"/>
                  <a:pt x="5213373" y="733384"/>
                </a:cubicBezTo>
                <a:close/>
                <a:moveTo>
                  <a:pt x="4361031" y="733384"/>
                </a:moveTo>
                <a:cubicBezTo>
                  <a:pt x="4384131" y="733384"/>
                  <a:pt x="4402610" y="750707"/>
                  <a:pt x="4401455" y="773806"/>
                </a:cubicBezTo>
                <a:cubicBezTo>
                  <a:pt x="4401455" y="795750"/>
                  <a:pt x="4382977" y="814229"/>
                  <a:pt x="4361031" y="814229"/>
                </a:cubicBezTo>
                <a:cubicBezTo>
                  <a:pt x="4339089" y="814229"/>
                  <a:pt x="4320610" y="795750"/>
                  <a:pt x="4320610" y="773806"/>
                </a:cubicBezTo>
                <a:cubicBezTo>
                  <a:pt x="4320610" y="751863"/>
                  <a:pt x="4339089" y="733384"/>
                  <a:pt x="4361031" y="733384"/>
                </a:cubicBezTo>
                <a:close/>
                <a:moveTo>
                  <a:pt x="4086158" y="733384"/>
                </a:moveTo>
                <a:cubicBezTo>
                  <a:pt x="4108102" y="733384"/>
                  <a:pt x="4126582" y="750707"/>
                  <a:pt x="4126582" y="773806"/>
                </a:cubicBezTo>
                <a:cubicBezTo>
                  <a:pt x="4126582" y="795750"/>
                  <a:pt x="4108102" y="814229"/>
                  <a:pt x="4086158" y="814229"/>
                </a:cubicBezTo>
                <a:cubicBezTo>
                  <a:pt x="4064214" y="814229"/>
                  <a:pt x="4045735" y="795750"/>
                  <a:pt x="4045735" y="773806"/>
                </a:cubicBezTo>
                <a:cubicBezTo>
                  <a:pt x="4045735" y="751863"/>
                  <a:pt x="4064214" y="733384"/>
                  <a:pt x="4086158" y="733384"/>
                </a:cubicBezTo>
                <a:close/>
                <a:moveTo>
                  <a:pt x="2026910" y="733384"/>
                </a:moveTo>
                <a:cubicBezTo>
                  <a:pt x="2050009" y="733384"/>
                  <a:pt x="2068488" y="750707"/>
                  <a:pt x="2067332" y="773806"/>
                </a:cubicBezTo>
                <a:cubicBezTo>
                  <a:pt x="2067332" y="795750"/>
                  <a:pt x="2048854" y="814229"/>
                  <a:pt x="2026910" y="814229"/>
                </a:cubicBezTo>
                <a:cubicBezTo>
                  <a:pt x="2004966" y="814229"/>
                  <a:pt x="1986487" y="795750"/>
                  <a:pt x="1986487" y="773806"/>
                </a:cubicBezTo>
                <a:cubicBezTo>
                  <a:pt x="1986487" y="751863"/>
                  <a:pt x="2004966" y="733384"/>
                  <a:pt x="2026910" y="733384"/>
                </a:cubicBezTo>
                <a:close/>
                <a:moveTo>
                  <a:pt x="1752036" y="733384"/>
                </a:moveTo>
                <a:cubicBezTo>
                  <a:pt x="1773979" y="733384"/>
                  <a:pt x="1792458" y="750707"/>
                  <a:pt x="1792458" y="773806"/>
                </a:cubicBezTo>
                <a:cubicBezTo>
                  <a:pt x="1792458" y="795750"/>
                  <a:pt x="1773979" y="814229"/>
                  <a:pt x="1752036" y="814229"/>
                </a:cubicBezTo>
                <a:cubicBezTo>
                  <a:pt x="1730092" y="814229"/>
                  <a:pt x="1711613" y="795750"/>
                  <a:pt x="1711613" y="773806"/>
                </a:cubicBezTo>
                <a:cubicBezTo>
                  <a:pt x="1711613" y="751863"/>
                  <a:pt x="1730092" y="733384"/>
                  <a:pt x="1752036" y="733384"/>
                </a:cubicBezTo>
                <a:close/>
                <a:moveTo>
                  <a:pt x="876596" y="733384"/>
                </a:moveTo>
                <a:cubicBezTo>
                  <a:pt x="898539" y="733384"/>
                  <a:pt x="917018" y="750707"/>
                  <a:pt x="917018" y="773806"/>
                </a:cubicBezTo>
                <a:cubicBezTo>
                  <a:pt x="917018" y="795750"/>
                  <a:pt x="898539" y="814229"/>
                  <a:pt x="876596" y="814229"/>
                </a:cubicBezTo>
                <a:cubicBezTo>
                  <a:pt x="854652" y="814229"/>
                  <a:pt x="836172" y="795750"/>
                  <a:pt x="836172" y="773806"/>
                </a:cubicBezTo>
                <a:cubicBezTo>
                  <a:pt x="836172" y="751863"/>
                  <a:pt x="854652" y="733384"/>
                  <a:pt x="876596" y="733384"/>
                </a:cubicBezTo>
                <a:close/>
                <a:moveTo>
                  <a:pt x="600566" y="733384"/>
                </a:moveTo>
                <a:cubicBezTo>
                  <a:pt x="623665" y="733384"/>
                  <a:pt x="640989" y="750707"/>
                  <a:pt x="640989" y="773806"/>
                </a:cubicBezTo>
                <a:cubicBezTo>
                  <a:pt x="640989" y="795750"/>
                  <a:pt x="622510" y="814229"/>
                  <a:pt x="600566" y="814229"/>
                </a:cubicBezTo>
                <a:cubicBezTo>
                  <a:pt x="578623" y="814229"/>
                  <a:pt x="560144" y="795750"/>
                  <a:pt x="560144" y="773806"/>
                </a:cubicBezTo>
                <a:cubicBezTo>
                  <a:pt x="560144" y="751863"/>
                  <a:pt x="578623" y="733384"/>
                  <a:pt x="600566" y="733384"/>
                </a:cubicBezTo>
                <a:close/>
                <a:moveTo>
                  <a:pt x="11107606" y="721834"/>
                </a:moveTo>
                <a:cubicBezTo>
                  <a:pt x="11136480" y="721834"/>
                  <a:pt x="11159579" y="744933"/>
                  <a:pt x="11158424" y="772651"/>
                </a:cubicBezTo>
                <a:cubicBezTo>
                  <a:pt x="11158424" y="800370"/>
                  <a:pt x="11136480" y="823468"/>
                  <a:pt x="11107606" y="823468"/>
                </a:cubicBezTo>
                <a:cubicBezTo>
                  <a:pt x="11079888" y="823468"/>
                  <a:pt x="11056789" y="801524"/>
                  <a:pt x="11056789" y="772651"/>
                </a:cubicBezTo>
                <a:cubicBezTo>
                  <a:pt x="11056789" y="744933"/>
                  <a:pt x="11078734" y="721834"/>
                  <a:pt x="11107606" y="721834"/>
                </a:cubicBezTo>
                <a:close/>
                <a:moveTo>
                  <a:pt x="9957292" y="721834"/>
                </a:moveTo>
                <a:cubicBezTo>
                  <a:pt x="9985010" y="721834"/>
                  <a:pt x="10008109" y="744933"/>
                  <a:pt x="10008109" y="772651"/>
                </a:cubicBezTo>
                <a:cubicBezTo>
                  <a:pt x="10008109" y="800370"/>
                  <a:pt x="9985010" y="823468"/>
                  <a:pt x="9957292" y="823468"/>
                </a:cubicBezTo>
                <a:cubicBezTo>
                  <a:pt x="9929574" y="823468"/>
                  <a:pt x="9906475" y="801524"/>
                  <a:pt x="9906475" y="772651"/>
                </a:cubicBezTo>
                <a:cubicBezTo>
                  <a:pt x="9906475" y="744933"/>
                  <a:pt x="9928419" y="721834"/>
                  <a:pt x="9957292" y="721834"/>
                </a:cubicBezTo>
                <a:close/>
                <a:moveTo>
                  <a:pt x="8836402" y="721834"/>
                </a:moveTo>
                <a:cubicBezTo>
                  <a:pt x="8865275" y="721834"/>
                  <a:pt x="8888374" y="744933"/>
                  <a:pt x="8887219" y="772651"/>
                </a:cubicBezTo>
                <a:cubicBezTo>
                  <a:pt x="8887219" y="800370"/>
                  <a:pt x="8864121" y="823468"/>
                  <a:pt x="8836402" y="823468"/>
                </a:cubicBezTo>
                <a:cubicBezTo>
                  <a:pt x="8808684" y="823468"/>
                  <a:pt x="8785585" y="801524"/>
                  <a:pt x="8785585" y="772651"/>
                </a:cubicBezTo>
                <a:cubicBezTo>
                  <a:pt x="8785585" y="744933"/>
                  <a:pt x="8807528" y="721834"/>
                  <a:pt x="8836402" y="721834"/>
                </a:cubicBezTo>
                <a:close/>
                <a:moveTo>
                  <a:pt x="6502281" y="721834"/>
                </a:moveTo>
                <a:cubicBezTo>
                  <a:pt x="6531154" y="721834"/>
                  <a:pt x="6554254" y="744933"/>
                  <a:pt x="6553098" y="772651"/>
                </a:cubicBezTo>
                <a:cubicBezTo>
                  <a:pt x="6553098" y="800370"/>
                  <a:pt x="6531154" y="823468"/>
                  <a:pt x="6502281" y="823468"/>
                </a:cubicBezTo>
                <a:cubicBezTo>
                  <a:pt x="6474562" y="823468"/>
                  <a:pt x="6451462" y="801524"/>
                  <a:pt x="6451462" y="772651"/>
                </a:cubicBezTo>
                <a:cubicBezTo>
                  <a:pt x="6451462" y="744933"/>
                  <a:pt x="6473407" y="721834"/>
                  <a:pt x="6502281" y="721834"/>
                </a:cubicBezTo>
                <a:close/>
                <a:moveTo>
                  <a:pt x="5351966" y="721834"/>
                </a:moveTo>
                <a:cubicBezTo>
                  <a:pt x="5379684" y="721834"/>
                  <a:pt x="5402784" y="744933"/>
                  <a:pt x="5402784" y="772651"/>
                </a:cubicBezTo>
                <a:cubicBezTo>
                  <a:pt x="5402784" y="800370"/>
                  <a:pt x="5380840" y="823468"/>
                  <a:pt x="5351966" y="823468"/>
                </a:cubicBezTo>
                <a:cubicBezTo>
                  <a:pt x="5324247" y="823468"/>
                  <a:pt x="5301149" y="801524"/>
                  <a:pt x="5301149" y="772651"/>
                </a:cubicBezTo>
                <a:cubicBezTo>
                  <a:pt x="5301149" y="744933"/>
                  <a:pt x="5323094" y="721834"/>
                  <a:pt x="5351966" y="721834"/>
                </a:cubicBezTo>
                <a:close/>
                <a:moveTo>
                  <a:pt x="4223596" y="721834"/>
                </a:moveTo>
                <a:cubicBezTo>
                  <a:pt x="4252468" y="721834"/>
                  <a:pt x="4275566" y="744933"/>
                  <a:pt x="4274413" y="772651"/>
                </a:cubicBezTo>
                <a:cubicBezTo>
                  <a:pt x="4274413" y="800370"/>
                  <a:pt x="4251315" y="823468"/>
                  <a:pt x="4223596" y="823468"/>
                </a:cubicBezTo>
                <a:cubicBezTo>
                  <a:pt x="4195877" y="823468"/>
                  <a:pt x="4172779" y="801524"/>
                  <a:pt x="4172779" y="772651"/>
                </a:cubicBezTo>
                <a:cubicBezTo>
                  <a:pt x="4172779" y="744933"/>
                  <a:pt x="4194721" y="721834"/>
                  <a:pt x="4223596" y="721834"/>
                </a:cubicBezTo>
                <a:close/>
                <a:moveTo>
                  <a:pt x="1889473" y="721834"/>
                </a:moveTo>
                <a:cubicBezTo>
                  <a:pt x="1918346" y="721834"/>
                  <a:pt x="1941445" y="744933"/>
                  <a:pt x="1940290" y="772651"/>
                </a:cubicBezTo>
                <a:cubicBezTo>
                  <a:pt x="1940290" y="800370"/>
                  <a:pt x="1918346" y="823468"/>
                  <a:pt x="1889473" y="823468"/>
                </a:cubicBezTo>
                <a:cubicBezTo>
                  <a:pt x="1861754" y="823468"/>
                  <a:pt x="1838656" y="801524"/>
                  <a:pt x="1838656" y="772651"/>
                </a:cubicBezTo>
                <a:cubicBezTo>
                  <a:pt x="1838656" y="744933"/>
                  <a:pt x="1860600" y="721834"/>
                  <a:pt x="1889473" y="721834"/>
                </a:cubicBezTo>
                <a:close/>
                <a:moveTo>
                  <a:pt x="739158" y="721834"/>
                </a:moveTo>
                <a:cubicBezTo>
                  <a:pt x="766877" y="721834"/>
                  <a:pt x="789975" y="744933"/>
                  <a:pt x="789975" y="772651"/>
                </a:cubicBezTo>
                <a:cubicBezTo>
                  <a:pt x="789975" y="800370"/>
                  <a:pt x="766877" y="823468"/>
                  <a:pt x="739158" y="823468"/>
                </a:cubicBezTo>
                <a:cubicBezTo>
                  <a:pt x="711440" y="823468"/>
                  <a:pt x="688341" y="801524"/>
                  <a:pt x="688341" y="772651"/>
                </a:cubicBezTo>
                <a:cubicBezTo>
                  <a:pt x="688341" y="744933"/>
                  <a:pt x="710285" y="721834"/>
                  <a:pt x="739158" y="721834"/>
                </a:cubicBezTo>
                <a:close/>
                <a:moveTo>
                  <a:pt x="12227892" y="608651"/>
                </a:moveTo>
                <a:cubicBezTo>
                  <a:pt x="12238288" y="608651"/>
                  <a:pt x="12248682" y="617890"/>
                  <a:pt x="12248682" y="629440"/>
                </a:cubicBezTo>
                <a:cubicBezTo>
                  <a:pt x="12248682" y="640989"/>
                  <a:pt x="12239442" y="650228"/>
                  <a:pt x="12227892" y="650228"/>
                </a:cubicBezTo>
                <a:cubicBezTo>
                  <a:pt x="12216343" y="650228"/>
                  <a:pt x="12207104" y="640989"/>
                  <a:pt x="12207104" y="629440"/>
                </a:cubicBezTo>
                <a:cubicBezTo>
                  <a:pt x="12207104" y="617890"/>
                  <a:pt x="12216343" y="608651"/>
                  <a:pt x="12227892" y="608651"/>
                </a:cubicBezTo>
                <a:close/>
                <a:moveTo>
                  <a:pt x="12091610" y="608651"/>
                </a:moveTo>
                <a:cubicBezTo>
                  <a:pt x="12103160" y="608651"/>
                  <a:pt x="12112399" y="617890"/>
                  <a:pt x="12112399" y="629440"/>
                </a:cubicBezTo>
                <a:cubicBezTo>
                  <a:pt x="12112399" y="640989"/>
                  <a:pt x="12103160" y="650228"/>
                  <a:pt x="12091610" y="650228"/>
                </a:cubicBezTo>
                <a:cubicBezTo>
                  <a:pt x="12080061" y="650228"/>
                  <a:pt x="12070822" y="640989"/>
                  <a:pt x="12070822" y="629440"/>
                </a:cubicBezTo>
                <a:cubicBezTo>
                  <a:pt x="12070822" y="617890"/>
                  <a:pt x="12080061" y="608651"/>
                  <a:pt x="12091610" y="608651"/>
                </a:cubicBezTo>
                <a:close/>
                <a:moveTo>
                  <a:pt x="11956484" y="608651"/>
                </a:moveTo>
                <a:cubicBezTo>
                  <a:pt x="11968033" y="608651"/>
                  <a:pt x="11977272" y="617890"/>
                  <a:pt x="11977272" y="629440"/>
                </a:cubicBezTo>
                <a:cubicBezTo>
                  <a:pt x="11977272" y="640989"/>
                  <a:pt x="11968033" y="650228"/>
                  <a:pt x="11956484" y="650228"/>
                </a:cubicBezTo>
                <a:cubicBezTo>
                  <a:pt x="11944934" y="650228"/>
                  <a:pt x="11935695" y="640989"/>
                  <a:pt x="11935695" y="629440"/>
                </a:cubicBezTo>
                <a:cubicBezTo>
                  <a:pt x="11935695" y="617890"/>
                  <a:pt x="11944934" y="608651"/>
                  <a:pt x="11956484" y="608651"/>
                </a:cubicBezTo>
                <a:close/>
                <a:moveTo>
                  <a:pt x="11821356" y="608651"/>
                </a:moveTo>
                <a:cubicBezTo>
                  <a:pt x="11832905" y="608651"/>
                  <a:pt x="11842144" y="617890"/>
                  <a:pt x="11842144" y="629440"/>
                </a:cubicBezTo>
                <a:cubicBezTo>
                  <a:pt x="11842144" y="640989"/>
                  <a:pt x="11832905" y="650228"/>
                  <a:pt x="11821356" y="650228"/>
                </a:cubicBezTo>
                <a:cubicBezTo>
                  <a:pt x="11809806" y="650228"/>
                  <a:pt x="11800567" y="640989"/>
                  <a:pt x="11800567" y="629440"/>
                </a:cubicBezTo>
                <a:cubicBezTo>
                  <a:pt x="11800567" y="617890"/>
                  <a:pt x="11809806" y="608651"/>
                  <a:pt x="11821356" y="608651"/>
                </a:cubicBezTo>
                <a:close/>
                <a:moveTo>
                  <a:pt x="11685074" y="608651"/>
                </a:moveTo>
                <a:cubicBezTo>
                  <a:pt x="11696623" y="608651"/>
                  <a:pt x="11705862" y="617890"/>
                  <a:pt x="11705862" y="629440"/>
                </a:cubicBezTo>
                <a:cubicBezTo>
                  <a:pt x="11705862" y="640989"/>
                  <a:pt x="11696623" y="650228"/>
                  <a:pt x="11685074" y="650228"/>
                </a:cubicBezTo>
                <a:cubicBezTo>
                  <a:pt x="11673524" y="650228"/>
                  <a:pt x="11664285" y="640989"/>
                  <a:pt x="11664285" y="629440"/>
                </a:cubicBezTo>
                <a:cubicBezTo>
                  <a:pt x="11664285" y="617890"/>
                  <a:pt x="11673524" y="608651"/>
                  <a:pt x="11685074" y="608651"/>
                </a:cubicBezTo>
                <a:close/>
                <a:moveTo>
                  <a:pt x="10736873" y="608651"/>
                </a:moveTo>
                <a:cubicBezTo>
                  <a:pt x="10748422" y="608651"/>
                  <a:pt x="10757662" y="617890"/>
                  <a:pt x="10757662" y="629440"/>
                </a:cubicBezTo>
                <a:cubicBezTo>
                  <a:pt x="10757662" y="640989"/>
                  <a:pt x="10748422" y="650228"/>
                  <a:pt x="10736873" y="650228"/>
                </a:cubicBezTo>
                <a:cubicBezTo>
                  <a:pt x="10725324" y="650228"/>
                  <a:pt x="10716084" y="640989"/>
                  <a:pt x="10716084" y="629440"/>
                </a:cubicBezTo>
                <a:cubicBezTo>
                  <a:pt x="10716084" y="617890"/>
                  <a:pt x="10725324" y="608651"/>
                  <a:pt x="10736873" y="608651"/>
                </a:cubicBezTo>
                <a:close/>
                <a:moveTo>
                  <a:pt x="10601745" y="608651"/>
                </a:moveTo>
                <a:cubicBezTo>
                  <a:pt x="10613294" y="608651"/>
                  <a:pt x="10622534" y="617890"/>
                  <a:pt x="10622534" y="629440"/>
                </a:cubicBezTo>
                <a:cubicBezTo>
                  <a:pt x="10622534" y="640989"/>
                  <a:pt x="10613294" y="650228"/>
                  <a:pt x="10601745" y="650228"/>
                </a:cubicBezTo>
                <a:cubicBezTo>
                  <a:pt x="10590196" y="650228"/>
                  <a:pt x="10580956" y="640989"/>
                  <a:pt x="10580956" y="629440"/>
                </a:cubicBezTo>
                <a:cubicBezTo>
                  <a:pt x="10580956" y="617890"/>
                  <a:pt x="10590196" y="608651"/>
                  <a:pt x="10601745" y="608651"/>
                </a:cubicBezTo>
                <a:close/>
                <a:moveTo>
                  <a:pt x="8027949" y="608651"/>
                </a:moveTo>
                <a:cubicBezTo>
                  <a:pt x="8039499" y="608651"/>
                  <a:pt x="8048737" y="617890"/>
                  <a:pt x="8048737" y="629440"/>
                </a:cubicBezTo>
                <a:cubicBezTo>
                  <a:pt x="8048737" y="640989"/>
                  <a:pt x="8039499" y="650228"/>
                  <a:pt x="8027949" y="650228"/>
                </a:cubicBezTo>
                <a:cubicBezTo>
                  <a:pt x="8016400" y="650228"/>
                  <a:pt x="8007160" y="640989"/>
                  <a:pt x="8007160" y="629440"/>
                </a:cubicBezTo>
                <a:cubicBezTo>
                  <a:pt x="8007160" y="617890"/>
                  <a:pt x="8016400" y="608651"/>
                  <a:pt x="8027949" y="608651"/>
                </a:cubicBezTo>
                <a:close/>
                <a:moveTo>
                  <a:pt x="7892822" y="608651"/>
                </a:moveTo>
                <a:cubicBezTo>
                  <a:pt x="7904371" y="608651"/>
                  <a:pt x="7913611" y="617890"/>
                  <a:pt x="7913611" y="629440"/>
                </a:cubicBezTo>
                <a:cubicBezTo>
                  <a:pt x="7913611" y="640989"/>
                  <a:pt x="7904371" y="650228"/>
                  <a:pt x="7892822" y="650228"/>
                </a:cubicBezTo>
                <a:cubicBezTo>
                  <a:pt x="7881271" y="650228"/>
                  <a:pt x="7872031" y="640989"/>
                  <a:pt x="7872031" y="629440"/>
                </a:cubicBezTo>
                <a:cubicBezTo>
                  <a:pt x="7872031" y="617890"/>
                  <a:pt x="7881271" y="608651"/>
                  <a:pt x="7892822" y="608651"/>
                </a:cubicBezTo>
                <a:close/>
                <a:moveTo>
                  <a:pt x="7757693" y="608651"/>
                </a:moveTo>
                <a:cubicBezTo>
                  <a:pt x="7769244" y="608651"/>
                  <a:pt x="7778483" y="617890"/>
                  <a:pt x="7778483" y="629440"/>
                </a:cubicBezTo>
                <a:cubicBezTo>
                  <a:pt x="7778483" y="640989"/>
                  <a:pt x="7769244" y="650228"/>
                  <a:pt x="7757693" y="650228"/>
                </a:cubicBezTo>
                <a:cubicBezTo>
                  <a:pt x="7746146" y="650228"/>
                  <a:pt x="7736906" y="640989"/>
                  <a:pt x="7736906" y="629440"/>
                </a:cubicBezTo>
                <a:cubicBezTo>
                  <a:pt x="7736906" y="617890"/>
                  <a:pt x="7746146" y="608651"/>
                  <a:pt x="7757693" y="608651"/>
                </a:cubicBezTo>
                <a:close/>
                <a:moveTo>
                  <a:pt x="7622566" y="608651"/>
                </a:moveTo>
                <a:cubicBezTo>
                  <a:pt x="7632962" y="608651"/>
                  <a:pt x="7643355" y="617890"/>
                  <a:pt x="7643355" y="629440"/>
                </a:cubicBezTo>
                <a:cubicBezTo>
                  <a:pt x="7643355" y="640989"/>
                  <a:pt x="7634115" y="650228"/>
                  <a:pt x="7622566" y="650228"/>
                </a:cubicBezTo>
                <a:cubicBezTo>
                  <a:pt x="7611018" y="650228"/>
                  <a:pt x="7601778" y="640989"/>
                  <a:pt x="7601778" y="629440"/>
                </a:cubicBezTo>
                <a:cubicBezTo>
                  <a:pt x="7601778" y="617890"/>
                  <a:pt x="7611018" y="608651"/>
                  <a:pt x="7622566" y="608651"/>
                </a:cubicBezTo>
                <a:close/>
                <a:moveTo>
                  <a:pt x="7486284" y="608651"/>
                </a:moveTo>
                <a:cubicBezTo>
                  <a:pt x="7497834" y="608651"/>
                  <a:pt x="7507074" y="617890"/>
                  <a:pt x="7507074" y="629440"/>
                </a:cubicBezTo>
                <a:cubicBezTo>
                  <a:pt x="7507074" y="640989"/>
                  <a:pt x="7497834" y="650228"/>
                  <a:pt x="7486284" y="650228"/>
                </a:cubicBezTo>
                <a:cubicBezTo>
                  <a:pt x="7474735" y="650228"/>
                  <a:pt x="7465495" y="640989"/>
                  <a:pt x="7465495" y="629440"/>
                </a:cubicBezTo>
                <a:cubicBezTo>
                  <a:pt x="7465495" y="617890"/>
                  <a:pt x="7474735" y="608651"/>
                  <a:pt x="7486284" y="608651"/>
                </a:cubicBezTo>
                <a:close/>
                <a:moveTo>
                  <a:pt x="7351157" y="608651"/>
                </a:moveTo>
                <a:cubicBezTo>
                  <a:pt x="7362706" y="608651"/>
                  <a:pt x="7371946" y="617890"/>
                  <a:pt x="7371946" y="629440"/>
                </a:cubicBezTo>
                <a:cubicBezTo>
                  <a:pt x="7371946" y="640989"/>
                  <a:pt x="7362706" y="650228"/>
                  <a:pt x="7351157" y="650228"/>
                </a:cubicBezTo>
                <a:cubicBezTo>
                  <a:pt x="7339609" y="650228"/>
                  <a:pt x="7330369" y="640989"/>
                  <a:pt x="7330369" y="629440"/>
                </a:cubicBezTo>
                <a:cubicBezTo>
                  <a:pt x="7330369" y="617890"/>
                  <a:pt x="7339609" y="608651"/>
                  <a:pt x="7351157" y="608651"/>
                </a:cubicBezTo>
                <a:close/>
                <a:moveTo>
                  <a:pt x="7216030" y="608651"/>
                </a:moveTo>
                <a:cubicBezTo>
                  <a:pt x="7227579" y="608651"/>
                  <a:pt x="7236819" y="617890"/>
                  <a:pt x="7236819" y="629440"/>
                </a:cubicBezTo>
                <a:cubicBezTo>
                  <a:pt x="7236819" y="640989"/>
                  <a:pt x="7227579" y="650228"/>
                  <a:pt x="7216030" y="650228"/>
                </a:cubicBezTo>
                <a:cubicBezTo>
                  <a:pt x="7204481" y="650228"/>
                  <a:pt x="7195241" y="640989"/>
                  <a:pt x="7195241" y="629440"/>
                </a:cubicBezTo>
                <a:cubicBezTo>
                  <a:pt x="7195241" y="617890"/>
                  <a:pt x="7204481" y="608651"/>
                  <a:pt x="7216030" y="608651"/>
                </a:cubicBezTo>
                <a:close/>
                <a:moveTo>
                  <a:pt x="7079748" y="608651"/>
                </a:moveTo>
                <a:cubicBezTo>
                  <a:pt x="7091297" y="608651"/>
                  <a:pt x="7100537" y="617890"/>
                  <a:pt x="7100537" y="629440"/>
                </a:cubicBezTo>
                <a:cubicBezTo>
                  <a:pt x="7100537" y="640989"/>
                  <a:pt x="7091297" y="650228"/>
                  <a:pt x="7079748" y="650228"/>
                </a:cubicBezTo>
                <a:cubicBezTo>
                  <a:pt x="7068199" y="650228"/>
                  <a:pt x="7058959" y="640989"/>
                  <a:pt x="7058959" y="629440"/>
                </a:cubicBezTo>
                <a:cubicBezTo>
                  <a:pt x="7058959" y="617890"/>
                  <a:pt x="7068199" y="608651"/>
                  <a:pt x="7079748" y="608651"/>
                </a:cubicBezTo>
                <a:close/>
                <a:moveTo>
                  <a:pt x="6131548" y="608651"/>
                </a:moveTo>
                <a:cubicBezTo>
                  <a:pt x="6143096" y="608651"/>
                  <a:pt x="6152336" y="617890"/>
                  <a:pt x="6152336" y="629440"/>
                </a:cubicBezTo>
                <a:cubicBezTo>
                  <a:pt x="6152336" y="640989"/>
                  <a:pt x="6143096" y="650228"/>
                  <a:pt x="6131548" y="650228"/>
                </a:cubicBezTo>
                <a:cubicBezTo>
                  <a:pt x="6119997" y="650228"/>
                  <a:pt x="6110759" y="640989"/>
                  <a:pt x="6110759" y="629440"/>
                </a:cubicBezTo>
                <a:cubicBezTo>
                  <a:pt x="6110759" y="617890"/>
                  <a:pt x="6119997" y="608651"/>
                  <a:pt x="6131548" y="608651"/>
                </a:cubicBezTo>
                <a:close/>
                <a:moveTo>
                  <a:pt x="5996418" y="608651"/>
                </a:moveTo>
                <a:cubicBezTo>
                  <a:pt x="6007969" y="608651"/>
                  <a:pt x="6017209" y="617890"/>
                  <a:pt x="6017209" y="629440"/>
                </a:cubicBezTo>
                <a:cubicBezTo>
                  <a:pt x="6017209" y="640989"/>
                  <a:pt x="6007969" y="650228"/>
                  <a:pt x="5996418" y="650228"/>
                </a:cubicBezTo>
                <a:cubicBezTo>
                  <a:pt x="5984870" y="650228"/>
                  <a:pt x="5975630" y="640989"/>
                  <a:pt x="5975630" y="629440"/>
                </a:cubicBezTo>
                <a:cubicBezTo>
                  <a:pt x="5975630" y="617890"/>
                  <a:pt x="5984870" y="608651"/>
                  <a:pt x="5996418" y="608651"/>
                </a:cubicBezTo>
                <a:close/>
                <a:moveTo>
                  <a:pt x="3415142" y="608651"/>
                </a:moveTo>
                <a:cubicBezTo>
                  <a:pt x="3426691" y="608651"/>
                  <a:pt x="3435930" y="617890"/>
                  <a:pt x="3435930" y="629440"/>
                </a:cubicBezTo>
                <a:cubicBezTo>
                  <a:pt x="3435930" y="640989"/>
                  <a:pt x="3426691" y="650228"/>
                  <a:pt x="3415142" y="650228"/>
                </a:cubicBezTo>
                <a:cubicBezTo>
                  <a:pt x="3403592" y="650228"/>
                  <a:pt x="3394352" y="640989"/>
                  <a:pt x="3394352" y="629440"/>
                </a:cubicBezTo>
                <a:cubicBezTo>
                  <a:pt x="3394352" y="617890"/>
                  <a:pt x="3403592" y="608651"/>
                  <a:pt x="3415142" y="608651"/>
                </a:cubicBezTo>
                <a:close/>
                <a:moveTo>
                  <a:pt x="3280013" y="608651"/>
                </a:moveTo>
                <a:cubicBezTo>
                  <a:pt x="3291564" y="608651"/>
                  <a:pt x="3300802" y="617890"/>
                  <a:pt x="3300802" y="629440"/>
                </a:cubicBezTo>
                <a:cubicBezTo>
                  <a:pt x="3300802" y="640989"/>
                  <a:pt x="3291564" y="650228"/>
                  <a:pt x="3280013" y="650228"/>
                </a:cubicBezTo>
                <a:cubicBezTo>
                  <a:pt x="3268464" y="650228"/>
                  <a:pt x="3259224" y="640989"/>
                  <a:pt x="3259224" y="629440"/>
                </a:cubicBezTo>
                <a:cubicBezTo>
                  <a:pt x="3259224" y="617890"/>
                  <a:pt x="3268464" y="608651"/>
                  <a:pt x="3280013" y="608651"/>
                </a:cubicBezTo>
                <a:close/>
                <a:moveTo>
                  <a:pt x="3144887" y="608651"/>
                </a:moveTo>
                <a:cubicBezTo>
                  <a:pt x="3156436" y="608651"/>
                  <a:pt x="3165675" y="617890"/>
                  <a:pt x="3165675" y="629440"/>
                </a:cubicBezTo>
                <a:cubicBezTo>
                  <a:pt x="3165675" y="640989"/>
                  <a:pt x="3156436" y="650228"/>
                  <a:pt x="3144887" y="650228"/>
                </a:cubicBezTo>
                <a:cubicBezTo>
                  <a:pt x="3133338" y="650228"/>
                  <a:pt x="3124098" y="640989"/>
                  <a:pt x="3124098" y="629440"/>
                </a:cubicBezTo>
                <a:cubicBezTo>
                  <a:pt x="3124098" y="617890"/>
                  <a:pt x="3133338" y="608651"/>
                  <a:pt x="3144887" y="608651"/>
                </a:cubicBezTo>
                <a:close/>
                <a:moveTo>
                  <a:pt x="3009759" y="608651"/>
                </a:moveTo>
                <a:cubicBezTo>
                  <a:pt x="3020154" y="608651"/>
                  <a:pt x="3030548" y="617890"/>
                  <a:pt x="3030548" y="629440"/>
                </a:cubicBezTo>
                <a:cubicBezTo>
                  <a:pt x="3030548" y="640989"/>
                  <a:pt x="3021308" y="650228"/>
                  <a:pt x="3009759" y="650228"/>
                </a:cubicBezTo>
                <a:cubicBezTo>
                  <a:pt x="2998209" y="650228"/>
                  <a:pt x="2988971" y="640989"/>
                  <a:pt x="2988971" y="629440"/>
                </a:cubicBezTo>
                <a:cubicBezTo>
                  <a:pt x="2988971" y="617890"/>
                  <a:pt x="2998209" y="608651"/>
                  <a:pt x="3009759" y="608651"/>
                </a:cubicBezTo>
                <a:close/>
                <a:moveTo>
                  <a:pt x="2873476" y="608651"/>
                </a:moveTo>
                <a:cubicBezTo>
                  <a:pt x="2885026" y="608651"/>
                  <a:pt x="2894265" y="617890"/>
                  <a:pt x="2894265" y="629440"/>
                </a:cubicBezTo>
                <a:cubicBezTo>
                  <a:pt x="2894265" y="640989"/>
                  <a:pt x="2885026" y="650228"/>
                  <a:pt x="2873476" y="650228"/>
                </a:cubicBezTo>
                <a:cubicBezTo>
                  <a:pt x="2861927" y="650228"/>
                  <a:pt x="2852688" y="640989"/>
                  <a:pt x="2852688" y="629440"/>
                </a:cubicBezTo>
                <a:cubicBezTo>
                  <a:pt x="2852688" y="617890"/>
                  <a:pt x="2861927" y="608651"/>
                  <a:pt x="2873476" y="608651"/>
                </a:cubicBezTo>
                <a:close/>
                <a:moveTo>
                  <a:pt x="2738350" y="608651"/>
                </a:moveTo>
                <a:cubicBezTo>
                  <a:pt x="2749899" y="608651"/>
                  <a:pt x="2759139" y="617890"/>
                  <a:pt x="2759139" y="629440"/>
                </a:cubicBezTo>
                <a:cubicBezTo>
                  <a:pt x="2759139" y="640989"/>
                  <a:pt x="2749899" y="650228"/>
                  <a:pt x="2738350" y="650228"/>
                </a:cubicBezTo>
                <a:cubicBezTo>
                  <a:pt x="2726800" y="650228"/>
                  <a:pt x="2717562" y="640989"/>
                  <a:pt x="2717562" y="629440"/>
                </a:cubicBezTo>
                <a:cubicBezTo>
                  <a:pt x="2717562" y="617890"/>
                  <a:pt x="2726800" y="608651"/>
                  <a:pt x="2738350" y="608651"/>
                </a:cubicBezTo>
                <a:close/>
                <a:moveTo>
                  <a:pt x="2603222" y="608651"/>
                </a:moveTo>
                <a:cubicBezTo>
                  <a:pt x="2614771" y="608651"/>
                  <a:pt x="2624011" y="617890"/>
                  <a:pt x="2624011" y="629440"/>
                </a:cubicBezTo>
                <a:cubicBezTo>
                  <a:pt x="2624011" y="640989"/>
                  <a:pt x="2614771" y="650228"/>
                  <a:pt x="2603222" y="650228"/>
                </a:cubicBezTo>
                <a:cubicBezTo>
                  <a:pt x="2591673" y="650228"/>
                  <a:pt x="2582433" y="640989"/>
                  <a:pt x="2582433" y="629440"/>
                </a:cubicBezTo>
                <a:cubicBezTo>
                  <a:pt x="2582433" y="617890"/>
                  <a:pt x="2591673" y="608651"/>
                  <a:pt x="2603222" y="608651"/>
                </a:cubicBezTo>
                <a:close/>
                <a:moveTo>
                  <a:pt x="2466940" y="608651"/>
                </a:moveTo>
                <a:cubicBezTo>
                  <a:pt x="2478489" y="608651"/>
                  <a:pt x="2487729" y="617890"/>
                  <a:pt x="2487729" y="629440"/>
                </a:cubicBezTo>
                <a:cubicBezTo>
                  <a:pt x="2487729" y="640989"/>
                  <a:pt x="2478489" y="650228"/>
                  <a:pt x="2466940" y="650228"/>
                </a:cubicBezTo>
                <a:cubicBezTo>
                  <a:pt x="2455390" y="650228"/>
                  <a:pt x="2446151" y="640989"/>
                  <a:pt x="2446151" y="629440"/>
                </a:cubicBezTo>
                <a:cubicBezTo>
                  <a:pt x="2446151" y="617890"/>
                  <a:pt x="2455390" y="608651"/>
                  <a:pt x="2466940" y="608651"/>
                </a:cubicBezTo>
                <a:close/>
                <a:moveTo>
                  <a:pt x="1518739" y="608651"/>
                </a:moveTo>
                <a:cubicBezTo>
                  <a:pt x="1530289" y="608651"/>
                  <a:pt x="1539528" y="617890"/>
                  <a:pt x="1539528" y="629440"/>
                </a:cubicBezTo>
                <a:cubicBezTo>
                  <a:pt x="1539528" y="640989"/>
                  <a:pt x="1530289" y="650228"/>
                  <a:pt x="1518739" y="650228"/>
                </a:cubicBezTo>
                <a:cubicBezTo>
                  <a:pt x="1507190" y="650228"/>
                  <a:pt x="1497951" y="640989"/>
                  <a:pt x="1497951" y="629440"/>
                </a:cubicBezTo>
                <a:cubicBezTo>
                  <a:pt x="1497951" y="617890"/>
                  <a:pt x="1507190" y="608651"/>
                  <a:pt x="1518739" y="608651"/>
                </a:cubicBezTo>
                <a:close/>
                <a:moveTo>
                  <a:pt x="1383611" y="608651"/>
                </a:moveTo>
                <a:cubicBezTo>
                  <a:pt x="1395161" y="608651"/>
                  <a:pt x="1404400" y="617890"/>
                  <a:pt x="1404400" y="629440"/>
                </a:cubicBezTo>
                <a:cubicBezTo>
                  <a:pt x="1404400" y="640989"/>
                  <a:pt x="1395161" y="650228"/>
                  <a:pt x="1383611" y="650228"/>
                </a:cubicBezTo>
                <a:cubicBezTo>
                  <a:pt x="1372062" y="650228"/>
                  <a:pt x="1362823" y="640989"/>
                  <a:pt x="1362823" y="629440"/>
                </a:cubicBezTo>
                <a:cubicBezTo>
                  <a:pt x="1362823" y="617890"/>
                  <a:pt x="1372062" y="608651"/>
                  <a:pt x="1383611" y="608651"/>
                </a:cubicBezTo>
                <a:close/>
                <a:moveTo>
                  <a:pt x="11549947" y="606341"/>
                </a:moveTo>
                <a:cubicBezTo>
                  <a:pt x="11562650" y="606341"/>
                  <a:pt x="11573046" y="616735"/>
                  <a:pt x="11573046" y="629440"/>
                </a:cubicBezTo>
                <a:cubicBezTo>
                  <a:pt x="11573046" y="642143"/>
                  <a:pt x="11562650" y="652538"/>
                  <a:pt x="11549947" y="652538"/>
                </a:cubicBezTo>
                <a:cubicBezTo>
                  <a:pt x="11537242" y="652538"/>
                  <a:pt x="11526848" y="642143"/>
                  <a:pt x="11526848" y="629440"/>
                </a:cubicBezTo>
                <a:cubicBezTo>
                  <a:pt x="11526848" y="616735"/>
                  <a:pt x="11537242" y="606341"/>
                  <a:pt x="11549947" y="606341"/>
                </a:cubicBezTo>
                <a:close/>
                <a:moveTo>
                  <a:pt x="10466618" y="606341"/>
                </a:moveTo>
                <a:cubicBezTo>
                  <a:pt x="10479322" y="606341"/>
                  <a:pt x="10489717" y="616735"/>
                  <a:pt x="10489717" y="629440"/>
                </a:cubicBezTo>
                <a:cubicBezTo>
                  <a:pt x="10489717" y="642143"/>
                  <a:pt x="10479322" y="652538"/>
                  <a:pt x="10466618" y="652538"/>
                </a:cubicBezTo>
                <a:cubicBezTo>
                  <a:pt x="10453914" y="652538"/>
                  <a:pt x="10443520" y="642143"/>
                  <a:pt x="10443520" y="629440"/>
                </a:cubicBezTo>
                <a:cubicBezTo>
                  <a:pt x="10443520" y="616735"/>
                  <a:pt x="10453914" y="606341"/>
                  <a:pt x="10466618" y="606341"/>
                </a:cubicBezTo>
                <a:close/>
                <a:moveTo>
                  <a:pt x="9244698" y="606341"/>
                </a:moveTo>
                <a:cubicBezTo>
                  <a:pt x="9258557" y="605185"/>
                  <a:pt x="9268951" y="614425"/>
                  <a:pt x="9270107" y="627130"/>
                </a:cubicBezTo>
                <a:cubicBezTo>
                  <a:pt x="9271261" y="639833"/>
                  <a:pt x="9262022" y="651383"/>
                  <a:pt x="9249318" y="652538"/>
                </a:cubicBezTo>
                <a:cubicBezTo>
                  <a:pt x="9236613" y="653693"/>
                  <a:pt x="9225064" y="644453"/>
                  <a:pt x="9223909" y="631749"/>
                </a:cubicBezTo>
                <a:cubicBezTo>
                  <a:pt x="9222754" y="619045"/>
                  <a:pt x="9231993" y="607495"/>
                  <a:pt x="9244698" y="606341"/>
                </a:cubicBezTo>
                <a:close/>
                <a:moveTo>
                  <a:pt x="8164231" y="606341"/>
                </a:moveTo>
                <a:cubicBezTo>
                  <a:pt x="8176935" y="606341"/>
                  <a:pt x="8187331" y="616735"/>
                  <a:pt x="8187331" y="629440"/>
                </a:cubicBezTo>
                <a:cubicBezTo>
                  <a:pt x="8187331" y="642143"/>
                  <a:pt x="8176935" y="652538"/>
                  <a:pt x="8164231" y="652538"/>
                </a:cubicBezTo>
                <a:cubicBezTo>
                  <a:pt x="8151527" y="652538"/>
                  <a:pt x="8141133" y="642143"/>
                  <a:pt x="8141133" y="629440"/>
                </a:cubicBezTo>
                <a:cubicBezTo>
                  <a:pt x="8141133" y="616735"/>
                  <a:pt x="8151527" y="606341"/>
                  <a:pt x="8164231" y="606341"/>
                </a:cubicBezTo>
                <a:close/>
                <a:moveTo>
                  <a:pt x="6944621" y="606341"/>
                </a:moveTo>
                <a:cubicBezTo>
                  <a:pt x="6957325" y="606341"/>
                  <a:pt x="6967719" y="616735"/>
                  <a:pt x="6967719" y="629440"/>
                </a:cubicBezTo>
                <a:cubicBezTo>
                  <a:pt x="6967719" y="642143"/>
                  <a:pt x="6957325" y="652538"/>
                  <a:pt x="6944621" y="652538"/>
                </a:cubicBezTo>
                <a:cubicBezTo>
                  <a:pt x="6931915" y="652538"/>
                  <a:pt x="6921522" y="642143"/>
                  <a:pt x="6921522" y="629440"/>
                </a:cubicBezTo>
                <a:cubicBezTo>
                  <a:pt x="6921522" y="616735"/>
                  <a:pt x="6931915" y="606341"/>
                  <a:pt x="6944621" y="606341"/>
                </a:cubicBezTo>
                <a:close/>
                <a:moveTo>
                  <a:pt x="5861292" y="606341"/>
                </a:moveTo>
                <a:cubicBezTo>
                  <a:pt x="5873996" y="606341"/>
                  <a:pt x="5884392" y="616735"/>
                  <a:pt x="5884392" y="629440"/>
                </a:cubicBezTo>
                <a:cubicBezTo>
                  <a:pt x="5884392" y="642143"/>
                  <a:pt x="5873996" y="652538"/>
                  <a:pt x="5861292" y="652538"/>
                </a:cubicBezTo>
                <a:cubicBezTo>
                  <a:pt x="5848588" y="652538"/>
                  <a:pt x="5838194" y="642143"/>
                  <a:pt x="5838194" y="629440"/>
                </a:cubicBezTo>
                <a:cubicBezTo>
                  <a:pt x="5838194" y="616735"/>
                  <a:pt x="5848588" y="606341"/>
                  <a:pt x="5861292" y="606341"/>
                </a:cubicBezTo>
                <a:close/>
                <a:moveTo>
                  <a:pt x="4639373" y="606341"/>
                </a:moveTo>
                <a:cubicBezTo>
                  <a:pt x="4653231" y="605185"/>
                  <a:pt x="4663624" y="614425"/>
                  <a:pt x="4664780" y="627130"/>
                </a:cubicBezTo>
                <a:cubicBezTo>
                  <a:pt x="4665935" y="639833"/>
                  <a:pt x="4656695" y="651383"/>
                  <a:pt x="4643991" y="652538"/>
                </a:cubicBezTo>
                <a:cubicBezTo>
                  <a:pt x="4631287" y="653693"/>
                  <a:pt x="4619738" y="644453"/>
                  <a:pt x="4618583" y="631749"/>
                </a:cubicBezTo>
                <a:cubicBezTo>
                  <a:pt x="4617427" y="619045"/>
                  <a:pt x="4626667" y="607495"/>
                  <a:pt x="4639373" y="606341"/>
                </a:cubicBezTo>
                <a:close/>
                <a:moveTo>
                  <a:pt x="3551423" y="606341"/>
                </a:moveTo>
                <a:cubicBezTo>
                  <a:pt x="3564127" y="606341"/>
                  <a:pt x="3574522" y="616735"/>
                  <a:pt x="3574522" y="629440"/>
                </a:cubicBezTo>
                <a:cubicBezTo>
                  <a:pt x="3574522" y="642143"/>
                  <a:pt x="3564127" y="652538"/>
                  <a:pt x="3551423" y="652538"/>
                </a:cubicBezTo>
                <a:cubicBezTo>
                  <a:pt x="3538719" y="652538"/>
                  <a:pt x="3528325" y="642143"/>
                  <a:pt x="3528325" y="629440"/>
                </a:cubicBezTo>
                <a:cubicBezTo>
                  <a:pt x="3528325" y="616735"/>
                  <a:pt x="3538719" y="606341"/>
                  <a:pt x="3551423" y="606341"/>
                </a:cubicBezTo>
                <a:close/>
                <a:moveTo>
                  <a:pt x="2331813" y="606341"/>
                </a:moveTo>
                <a:cubicBezTo>
                  <a:pt x="2344517" y="606341"/>
                  <a:pt x="2354912" y="616735"/>
                  <a:pt x="2354912" y="629440"/>
                </a:cubicBezTo>
                <a:cubicBezTo>
                  <a:pt x="2354912" y="642143"/>
                  <a:pt x="2344517" y="652538"/>
                  <a:pt x="2331813" y="652538"/>
                </a:cubicBezTo>
                <a:cubicBezTo>
                  <a:pt x="2319108" y="652538"/>
                  <a:pt x="2308714" y="642143"/>
                  <a:pt x="2308714" y="629440"/>
                </a:cubicBezTo>
                <a:cubicBezTo>
                  <a:pt x="2308714" y="616735"/>
                  <a:pt x="2319108" y="606341"/>
                  <a:pt x="2331813" y="606341"/>
                </a:cubicBezTo>
                <a:close/>
                <a:moveTo>
                  <a:pt x="1248485" y="606341"/>
                </a:moveTo>
                <a:cubicBezTo>
                  <a:pt x="1261188" y="606341"/>
                  <a:pt x="1271583" y="616735"/>
                  <a:pt x="1271583" y="629440"/>
                </a:cubicBezTo>
                <a:cubicBezTo>
                  <a:pt x="1271583" y="642143"/>
                  <a:pt x="1261188" y="652538"/>
                  <a:pt x="1248485" y="652538"/>
                </a:cubicBezTo>
                <a:cubicBezTo>
                  <a:pt x="1235780" y="652538"/>
                  <a:pt x="1225386" y="642143"/>
                  <a:pt x="1225386" y="629440"/>
                </a:cubicBezTo>
                <a:cubicBezTo>
                  <a:pt x="1225386" y="616735"/>
                  <a:pt x="1235780" y="606341"/>
                  <a:pt x="1248485" y="606341"/>
                </a:cubicBezTo>
                <a:close/>
                <a:moveTo>
                  <a:pt x="26564" y="606341"/>
                </a:moveTo>
                <a:cubicBezTo>
                  <a:pt x="40424" y="605185"/>
                  <a:pt x="50817" y="614425"/>
                  <a:pt x="51973" y="627130"/>
                </a:cubicBezTo>
                <a:cubicBezTo>
                  <a:pt x="53127" y="639833"/>
                  <a:pt x="43888" y="651383"/>
                  <a:pt x="31184" y="652538"/>
                </a:cubicBezTo>
                <a:cubicBezTo>
                  <a:pt x="18479" y="653693"/>
                  <a:pt x="6930" y="644453"/>
                  <a:pt x="5776" y="631749"/>
                </a:cubicBezTo>
                <a:cubicBezTo>
                  <a:pt x="4620" y="619045"/>
                  <a:pt x="13860" y="607495"/>
                  <a:pt x="26564" y="606341"/>
                </a:cubicBezTo>
                <a:close/>
                <a:moveTo>
                  <a:pt x="11414819" y="600566"/>
                </a:moveTo>
                <a:cubicBezTo>
                  <a:pt x="11430988" y="600566"/>
                  <a:pt x="11443693" y="613271"/>
                  <a:pt x="11443693" y="629440"/>
                </a:cubicBezTo>
                <a:cubicBezTo>
                  <a:pt x="11443693" y="645609"/>
                  <a:pt x="11430988" y="658312"/>
                  <a:pt x="11414819" y="658312"/>
                </a:cubicBezTo>
                <a:cubicBezTo>
                  <a:pt x="11398650" y="658312"/>
                  <a:pt x="11385946" y="645609"/>
                  <a:pt x="11385946" y="629440"/>
                </a:cubicBezTo>
                <a:cubicBezTo>
                  <a:pt x="11385946" y="613271"/>
                  <a:pt x="11398650" y="600566"/>
                  <a:pt x="11414819" y="600566"/>
                </a:cubicBezTo>
                <a:close/>
                <a:moveTo>
                  <a:pt x="10330336" y="600566"/>
                </a:moveTo>
                <a:cubicBezTo>
                  <a:pt x="10346505" y="600566"/>
                  <a:pt x="10359209" y="613271"/>
                  <a:pt x="10359209" y="629440"/>
                </a:cubicBezTo>
                <a:cubicBezTo>
                  <a:pt x="10359209" y="645609"/>
                  <a:pt x="10346505" y="658312"/>
                  <a:pt x="10330336" y="658312"/>
                </a:cubicBezTo>
                <a:cubicBezTo>
                  <a:pt x="10315322" y="658312"/>
                  <a:pt x="10301462" y="645609"/>
                  <a:pt x="10301462" y="629440"/>
                </a:cubicBezTo>
                <a:cubicBezTo>
                  <a:pt x="10301462" y="613271"/>
                  <a:pt x="10314167" y="600566"/>
                  <a:pt x="10330336" y="600566"/>
                </a:cubicBezTo>
                <a:close/>
                <a:moveTo>
                  <a:pt x="9382135" y="600566"/>
                </a:moveTo>
                <a:cubicBezTo>
                  <a:pt x="9398304" y="600566"/>
                  <a:pt x="9411009" y="613271"/>
                  <a:pt x="9411009" y="629440"/>
                </a:cubicBezTo>
                <a:cubicBezTo>
                  <a:pt x="9411009" y="645609"/>
                  <a:pt x="9398304" y="658312"/>
                  <a:pt x="9382135" y="658312"/>
                </a:cubicBezTo>
                <a:cubicBezTo>
                  <a:pt x="9365966" y="658312"/>
                  <a:pt x="9353262" y="645609"/>
                  <a:pt x="9353262" y="629440"/>
                </a:cubicBezTo>
                <a:cubicBezTo>
                  <a:pt x="9353262" y="613271"/>
                  <a:pt x="9365966" y="600566"/>
                  <a:pt x="9382135" y="600566"/>
                </a:cubicBezTo>
                <a:close/>
                <a:moveTo>
                  <a:pt x="9112431" y="600566"/>
                </a:moveTo>
                <a:cubicBezTo>
                  <a:pt x="9128600" y="600566"/>
                  <a:pt x="9141305" y="613271"/>
                  <a:pt x="9141305" y="629440"/>
                </a:cubicBezTo>
                <a:cubicBezTo>
                  <a:pt x="9141305" y="645609"/>
                  <a:pt x="9128600" y="658312"/>
                  <a:pt x="9112431" y="658312"/>
                </a:cubicBezTo>
                <a:cubicBezTo>
                  <a:pt x="9096262" y="658312"/>
                  <a:pt x="9083558" y="645609"/>
                  <a:pt x="9083558" y="629440"/>
                </a:cubicBezTo>
                <a:cubicBezTo>
                  <a:pt x="9083558" y="613271"/>
                  <a:pt x="9096262" y="600566"/>
                  <a:pt x="9112431" y="600566"/>
                </a:cubicBezTo>
                <a:close/>
                <a:moveTo>
                  <a:pt x="8299358" y="600566"/>
                </a:moveTo>
                <a:cubicBezTo>
                  <a:pt x="8315526" y="600566"/>
                  <a:pt x="8328231" y="613271"/>
                  <a:pt x="8328231" y="629440"/>
                </a:cubicBezTo>
                <a:cubicBezTo>
                  <a:pt x="8328231" y="645609"/>
                  <a:pt x="8315526" y="658312"/>
                  <a:pt x="8299358" y="658312"/>
                </a:cubicBezTo>
                <a:cubicBezTo>
                  <a:pt x="8283189" y="658312"/>
                  <a:pt x="8270485" y="645609"/>
                  <a:pt x="8270485" y="629440"/>
                </a:cubicBezTo>
                <a:cubicBezTo>
                  <a:pt x="8270485" y="613271"/>
                  <a:pt x="8283189" y="600566"/>
                  <a:pt x="8299358" y="600566"/>
                </a:cubicBezTo>
                <a:close/>
                <a:moveTo>
                  <a:pt x="6809492" y="600566"/>
                </a:moveTo>
                <a:cubicBezTo>
                  <a:pt x="6825661" y="600566"/>
                  <a:pt x="6838367" y="613271"/>
                  <a:pt x="6838367" y="629440"/>
                </a:cubicBezTo>
                <a:cubicBezTo>
                  <a:pt x="6838367" y="645609"/>
                  <a:pt x="6825661" y="658312"/>
                  <a:pt x="6809492" y="658312"/>
                </a:cubicBezTo>
                <a:cubicBezTo>
                  <a:pt x="6793324" y="658312"/>
                  <a:pt x="6780620" y="645609"/>
                  <a:pt x="6780620" y="629440"/>
                </a:cubicBezTo>
                <a:cubicBezTo>
                  <a:pt x="6780620" y="613271"/>
                  <a:pt x="6793324" y="600566"/>
                  <a:pt x="6809492" y="600566"/>
                </a:cubicBezTo>
                <a:close/>
                <a:moveTo>
                  <a:pt x="5726165" y="600566"/>
                </a:moveTo>
                <a:cubicBezTo>
                  <a:pt x="5741178" y="600566"/>
                  <a:pt x="5755038" y="613271"/>
                  <a:pt x="5755038" y="629440"/>
                </a:cubicBezTo>
                <a:cubicBezTo>
                  <a:pt x="5755038" y="645609"/>
                  <a:pt x="5742334" y="658312"/>
                  <a:pt x="5726165" y="658312"/>
                </a:cubicBezTo>
                <a:cubicBezTo>
                  <a:pt x="5709996" y="658312"/>
                  <a:pt x="5697292" y="645609"/>
                  <a:pt x="5697292" y="629440"/>
                </a:cubicBezTo>
                <a:cubicBezTo>
                  <a:pt x="5697292" y="613271"/>
                  <a:pt x="5709996" y="600566"/>
                  <a:pt x="5726165" y="600566"/>
                </a:cubicBezTo>
                <a:close/>
                <a:moveTo>
                  <a:pt x="4776809" y="600566"/>
                </a:moveTo>
                <a:cubicBezTo>
                  <a:pt x="4792978" y="600566"/>
                  <a:pt x="4805682" y="613271"/>
                  <a:pt x="4805682" y="629440"/>
                </a:cubicBezTo>
                <a:cubicBezTo>
                  <a:pt x="4805682" y="645609"/>
                  <a:pt x="4792978" y="658312"/>
                  <a:pt x="4776809" y="658312"/>
                </a:cubicBezTo>
                <a:cubicBezTo>
                  <a:pt x="4760640" y="658312"/>
                  <a:pt x="4747936" y="645609"/>
                  <a:pt x="4747936" y="629440"/>
                </a:cubicBezTo>
                <a:cubicBezTo>
                  <a:pt x="4747936" y="613271"/>
                  <a:pt x="4760640" y="600566"/>
                  <a:pt x="4776809" y="600566"/>
                </a:cubicBezTo>
                <a:close/>
                <a:moveTo>
                  <a:pt x="4499625" y="600566"/>
                </a:moveTo>
                <a:cubicBezTo>
                  <a:pt x="4515793" y="600566"/>
                  <a:pt x="4528499" y="613271"/>
                  <a:pt x="4528499" y="629440"/>
                </a:cubicBezTo>
                <a:cubicBezTo>
                  <a:pt x="4528499" y="645609"/>
                  <a:pt x="4515793" y="658312"/>
                  <a:pt x="4499625" y="658312"/>
                </a:cubicBezTo>
                <a:cubicBezTo>
                  <a:pt x="4483456" y="658312"/>
                  <a:pt x="4470752" y="645609"/>
                  <a:pt x="4470752" y="629440"/>
                </a:cubicBezTo>
                <a:cubicBezTo>
                  <a:pt x="4470752" y="613271"/>
                  <a:pt x="4483456" y="600566"/>
                  <a:pt x="4499625" y="600566"/>
                </a:cubicBezTo>
                <a:close/>
                <a:moveTo>
                  <a:pt x="3686551" y="600566"/>
                </a:moveTo>
                <a:cubicBezTo>
                  <a:pt x="3702719" y="600566"/>
                  <a:pt x="3715424" y="613271"/>
                  <a:pt x="3715424" y="629440"/>
                </a:cubicBezTo>
                <a:cubicBezTo>
                  <a:pt x="3715424" y="645609"/>
                  <a:pt x="3702719" y="658312"/>
                  <a:pt x="3686551" y="658312"/>
                </a:cubicBezTo>
                <a:cubicBezTo>
                  <a:pt x="3670381" y="658312"/>
                  <a:pt x="3657677" y="645609"/>
                  <a:pt x="3657677" y="629440"/>
                </a:cubicBezTo>
                <a:cubicBezTo>
                  <a:pt x="3657677" y="613271"/>
                  <a:pt x="3670381" y="600566"/>
                  <a:pt x="3686551" y="600566"/>
                </a:cubicBezTo>
                <a:close/>
                <a:moveTo>
                  <a:pt x="2196685" y="600566"/>
                </a:moveTo>
                <a:cubicBezTo>
                  <a:pt x="2212854" y="600566"/>
                  <a:pt x="2225559" y="613271"/>
                  <a:pt x="2225559" y="629440"/>
                </a:cubicBezTo>
                <a:cubicBezTo>
                  <a:pt x="2225559" y="645609"/>
                  <a:pt x="2212854" y="658312"/>
                  <a:pt x="2196685" y="658312"/>
                </a:cubicBezTo>
                <a:cubicBezTo>
                  <a:pt x="2180516" y="658312"/>
                  <a:pt x="2167813" y="645609"/>
                  <a:pt x="2167813" y="629440"/>
                </a:cubicBezTo>
                <a:cubicBezTo>
                  <a:pt x="2167813" y="613271"/>
                  <a:pt x="2180516" y="600566"/>
                  <a:pt x="2196685" y="600566"/>
                </a:cubicBezTo>
                <a:close/>
                <a:moveTo>
                  <a:pt x="1112202" y="600566"/>
                </a:moveTo>
                <a:cubicBezTo>
                  <a:pt x="1128371" y="600566"/>
                  <a:pt x="1141075" y="613271"/>
                  <a:pt x="1141075" y="629440"/>
                </a:cubicBezTo>
                <a:cubicBezTo>
                  <a:pt x="1141075" y="645609"/>
                  <a:pt x="1128371" y="658312"/>
                  <a:pt x="1112202" y="658312"/>
                </a:cubicBezTo>
                <a:cubicBezTo>
                  <a:pt x="1097188" y="658312"/>
                  <a:pt x="1083328" y="645609"/>
                  <a:pt x="1083328" y="629440"/>
                </a:cubicBezTo>
                <a:cubicBezTo>
                  <a:pt x="1083328" y="613271"/>
                  <a:pt x="1096033" y="600566"/>
                  <a:pt x="1112202" y="600566"/>
                </a:cubicBezTo>
                <a:close/>
                <a:moveTo>
                  <a:pt x="164001" y="600566"/>
                </a:moveTo>
                <a:cubicBezTo>
                  <a:pt x="180170" y="600566"/>
                  <a:pt x="192875" y="613271"/>
                  <a:pt x="192875" y="629440"/>
                </a:cubicBezTo>
                <a:cubicBezTo>
                  <a:pt x="192875" y="645609"/>
                  <a:pt x="180170" y="658312"/>
                  <a:pt x="164001" y="658312"/>
                </a:cubicBezTo>
                <a:cubicBezTo>
                  <a:pt x="147832" y="658312"/>
                  <a:pt x="135128" y="645609"/>
                  <a:pt x="135128" y="629440"/>
                </a:cubicBezTo>
                <a:cubicBezTo>
                  <a:pt x="135128" y="613271"/>
                  <a:pt x="147832" y="600566"/>
                  <a:pt x="164001" y="600566"/>
                </a:cubicBezTo>
                <a:close/>
                <a:moveTo>
                  <a:pt x="11279692" y="594792"/>
                </a:moveTo>
                <a:cubicBezTo>
                  <a:pt x="11298171" y="594792"/>
                  <a:pt x="11314340" y="610961"/>
                  <a:pt x="11314340" y="629440"/>
                </a:cubicBezTo>
                <a:cubicBezTo>
                  <a:pt x="11314340" y="647919"/>
                  <a:pt x="11299326" y="664088"/>
                  <a:pt x="11279692" y="664088"/>
                </a:cubicBezTo>
                <a:cubicBezTo>
                  <a:pt x="11261213" y="664088"/>
                  <a:pt x="11245044" y="647919"/>
                  <a:pt x="11245044" y="629440"/>
                </a:cubicBezTo>
                <a:cubicBezTo>
                  <a:pt x="11245044" y="610961"/>
                  <a:pt x="11260058" y="594792"/>
                  <a:pt x="11279692" y="594792"/>
                </a:cubicBezTo>
                <a:close/>
                <a:moveTo>
                  <a:pt x="10195208" y="594792"/>
                </a:moveTo>
                <a:cubicBezTo>
                  <a:pt x="10214843" y="594792"/>
                  <a:pt x="10229856" y="610961"/>
                  <a:pt x="10229856" y="629440"/>
                </a:cubicBezTo>
                <a:cubicBezTo>
                  <a:pt x="10229856" y="647919"/>
                  <a:pt x="10213687" y="664088"/>
                  <a:pt x="10195208" y="664088"/>
                </a:cubicBezTo>
                <a:cubicBezTo>
                  <a:pt x="10176729" y="664088"/>
                  <a:pt x="10160560" y="647919"/>
                  <a:pt x="10160560" y="629440"/>
                </a:cubicBezTo>
                <a:cubicBezTo>
                  <a:pt x="10160560" y="610961"/>
                  <a:pt x="10175575" y="594792"/>
                  <a:pt x="10195208" y="594792"/>
                </a:cubicBezTo>
                <a:close/>
                <a:moveTo>
                  <a:pt x="9518417" y="594792"/>
                </a:moveTo>
                <a:cubicBezTo>
                  <a:pt x="9536896" y="594792"/>
                  <a:pt x="9553065" y="610961"/>
                  <a:pt x="9553065" y="629440"/>
                </a:cubicBezTo>
                <a:cubicBezTo>
                  <a:pt x="9553065" y="647919"/>
                  <a:pt x="9536896" y="664088"/>
                  <a:pt x="9518417" y="664088"/>
                </a:cubicBezTo>
                <a:cubicBezTo>
                  <a:pt x="9499938" y="664088"/>
                  <a:pt x="9483769" y="647919"/>
                  <a:pt x="9483769" y="629440"/>
                </a:cubicBezTo>
                <a:cubicBezTo>
                  <a:pt x="9483769" y="610961"/>
                  <a:pt x="9498784" y="594792"/>
                  <a:pt x="9518417" y="594792"/>
                </a:cubicBezTo>
                <a:close/>
                <a:moveTo>
                  <a:pt x="8977304" y="594792"/>
                </a:moveTo>
                <a:cubicBezTo>
                  <a:pt x="8995783" y="594792"/>
                  <a:pt x="9011952" y="610961"/>
                  <a:pt x="9011952" y="629440"/>
                </a:cubicBezTo>
                <a:cubicBezTo>
                  <a:pt x="9011952" y="647919"/>
                  <a:pt x="8996938" y="664088"/>
                  <a:pt x="8977304" y="664088"/>
                </a:cubicBezTo>
                <a:cubicBezTo>
                  <a:pt x="8958825" y="664088"/>
                  <a:pt x="8942656" y="647919"/>
                  <a:pt x="8942656" y="629440"/>
                </a:cubicBezTo>
                <a:cubicBezTo>
                  <a:pt x="8942656" y="610961"/>
                  <a:pt x="8957670" y="594792"/>
                  <a:pt x="8977304" y="594792"/>
                </a:cubicBezTo>
                <a:close/>
                <a:moveTo>
                  <a:pt x="8434485" y="594792"/>
                </a:moveTo>
                <a:cubicBezTo>
                  <a:pt x="8454118" y="594792"/>
                  <a:pt x="8469133" y="610961"/>
                  <a:pt x="8469133" y="629440"/>
                </a:cubicBezTo>
                <a:cubicBezTo>
                  <a:pt x="8469133" y="647919"/>
                  <a:pt x="8454118" y="664088"/>
                  <a:pt x="8434485" y="664088"/>
                </a:cubicBezTo>
                <a:cubicBezTo>
                  <a:pt x="8416006" y="664088"/>
                  <a:pt x="8399837" y="647919"/>
                  <a:pt x="8399837" y="629440"/>
                </a:cubicBezTo>
                <a:cubicBezTo>
                  <a:pt x="8399837" y="610961"/>
                  <a:pt x="8414851" y="594792"/>
                  <a:pt x="8434485" y="594792"/>
                </a:cubicBezTo>
                <a:close/>
                <a:moveTo>
                  <a:pt x="6674366" y="594792"/>
                </a:moveTo>
                <a:cubicBezTo>
                  <a:pt x="6692845" y="594792"/>
                  <a:pt x="6709014" y="610961"/>
                  <a:pt x="6709014" y="629440"/>
                </a:cubicBezTo>
                <a:cubicBezTo>
                  <a:pt x="6709014" y="647919"/>
                  <a:pt x="6692845" y="664088"/>
                  <a:pt x="6674366" y="664088"/>
                </a:cubicBezTo>
                <a:cubicBezTo>
                  <a:pt x="6655888" y="664088"/>
                  <a:pt x="6639717" y="647919"/>
                  <a:pt x="6639717" y="629440"/>
                </a:cubicBezTo>
                <a:cubicBezTo>
                  <a:pt x="6639717" y="610961"/>
                  <a:pt x="6654732" y="594792"/>
                  <a:pt x="6674366" y="594792"/>
                </a:cubicBezTo>
                <a:close/>
                <a:moveTo>
                  <a:pt x="5589882" y="594792"/>
                </a:moveTo>
                <a:cubicBezTo>
                  <a:pt x="5609516" y="594792"/>
                  <a:pt x="5624531" y="610961"/>
                  <a:pt x="5624531" y="629440"/>
                </a:cubicBezTo>
                <a:cubicBezTo>
                  <a:pt x="5624531" y="647919"/>
                  <a:pt x="5609516" y="664088"/>
                  <a:pt x="5589882" y="664088"/>
                </a:cubicBezTo>
                <a:cubicBezTo>
                  <a:pt x="5571403" y="664088"/>
                  <a:pt x="5555234" y="647919"/>
                  <a:pt x="5555234" y="629440"/>
                </a:cubicBezTo>
                <a:cubicBezTo>
                  <a:pt x="5555234" y="610961"/>
                  <a:pt x="5570250" y="594792"/>
                  <a:pt x="5589882" y="594792"/>
                </a:cubicBezTo>
                <a:close/>
                <a:moveTo>
                  <a:pt x="4913091" y="594792"/>
                </a:moveTo>
                <a:cubicBezTo>
                  <a:pt x="4931569" y="594792"/>
                  <a:pt x="4947739" y="610961"/>
                  <a:pt x="4947739" y="629440"/>
                </a:cubicBezTo>
                <a:cubicBezTo>
                  <a:pt x="4947739" y="647919"/>
                  <a:pt x="4932726" y="664088"/>
                  <a:pt x="4913091" y="664088"/>
                </a:cubicBezTo>
                <a:cubicBezTo>
                  <a:pt x="4894612" y="664088"/>
                  <a:pt x="4878443" y="647919"/>
                  <a:pt x="4878443" y="629440"/>
                </a:cubicBezTo>
                <a:cubicBezTo>
                  <a:pt x="4878443" y="610961"/>
                  <a:pt x="4893458" y="594792"/>
                  <a:pt x="4913091" y="594792"/>
                </a:cubicBezTo>
                <a:close/>
                <a:moveTo>
                  <a:pt x="4364498" y="594792"/>
                </a:moveTo>
                <a:cubicBezTo>
                  <a:pt x="4382977" y="594792"/>
                  <a:pt x="4399146" y="610961"/>
                  <a:pt x="4399146" y="629440"/>
                </a:cubicBezTo>
                <a:cubicBezTo>
                  <a:pt x="4399146" y="647919"/>
                  <a:pt x="4384131" y="664088"/>
                  <a:pt x="4364498" y="664088"/>
                </a:cubicBezTo>
                <a:cubicBezTo>
                  <a:pt x="4346018" y="664088"/>
                  <a:pt x="4329850" y="647919"/>
                  <a:pt x="4329850" y="629440"/>
                </a:cubicBezTo>
                <a:cubicBezTo>
                  <a:pt x="4329850" y="610961"/>
                  <a:pt x="4344863" y="594792"/>
                  <a:pt x="4364498" y="594792"/>
                </a:cubicBezTo>
                <a:close/>
                <a:moveTo>
                  <a:pt x="3821678" y="594792"/>
                </a:moveTo>
                <a:cubicBezTo>
                  <a:pt x="3841311" y="594792"/>
                  <a:pt x="3856326" y="610961"/>
                  <a:pt x="3856326" y="629440"/>
                </a:cubicBezTo>
                <a:cubicBezTo>
                  <a:pt x="3856326" y="647919"/>
                  <a:pt x="3841311" y="664088"/>
                  <a:pt x="3821678" y="664088"/>
                </a:cubicBezTo>
                <a:cubicBezTo>
                  <a:pt x="3803199" y="664088"/>
                  <a:pt x="3787030" y="647919"/>
                  <a:pt x="3787030" y="629440"/>
                </a:cubicBezTo>
                <a:cubicBezTo>
                  <a:pt x="3787030" y="610961"/>
                  <a:pt x="3802045" y="594792"/>
                  <a:pt x="3821678" y="594792"/>
                </a:cubicBezTo>
                <a:close/>
                <a:moveTo>
                  <a:pt x="2061558" y="594792"/>
                </a:moveTo>
                <a:cubicBezTo>
                  <a:pt x="2080037" y="594792"/>
                  <a:pt x="2096206" y="610961"/>
                  <a:pt x="2096206" y="629440"/>
                </a:cubicBezTo>
                <a:cubicBezTo>
                  <a:pt x="2096206" y="647919"/>
                  <a:pt x="2081192" y="664088"/>
                  <a:pt x="2061558" y="664088"/>
                </a:cubicBezTo>
                <a:cubicBezTo>
                  <a:pt x="2043080" y="664088"/>
                  <a:pt x="2026910" y="647919"/>
                  <a:pt x="2026910" y="629440"/>
                </a:cubicBezTo>
                <a:cubicBezTo>
                  <a:pt x="2026910" y="610961"/>
                  <a:pt x="2041924" y="594792"/>
                  <a:pt x="2061558" y="594792"/>
                </a:cubicBezTo>
                <a:close/>
                <a:moveTo>
                  <a:pt x="977075" y="594792"/>
                </a:moveTo>
                <a:cubicBezTo>
                  <a:pt x="996709" y="594792"/>
                  <a:pt x="1011723" y="610961"/>
                  <a:pt x="1011723" y="629440"/>
                </a:cubicBezTo>
                <a:cubicBezTo>
                  <a:pt x="1011723" y="647919"/>
                  <a:pt x="995554" y="664088"/>
                  <a:pt x="977075" y="664088"/>
                </a:cubicBezTo>
                <a:cubicBezTo>
                  <a:pt x="958596" y="664088"/>
                  <a:pt x="942427" y="647919"/>
                  <a:pt x="942427" y="629440"/>
                </a:cubicBezTo>
                <a:cubicBezTo>
                  <a:pt x="942427" y="610961"/>
                  <a:pt x="957441" y="594792"/>
                  <a:pt x="977075" y="594792"/>
                </a:cubicBezTo>
                <a:close/>
                <a:moveTo>
                  <a:pt x="300283" y="594792"/>
                </a:moveTo>
                <a:cubicBezTo>
                  <a:pt x="318762" y="594792"/>
                  <a:pt x="334931" y="610961"/>
                  <a:pt x="334931" y="629440"/>
                </a:cubicBezTo>
                <a:cubicBezTo>
                  <a:pt x="334931" y="647919"/>
                  <a:pt x="318762" y="664088"/>
                  <a:pt x="300283" y="664088"/>
                </a:cubicBezTo>
                <a:cubicBezTo>
                  <a:pt x="281804" y="664088"/>
                  <a:pt x="265635" y="647919"/>
                  <a:pt x="265635" y="629440"/>
                </a:cubicBezTo>
                <a:cubicBezTo>
                  <a:pt x="265635" y="610961"/>
                  <a:pt x="280650" y="594792"/>
                  <a:pt x="300283" y="594792"/>
                </a:cubicBezTo>
                <a:close/>
                <a:moveTo>
                  <a:pt x="11143410" y="589016"/>
                </a:moveTo>
                <a:cubicBezTo>
                  <a:pt x="11166509" y="589016"/>
                  <a:pt x="11183832" y="607495"/>
                  <a:pt x="11183832" y="629440"/>
                </a:cubicBezTo>
                <a:cubicBezTo>
                  <a:pt x="11183832" y="651383"/>
                  <a:pt x="11165353" y="669862"/>
                  <a:pt x="11143410" y="669862"/>
                </a:cubicBezTo>
                <a:cubicBezTo>
                  <a:pt x="11121466" y="669862"/>
                  <a:pt x="11102987" y="651383"/>
                  <a:pt x="11102987" y="629440"/>
                </a:cubicBezTo>
                <a:cubicBezTo>
                  <a:pt x="11102987" y="607495"/>
                  <a:pt x="11121466" y="589016"/>
                  <a:pt x="11143410" y="589016"/>
                </a:cubicBezTo>
                <a:close/>
                <a:moveTo>
                  <a:pt x="10873155" y="589016"/>
                </a:moveTo>
                <a:cubicBezTo>
                  <a:pt x="10895098" y="589016"/>
                  <a:pt x="10913577" y="607495"/>
                  <a:pt x="10913577" y="629440"/>
                </a:cubicBezTo>
                <a:cubicBezTo>
                  <a:pt x="10913577" y="651383"/>
                  <a:pt x="10895098" y="669862"/>
                  <a:pt x="10873155" y="669862"/>
                </a:cubicBezTo>
                <a:cubicBezTo>
                  <a:pt x="10851211" y="669862"/>
                  <a:pt x="10832732" y="651383"/>
                  <a:pt x="10832732" y="629440"/>
                </a:cubicBezTo>
                <a:cubicBezTo>
                  <a:pt x="10832732" y="607495"/>
                  <a:pt x="10851211" y="589016"/>
                  <a:pt x="10873155" y="589016"/>
                </a:cubicBezTo>
                <a:close/>
                <a:moveTo>
                  <a:pt x="10060082" y="589016"/>
                </a:moveTo>
                <a:cubicBezTo>
                  <a:pt x="10082025" y="589016"/>
                  <a:pt x="10100504" y="607495"/>
                  <a:pt x="10100504" y="629440"/>
                </a:cubicBezTo>
                <a:cubicBezTo>
                  <a:pt x="10100504" y="651383"/>
                  <a:pt x="10082025" y="669862"/>
                  <a:pt x="10060082" y="669862"/>
                </a:cubicBezTo>
                <a:cubicBezTo>
                  <a:pt x="10038137" y="669862"/>
                  <a:pt x="10019658" y="651383"/>
                  <a:pt x="10019658" y="629440"/>
                </a:cubicBezTo>
                <a:cubicBezTo>
                  <a:pt x="10019658" y="607495"/>
                  <a:pt x="10038137" y="589016"/>
                  <a:pt x="10060082" y="589016"/>
                </a:cubicBezTo>
                <a:close/>
                <a:moveTo>
                  <a:pt x="9653545" y="589016"/>
                </a:moveTo>
                <a:cubicBezTo>
                  <a:pt x="9675488" y="589016"/>
                  <a:pt x="9693967" y="607495"/>
                  <a:pt x="9693967" y="629440"/>
                </a:cubicBezTo>
                <a:cubicBezTo>
                  <a:pt x="9693967" y="651383"/>
                  <a:pt x="9675488" y="669862"/>
                  <a:pt x="9653545" y="669862"/>
                </a:cubicBezTo>
                <a:cubicBezTo>
                  <a:pt x="9631600" y="669862"/>
                  <a:pt x="9613122" y="651383"/>
                  <a:pt x="9613122" y="629440"/>
                </a:cubicBezTo>
                <a:cubicBezTo>
                  <a:pt x="9613122" y="607495"/>
                  <a:pt x="9631600" y="589016"/>
                  <a:pt x="9653545" y="589016"/>
                </a:cubicBezTo>
                <a:close/>
                <a:moveTo>
                  <a:pt x="8841022" y="589016"/>
                </a:moveTo>
                <a:cubicBezTo>
                  <a:pt x="8864121" y="589016"/>
                  <a:pt x="8881444" y="607495"/>
                  <a:pt x="8881444" y="629440"/>
                </a:cubicBezTo>
                <a:cubicBezTo>
                  <a:pt x="8881444" y="651383"/>
                  <a:pt x="8862965" y="669862"/>
                  <a:pt x="8841022" y="669862"/>
                </a:cubicBezTo>
                <a:cubicBezTo>
                  <a:pt x="8819078" y="669862"/>
                  <a:pt x="8800599" y="651383"/>
                  <a:pt x="8800599" y="629440"/>
                </a:cubicBezTo>
                <a:cubicBezTo>
                  <a:pt x="8800599" y="607495"/>
                  <a:pt x="8819078" y="589016"/>
                  <a:pt x="8841022" y="589016"/>
                </a:cubicBezTo>
                <a:close/>
                <a:moveTo>
                  <a:pt x="8570767" y="589016"/>
                </a:moveTo>
                <a:cubicBezTo>
                  <a:pt x="8592711" y="589016"/>
                  <a:pt x="8611190" y="607495"/>
                  <a:pt x="8611190" y="629440"/>
                </a:cubicBezTo>
                <a:cubicBezTo>
                  <a:pt x="8611190" y="651383"/>
                  <a:pt x="8592711" y="669862"/>
                  <a:pt x="8570767" y="669862"/>
                </a:cubicBezTo>
                <a:cubicBezTo>
                  <a:pt x="8548823" y="669862"/>
                  <a:pt x="8530344" y="651383"/>
                  <a:pt x="8530344" y="629440"/>
                </a:cubicBezTo>
                <a:cubicBezTo>
                  <a:pt x="8530344" y="607495"/>
                  <a:pt x="8548823" y="589016"/>
                  <a:pt x="8570767" y="589016"/>
                </a:cubicBezTo>
                <a:close/>
                <a:moveTo>
                  <a:pt x="6538083" y="589016"/>
                </a:moveTo>
                <a:cubicBezTo>
                  <a:pt x="6561183" y="589016"/>
                  <a:pt x="6578507" y="607495"/>
                  <a:pt x="6578507" y="629440"/>
                </a:cubicBezTo>
                <a:cubicBezTo>
                  <a:pt x="6578507" y="651383"/>
                  <a:pt x="6560028" y="669862"/>
                  <a:pt x="6538083" y="669862"/>
                </a:cubicBezTo>
                <a:cubicBezTo>
                  <a:pt x="6516139" y="669862"/>
                  <a:pt x="6497661" y="651383"/>
                  <a:pt x="6497661" y="629440"/>
                </a:cubicBezTo>
                <a:cubicBezTo>
                  <a:pt x="6497661" y="607495"/>
                  <a:pt x="6516139" y="589016"/>
                  <a:pt x="6538083" y="589016"/>
                </a:cubicBezTo>
                <a:close/>
                <a:moveTo>
                  <a:pt x="6267830" y="589016"/>
                </a:moveTo>
                <a:cubicBezTo>
                  <a:pt x="6289772" y="589016"/>
                  <a:pt x="6308251" y="607495"/>
                  <a:pt x="6308251" y="629440"/>
                </a:cubicBezTo>
                <a:cubicBezTo>
                  <a:pt x="6308251" y="651383"/>
                  <a:pt x="6289772" y="669862"/>
                  <a:pt x="6267830" y="669862"/>
                </a:cubicBezTo>
                <a:cubicBezTo>
                  <a:pt x="6245885" y="669862"/>
                  <a:pt x="6227406" y="651383"/>
                  <a:pt x="6227406" y="629440"/>
                </a:cubicBezTo>
                <a:cubicBezTo>
                  <a:pt x="6227406" y="607495"/>
                  <a:pt x="6245885" y="589016"/>
                  <a:pt x="6267830" y="589016"/>
                </a:cubicBezTo>
                <a:close/>
                <a:moveTo>
                  <a:pt x="5454756" y="589016"/>
                </a:moveTo>
                <a:cubicBezTo>
                  <a:pt x="5476698" y="589016"/>
                  <a:pt x="5495178" y="607495"/>
                  <a:pt x="5495178" y="629440"/>
                </a:cubicBezTo>
                <a:cubicBezTo>
                  <a:pt x="5495178" y="651383"/>
                  <a:pt x="5476698" y="669862"/>
                  <a:pt x="5454756" y="669862"/>
                </a:cubicBezTo>
                <a:cubicBezTo>
                  <a:pt x="5432812" y="669862"/>
                  <a:pt x="5414332" y="651383"/>
                  <a:pt x="5414332" y="629440"/>
                </a:cubicBezTo>
                <a:cubicBezTo>
                  <a:pt x="5414332" y="607495"/>
                  <a:pt x="5432812" y="589016"/>
                  <a:pt x="5454756" y="589016"/>
                </a:cubicBezTo>
                <a:close/>
                <a:moveTo>
                  <a:pt x="5048218" y="589016"/>
                </a:moveTo>
                <a:cubicBezTo>
                  <a:pt x="5070162" y="589016"/>
                  <a:pt x="5088641" y="607495"/>
                  <a:pt x="5088641" y="629440"/>
                </a:cubicBezTo>
                <a:cubicBezTo>
                  <a:pt x="5088641" y="651383"/>
                  <a:pt x="5070162" y="669862"/>
                  <a:pt x="5048218" y="669862"/>
                </a:cubicBezTo>
                <a:cubicBezTo>
                  <a:pt x="5026274" y="669862"/>
                  <a:pt x="5007796" y="651383"/>
                  <a:pt x="5007796" y="629440"/>
                </a:cubicBezTo>
                <a:cubicBezTo>
                  <a:pt x="5007796" y="607495"/>
                  <a:pt x="5026274" y="589016"/>
                  <a:pt x="5048218" y="589016"/>
                </a:cubicBezTo>
                <a:close/>
                <a:moveTo>
                  <a:pt x="4228216" y="589016"/>
                </a:moveTo>
                <a:cubicBezTo>
                  <a:pt x="4251315" y="589016"/>
                  <a:pt x="4268637" y="607495"/>
                  <a:pt x="4268637" y="629440"/>
                </a:cubicBezTo>
                <a:cubicBezTo>
                  <a:pt x="4268637" y="651383"/>
                  <a:pt x="4250159" y="669862"/>
                  <a:pt x="4228216" y="669862"/>
                </a:cubicBezTo>
                <a:cubicBezTo>
                  <a:pt x="4206271" y="669862"/>
                  <a:pt x="4187792" y="651383"/>
                  <a:pt x="4187792" y="629440"/>
                </a:cubicBezTo>
                <a:cubicBezTo>
                  <a:pt x="4187792" y="607495"/>
                  <a:pt x="4206271" y="589016"/>
                  <a:pt x="4228216" y="589016"/>
                </a:cubicBezTo>
                <a:close/>
                <a:moveTo>
                  <a:pt x="3957960" y="589016"/>
                </a:moveTo>
                <a:cubicBezTo>
                  <a:pt x="3979904" y="589016"/>
                  <a:pt x="3998382" y="607495"/>
                  <a:pt x="3998382" y="629440"/>
                </a:cubicBezTo>
                <a:cubicBezTo>
                  <a:pt x="3998382" y="651383"/>
                  <a:pt x="3979904" y="669862"/>
                  <a:pt x="3957960" y="669862"/>
                </a:cubicBezTo>
                <a:cubicBezTo>
                  <a:pt x="3936016" y="669862"/>
                  <a:pt x="3917537" y="651383"/>
                  <a:pt x="3917537" y="629440"/>
                </a:cubicBezTo>
                <a:cubicBezTo>
                  <a:pt x="3917537" y="607495"/>
                  <a:pt x="3936016" y="589016"/>
                  <a:pt x="3957960" y="589016"/>
                </a:cubicBezTo>
                <a:close/>
                <a:moveTo>
                  <a:pt x="1925276" y="589016"/>
                </a:moveTo>
                <a:cubicBezTo>
                  <a:pt x="1948375" y="589016"/>
                  <a:pt x="1965698" y="607495"/>
                  <a:pt x="1965698" y="629440"/>
                </a:cubicBezTo>
                <a:cubicBezTo>
                  <a:pt x="1965698" y="651383"/>
                  <a:pt x="1947219" y="669862"/>
                  <a:pt x="1925276" y="669862"/>
                </a:cubicBezTo>
                <a:cubicBezTo>
                  <a:pt x="1903332" y="669862"/>
                  <a:pt x="1884853" y="651383"/>
                  <a:pt x="1884853" y="629440"/>
                </a:cubicBezTo>
                <a:cubicBezTo>
                  <a:pt x="1884853" y="607495"/>
                  <a:pt x="1903332" y="589016"/>
                  <a:pt x="1925276" y="589016"/>
                </a:cubicBezTo>
                <a:close/>
                <a:moveTo>
                  <a:pt x="1655022" y="589016"/>
                </a:moveTo>
                <a:cubicBezTo>
                  <a:pt x="1676965" y="589016"/>
                  <a:pt x="1695444" y="607495"/>
                  <a:pt x="1695444" y="629440"/>
                </a:cubicBezTo>
                <a:cubicBezTo>
                  <a:pt x="1695444" y="651383"/>
                  <a:pt x="1676965" y="669862"/>
                  <a:pt x="1655022" y="669862"/>
                </a:cubicBezTo>
                <a:cubicBezTo>
                  <a:pt x="1633077" y="669862"/>
                  <a:pt x="1614598" y="651383"/>
                  <a:pt x="1614598" y="629440"/>
                </a:cubicBezTo>
                <a:cubicBezTo>
                  <a:pt x="1614598" y="607495"/>
                  <a:pt x="1633077" y="589016"/>
                  <a:pt x="1655022" y="589016"/>
                </a:cubicBezTo>
                <a:close/>
                <a:moveTo>
                  <a:pt x="841948" y="589016"/>
                </a:moveTo>
                <a:cubicBezTo>
                  <a:pt x="863891" y="589016"/>
                  <a:pt x="882370" y="607495"/>
                  <a:pt x="882370" y="629440"/>
                </a:cubicBezTo>
                <a:cubicBezTo>
                  <a:pt x="882370" y="651383"/>
                  <a:pt x="863891" y="669862"/>
                  <a:pt x="841948" y="669862"/>
                </a:cubicBezTo>
                <a:cubicBezTo>
                  <a:pt x="820004" y="669862"/>
                  <a:pt x="801525" y="651383"/>
                  <a:pt x="801525" y="629440"/>
                </a:cubicBezTo>
                <a:cubicBezTo>
                  <a:pt x="801525" y="607495"/>
                  <a:pt x="820004" y="589016"/>
                  <a:pt x="841948" y="589016"/>
                </a:cubicBezTo>
                <a:close/>
                <a:moveTo>
                  <a:pt x="435411" y="589016"/>
                </a:moveTo>
                <a:cubicBezTo>
                  <a:pt x="457354" y="589016"/>
                  <a:pt x="475833" y="607495"/>
                  <a:pt x="475833" y="629440"/>
                </a:cubicBezTo>
                <a:cubicBezTo>
                  <a:pt x="475833" y="651383"/>
                  <a:pt x="457354" y="669862"/>
                  <a:pt x="435411" y="669862"/>
                </a:cubicBezTo>
                <a:cubicBezTo>
                  <a:pt x="413467" y="669862"/>
                  <a:pt x="394988" y="651383"/>
                  <a:pt x="394988" y="629440"/>
                </a:cubicBezTo>
                <a:cubicBezTo>
                  <a:pt x="394988" y="607495"/>
                  <a:pt x="413467" y="589016"/>
                  <a:pt x="435411" y="589016"/>
                </a:cubicBezTo>
                <a:close/>
                <a:moveTo>
                  <a:pt x="11008282" y="577467"/>
                </a:moveTo>
                <a:cubicBezTo>
                  <a:pt x="11036000" y="577467"/>
                  <a:pt x="11059099" y="600566"/>
                  <a:pt x="11059099" y="628284"/>
                </a:cubicBezTo>
                <a:cubicBezTo>
                  <a:pt x="11059099" y="656002"/>
                  <a:pt x="11037156" y="679101"/>
                  <a:pt x="11008282" y="679101"/>
                </a:cubicBezTo>
                <a:cubicBezTo>
                  <a:pt x="10980564" y="679101"/>
                  <a:pt x="10957465" y="656002"/>
                  <a:pt x="10957465" y="628284"/>
                </a:cubicBezTo>
                <a:cubicBezTo>
                  <a:pt x="10957465" y="600566"/>
                  <a:pt x="10979409" y="577467"/>
                  <a:pt x="11008282" y="577467"/>
                </a:cubicBezTo>
                <a:close/>
                <a:moveTo>
                  <a:pt x="9924954" y="577467"/>
                </a:moveTo>
                <a:cubicBezTo>
                  <a:pt x="9952672" y="577467"/>
                  <a:pt x="9975771" y="600566"/>
                  <a:pt x="9975771" y="628284"/>
                </a:cubicBezTo>
                <a:cubicBezTo>
                  <a:pt x="9975771" y="656002"/>
                  <a:pt x="9953828" y="679101"/>
                  <a:pt x="9924954" y="679101"/>
                </a:cubicBezTo>
                <a:cubicBezTo>
                  <a:pt x="9897235" y="679101"/>
                  <a:pt x="9874137" y="656002"/>
                  <a:pt x="9874137" y="628284"/>
                </a:cubicBezTo>
                <a:cubicBezTo>
                  <a:pt x="9874137" y="600566"/>
                  <a:pt x="9896081" y="577467"/>
                  <a:pt x="9924954" y="577467"/>
                </a:cubicBezTo>
                <a:close/>
                <a:moveTo>
                  <a:pt x="9788672" y="577467"/>
                </a:moveTo>
                <a:cubicBezTo>
                  <a:pt x="9817545" y="577467"/>
                  <a:pt x="9839489" y="601721"/>
                  <a:pt x="9839489" y="629440"/>
                </a:cubicBezTo>
                <a:cubicBezTo>
                  <a:pt x="9839489" y="657158"/>
                  <a:pt x="9816390" y="680257"/>
                  <a:pt x="9788672" y="680257"/>
                </a:cubicBezTo>
                <a:cubicBezTo>
                  <a:pt x="9760953" y="680257"/>
                  <a:pt x="9737854" y="658312"/>
                  <a:pt x="9737854" y="629440"/>
                </a:cubicBezTo>
                <a:cubicBezTo>
                  <a:pt x="9737854" y="600566"/>
                  <a:pt x="9760953" y="577467"/>
                  <a:pt x="9788672" y="577467"/>
                </a:cubicBezTo>
                <a:close/>
                <a:moveTo>
                  <a:pt x="8705894" y="577467"/>
                </a:moveTo>
                <a:cubicBezTo>
                  <a:pt x="8733613" y="577467"/>
                  <a:pt x="8756711" y="600566"/>
                  <a:pt x="8756711" y="628284"/>
                </a:cubicBezTo>
                <a:cubicBezTo>
                  <a:pt x="8756711" y="656002"/>
                  <a:pt x="8733613" y="679101"/>
                  <a:pt x="8705894" y="679101"/>
                </a:cubicBezTo>
                <a:cubicBezTo>
                  <a:pt x="8678176" y="679101"/>
                  <a:pt x="8655077" y="656002"/>
                  <a:pt x="8655077" y="628284"/>
                </a:cubicBezTo>
                <a:cubicBezTo>
                  <a:pt x="8655077" y="600566"/>
                  <a:pt x="8677021" y="577467"/>
                  <a:pt x="8705894" y="577467"/>
                </a:cubicBezTo>
                <a:close/>
                <a:moveTo>
                  <a:pt x="6402956" y="577467"/>
                </a:moveTo>
                <a:cubicBezTo>
                  <a:pt x="6431830" y="577467"/>
                  <a:pt x="6453773" y="600566"/>
                  <a:pt x="6453773" y="628284"/>
                </a:cubicBezTo>
                <a:cubicBezTo>
                  <a:pt x="6453773" y="656002"/>
                  <a:pt x="6431830" y="679101"/>
                  <a:pt x="6402956" y="679101"/>
                </a:cubicBezTo>
                <a:cubicBezTo>
                  <a:pt x="6375237" y="679101"/>
                  <a:pt x="6352139" y="656002"/>
                  <a:pt x="6352139" y="628284"/>
                </a:cubicBezTo>
                <a:cubicBezTo>
                  <a:pt x="6352139" y="600566"/>
                  <a:pt x="6374084" y="577467"/>
                  <a:pt x="6402956" y="577467"/>
                </a:cubicBezTo>
                <a:close/>
                <a:moveTo>
                  <a:pt x="5319627" y="577467"/>
                </a:moveTo>
                <a:cubicBezTo>
                  <a:pt x="5347347" y="577467"/>
                  <a:pt x="5370444" y="600566"/>
                  <a:pt x="5370444" y="628284"/>
                </a:cubicBezTo>
                <a:cubicBezTo>
                  <a:pt x="5370444" y="656002"/>
                  <a:pt x="5347347" y="679101"/>
                  <a:pt x="5319627" y="679101"/>
                </a:cubicBezTo>
                <a:cubicBezTo>
                  <a:pt x="5291910" y="679101"/>
                  <a:pt x="5268810" y="656002"/>
                  <a:pt x="5268810" y="628284"/>
                </a:cubicBezTo>
                <a:cubicBezTo>
                  <a:pt x="5268810" y="600566"/>
                  <a:pt x="5290756" y="577467"/>
                  <a:pt x="5319627" y="577467"/>
                </a:cubicBezTo>
                <a:close/>
                <a:moveTo>
                  <a:pt x="5183345" y="577467"/>
                </a:moveTo>
                <a:cubicBezTo>
                  <a:pt x="5212220" y="577467"/>
                  <a:pt x="5234162" y="600566"/>
                  <a:pt x="5234162" y="628284"/>
                </a:cubicBezTo>
                <a:cubicBezTo>
                  <a:pt x="5234162" y="656002"/>
                  <a:pt x="5211064" y="679101"/>
                  <a:pt x="5183345" y="679101"/>
                </a:cubicBezTo>
                <a:cubicBezTo>
                  <a:pt x="5155627" y="679101"/>
                  <a:pt x="5132528" y="656002"/>
                  <a:pt x="5132528" y="628284"/>
                </a:cubicBezTo>
                <a:cubicBezTo>
                  <a:pt x="5132528" y="600566"/>
                  <a:pt x="5154472" y="577467"/>
                  <a:pt x="5183345" y="577467"/>
                </a:cubicBezTo>
                <a:close/>
                <a:moveTo>
                  <a:pt x="4093087" y="577467"/>
                </a:moveTo>
                <a:cubicBezTo>
                  <a:pt x="4120806" y="577467"/>
                  <a:pt x="4143904" y="600566"/>
                  <a:pt x="4143904" y="628284"/>
                </a:cubicBezTo>
                <a:cubicBezTo>
                  <a:pt x="4143904" y="656002"/>
                  <a:pt x="4120806" y="679101"/>
                  <a:pt x="4093087" y="679101"/>
                </a:cubicBezTo>
                <a:cubicBezTo>
                  <a:pt x="4065369" y="679101"/>
                  <a:pt x="4042270" y="656002"/>
                  <a:pt x="4042270" y="628284"/>
                </a:cubicBezTo>
                <a:cubicBezTo>
                  <a:pt x="4042270" y="600566"/>
                  <a:pt x="4064214" y="577467"/>
                  <a:pt x="4093087" y="577467"/>
                </a:cubicBezTo>
                <a:close/>
                <a:moveTo>
                  <a:pt x="1790148" y="577467"/>
                </a:moveTo>
                <a:cubicBezTo>
                  <a:pt x="1817867" y="577467"/>
                  <a:pt x="1840965" y="600566"/>
                  <a:pt x="1840965" y="628284"/>
                </a:cubicBezTo>
                <a:cubicBezTo>
                  <a:pt x="1840965" y="656002"/>
                  <a:pt x="1819022" y="679101"/>
                  <a:pt x="1790148" y="679101"/>
                </a:cubicBezTo>
                <a:cubicBezTo>
                  <a:pt x="1762430" y="679101"/>
                  <a:pt x="1739331" y="656002"/>
                  <a:pt x="1739331" y="628284"/>
                </a:cubicBezTo>
                <a:cubicBezTo>
                  <a:pt x="1739331" y="600566"/>
                  <a:pt x="1761275" y="577467"/>
                  <a:pt x="1790148" y="577467"/>
                </a:cubicBezTo>
                <a:close/>
                <a:moveTo>
                  <a:pt x="706820" y="577467"/>
                </a:moveTo>
                <a:cubicBezTo>
                  <a:pt x="734538" y="577467"/>
                  <a:pt x="757637" y="600566"/>
                  <a:pt x="757637" y="628284"/>
                </a:cubicBezTo>
                <a:cubicBezTo>
                  <a:pt x="757637" y="656002"/>
                  <a:pt x="735694" y="679101"/>
                  <a:pt x="706820" y="679101"/>
                </a:cubicBezTo>
                <a:cubicBezTo>
                  <a:pt x="679101" y="679101"/>
                  <a:pt x="656003" y="656002"/>
                  <a:pt x="656003" y="628284"/>
                </a:cubicBezTo>
                <a:cubicBezTo>
                  <a:pt x="656003" y="600566"/>
                  <a:pt x="677947" y="577467"/>
                  <a:pt x="706820" y="577467"/>
                </a:cubicBezTo>
                <a:close/>
                <a:moveTo>
                  <a:pt x="570538" y="577467"/>
                </a:moveTo>
                <a:cubicBezTo>
                  <a:pt x="599412" y="577467"/>
                  <a:pt x="621355" y="601721"/>
                  <a:pt x="621355" y="629440"/>
                </a:cubicBezTo>
                <a:cubicBezTo>
                  <a:pt x="621355" y="657158"/>
                  <a:pt x="598256" y="680257"/>
                  <a:pt x="570538" y="680257"/>
                </a:cubicBezTo>
                <a:cubicBezTo>
                  <a:pt x="542819" y="680257"/>
                  <a:pt x="519721" y="658312"/>
                  <a:pt x="519721" y="629440"/>
                </a:cubicBezTo>
                <a:cubicBezTo>
                  <a:pt x="519721" y="600566"/>
                  <a:pt x="542819" y="577467"/>
                  <a:pt x="570538" y="577467"/>
                </a:cubicBezTo>
                <a:close/>
                <a:moveTo>
                  <a:pt x="12180541" y="464284"/>
                </a:moveTo>
                <a:cubicBezTo>
                  <a:pt x="12192090" y="464284"/>
                  <a:pt x="12201330" y="473523"/>
                  <a:pt x="12201330" y="485072"/>
                </a:cubicBezTo>
                <a:cubicBezTo>
                  <a:pt x="12201330" y="496622"/>
                  <a:pt x="12192090" y="505861"/>
                  <a:pt x="12180541" y="505861"/>
                </a:cubicBezTo>
                <a:cubicBezTo>
                  <a:pt x="12168992" y="505861"/>
                  <a:pt x="12159752" y="496622"/>
                  <a:pt x="12159752" y="485072"/>
                </a:cubicBezTo>
                <a:cubicBezTo>
                  <a:pt x="12159752" y="473523"/>
                  <a:pt x="12168992" y="464284"/>
                  <a:pt x="12180541" y="464284"/>
                </a:cubicBezTo>
                <a:close/>
                <a:moveTo>
                  <a:pt x="12040793" y="464284"/>
                </a:moveTo>
                <a:cubicBezTo>
                  <a:pt x="12052342" y="464284"/>
                  <a:pt x="12061582" y="473523"/>
                  <a:pt x="12061582" y="485072"/>
                </a:cubicBezTo>
                <a:cubicBezTo>
                  <a:pt x="12061582" y="496622"/>
                  <a:pt x="12052342" y="505861"/>
                  <a:pt x="12040793" y="505861"/>
                </a:cubicBezTo>
                <a:cubicBezTo>
                  <a:pt x="12029244" y="505861"/>
                  <a:pt x="12020004" y="496622"/>
                  <a:pt x="12020004" y="485072"/>
                </a:cubicBezTo>
                <a:cubicBezTo>
                  <a:pt x="12020004" y="473523"/>
                  <a:pt x="12029244" y="464284"/>
                  <a:pt x="12040793" y="464284"/>
                </a:cubicBezTo>
                <a:close/>
                <a:moveTo>
                  <a:pt x="11901047" y="464284"/>
                </a:moveTo>
                <a:cubicBezTo>
                  <a:pt x="11912596" y="464284"/>
                  <a:pt x="11921836" y="473523"/>
                  <a:pt x="11921836" y="485072"/>
                </a:cubicBezTo>
                <a:cubicBezTo>
                  <a:pt x="11921836" y="496622"/>
                  <a:pt x="11912596" y="505861"/>
                  <a:pt x="11901047" y="505861"/>
                </a:cubicBezTo>
                <a:cubicBezTo>
                  <a:pt x="11889498" y="505861"/>
                  <a:pt x="11880258" y="496622"/>
                  <a:pt x="11880258" y="485072"/>
                </a:cubicBezTo>
                <a:cubicBezTo>
                  <a:pt x="11880258" y="473523"/>
                  <a:pt x="11889498" y="464284"/>
                  <a:pt x="11901047" y="464284"/>
                </a:cubicBezTo>
                <a:close/>
                <a:moveTo>
                  <a:pt x="11761299" y="464284"/>
                </a:moveTo>
                <a:cubicBezTo>
                  <a:pt x="11772848" y="464284"/>
                  <a:pt x="11782088" y="473523"/>
                  <a:pt x="11782088" y="485072"/>
                </a:cubicBezTo>
                <a:cubicBezTo>
                  <a:pt x="11782088" y="496622"/>
                  <a:pt x="11772848" y="505861"/>
                  <a:pt x="11761299" y="505861"/>
                </a:cubicBezTo>
                <a:cubicBezTo>
                  <a:pt x="11749750" y="505861"/>
                  <a:pt x="11740510" y="496622"/>
                  <a:pt x="11740510" y="485072"/>
                </a:cubicBezTo>
                <a:cubicBezTo>
                  <a:pt x="11740510" y="473523"/>
                  <a:pt x="11749750" y="464284"/>
                  <a:pt x="11761299" y="464284"/>
                </a:cubicBezTo>
                <a:close/>
                <a:moveTo>
                  <a:pt x="11621553" y="464284"/>
                </a:moveTo>
                <a:cubicBezTo>
                  <a:pt x="11633102" y="464284"/>
                  <a:pt x="11642342" y="473523"/>
                  <a:pt x="11642342" y="485072"/>
                </a:cubicBezTo>
                <a:cubicBezTo>
                  <a:pt x="11642342" y="496622"/>
                  <a:pt x="11633102" y="505861"/>
                  <a:pt x="11621553" y="505861"/>
                </a:cubicBezTo>
                <a:cubicBezTo>
                  <a:pt x="11610003" y="505861"/>
                  <a:pt x="11600764" y="496622"/>
                  <a:pt x="11600764" y="485072"/>
                </a:cubicBezTo>
                <a:cubicBezTo>
                  <a:pt x="11600764" y="473523"/>
                  <a:pt x="11610003" y="464284"/>
                  <a:pt x="11621553" y="464284"/>
                </a:cubicBezTo>
                <a:close/>
                <a:moveTo>
                  <a:pt x="11481805" y="464284"/>
                </a:moveTo>
                <a:cubicBezTo>
                  <a:pt x="11493354" y="464284"/>
                  <a:pt x="11502594" y="473523"/>
                  <a:pt x="11502594" y="485072"/>
                </a:cubicBezTo>
                <a:cubicBezTo>
                  <a:pt x="11502594" y="496622"/>
                  <a:pt x="11493354" y="505861"/>
                  <a:pt x="11481805" y="505861"/>
                </a:cubicBezTo>
                <a:cubicBezTo>
                  <a:pt x="11470256" y="505861"/>
                  <a:pt x="11461016" y="496622"/>
                  <a:pt x="11461016" y="485072"/>
                </a:cubicBezTo>
                <a:cubicBezTo>
                  <a:pt x="11461016" y="473523"/>
                  <a:pt x="11470256" y="464284"/>
                  <a:pt x="11481805" y="464284"/>
                </a:cubicBezTo>
                <a:close/>
                <a:moveTo>
                  <a:pt x="10644478" y="464284"/>
                </a:moveTo>
                <a:cubicBezTo>
                  <a:pt x="10656028" y="464284"/>
                  <a:pt x="10665267" y="473523"/>
                  <a:pt x="10665267" y="485072"/>
                </a:cubicBezTo>
                <a:cubicBezTo>
                  <a:pt x="10665267" y="496622"/>
                  <a:pt x="10656028" y="505861"/>
                  <a:pt x="10644478" y="505861"/>
                </a:cubicBezTo>
                <a:cubicBezTo>
                  <a:pt x="10632929" y="505861"/>
                  <a:pt x="10623690" y="496622"/>
                  <a:pt x="10623690" y="485072"/>
                </a:cubicBezTo>
                <a:cubicBezTo>
                  <a:pt x="10623690" y="473523"/>
                  <a:pt x="10632929" y="464284"/>
                  <a:pt x="10644478" y="464284"/>
                </a:cubicBezTo>
                <a:close/>
                <a:moveTo>
                  <a:pt x="10504731" y="464284"/>
                </a:moveTo>
                <a:cubicBezTo>
                  <a:pt x="10516280" y="464284"/>
                  <a:pt x="10525520" y="473523"/>
                  <a:pt x="10525520" y="485072"/>
                </a:cubicBezTo>
                <a:cubicBezTo>
                  <a:pt x="10525520" y="496622"/>
                  <a:pt x="10516280" y="505861"/>
                  <a:pt x="10504731" y="505861"/>
                </a:cubicBezTo>
                <a:cubicBezTo>
                  <a:pt x="10493181" y="505861"/>
                  <a:pt x="10483942" y="496622"/>
                  <a:pt x="10483942" y="485072"/>
                </a:cubicBezTo>
                <a:cubicBezTo>
                  <a:pt x="10483942" y="473523"/>
                  <a:pt x="10493181" y="464284"/>
                  <a:pt x="10504731" y="464284"/>
                </a:cubicBezTo>
                <a:close/>
                <a:moveTo>
                  <a:pt x="10364984" y="464284"/>
                </a:moveTo>
                <a:cubicBezTo>
                  <a:pt x="10376534" y="464284"/>
                  <a:pt x="10385773" y="473523"/>
                  <a:pt x="10385773" y="485072"/>
                </a:cubicBezTo>
                <a:cubicBezTo>
                  <a:pt x="10385773" y="496622"/>
                  <a:pt x="10376534" y="505861"/>
                  <a:pt x="10364984" y="505861"/>
                </a:cubicBezTo>
                <a:cubicBezTo>
                  <a:pt x="10353435" y="505861"/>
                  <a:pt x="10344196" y="496622"/>
                  <a:pt x="10344196" y="485072"/>
                </a:cubicBezTo>
                <a:cubicBezTo>
                  <a:pt x="10344196" y="473523"/>
                  <a:pt x="10353435" y="464284"/>
                  <a:pt x="10364984" y="464284"/>
                </a:cubicBezTo>
                <a:close/>
                <a:moveTo>
                  <a:pt x="7854709" y="464284"/>
                </a:moveTo>
                <a:cubicBezTo>
                  <a:pt x="7866258" y="464284"/>
                  <a:pt x="7875498" y="473523"/>
                  <a:pt x="7875498" y="485072"/>
                </a:cubicBezTo>
                <a:cubicBezTo>
                  <a:pt x="7875498" y="496622"/>
                  <a:pt x="7866258" y="505861"/>
                  <a:pt x="7854709" y="505861"/>
                </a:cubicBezTo>
                <a:cubicBezTo>
                  <a:pt x="7843160" y="505861"/>
                  <a:pt x="7833921" y="496622"/>
                  <a:pt x="7833921" y="485072"/>
                </a:cubicBezTo>
                <a:cubicBezTo>
                  <a:pt x="7833921" y="473523"/>
                  <a:pt x="7843160" y="464284"/>
                  <a:pt x="7854709" y="464284"/>
                </a:cubicBezTo>
                <a:close/>
                <a:moveTo>
                  <a:pt x="7714960" y="464284"/>
                </a:moveTo>
                <a:cubicBezTo>
                  <a:pt x="7726511" y="464284"/>
                  <a:pt x="7735749" y="473523"/>
                  <a:pt x="7735749" y="485072"/>
                </a:cubicBezTo>
                <a:cubicBezTo>
                  <a:pt x="7735749" y="496622"/>
                  <a:pt x="7726511" y="505861"/>
                  <a:pt x="7714960" y="505861"/>
                </a:cubicBezTo>
                <a:cubicBezTo>
                  <a:pt x="7703411" y="505861"/>
                  <a:pt x="7694172" y="496622"/>
                  <a:pt x="7694172" y="485072"/>
                </a:cubicBezTo>
                <a:cubicBezTo>
                  <a:pt x="7694172" y="473523"/>
                  <a:pt x="7703411" y="464284"/>
                  <a:pt x="7714960" y="464284"/>
                </a:cubicBezTo>
                <a:close/>
                <a:moveTo>
                  <a:pt x="7575214" y="464284"/>
                </a:moveTo>
                <a:cubicBezTo>
                  <a:pt x="7586765" y="464284"/>
                  <a:pt x="7596004" y="473523"/>
                  <a:pt x="7596004" y="485072"/>
                </a:cubicBezTo>
                <a:cubicBezTo>
                  <a:pt x="7596004" y="496622"/>
                  <a:pt x="7586765" y="505861"/>
                  <a:pt x="7575214" y="505861"/>
                </a:cubicBezTo>
                <a:cubicBezTo>
                  <a:pt x="7563665" y="505861"/>
                  <a:pt x="7554427" y="496622"/>
                  <a:pt x="7554427" y="485072"/>
                </a:cubicBezTo>
                <a:cubicBezTo>
                  <a:pt x="7554427" y="473523"/>
                  <a:pt x="7563665" y="464284"/>
                  <a:pt x="7575214" y="464284"/>
                </a:cubicBezTo>
                <a:close/>
                <a:moveTo>
                  <a:pt x="7435467" y="464284"/>
                </a:moveTo>
                <a:cubicBezTo>
                  <a:pt x="7447016" y="464284"/>
                  <a:pt x="7456257" y="473523"/>
                  <a:pt x="7456257" y="485072"/>
                </a:cubicBezTo>
                <a:cubicBezTo>
                  <a:pt x="7456257" y="496622"/>
                  <a:pt x="7447016" y="505861"/>
                  <a:pt x="7435467" y="505861"/>
                </a:cubicBezTo>
                <a:cubicBezTo>
                  <a:pt x="7423918" y="505861"/>
                  <a:pt x="7414678" y="496622"/>
                  <a:pt x="7414678" y="485072"/>
                </a:cubicBezTo>
                <a:cubicBezTo>
                  <a:pt x="7414678" y="473523"/>
                  <a:pt x="7423918" y="464284"/>
                  <a:pt x="7435467" y="464284"/>
                </a:cubicBezTo>
                <a:close/>
                <a:moveTo>
                  <a:pt x="7295720" y="464284"/>
                </a:moveTo>
                <a:cubicBezTo>
                  <a:pt x="7307271" y="464284"/>
                  <a:pt x="7316509" y="473523"/>
                  <a:pt x="7316509" y="485072"/>
                </a:cubicBezTo>
                <a:cubicBezTo>
                  <a:pt x="7316509" y="496622"/>
                  <a:pt x="7307271" y="505861"/>
                  <a:pt x="7295720" y="505861"/>
                </a:cubicBezTo>
                <a:cubicBezTo>
                  <a:pt x="7284172" y="505861"/>
                  <a:pt x="7274932" y="496622"/>
                  <a:pt x="7274932" y="485072"/>
                </a:cubicBezTo>
                <a:cubicBezTo>
                  <a:pt x="7274932" y="473523"/>
                  <a:pt x="7284172" y="464284"/>
                  <a:pt x="7295720" y="464284"/>
                </a:cubicBezTo>
                <a:close/>
                <a:moveTo>
                  <a:pt x="7155974" y="464284"/>
                </a:moveTo>
                <a:cubicBezTo>
                  <a:pt x="7167522" y="464284"/>
                  <a:pt x="7176762" y="473523"/>
                  <a:pt x="7176762" y="485072"/>
                </a:cubicBezTo>
                <a:cubicBezTo>
                  <a:pt x="7176762" y="496622"/>
                  <a:pt x="7167522" y="505861"/>
                  <a:pt x="7155974" y="505861"/>
                </a:cubicBezTo>
                <a:cubicBezTo>
                  <a:pt x="7144423" y="505861"/>
                  <a:pt x="7135183" y="496622"/>
                  <a:pt x="7135183" y="485072"/>
                </a:cubicBezTo>
                <a:cubicBezTo>
                  <a:pt x="7135183" y="473523"/>
                  <a:pt x="7144423" y="464284"/>
                  <a:pt x="7155974" y="464284"/>
                </a:cubicBezTo>
                <a:close/>
                <a:moveTo>
                  <a:pt x="7016227" y="464284"/>
                </a:moveTo>
                <a:cubicBezTo>
                  <a:pt x="7027776" y="464284"/>
                  <a:pt x="7037016" y="473523"/>
                  <a:pt x="7037016" y="485072"/>
                </a:cubicBezTo>
                <a:cubicBezTo>
                  <a:pt x="7037016" y="496622"/>
                  <a:pt x="7027776" y="505861"/>
                  <a:pt x="7016227" y="505861"/>
                </a:cubicBezTo>
                <a:cubicBezTo>
                  <a:pt x="7004678" y="505861"/>
                  <a:pt x="6995438" y="496622"/>
                  <a:pt x="6995438" y="485072"/>
                </a:cubicBezTo>
                <a:cubicBezTo>
                  <a:pt x="6995438" y="473523"/>
                  <a:pt x="7004678" y="464284"/>
                  <a:pt x="7016227" y="464284"/>
                </a:cubicBezTo>
                <a:close/>
                <a:moveTo>
                  <a:pt x="6877634" y="464284"/>
                </a:moveTo>
                <a:cubicBezTo>
                  <a:pt x="6888028" y="464284"/>
                  <a:pt x="6898424" y="473523"/>
                  <a:pt x="6898424" y="485072"/>
                </a:cubicBezTo>
                <a:cubicBezTo>
                  <a:pt x="6898424" y="496622"/>
                  <a:pt x="6889184" y="505861"/>
                  <a:pt x="6877634" y="505861"/>
                </a:cubicBezTo>
                <a:cubicBezTo>
                  <a:pt x="6866085" y="505861"/>
                  <a:pt x="6856845" y="496622"/>
                  <a:pt x="6856845" y="485072"/>
                </a:cubicBezTo>
                <a:cubicBezTo>
                  <a:pt x="6856845" y="473523"/>
                  <a:pt x="6866085" y="464284"/>
                  <a:pt x="6877634" y="464284"/>
                </a:cubicBezTo>
                <a:close/>
                <a:moveTo>
                  <a:pt x="6039151" y="464284"/>
                </a:moveTo>
                <a:cubicBezTo>
                  <a:pt x="6050702" y="464284"/>
                  <a:pt x="6059942" y="473523"/>
                  <a:pt x="6059942" y="485072"/>
                </a:cubicBezTo>
                <a:cubicBezTo>
                  <a:pt x="6059942" y="496622"/>
                  <a:pt x="6050702" y="505861"/>
                  <a:pt x="6039151" y="505861"/>
                </a:cubicBezTo>
                <a:cubicBezTo>
                  <a:pt x="6027603" y="505861"/>
                  <a:pt x="6018363" y="496622"/>
                  <a:pt x="6018363" y="485072"/>
                </a:cubicBezTo>
                <a:cubicBezTo>
                  <a:pt x="6018363" y="473523"/>
                  <a:pt x="6027603" y="464284"/>
                  <a:pt x="6039151" y="464284"/>
                </a:cubicBezTo>
                <a:close/>
                <a:moveTo>
                  <a:pt x="5899405" y="464284"/>
                </a:moveTo>
                <a:cubicBezTo>
                  <a:pt x="5910953" y="464284"/>
                  <a:pt x="5920193" y="473523"/>
                  <a:pt x="5920193" y="485072"/>
                </a:cubicBezTo>
                <a:cubicBezTo>
                  <a:pt x="5920193" y="496622"/>
                  <a:pt x="5910953" y="505861"/>
                  <a:pt x="5899405" y="505861"/>
                </a:cubicBezTo>
                <a:cubicBezTo>
                  <a:pt x="5887855" y="505861"/>
                  <a:pt x="5878616" y="496622"/>
                  <a:pt x="5878616" y="485072"/>
                </a:cubicBezTo>
                <a:cubicBezTo>
                  <a:pt x="5878616" y="473523"/>
                  <a:pt x="5887855" y="464284"/>
                  <a:pt x="5899405" y="464284"/>
                </a:cubicBezTo>
                <a:close/>
                <a:moveTo>
                  <a:pt x="5759658" y="464284"/>
                </a:moveTo>
                <a:cubicBezTo>
                  <a:pt x="5771207" y="464284"/>
                  <a:pt x="5780447" y="473523"/>
                  <a:pt x="5780447" y="485072"/>
                </a:cubicBezTo>
                <a:cubicBezTo>
                  <a:pt x="5780447" y="496622"/>
                  <a:pt x="5771207" y="505861"/>
                  <a:pt x="5759658" y="505861"/>
                </a:cubicBezTo>
                <a:cubicBezTo>
                  <a:pt x="5748109" y="505861"/>
                  <a:pt x="5738869" y="496622"/>
                  <a:pt x="5738869" y="485072"/>
                </a:cubicBezTo>
                <a:cubicBezTo>
                  <a:pt x="5738869" y="473523"/>
                  <a:pt x="5748109" y="464284"/>
                  <a:pt x="5759658" y="464284"/>
                </a:cubicBezTo>
                <a:close/>
                <a:moveTo>
                  <a:pt x="3241901" y="464284"/>
                </a:moveTo>
                <a:cubicBezTo>
                  <a:pt x="3253450" y="464284"/>
                  <a:pt x="3262690" y="473523"/>
                  <a:pt x="3262690" y="485072"/>
                </a:cubicBezTo>
                <a:cubicBezTo>
                  <a:pt x="3262690" y="496622"/>
                  <a:pt x="3253450" y="505861"/>
                  <a:pt x="3241901" y="505861"/>
                </a:cubicBezTo>
                <a:cubicBezTo>
                  <a:pt x="3230352" y="505861"/>
                  <a:pt x="3221112" y="496622"/>
                  <a:pt x="3221112" y="485072"/>
                </a:cubicBezTo>
                <a:cubicBezTo>
                  <a:pt x="3221112" y="473523"/>
                  <a:pt x="3230352" y="464284"/>
                  <a:pt x="3241901" y="464284"/>
                </a:cubicBezTo>
                <a:close/>
                <a:moveTo>
                  <a:pt x="3102153" y="464284"/>
                </a:moveTo>
                <a:cubicBezTo>
                  <a:pt x="3113703" y="464284"/>
                  <a:pt x="3122942" y="473523"/>
                  <a:pt x="3122942" y="485072"/>
                </a:cubicBezTo>
                <a:cubicBezTo>
                  <a:pt x="3122942" y="496622"/>
                  <a:pt x="3113703" y="505861"/>
                  <a:pt x="3102153" y="505861"/>
                </a:cubicBezTo>
                <a:cubicBezTo>
                  <a:pt x="3090605" y="505861"/>
                  <a:pt x="3081365" y="496622"/>
                  <a:pt x="3081365" y="485072"/>
                </a:cubicBezTo>
                <a:cubicBezTo>
                  <a:pt x="3081365" y="473523"/>
                  <a:pt x="3090605" y="464284"/>
                  <a:pt x="3102153" y="464284"/>
                </a:cubicBezTo>
                <a:close/>
                <a:moveTo>
                  <a:pt x="2962407" y="464284"/>
                </a:moveTo>
                <a:cubicBezTo>
                  <a:pt x="2973956" y="464284"/>
                  <a:pt x="2983196" y="473523"/>
                  <a:pt x="2983196" y="485072"/>
                </a:cubicBezTo>
                <a:cubicBezTo>
                  <a:pt x="2983196" y="496622"/>
                  <a:pt x="2973956" y="505861"/>
                  <a:pt x="2962407" y="505861"/>
                </a:cubicBezTo>
                <a:cubicBezTo>
                  <a:pt x="2950858" y="505861"/>
                  <a:pt x="2941618" y="496622"/>
                  <a:pt x="2941618" y="485072"/>
                </a:cubicBezTo>
                <a:cubicBezTo>
                  <a:pt x="2941618" y="473523"/>
                  <a:pt x="2950858" y="464284"/>
                  <a:pt x="2962407" y="464284"/>
                </a:cubicBezTo>
                <a:close/>
                <a:moveTo>
                  <a:pt x="2822659" y="464284"/>
                </a:moveTo>
                <a:cubicBezTo>
                  <a:pt x="2834209" y="464284"/>
                  <a:pt x="2843448" y="473523"/>
                  <a:pt x="2843448" y="485072"/>
                </a:cubicBezTo>
                <a:cubicBezTo>
                  <a:pt x="2843448" y="496622"/>
                  <a:pt x="2834209" y="505861"/>
                  <a:pt x="2822659" y="505861"/>
                </a:cubicBezTo>
                <a:cubicBezTo>
                  <a:pt x="2811110" y="505861"/>
                  <a:pt x="2801871" y="496622"/>
                  <a:pt x="2801871" y="485072"/>
                </a:cubicBezTo>
                <a:cubicBezTo>
                  <a:pt x="2801871" y="473523"/>
                  <a:pt x="2811110" y="464284"/>
                  <a:pt x="2822659" y="464284"/>
                </a:cubicBezTo>
                <a:close/>
                <a:moveTo>
                  <a:pt x="2682913" y="464284"/>
                </a:moveTo>
                <a:cubicBezTo>
                  <a:pt x="2694462" y="464284"/>
                  <a:pt x="2703702" y="473523"/>
                  <a:pt x="2703702" y="485072"/>
                </a:cubicBezTo>
                <a:cubicBezTo>
                  <a:pt x="2703702" y="496622"/>
                  <a:pt x="2694462" y="505861"/>
                  <a:pt x="2682913" y="505861"/>
                </a:cubicBezTo>
                <a:cubicBezTo>
                  <a:pt x="2671365" y="505861"/>
                  <a:pt x="2662124" y="496622"/>
                  <a:pt x="2662124" y="485072"/>
                </a:cubicBezTo>
                <a:cubicBezTo>
                  <a:pt x="2662124" y="473523"/>
                  <a:pt x="2671365" y="464284"/>
                  <a:pt x="2682913" y="464284"/>
                </a:cubicBezTo>
                <a:close/>
                <a:moveTo>
                  <a:pt x="2543167" y="464284"/>
                </a:moveTo>
                <a:cubicBezTo>
                  <a:pt x="2554715" y="464284"/>
                  <a:pt x="2563954" y="473523"/>
                  <a:pt x="2563954" y="485072"/>
                </a:cubicBezTo>
                <a:cubicBezTo>
                  <a:pt x="2563954" y="496622"/>
                  <a:pt x="2554715" y="505861"/>
                  <a:pt x="2543167" y="505861"/>
                </a:cubicBezTo>
                <a:cubicBezTo>
                  <a:pt x="2531616" y="505861"/>
                  <a:pt x="2522376" y="496622"/>
                  <a:pt x="2522376" y="485072"/>
                </a:cubicBezTo>
                <a:cubicBezTo>
                  <a:pt x="2522376" y="473523"/>
                  <a:pt x="2531616" y="464284"/>
                  <a:pt x="2543167" y="464284"/>
                </a:cubicBezTo>
                <a:close/>
                <a:moveTo>
                  <a:pt x="2403419" y="464284"/>
                </a:moveTo>
                <a:cubicBezTo>
                  <a:pt x="2414969" y="464284"/>
                  <a:pt x="2424209" y="473523"/>
                  <a:pt x="2424209" y="485072"/>
                </a:cubicBezTo>
                <a:cubicBezTo>
                  <a:pt x="2424209" y="496622"/>
                  <a:pt x="2414969" y="505861"/>
                  <a:pt x="2403419" y="505861"/>
                </a:cubicBezTo>
                <a:cubicBezTo>
                  <a:pt x="2391869" y="505861"/>
                  <a:pt x="2382630" y="496622"/>
                  <a:pt x="2382630" y="485072"/>
                </a:cubicBezTo>
                <a:cubicBezTo>
                  <a:pt x="2382630" y="473523"/>
                  <a:pt x="2391869" y="464284"/>
                  <a:pt x="2403419" y="464284"/>
                </a:cubicBezTo>
                <a:close/>
                <a:moveTo>
                  <a:pt x="2263671" y="464284"/>
                </a:moveTo>
                <a:cubicBezTo>
                  <a:pt x="2275221" y="464284"/>
                  <a:pt x="2284460" y="473523"/>
                  <a:pt x="2284460" y="485072"/>
                </a:cubicBezTo>
                <a:cubicBezTo>
                  <a:pt x="2284460" y="496622"/>
                  <a:pt x="2275221" y="505861"/>
                  <a:pt x="2263671" y="505861"/>
                </a:cubicBezTo>
                <a:cubicBezTo>
                  <a:pt x="2252122" y="505861"/>
                  <a:pt x="2242883" y="496622"/>
                  <a:pt x="2242883" y="485072"/>
                </a:cubicBezTo>
                <a:cubicBezTo>
                  <a:pt x="2242883" y="473523"/>
                  <a:pt x="2252122" y="464284"/>
                  <a:pt x="2263671" y="464284"/>
                </a:cubicBezTo>
                <a:close/>
                <a:moveTo>
                  <a:pt x="1426344" y="464284"/>
                </a:moveTo>
                <a:cubicBezTo>
                  <a:pt x="1437894" y="464284"/>
                  <a:pt x="1447133" y="473523"/>
                  <a:pt x="1447133" y="485072"/>
                </a:cubicBezTo>
                <a:cubicBezTo>
                  <a:pt x="1447133" y="496622"/>
                  <a:pt x="1437894" y="505861"/>
                  <a:pt x="1426344" y="505861"/>
                </a:cubicBezTo>
                <a:cubicBezTo>
                  <a:pt x="1414795" y="505861"/>
                  <a:pt x="1405556" y="496622"/>
                  <a:pt x="1405556" y="485072"/>
                </a:cubicBezTo>
                <a:cubicBezTo>
                  <a:pt x="1405556" y="473523"/>
                  <a:pt x="1414795" y="464284"/>
                  <a:pt x="1426344" y="464284"/>
                </a:cubicBezTo>
                <a:close/>
                <a:moveTo>
                  <a:pt x="1286597" y="464284"/>
                </a:moveTo>
                <a:cubicBezTo>
                  <a:pt x="1298146" y="464284"/>
                  <a:pt x="1307386" y="473523"/>
                  <a:pt x="1307386" y="485072"/>
                </a:cubicBezTo>
                <a:cubicBezTo>
                  <a:pt x="1307386" y="496622"/>
                  <a:pt x="1298146" y="505861"/>
                  <a:pt x="1286597" y="505861"/>
                </a:cubicBezTo>
                <a:cubicBezTo>
                  <a:pt x="1275048" y="505861"/>
                  <a:pt x="1265808" y="496622"/>
                  <a:pt x="1265808" y="485072"/>
                </a:cubicBezTo>
                <a:cubicBezTo>
                  <a:pt x="1265808" y="473523"/>
                  <a:pt x="1275048" y="464284"/>
                  <a:pt x="1286597" y="464284"/>
                </a:cubicBezTo>
                <a:close/>
                <a:moveTo>
                  <a:pt x="1146851" y="464284"/>
                </a:moveTo>
                <a:cubicBezTo>
                  <a:pt x="1158400" y="464284"/>
                  <a:pt x="1167639" y="473523"/>
                  <a:pt x="1167639" y="485072"/>
                </a:cubicBezTo>
                <a:cubicBezTo>
                  <a:pt x="1167639" y="496622"/>
                  <a:pt x="1158400" y="505861"/>
                  <a:pt x="1146851" y="505861"/>
                </a:cubicBezTo>
                <a:cubicBezTo>
                  <a:pt x="1135301" y="505861"/>
                  <a:pt x="1126062" y="496622"/>
                  <a:pt x="1126062" y="485072"/>
                </a:cubicBezTo>
                <a:cubicBezTo>
                  <a:pt x="1126062" y="473523"/>
                  <a:pt x="1135301" y="464284"/>
                  <a:pt x="1146851" y="464284"/>
                </a:cubicBezTo>
                <a:close/>
                <a:moveTo>
                  <a:pt x="11343213" y="461974"/>
                </a:moveTo>
                <a:cubicBezTo>
                  <a:pt x="11355918" y="461974"/>
                  <a:pt x="11366312" y="472369"/>
                  <a:pt x="11366312" y="485072"/>
                </a:cubicBezTo>
                <a:cubicBezTo>
                  <a:pt x="11366312" y="497777"/>
                  <a:pt x="11355918" y="508171"/>
                  <a:pt x="11343213" y="508171"/>
                </a:cubicBezTo>
                <a:cubicBezTo>
                  <a:pt x="11330509" y="508171"/>
                  <a:pt x="11320114" y="497777"/>
                  <a:pt x="11320114" y="485072"/>
                </a:cubicBezTo>
                <a:cubicBezTo>
                  <a:pt x="11320114" y="472369"/>
                  <a:pt x="11330509" y="461974"/>
                  <a:pt x="11343213" y="461974"/>
                </a:cubicBezTo>
                <a:close/>
                <a:moveTo>
                  <a:pt x="10225237" y="461974"/>
                </a:moveTo>
                <a:cubicBezTo>
                  <a:pt x="10237942" y="461974"/>
                  <a:pt x="10248335" y="472369"/>
                  <a:pt x="10248335" y="485072"/>
                </a:cubicBezTo>
                <a:cubicBezTo>
                  <a:pt x="10248335" y="497777"/>
                  <a:pt x="10237942" y="508171"/>
                  <a:pt x="10225237" y="508171"/>
                </a:cubicBezTo>
                <a:cubicBezTo>
                  <a:pt x="10212533" y="508171"/>
                  <a:pt x="10202138" y="497777"/>
                  <a:pt x="10202138" y="485072"/>
                </a:cubicBezTo>
                <a:cubicBezTo>
                  <a:pt x="10202138" y="472369"/>
                  <a:pt x="10212533" y="461974"/>
                  <a:pt x="10225237" y="461974"/>
                </a:cubicBezTo>
                <a:close/>
                <a:moveTo>
                  <a:pt x="9112431" y="461974"/>
                </a:moveTo>
                <a:cubicBezTo>
                  <a:pt x="9125136" y="461974"/>
                  <a:pt x="9135530" y="472369"/>
                  <a:pt x="9135530" y="485072"/>
                </a:cubicBezTo>
                <a:cubicBezTo>
                  <a:pt x="9135530" y="497777"/>
                  <a:pt x="9125136" y="508171"/>
                  <a:pt x="9112431" y="508171"/>
                </a:cubicBezTo>
                <a:cubicBezTo>
                  <a:pt x="9099727" y="508171"/>
                  <a:pt x="9089332" y="497777"/>
                  <a:pt x="9089332" y="485072"/>
                </a:cubicBezTo>
                <a:cubicBezTo>
                  <a:pt x="9089332" y="472369"/>
                  <a:pt x="9099727" y="461974"/>
                  <a:pt x="9112431" y="461974"/>
                </a:cubicBezTo>
                <a:close/>
                <a:moveTo>
                  <a:pt x="7994456" y="461974"/>
                </a:moveTo>
                <a:cubicBezTo>
                  <a:pt x="8007160" y="461974"/>
                  <a:pt x="8017555" y="472369"/>
                  <a:pt x="8017555" y="485072"/>
                </a:cubicBezTo>
                <a:cubicBezTo>
                  <a:pt x="8017555" y="497777"/>
                  <a:pt x="8007160" y="508171"/>
                  <a:pt x="7994456" y="508171"/>
                </a:cubicBezTo>
                <a:cubicBezTo>
                  <a:pt x="7981752" y="508171"/>
                  <a:pt x="7971356" y="497777"/>
                  <a:pt x="7971356" y="485072"/>
                </a:cubicBezTo>
                <a:cubicBezTo>
                  <a:pt x="7971356" y="472369"/>
                  <a:pt x="7981752" y="461974"/>
                  <a:pt x="7994456" y="461974"/>
                </a:cubicBezTo>
                <a:close/>
                <a:moveTo>
                  <a:pt x="6737887" y="461974"/>
                </a:moveTo>
                <a:cubicBezTo>
                  <a:pt x="6750591" y="461974"/>
                  <a:pt x="6760986" y="472369"/>
                  <a:pt x="6760986" y="485072"/>
                </a:cubicBezTo>
                <a:cubicBezTo>
                  <a:pt x="6760986" y="497777"/>
                  <a:pt x="6750591" y="508171"/>
                  <a:pt x="6737887" y="508171"/>
                </a:cubicBezTo>
                <a:cubicBezTo>
                  <a:pt x="6725183" y="508171"/>
                  <a:pt x="6714789" y="497777"/>
                  <a:pt x="6714789" y="485072"/>
                </a:cubicBezTo>
                <a:cubicBezTo>
                  <a:pt x="6714789" y="472369"/>
                  <a:pt x="6725183" y="461974"/>
                  <a:pt x="6737887" y="461974"/>
                </a:cubicBezTo>
                <a:close/>
                <a:moveTo>
                  <a:pt x="5619911" y="461974"/>
                </a:moveTo>
                <a:cubicBezTo>
                  <a:pt x="5632616" y="461974"/>
                  <a:pt x="5643008" y="472369"/>
                  <a:pt x="5643008" y="485072"/>
                </a:cubicBezTo>
                <a:cubicBezTo>
                  <a:pt x="5643008" y="497777"/>
                  <a:pt x="5632616" y="508171"/>
                  <a:pt x="5619911" y="508171"/>
                </a:cubicBezTo>
                <a:cubicBezTo>
                  <a:pt x="5607207" y="508171"/>
                  <a:pt x="5596812" y="497777"/>
                  <a:pt x="5596812" y="485072"/>
                </a:cubicBezTo>
                <a:cubicBezTo>
                  <a:pt x="5596812" y="472369"/>
                  <a:pt x="5607207" y="461974"/>
                  <a:pt x="5619911" y="461974"/>
                </a:cubicBezTo>
                <a:close/>
                <a:moveTo>
                  <a:pt x="4499625" y="461974"/>
                </a:moveTo>
                <a:cubicBezTo>
                  <a:pt x="4512329" y="461974"/>
                  <a:pt x="4522722" y="472369"/>
                  <a:pt x="4522722" y="485072"/>
                </a:cubicBezTo>
                <a:cubicBezTo>
                  <a:pt x="4522722" y="497777"/>
                  <a:pt x="4512329" y="508171"/>
                  <a:pt x="4499625" y="508171"/>
                </a:cubicBezTo>
                <a:cubicBezTo>
                  <a:pt x="4486920" y="508171"/>
                  <a:pt x="4476525" y="497777"/>
                  <a:pt x="4476525" y="485072"/>
                </a:cubicBezTo>
                <a:cubicBezTo>
                  <a:pt x="4476525" y="472369"/>
                  <a:pt x="4486920" y="461974"/>
                  <a:pt x="4499625" y="461974"/>
                </a:cubicBezTo>
                <a:close/>
                <a:moveTo>
                  <a:pt x="3381648" y="461974"/>
                </a:moveTo>
                <a:cubicBezTo>
                  <a:pt x="3394352" y="461974"/>
                  <a:pt x="3404746" y="472369"/>
                  <a:pt x="3404746" y="485072"/>
                </a:cubicBezTo>
                <a:cubicBezTo>
                  <a:pt x="3404746" y="497777"/>
                  <a:pt x="3394352" y="508171"/>
                  <a:pt x="3381648" y="508171"/>
                </a:cubicBezTo>
                <a:cubicBezTo>
                  <a:pt x="3368944" y="508171"/>
                  <a:pt x="3358549" y="497777"/>
                  <a:pt x="3358549" y="485072"/>
                </a:cubicBezTo>
                <a:cubicBezTo>
                  <a:pt x="3358549" y="472369"/>
                  <a:pt x="3368944" y="461974"/>
                  <a:pt x="3381648" y="461974"/>
                </a:cubicBezTo>
                <a:close/>
                <a:moveTo>
                  <a:pt x="2125079" y="461974"/>
                </a:moveTo>
                <a:cubicBezTo>
                  <a:pt x="2137784" y="461974"/>
                  <a:pt x="2148178" y="472369"/>
                  <a:pt x="2148178" y="485072"/>
                </a:cubicBezTo>
                <a:cubicBezTo>
                  <a:pt x="2148178" y="497777"/>
                  <a:pt x="2137784" y="508171"/>
                  <a:pt x="2125079" y="508171"/>
                </a:cubicBezTo>
                <a:cubicBezTo>
                  <a:pt x="2112376" y="508171"/>
                  <a:pt x="2101980" y="497777"/>
                  <a:pt x="2101980" y="485072"/>
                </a:cubicBezTo>
                <a:cubicBezTo>
                  <a:pt x="2101980" y="472369"/>
                  <a:pt x="2112376" y="461974"/>
                  <a:pt x="2125079" y="461974"/>
                </a:cubicBezTo>
                <a:close/>
                <a:moveTo>
                  <a:pt x="1007103" y="461974"/>
                </a:moveTo>
                <a:cubicBezTo>
                  <a:pt x="1019808" y="461974"/>
                  <a:pt x="1030201" y="472369"/>
                  <a:pt x="1030201" y="485072"/>
                </a:cubicBezTo>
                <a:cubicBezTo>
                  <a:pt x="1030201" y="497777"/>
                  <a:pt x="1019808" y="508171"/>
                  <a:pt x="1007103" y="508171"/>
                </a:cubicBezTo>
                <a:cubicBezTo>
                  <a:pt x="994399" y="508171"/>
                  <a:pt x="984004" y="497777"/>
                  <a:pt x="984004" y="485072"/>
                </a:cubicBezTo>
                <a:cubicBezTo>
                  <a:pt x="984004" y="472369"/>
                  <a:pt x="994399" y="461974"/>
                  <a:pt x="1007103" y="461974"/>
                </a:cubicBezTo>
                <a:close/>
                <a:moveTo>
                  <a:pt x="11203466" y="456200"/>
                </a:moveTo>
                <a:cubicBezTo>
                  <a:pt x="11218480" y="456200"/>
                  <a:pt x="11232339" y="468903"/>
                  <a:pt x="11232339" y="485072"/>
                </a:cubicBezTo>
                <a:cubicBezTo>
                  <a:pt x="11232339" y="501241"/>
                  <a:pt x="11219636" y="513946"/>
                  <a:pt x="11203466" y="513946"/>
                </a:cubicBezTo>
                <a:cubicBezTo>
                  <a:pt x="11187298" y="513946"/>
                  <a:pt x="11174593" y="501241"/>
                  <a:pt x="11174593" y="485072"/>
                </a:cubicBezTo>
                <a:cubicBezTo>
                  <a:pt x="11174593" y="468903"/>
                  <a:pt x="11187298" y="456200"/>
                  <a:pt x="11203466" y="456200"/>
                </a:cubicBezTo>
                <a:close/>
                <a:moveTo>
                  <a:pt x="10085490" y="456200"/>
                </a:moveTo>
                <a:cubicBezTo>
                  <a:pt x="10101659" y="456200"/>
                  <a:pt x="10114363" y="468903"/>
                  <a:pt x="10114363" y="485072"/>
                </a:cubicBezTo>
                <a:cubicBezTo>
                  <a:pt x="10114363" y="501241"/>
                  <a:pt x="10101659" y="513946"/>
                  <a:pt x="10085490" y="513946"/>
                </a:cubicBezTo>
                <a:cubicBezTo>
                  <a:pt x="10069321" y="513946"/>
                  <a:pt x="10056616" y="501241"/>
                  <a:pt x="10056616" y="485072"/>
                </a:cubicBezTo>
                <a:cubicBezTo>
                  <a:pt x="10056616" y="468903"/>
                  <a:pt x="10069321" y="456200"/>
                  <a:pt x="10085490" y="456200"/>
                </a:cubicBezTo>
                <a:close/>
                <a:moveTo>
                  <a:pt x="9247008" y="456200"/>
                </a:moveTo>
                <a:cubicBezTo>
                  <a:pt x="9263177" y="456200"/>
                  <a:pt x="9275881" y="468903"/>
                  <a:pt x="9275881" y="485072"/>
                </a:cubicBezTo>
                <a:cubicBezTo>
                  <a:pt x="9275881" y="501241"/>
                  <a:pt x="9263177" y="513946"/>
                  <a:pt x="9247008" y="513946"/>
                </a:cubicBezTo>
                <a:cubicBezTo>
                  <a:pt x="9230839" y="513946"/>
                  <a:pt x="9218134" y="501241"/>
                  <a:pt x="9218134" y="485072"/>
                </a:cubicBezTo>
                <a:cubicBezTo>
                  <a:pt x="9218134" y="468903"/>
                  <a:pt x="9230839" y="456200"/>
                  <a:pt x="9247008" y="456200"/>
                </a:cubicBezTo>
                <a:close/>
                <a:moveTo>
                  <a:pt x="8972685" y="456200"/>
                </a:moveTo>
                <a:cubicBezTo>
                  <a:pt x="8988854" y="456200"/>
                  <a:pt x="9001557" y="468903"/>
                  <a:pt x="9001557" y="485072"/>
                </a:cubicBezTo>
                <a:cubicBezTo>
                  <a:pt x="9001557" y="501241"/>
                  <a:pt x="8988854" y="513946"/>
                  <a:pt x="8972685" y="513946"/>
                </a:cubicBezTo>
                <a:cubicBezTo>
                  <a:pt x="8956515" y="513946"/>
                  <a:pt x="8943811" y="501241"/>
                  <a:pt x="8943811" y="485072"/>
                </a:cubicBezTo>
                <a:cubicBezTo>
                  <a:pt x="8943811" y="468903"/>
                  <a:pt x="8956515" y="456200"/>
                  <a:pt x="8972685" y="456200"/>
                </a:cubicBezTo>
                <a:close/>
                <a:moveTo>
                  <a:pt x="8134203" y="456200"/>
                </a:moveTo>
                <a:cubicBezTo>
                  <a:pt x="8150373" y="456200"/>
                  <a:pt x="8163075" y="468903"/>
                  <a:pt x="8163075" y="485072"/>
                </a:cubicBezTo>
                <a:cubicBezTo>
                  <a:pt x="8163075" y="501241"/>
                  <a:pt x="8150373" y="513946"/>
                  <a:pt x="8134203" y="513946"/>
                </a:cubicBezTo>
                <a:cubicBezTo>
                  <a:pt x="8118034" y="513946"/>
                  <a:pt x="8105330" y="501241"/>
                  <a:pt x="8105330" y="485072"/>
                </a:cubicBezTo>
                <a:cubicBezTo>
                  <a:pt x="8105330" y="468903"/>
                  <a:pt x="8118034" y="456200"/>
                  <a:pt x="8134203" y="456200"/>
                </a:cubicBezTo>
                <a:close/>
                <a:moveTo>
                  <a:pt x="6598140" y="456200"/>
                </a:moveTo>
                <a:cubicBezTo>
                  <a:pt x="6613155" y="456200"/>
                  <a:pt x="6627013" y="468903"/>
                  <a:pt x="6627013" y="485072"/>
                </a:cubicBezTo>
                <a:cubicBezTo>
                  <a:pt x="6627013" y="501241"/>
                  <a:pt x="6614309" y="513946"/>
                  <a:pt x="6598140" y="513946"/>
                </a:cubicBezTo>
                <a:cubicBezTo>
                  <a:pt x="6581971" y="513946"/>
                  <a:pt x="6569267" y="501241"/>
                  <a:pt x="6569267" y="485072"/>
                </a:cubicBezTo>
                <a:cubicBezTo>
                  <a:pt x="6569267" y="468903"/>
                  <a:pt x="6581971" y="456200"/>
                  <a:pt x="6598140" y="456200"/>
                </a:cubicBezTo>
                <a:close/>
                <a:moveTo>
                  <a:pt x="5480165" y="456200"/>
                </a:moveTo>
                <a:cubicBezTo>
                  <a:pt x="5496333" y="456200"/>
                  <a:pt x="5509037" y="468903"/>
                  <a:pt x="5509037" y="485072"/>
                </a:cubicBezTo>
                <a:cubicBezTo>
                  <a:pt x="5509037" y="501241"/>
                  <a:pt x="5496333" y="513946"/>
                  <a:pt x="5480165" y="513946"/>
                </a:cubicBezTo>
                <a:cubicBezTo>
                  <a:pt x="5463996" y="513946"/>
                  <a:pt x="5451289" y="501241"/>
                  <a:pt x="5451289" y="485072"/>
                </a:cubicBezTo>
                <a:cubicBezTo>
                  <a:pt x="5451289" y="468903"/>
                  <a:pt x="5463996" y="456200"/>
                  <a:pt x="5480165" y="456200"/>
                </a:cubicBezTo>
                <a:close/>
                <a:moveTo>
                  <a:pt x="4641682" y="456200"/>
                </a:moveTo>
                <a:cubicBezTo>
                  <a:pt x="4657851" y="456200"/>
                  <a:pt x="4670555" y="468903"/>
                  <a:pt x="4670555" y="485072"/>
                </a:cubicBezTo>
                <a:cubicBezTo>
                  <a:pt x="4670555" y="501241"/>
                  <a:pt x="4657851" y="513946"/>
                  <a:pt x="4641682" y="513946"/>
                </a:cubicBezTo>
                <a:cubicBezTo>
                  <a:pt x="4625513" y="513946"/>
                  <a:pt x="4612809" y="501241"/>
                  <a:pt x="4612809" y="485072"/>
                </a:cubicBezTo>
                <a:cubicBezTo>
                  <a:pt x="4612809" y="468903"/>
                  <a:pt x="4625513" y="456200"/>
                  <a:pt x="4641682" y="456200"/>
                </a:cubicBezTo>
                <a:close/>
                <a:moveTo>
                  <a:pt x="4359878" y="456200"/>
                </a:moveTo>
                <a:cubicBezTo>
                  <a:pt x="4376046" y="456200"/>
                  <a:pt x="4388751" y="468903"/>
                  <a:pt x="4388751" y="485072"/>
                </a:cubicBezTo>
                <a:cubicBezTo>
                  <a:pt x="4388751" y="501241"/>
                  <a:pt x="4376046" y="513946"/>
                  <a:pt x="4359878" y="513946"/>
                </a:cubicBezTo>
                <a:cubicBezTo>
                  <a:pt x="4343709" y="513946"/>
                  <a:pt x="4331003" y="501241"/>
                  <a:pt x="4331003" y="485072"/>
                </a:cubicBezTo>
                <a:cubicBezTo>
                  <a:pt x="4331003" y="468903"/>
                  <a:pt x="4343709" y="456200"/>
                  <a:pt x="4359878" y="456200"/>
                </a:cubicBezTo>
                <a:close/>
                <a:moveTo>
                  <a:pt x="3521396" y="456200"/>
                </a:moveTo>
                <a:cubicBezTo>
                  <a:pt x="3537564" y="456200"/>
                  <a:pt x="3550268" y="468903"/>
                  <a:pt x="3550268" y="485072"/>
                </a:cubicBezTo>
                <a:cubicBezTo>
                  <a:pt x="3550268" y="501241"/>
                  <a:pt x="3537564" y="513946"/>
                  <a:pt x="3521396" y="513946"/>
                </a:cubicBezTo>
                <a:cubicBezTo>
                  <a:pt x="3505226" y="513946"/>
                  <a:pt x="3492521" y="501241"/>
                  <a:pt x="3492521" y="485072"/>
                </a:cubicBezTo>
                <a:cubicBezTo>
                  <a:pt x="3492521" y="468903"/>
                  <a:pt x="3505226" y="456200"/>
                  <a:pt x="3521396" y="456200"/>
                </a:cubicBezTo>
                <a:close/>
                <a:moveTo>
                  <a:pt x="1985333" y="456200"/>
                </a:moveTo>
                <a:cubicBezTo>
                  <a:pt x="2000346" y="456200"/>
                  <a:pt x="2014205" y="468903"/>
                  <a:pt x="2014205" y="485072"/>
                </a:cubicBezTo>
                <a:cubicBezTo>
                  <a:pt x="2014205" y="501241"/>
                  <a:pt x="2001502" y="513946"/>
                  <a:pt x="1985333" y="513946"/>
                </a:cubicBezTo>
                <a:cubicBezTo>
                  <a:pt x="1969164" y="513946"/>
                  <a:pt x="1956459" y="501241"/>
                  <a:pt x="1956459" y="485072"/>
                </a:cubicBezTo>
                <a:cubicBezTo>
                  <a:pt x="1956459" y="468903"/>
                  <a:pt x="1969164" y="456200"/>
                  <a:pt x="1985333" y="456200"/>
                </a:cubicBezTo>
                <a:close/>
                <a:moveTo>
                  <a:pt x="867356" y="456200"/>
                </a:moveTo>
                <a:cubicBezTo>
                  <a:pt x="883525" y="456200"/>
                  <a:pt x="896229" y="468903"/>
                  <a:pt x="896229" y="485072"/>
                </a:cubicBezTo>
                <a:cubicBezTo>
                  <a:pt x="896229" y="501241"/>
                  <a:pt x="883525" y="513946"/>
                  <a:pt x="867356" y="513946"/>
                </a:cubicBezTo>
                <a:cubicBezTo>
                  <a:pt x="851187" y="513946"/>
                  <a:pt x="838482" y="501241"/>
                  <a:pt x="838482" y="485072"/>
                </a:cubicBezTo>
                <a:cubicBezTo>
                  <a:pt x="838482" y="468903"/>
                  <a:pt x="851187" y="456200"/>
                  <a:pt x="867356" y="456200"/>
                </a:cubicBezTo>
                <a:close/>
                <a:moveTo>
                  <a:pt x="28874" y="456200"/>
                </a:moveTo>
                <a:cubicBezTo>
                  <a:pt x="45043" y="456200"/>
                  <a:pt x="57747" y="468903"/>
                  <a:pt x="57747" y="485072"/>
                </a:cubicBezTo>
                <a:cubicBezTo>
                  <a:pt x="57747" y="501241"/>
                  <a:pt x="45043" y="513946"/>
                  <a:pt x="28874" y="513946"/>
                </a:cubicBezTo>
                <a:cubicBezTo>
                  <a:pt x="12705" y="513946"/>
                  <a:pt x="0" y="501241"/>
                  <a:pt x="0" y="485072"/>
                </a:cubicBezTo>
                <a:cubicBezTo>
                  <a:pt x="0" y="468903"/>
                  <a:pt x="12705" y="456200"/>
                  <a:pt x="28874" y="456200"/>
                </a:cubicBezTo>
                <a:close/>
                <a:moveTo>
                  <a:pt x="11063719" y="449270"/>
                </a:moveTo>
                <a:cubicBezTo>
                  <a:pt x="11082198" y="449270"/>
                  <a:pt x="11098367" y="465439"/>
                  <a:pt x="11098367" y="483918"/>
                </a:cubicBezTo>
                <a:cubicBezTo>
                  <a:pt x="11098367" y="502397"/>
                  <a:pt x="11083353" y="518566"/>
                  <a:pt x="11063719" y="518566"/>
                </a:cubicBezTo>
                <a:cubicBezTo>
                  <a:pt x="11045240" y="518566"/>
                  <a:pt x="11029071" y="502397"/>
                  <a:pt x="11029071" y="483918"/>
                </a:cubicBezTo>
                <a:cubicBezTo>
                  <a:pt x="11029071" y="465439"/>
                  <a:pt x="11044086" y="449270"/>
                  <a:pt x="11063719" y="449270"/>
                </a:cubicBezTo>
                <a:close/>
                <a:moveTo>
                  <a:pt x="9945743" y="449270"/>
                </a:moveTo>
                <a:cubicBezTo>
                  <a:pt x="9965377" y="449270"/>
                  <a:pt x="9980391" y="465439"/>
                  <a:pt x="9980391" y="483918"/>
                </a:cubicBezTo>
                <a:cubicBezTo>
                  <a:pt x="9980391" y="502397"/>
                  <a:pt x="9964222" y="518566"/>
                  <a:pt x="9945743" y="518566"/>
                </a:cubicBezTo>
                <a:cubicBezTo>
                  <a:pt x="9927264" y="518566"/>
                  <a:pt x="9911094" y="502397"/>
                  <a:pt x="9911094" y="483918"/>
                </a:cubicBezTo>
                <a:cubicBezTo>
                  <a:pt x="9911094" y="465439"/>
                  <a:pt x="9926109" y="449270"/>
                  <a:pt x="9945743" y="449270"/>
                </a:cubicBezTo>
                <a:close/>
                <a:moveTo>
                  <a:pt x="9386754" y="449270"/>
                </a:moveTo>
                <a:cubicBezTo>
                  <a:pt x="9406389" y="449270"/>
                  <a:pt x="9421402" y="465439"/>
                  <a:pt x="9421402" y="483918"/>
                </a:cubicBezTo>
                <a:cubicBezTo>
                  <a:pt x="9421402" y="502397"/>
                  <a:pt x="9405233" y="518566"/>
                  <a:pt x="9386754" y="518566"/>
                </a:cubicBezTo>
                <a:cubicBezTo>
                  <a:pt x="9368275" y="518566"/>
                  <a:pt x="9352106" y="502397"/>
                  <a:pt x="9352106" y="483918"/>
                </a:cubicBezTo>
                <a:cubicBezTo>
                  <a:pt x="9352106" y="465439"/>
                  <a:pt x="9367121" y="449270"/>
                  <a:pt x="9386754" y="449270"/>
                </a:cubicBezTo>
                <a:close/>
                <a:moveTo>
                  <a:pt x="8832937" y="449270"/>
                </a:moveTo>
                <a:cubicBezTo>
                  <a:pt x="8852571" y="449270"/>
                  <a:pt x="8867585" y="465439"/>
                  <a:pt x="8867585" y="483918"/>
                </a:cubicBezTo>
                <a:cubicBezTo>
                  <a:pt x="8867585" y="502397"/>
                  <a:pt x="8852571" y="518566"/>
                  <a:pt x="8832937" y="518566"/>
                </a:cubicBezTo>
                <a:cubicBezTo>
                  <a:pt x="8814458" y="518566"/>
                  <a:pt x="8798289" y="502397"/>
                  <a:pt x="8798289" y="483918"/>
                </a:cubicBezTo>
                <a:cubicBezTo>
                  <a:pt x="8798289" y="465439"/>
                  <a:pt x="8813304" y="449270"/>
                  <a:pt x="8832937" y="449270"/>
                </a:cubicBezTo>
                <a:close/>
                <a:moveTo>
                  <a:pt x="8273949" y="449270"/>
                </a:moveTo>
                <a:cubicBezTo>
                  <a:pt x="8293584" y="449270"/>
                  <a:pt x="8308598" y="465439"/>
                  <a:pt x="8308598" y="483918"/>
                </a:cubicBezTo>
                <a:cubicBezTo>
                  <a:pt x="8308598" y="502397"/>
                  <a:pt x="8293584" y="518566"/>
                  <a:pt x="8273949" y="518566"/>
                </a:cubicBezTo>
                <a:cubicBezTo>
                  <a:pt x="8255471" y="518566"/>
                  <a:pt x="8239301" y="502397"/>
                  <a:pt x="8239301" y="483918"/>
                </a:cubicBezTo>
                <a:cubicBezTo>
                  <a:pt x="8239301" y="465439"/>
                  <a:pt x="8254316" y="449270"/>
                  <a:pt x="8273949" y="449270"/>
                </a:cubicBezTo>
                <a:close/>
                <a:moveTo>
                  <a:pt x="6458393" y="449270"/>
                </a:moveTo>
                <a:cubicBezTo>
                  <a:pt x="6476871" y="449270"/>
                  <a:pt x="6493041" y="465439"/>
                  <a:pt x="6493041" y="483918"/>
                </a:cubicBezTo>
                <a:cubicBezTo>
                  <a:pt x="6493041" y="502397"/>
                  <a:pt x="6476871" y="518566"/>
                  <a:pt x="6458393" y="518566"/>
                </a:cubicBezTo>
                <a:cubicBezTo>
                  <a:pt x="6439914" y="518566"/>
                  <a:pt x="6423745" y="502397"/>
                  <a:pt x="6423745" y="483918"/>
                </a:cubicBezTo>
                <a:cubicBezTo>
                  <a:pt x="6423745" y="465439"/>
                  <a:pt x="6438760" y="449270"/>
                  <a:pt x="6458393" y="449270"/>
                </a:cubicBezTo>
                <a:close/>
                <a:moveTo>
                  <a:pt x="5340416" y="449270"/>
                </a:moveTo>
                <a:cubicBezTo>
                  <a:pt x="5360051" y="449270"/>
                  <a:pt x="5375064" y="465439"/>
                  <a:pt x="5375064" y="483918"/>
                </a:cubicBezTo>
                <a:cubicBezTo>
                  <a:pt x="5375064" y="502397"/>
                  <a:pt x="5358895" y="518566"/>
                  <a:pt x="5340416" y="518566"/>
                </a:cubicBezTo>
                <a:cubicBezTo>
                  <a:pt x="5321938" y="518566"/>
                  <a:pt x="5305769" y="502397"/>
                  <a:pt x="5305769" y="483918"/>
                </a:cubicBezTo>
                <a:cubicBezTo>
                  <a:pt x="5305769" y="465439"/>
                  <a:pt x="5320783" y="449270"/>
                  <a:pt x="5340416" y="449270"/>
                </a:cubicBezTo>
                <a:close/>
                <a:moveTo>
                  <a:pt x="4781429" y="449270"/>
                </a:moveTo>
                <a:cubicBezTo>
                  <a:pt x="4801062" y="449270"/>
                  <a:pt x="4816075" y="465439"/>
                  <a:pt x="4816075" y="483918"/>
                </a:cubicBezTo>
                <a:cubicBezTo>
                  <a:pt x="4816075" y="502397"/>
                  <a:pt x="4799906" y="518566"/>
                  <a:pt x="4781429" y="518566"/>
                </a:cubicBezTo>
                <a:cubicBezTo>
                  <a:pt x="4762949" y="518566"/>
                  <a:pt x="4746781" y="502397"/>
                  <a:pt x="4746781" y="483918"/>
                </a:cubicBezTo>
                <a:cubicBezTo>
                  <a:pt x="4746781" y="465439"/>
                  <a:pt x="4761794" y="449270"/>
                  <a:pt x="4781429" y="449270"/>
                </a:cubicBezTo>
                <a:close/>
                <a:moveTo>
                  <a:pt x="4220129" y="449270"/>
                </a:moveTo>
                <a:cubicBezTo>
                  <a:pt x="4239764" y="449270"/>
                  <a:pt x="4254779" y="465439"/>
                  <a:pt x="4254779" y="483918"/>
                </a:cubicBezTo>
                <a:cubicBezTo>
                  <a:pt x="4254779" y="502397"/>
                  <a:pt x="4239764" y="518566"/>
                  <a:pt x="4220129" y="518566"/>
                </a:cubicBezTo>
                <a:cubicBezTo>
                  <a:pt x="4201651" y="518566"/>
                  <a:pt x="4185482" y="502397"/>
                  <a:pt x="4185482" y="483918"/>
                </a:cubicBezTo>
                <a:cubicBezTo>
                  <a:pt x="4185482" y="465439"/>
                  <a:pt x="4200498" y="449270"/>
                  <a:pt x="4220129" y="449270"/>
                </a:cubicBezTo>
                <a:close/>
                <a:moveTo>
                  <a:pt x="3661142" y="449270"/>
                </a:moveTo>
                <a:cubicBezTo>
                  <a:pt x="3680776" y="449270"/>
                  <a:pt x="3695791" y="465439"/>
                  <a:pt x="3695791" y="483918"/>
                </a:cubicBezTo>
                <a:cubicBezTo>
                  <a:pt x="3695791" y="502397"/>
                  <a:pt x="3680776" y="518566"/>
                  <a:pt x="3661142" y="518566"/>
                </a:cubicBezTo>
                <a:cubicBezTo>
                  <a:pt x="3642663" y="518566"/>
                  <a:pt x="3626494" y="502397"/>
                  <a:pt x="3626494" y="483918"/>
                </a:cubicBezTo>
                <a:cubicBezTo>
                  <a:pt x="3626494" y="465439"/>
                  <a:pt x="3641508" y="449270"/>
                  <a:pt x="3661142" y="449270"/>
                </a:cubicBezTo>
                <a:close/>
                <a:moveTo>
                  <a:pt x="1845585" y="449270"/>
                </a:moveTo>
                <a:cubicBezTo>
                  <a:pt x="1864064" y="449270"/>
                  <a:pt x="1880233" y="465439"/>
                  <a:pt x="1880233" y="483918"/>
                </a:cubicBezTo>
                <a:cubicBezTo>
                  <a:pt x="1880233" y="502397"/>
                  <a:pt x="1865220" y="518566"/>
                  <a:pt x="1845585" y="518566"/>
                </a:cubicBezTo>
                <a:cubicBezTo>
                  <a:pt x="1827106" y="518566"/>
                  <a:pt x="1810937" y="502397"/>
                  <a:pt x="1810937" y="483918"/>
                </a:cubicBezTo>
                <a:cubicBezTo>
                  <a:pt x="1810937" y="465439"/>
                  <a:pt x="1825952" y="449270"/>
                  <a:pt x="1845585" y="449270"/>
                </a:cubicBezTo>
                <a:close/>
                <a:moveTo>
                  <a:pt x="727609" y="449270"/>
                </a:moveTo>
                <a:cubicBezTo>
                  <a:pt x="747243" y="449270"/>
                  <a:pt x="762257" y="465439"/>
                  <a:pt x="762257" y="483918"/>
                </a:cubicBezTo>
                <a:cubicBezTo>
                  <a:pt x="762257" y="502397"/>
                  <a:pt x="746088" y="518566"/>
                  <a:pt x="727609" y="518566"/>
                </a:cubicBezTo>
                <a:cubicBezTo>
                  <a:pt x="709130" y="518566"/>
                  <a:pt x="692961" y="502397"/>
                  <a:pt x="692961" y="483918"/>
                </a:cubicBezTo>
                <a:cubicBezTo>
                  <a:pt x="692961" y="465439"/>
                  <a:pt x="707976" y="449270"/>
                  <a:pt x="727609" y="449270"/>
                </a:cubicBezTo>
                <a:close/>
                <a:moveTo>
                  <a:pt x="168621" y="449270"/>
                </a:moveTo>
                <a:cubicBezTo>
                  <a:pt x="188255" y="449270"/>
                  <a:pt x="203269" y="465439"/>
                  <a:pt x="203269" y="483918"/>
                </a:cubicBezTo>
                <a:cubicBezTo>
                  <a:pt x="203269" y="502397"/>
                  <a:pt x="187100" y="518566"/>
                  <a:pt x="168621" y="518566"/>
                </a:cubicBezTo>
                <a:cubicBezTo>
                  <a:pt x="150142" y="518566"/>
                  <a:pt x="133973" y="502397"/>
                  <a:pt x="133973" y="483918"/>
                </a:cubicBezTo>
                <a:cubicBezTo>
                  <a:pt x="133973" y="465439"/>
                  <a:pt x="148988" y="449270"/>
                  <a:pt x="168621" y="449270"/>
                </a:cubicBezTo>
                <a:close/>
                <a:moveTo>
                  <a:pt x="10923972" y="443495"/>
                </a:moveTo>
                <a:cubicBezTo>
                  <a:pt x="10945916" y="443495"/>
                  <a:pt x="10964394" y="461974"/>
                  <a:pt x="10964394" y="483918"/>
                </a:cubicBezTo>
                <a:cubicBezTo>
                  <a:pt x="10964394" y="505861"/>
                  <a:pt x="10945916" y="524340"/>
                  <a:pt x="10923972" y="524340"/>
                </a:cubicBezTo>
                <a:cubicBezTo>
                  <a:pt x="10902028" y="524340"/>
                  <a:pt x="10883549" y="505861"/>
                  <a:pt x="10883549" y="483918"/>
                </a:cubicBezTo>
                <a:cubicBezTo>
                  <a:pt x="10883549" y="461974"/>
                  <a:pt x="10902028" y="443495"/>
                  <a:pt x="10923972" y="443495"/>
                </a:cubicBezTo>
                <a:close/>
                <a:moveTo>
                  <a:pt x="9805996" y="443495"/>
                </a:moveTo>
                <a:cubicBezTo>
                  <a:pt x="9827939" y="443495"/>
                  <a:pt x="9846418" y="461974"/>
                  <a:pt x="9846418" y="483918"/>
                </a:cubicBezTo>
                <a:cubicBezTo>
                  <a:pt x="9846418" y="505861"/>
                  <a:pt x="9827939" y="524340"/>
                  <a:pt x="9805996" y="524340"/>
                </a:cubicBezTo>
                <a:cubicBezTo>
                  <a:pt x="9784052" y="524340"/>
                  <a:pt x="9765573" y="505861"/>
                  <a:pt x="9765573" y="483918"/>
                </a:cubicBezTo>
                <a:cubicBezTo>
                  <a:pt x="9765573" y="461974"/>
                  <a:pt x="9784052" y="443495"/>
                  <a:pt x="9805996" y="443495"/>
                </a:cubicBezTo>
                <a:close/>
                <a:moveTo>
                  <a:pt x="9526502" y="443495"/>
                </a:moveTo>
                <a:cubicBezTo>
                  <a:pt x="9548445" y="443495"/>
                  <a:pt x="9566924" y="461974"/>
                  <a:pt x="9566924" y="483918"/>
                </a:cubicBezTo>
                <a:cubicBezTo>
                  <a:pt x="9566924" y="505861"/>
                  <a:pt x="9548445" y="524340"/>
                  <a:pt x="9526502" y="524340"/>
                </a:cubicBezTo>
                <a:cubicBezTo>
                  <a:pt x="9504558" y="524340"/>
                  <a:pt x="9486079" y="505861"/>
                  <a:pt x="9486079" y="483918"/>
                </a:cubicBezTo>
                <a:cubicBezTo>
                  <a:pt x="9486079" y="461974"/>
                  <a:pt x="9504558" y="443495"/>
                  <a:pt x="9526502" y="443495"/>
                </a:cubicBezTo>
                <a:close/>
                <a:moveTo>
                  <a:pt x="8693190" y="443495"/>
                </a:moveTo>
                <a:cubicBezTo>
                  <a:pt x="8715134" y="443495"/>
                  <a:pt x="8733613" y="461974"/>
                  <a:pt x="8733613" y="483918"/>
                </a:cubicBezTo>
                <a:cubicBezTo>
                  <a:pt x="8733613" y="505861"/>
                  <a:pt x="8715134" y="524340"/>
                  <a:pt x="8693190" y="524340"/>
                </a:cubicBezTo>
                <a:cubicBezTo>
                  <a:pt x="8671246" y="524340"/>
                  <a:pt x="8652767" y="505861"/>
                  <a:pt x="8652767" y="483918"/>
                </a:cubicBezTo>
                <a:cubicBezTo>
                  <a:pt x="8652767" y="461974"/>
                  <a:pt x="8671246" y="443495"/>
                  <a:pt x="8693190" y="443495"/>
                </a:cubicBezTo>
                <a:close/>
                <a:moveTo>
                  <a:pt x="8413696" y="443495"/>
                </a:moveTo>
                <a:cubicBezTo>
                  <a:pt x="8435640" y="443495"/>
                  <a:pt x="8454118" y="461974"/>
                  <a:pt x="8454118" y="483918"/>
                </a:cubicBezTo>
                <a:cubicBezTo>
                  <a:pt x="8454118" y="505861"/>
                  <a:pt x="8435640" y="524340"/>
                  <a:pt x="8413696" y="524340"/>
                </a:cubicBezTo>
                <a:cubicBezTo>
                  <a:pt x="8391752" y="524340"/>
                  <a:pt x="8373274" y="505861"/>
                  <a:pt x="8373274" y="483918"/>
                </a:cubicBezTo>
                <a:cubicBezTo>
                  <a:pt x="8373274" y="461974"/>
                  <a:pt x="8391752" y="443495"/>
                  <a:pt x="8413696" y="443495"/>
                </a:cubicBezTo>
                <a:close/>
                <a:moveTo>
                  <a:pt x="6318647" y="443495"/>
                </a:moveTo>
                <a:cubicBezTo>
                  <a:pt x="6340589" y="443495"/>
                  <a:pt x="6359068" y="461974"/>
                  <a:pt x="6359068" y="483918"/>
                </a:cubicBezTo>
                <a:cubicBezTo>
                  <a:pt x="6359068" y="505861"/>
                  <a:pt x="6340589" y="524340"/>
                  <a:pt x="6318647" y="524340"/>
                </a:cubicBezTo>
                <a:cubicBezTo>
                  <a:pt x="6296702" y="524340"/>
                  <a:pt x="6278223" y="505861"/>
                  <a:pt x="6278223" y="483918"/>
                </a:cubicBezTo>
                <a:cubicBezTo>
                  <a:pt x="6278223" y="461974"/>
                  <a:pt x="6296702" y="443495"/>
                  <a:pt x="6318647" y="443495"/>
                </a:cubicBezTo>
                <a:close/>
                <a:moveTo>
                  <a:pt x="5200669" y="443495"/>
                </a:moveTo>
                <a:cubicBezTo>
                  <a:pt x="5222613" y="443495"/>
                  <a:pt x="5241093" y="461974"/>
                  <a:pt x="5241093" y="483918"/>
                </a:cubicBezTo>
                <a:cubicBezTo>
                  <a:pt x="5241093" y="505861"/>
                  <a:pt x="5222613" y="524340"/>
                  <a:pt x="5200669" y="524340"/>
                </a:cubicBezTo>
                <a:cubicBezTo>
                  <a:pt x="5178725" y="524340"/>
                  <a:pt x="5160247" y="505861"/>
                  <a:pt x="5160247" y="483918"/>
                </a:cubicBezTo>
                <a:cubicBezTo>
                  <a:pt x="5160247" y="461974"/>
                  <a:pt x="5178725" y="443495"/>
                  <a:pt x="5200669" y="443495"/>
                </a:cubicBezTo>
                <a:close/>
                <a:moveTo>
                  <a:pt x="4921176" y="443495"/>
                </a:moveTo>
                <a:cubicBezTo>
                  <a:pt x="4944275" y="443495"/>
                  <a:pt x="4961597" y="461974"/>
                  <a:pt x="4961597" y="483918"/>
                </a:cubicBezTo>
                <a:cubicBezTo>
                  <a:pt x="4961597" y="505861"/>
                  <a:pt x="4943120" y="524340"/>
                  <a:pt x="4921176" y="524340"/>
                </a:cubicBezTo>
                <a:cubicBezTo>
                  <a:pt x="4899232" y="524340"/>
                  <a:pt x="4880752" y="505861"/>
                  <a:pt x="4880752" y="483918"/>
                </a:cubicBezTo>
                <a:cubicBezTo>
                  <a:pt x="4880752" y="461974"/>
                  <a:pt x="4899232" y="443495"/>
                  <a:pt x="4921176" y="443495"/>
                </a:cubicBezTo>
                <a:close/>
                <a:moveTo>
                  <a:pt x="4080383" y="443495"/>
                </a:moveTo>
                <a:cubicBezTo>
                  <a:pt x="4102326" y="443495"/>
                  <a:pt x="4120806" y="461974"/>
                  <a:pt x="4120806" y="483918"/>
                </a:cubicBezTo>
                <a:cubicBezTo>
                  <a:pt x="4120806" y="505861"/>
                  <a:pt x="4102326" y="524340"/>
                  <a:pt x="4080383" y="524340"/>
                </a:cubicBezTo>
                <a:cubicBezTo>
                  <a:pt x="4058439" y="524340"/>
                  <a:pt x="4039961" y="505861"/>
                  <a:pt x="4039961" y="483918"/>
                </a:cubicBezTo>
                <a:cubicBezTo>
                  <a:pt x="4039961" y="461974"/>
                  <a:pt x="4058439" y="443495"/>
                  <a:pt x="4080383" y="443495"/>
                </a:cubicBezTo>
                <a:close/>
                <a:moveTo>
                  <a:pt x="3800889" y="443495"/>
                </a:moveTo>
                <a:cubicBezTo>
                  <a:pt x="3822833" y="443495"/>
                  <a:pt x="3841311" y="461974"/>
                  <a:pt x="3841311" y="483918"/>
                </a:cubicBezTo>
                <a:cubicBezTo>
                  <a:pt x="3841311" y="505861"/>
                  <a:pt x="3822833" y="524340"/>
                  <a:pt x="3800889" y="524340"/>
                </a:cubicBezTo>
                <a:cubicBezTo>
                  <a:pt x="3778945" y="524340"/>
                  <a:pt x="3760466" y="505861"/>
                  <a:pt x="3760466" y="483918"/>
                </a:cubicBezTo>
                <a:cubicBezTo>
                  <a:pt x="3760466" y="461974"/>
                  <a:pt x="3778945" y="443495"/>
                  <a:pt x="3800889" y="443495"/>
                </a:cubicBezTo>
                <a:close/>
                <a:moveTo>
                  <a:pt x="1705839" y="443495"/>
                </a:moveTo>
                <a:cubicBezTo>
                  <a:pt x="1727782" y="443495"/>
                  <a:pt x="1746261" y="461974"/>
                  <a:pt x="1746261" y="483918"/>
                </a:cubicBezTo>
                <a:cubicBezTo>
                  <a:pt x="1746261" y="505861"/>
                  <a:pt x="1727782" y="524340"/>
                  <a:pt x="1705839" y="524340"/>
                </a:cubicBezTo>
                <a:cubicBezTo>
                  <a:pt x="1683894" y="524340"/>
                  <a:pt x="1665415" y="505861"/>
                  <a:pt x="1665415" y="483918"/>
                </a:cubicBezTo>
                <a:cubicBezTo>
                  <a:pt x="1665415" y="461974"/>
                  <a:pt x="1683894" y="443495"/>
                  <a:pt x="1705839" y="443495"/>
                </a:cubicBezTo>
                <a:close/>
                <a:moveTo>
                  <a:pt x="587862" y="443495"/>
                </a:moveTo>
                <a:cubicBezTo>
                  <a:pt x="609806" y="443495"/>
                  <a:pt x="628284" y="461974"/>
                  <a:pt x="628284" y="483918"/>
                </a:cubicBezTo>
                <a:cubicBezTo>
                  <a:pt x="628284" y="505861"/>
                  <a:pt x="609806" y="524340"/>
                  <a:pt x="587862" y="524340"/>
                </a:cubicBezTo>
                <a:cubicBezTo>
                  <a:pt x="565918" y="524340"/>
                  <a:pt x="547439" y="505861"/>
                  <a:pt x="547439" y="483918"/>
                </a:cubicBezTo>
                <a:cubicBezTo>
                  <a:pt x="547439" y="461974"/>
                  <a:pt x="565918" y="443495"/>
                  <a:pt x="587862" y="443495"/>
                </a:cubicBezTo>
                <a:close/>
                <a:moveTo>
                  <a:pt x="308368" y="443495"/>
                </a:moveTo>
                <a:cubicBezTo>
                  <a:pt x="330311" y="443495"/>
                  <a:pt x="348790" y="461974"/>
                  <a:pt x="348790" y="483918"/>
                </a:cubicBezTo>
                <a:cubicBezTo>
                  <a:pt x="348790" y="505861"/>
                  <a:pt x="330311" y="524340"/>
                  <a:pt x="308368" y="524340"/>
                </a:cubicBezTo>
                <a:cubicBezTo>
                  <a:pt x="286424" y="524340"/>
                  <a:pt x="267945" y="505861"/>
                  <a:pt x="267945" y="483918"/>
                </a:cubicBezTo>
                <a:cubicBezTo>
                  <a:pt x="267945" y="461974"/>
                  <a:pt x="286424" y="443495"/>
                  <a:pt x="308368" y="443495"/>
                </a:cubicBezTo>
                <a:close/>
                <a:moveTo>
                  <a:pt x="10784225" y="433101"/>
                </a:moveTo>
                <a:cubicBezTo>
                  <a:pt x="10811943" y="433101"/>
                  <a:pt x="10835042" y="456200"/>
                  <a:pt x="10835042" y="483918"/>
                </a:cubicBezTo>
                <a:cubicBezTo>
                  <a:pt x="10835042" y="511636"/>
                  <a:pt x="10811943" y="534735"/>
                  <a:pt x="10784225" y="534735"/>
                </a:cubicBezTo>
                <a:cubicBezTo>
                  <a:pt x="10756506" y="534735"/>
                  <a:pt x="10733408" y="511636"/>
                  <a:pt x="10733408" y="483918"/>
                </a:cubicBezTo>
                <a:cubicBezTo>
                  <a:pt x="10733408" y="456200"/>
                  <a:pt x="10755352" y="433101"/>
                  <a:pt x="10784225" y="433101"/>
                </a:cubicBezTo>
                <a:close/>
                <a:moveTo>
                  <a:pt x="9666248" y="433101"/>
                </a:moveTo>
                <a:cubicBezTo>
                  <a:pt x="9695122" y="433101"/>
                  <a:pt x="9717066" y="456200"/>
                  <a:pt x="9717066" y="483918"/>
                </a:cubicBezTo>
                <a:cubicBezTo>
                  <a:pt x="9717066" y="511636"/>
                  <a:pt x="9695122" y="534735"/>
                  <a:pt x="9666248" y="534735"/>
                </a:cubicBezTo>
                <a:cubicBezTo>
                  <a:pt x="9638530" y="534735"/>
                  <a:pt x="9615431" y="511636"/>
                  <a:pt x="9615431" y="483918"/>
                </a:cubicBezTo>
                <a:cubicBezTo>
                  <a:pt x="9615431" y="456200"/>
                  <a:pt x="9637376" y="433101"/>
                  <a:pt x="9666248" y="433101"/>
                </a:cubicBezTo>
                <a:close/>
                <a:moveTo>
                  <a:pt x="8553443" y="433101"/>
                </a:moveTo>
                <a:cubicBezTo>
                  <a:pt x="8582317" y="433101"/>
                  <a:pt x="8604260" y="456200"/>
                  <a:pt x="8604260" y="483918"/>
                </a:cubicBezTo>
                <a:cubicBezTo>
                  <a:pt x="8604260" y="511636"/>
                  <a:pt x="8582317" y="534735"/>
                  <a:pt x="8553443" y="534735"/>
                </a:cubicBezTo>
                <a:cubicBezTo>
                  <a:pt x="8525724" y="534735"/>
                  <a:pt x="8502626" y="511636"/>
                  <a:pt x="8502626" y="483918"/>
                </a:cubicBezTo>
                <a:cubicBezTo>
                  <a:pt x="8502626" y="456200"/>
                  <a:pt x="8524570" y="433101"/>
                  <a:pt x="8553443" y="433101"/>
                </a:cubicBezTo>
                <a:close/>
                <a:moveTo>
                  <a:pt x="6178898" y="433101"/>
                </a:moveTo>
                <a:cubicBezTo>
                  <a:pt x="6206618" y="433101"/>
                  <a:pt x="6229715" y="456200"/>
                  <a:pt x="6229715" y="483918"/>
                </a:cubicBezTo>
                <a:cubicBezTo>
                  <a:pt x="6229715" y="511636"/>
                  <a:pt x="6206618" y="534735"/>
                  <a:pt x="6178898" y="534735"/>
                </a:cubicBezTo>
                <a:cubicBezTo>
                  <a:pt x="6151180" y="534735"/>
                  <a:pt x="6128081" y="511636"/>
                  <a:pt x="6128081" y="483918"/>
                </a:cubicBezTo>
                <a:cubicBezTo>
                  <a:pt x="6128081" y="456200"/>
                  <a:pt x="6150025" y="433101"/>
                  <a:pt x="6178898" y="433101"/>
                </a:cubicBezTo>
                <a:close/>
                <a:moveTo>
                  <a:pt x="5060922" y="433101"/>
                </a:moveTo>
                <a:cubicBezTo>
                  <a:pt x="5089795" y="433101"/>
                  <a:pt x="5111739" y="456200"/>
                  <a:pt x="5111739" y="483918"/>
                </a:cubicBezTo>
                <a:cubicBezTo>
                  <a:pt x="5111739" y="511636"/>
                  <a:pt x="5088641" y="534735"/>
                  <a:pt x="5060922" y="534735"/>
                </a:cubicBezTo>
                <a:cubicBezTo>
                  <a:pt x="5033205" y="534735"/>
                  <a:pt x="5010105" y="511636"/>
                  <a:pt x="5010105" y="483918"/>
                </a:cubicBezTo>
                <a:cubicBezTo>
                  <a:pt x="5010105" y="456200"/>
                  <a:pt x="5032050" y="433101"/>
                  <a:pt x="5060922" y="433101"/>
                </a:cubicBezTo>
                <a:close/>
                <a:moveTo>
                  <a:pt x="3940636" y="433101"/>
                </a:moveTo>
                <a:cubicBezTo>
                  <a:pt x="3969510" y="433101"/>
                  <a:pt x="3991453" y="456200"/>
                  <a:pt x="3991453" y="483918"/>
                </a:cubicBezTo>
                <a:cubicBezTo>
                  <a:pt x="3991453" y="511636"/>
                  <a:pt x="3969510" y="534735"/>
                  <a:pt x="3940636" y="534735"/>
                </a:cubicBezTo>
                <a:cubicBezTo>
                  <a:pt x="3912917" y="534735"/>
                  <a:pt x="3889819" y="511636"/>
                  <a:pt x="3889819" y="483918"/>
                </a:cubicBezTo>
                <a:cubicBezTo>
                  <a:pt x="3889819" y="456200"/>
                  <a:pt x="3911763" y="433101"/>
                  <a:pt x="3940636" y="433101"/>
                </a:cubicBezTo>
                <a:close/>
                <a:moveTo>
                  <a:pt x="1566091" y="433101"/>
                </a:moveTo>
                <a:cubicBezTo>
                  <a:pt x="1593810" y="433101"/>
                  <a:pt x="1616908" y="456200"/>
                  <a:pt x="1616908" y="483918"/>
                </a:cubicBezTo>
                <a:cubicBezTo>
                  <a:pt x="1616908" y="511636"/>
                  <a:pt x="1593810" y="534735"/>
                  <a:pt x="1566091" y="534735"/>
                </a:cubicBezTo>
                <a:cubicBezTo>
                  <a:pt x="1538373" y="534735"/>
                  <a:pt x="1515274" y="511636"/>
                  <a:pt x="1515274" y="483918"/>
                </a:cubicBezTo>
                <a:cubicBezTo>
                  <a:pt x="1515274" y="456200"/>
                  <a:pt x="1537218" y="433101"/>
                  <a:pt x="1566091" y="433101"/>
                </a:cubicBezTo>
                <a:close/>
                <a:moveTo>
                  <a:pt x="448115" y="433101"/>
                </a:moveTo>
                <a:cubicBezTo>
                  <a:pt x="476989" y="433101"/>
                  <a:pt x="498932" y="456200"/>
                  <a:pt x="498932" y="483918"/>
                </a:cubicBezTo>
                <a:cubicBezTo>
                  <a:pt x="498932" y="511636"/>
                  <a:pt x="476989" y="534735"/>
                  <a:pt x="448115" y="534735"/>
                </a:cubicBezTo>
                <a:cubicBezTo>
                  <a:pt x="420396" y="534735"/>
                  <a:pt x="397298" y="511636"/>
                  <a:pt x="397298" y="483918"/>
                </a:cubicBezTo>
                <a:cubicBezTo>
                  <a:pt x="397298" y="456200"/>
                  <a:pt x="419242" y="433101"/>
                  <a:pt x="448115" y="433101"/>
                </a:cubicBezTo>
                <a:close/>
                <a:moveTo>
                  <a:pt x="12210569" y="319917"/>
                </a:moveTo>
                <a:cubicBezTo>
                  <a:pt x="12220963" y="319917"/>
                  <a:pt x="12231358" y="329157"/>
                  <a:pt x="12231358" y="340706"/>
                </a:cubicBezTo>
                <a:cubicBezTo>
                  <a:pt x="12231358" y="352256"/>
                  <a:pt x="12222118" y="361495"/>
                  <a:pt x="12210569" y="361495"/>
                </a:cubicBezTo>
                <a:cubicBezTo>
                  <a:pt x="12199020" y="361495"/>
                  <a:pt x="12189780" y="352256"/>
                  <a:pt x="12189780" y="340706"/>
                </a:cubicBezTo>
                <a:cubicBezTo>
                  <a:pt x="12189780" y="329157"/>
                  <a:pt x="12199020" y="319917"/>
                  <a:pt x="12210569" y="319917"/>
                </a:cubicBezTo>
                <a:close/>
                <a:moveTo>
                  <a:pt x="12071977" y="319917"/>
                </a:moveTo>
                <a:cubicBezTo>
                  <a:pt x="12083526" y="319917"/>
                  <a:pt x="12092766" y="329157"/>
                  <a:pt x="12092766" y="340706"/>
                </a:cubicBezTo>
                <a:cubicBezTo>
                  <a:pt x="12092766" y="352256"/>
                  <a:pt x="12083526" y="361495"/>
                  <a:pt x="12071977" y="361495"/>
                </a:cubicBezTo>
                <a:cubicBezTo>
                  <a:pt x="12060428" y="361495"/>
                  <a:pt x="12051188" y="352256"/>
                  <a:pt x="12051188" y="340706"/>
                </a:cubicBezTo>
                <a:cubicBezTo>
                  <a:pt x="12051188" y="329157"/>
                  <a:pt x="12060428" y="319917"/>
                  <a:pt x="12071977" y="319917"/>
                </a:cubicBezTo>
                <a:close/>
                <a:moveTo>
                  <a:pt x="11934539" y="319917"/>
                </a:moveTo>
                <a:cubicBezTo>
                  <a:pt x="11946088" y="319917"/>
                  <a:pt x="11955328" y="329157"/>
                  <a:pt x="11955328" y="340706"/>
                </a:cubicBezTo>
                <a:cubicBezTo>
                  <a:pt x="11955328" y="352256"/>
                  <a:pt x="11946088" y="361495"/>
                  <a:pt x="11934539" y="361495"/>
                </a:cubicBezTo>
                <a:cubicBezTo>
                  <a:pt x="11922990" y="361495"/>
                  <a:pt x="11913750" y="352256"/>
                  <a:pt x="11913750" y="340706"/>
                </a:cubicBezTo>
                <a:cubicBezTo>
                  <a:pt x="11913750" y="329157"/>
                  <a:pt x="11922990" y="319917"/>
                  <a:pt x="11934539" y="319917"/>
                </a:cubicBezTo>
                <a:close/>
                <a:moveTo>
                  <a:pt x="11797103" y="319917"/>
                </a:moveTo>
                <a:cubicBezTo>
                  <a:pt x="11808652" y="319917"/>
                  <a:pt x="11817892" y="329157"/>
                  <a:pt x="11817892" y="340706"/>
                </a:cubicBezTo>
                <a:cubicBezTo>
                  <a:pt x="11817892" y="352256"/>
                  <a:pt x="11808652" y="361495"/>
                  <a:pt x="11797103" y="361495"/>
                </a:cubicBezTo>
                <a:cubicBezTo>
                  <a:pt x="11785553" y="361495"/>
                  <a:pt x="11776314" y="352256"/>
                  <a:pt x="11776314" y="340706"/>
                </a:cubicBezTo>
                <a:cubicBezTo>
                  <a:pt x="11776314" y="329157"/>
                  <a:pt x="11785553" y="319917"/>
                  <a:pt x="11797103" y="319917"/>
                </a:cubicBezTo>
                <a:close/>
                <a:moveTo>
                  <a:pt x="10645633" y="319917"/>
                </a:moveTo>
                <a:cubicBezTo>
                  <a:pt x="10657182" y="319917"/>
                  <a:pt x="10666422" y="329157"/>
                  <a:pt x="10666422" y="340706"/>
                </a:cubicBezTo>
                <a:cubicBezTo>
                  <a:pt x="10666422" y="352256"/>
                  <a:pt x="10657182" y="361495"/>
                  <a:pt x="10645633" y="361495"/>
                </a:cubicBezTo>
                <a:cubicBezTo>
                  <a:pt x="10634083" y="361495"/>
                  <a:pt x="10624844" y="352256"/>
                  <a:pt x="10624844" y="340706"/>
                </a:cubicBezTo>
                <a:cubicBezTo>
                  <a:pt x="10624844" y="329157"/>
                  <a:pt x="10634083" y="319917"/>
                  <a:pt x="10645633" y="319917"/>
                </a:cubicBezTo>
                <a:close/>
                <a:moveTo>
                  <a:pt x="9247008" y="319917"/>
                </a:moveTo>
                <a:cubicBezTo>
                  <a:pt x="9258557" y="319917"/>
                  <a:pt x="9267797" y="329157"/>
                  <a:pt x="9267797" y="340706"/>
                </a:cubicBezTo>
                <a:cubicBezTo>
                  <a:pt x="9267797" y="352256"/>
                  <a:pt x="9258557" y="361495"/>
                  <a:pt x="9247008" y="361495"/>
                </a:cubicBezTo>
                <a:cubicBezTo>
                  <a:pt x="9235459" y="361495"/>
                  <a:pt x="9226219" y="352256"/>
                  <a:pt x="9226219" y="340706"/>
                </a:cubicBezTo>
                <a:cubicBezTo>
                  <a:pt x="9226219" y="329157"/>
                  <a:pt x="9235459" y="319917"/>
                  <a:pt x="9247008" y="319917"/>
                </a:cubicBezTo>
                <a:close/>
                <a:moveTo>
                  <a:pt x="8148062" y="319917"/>
                </a:moveTo>
                <a:cubicBezTo>
                  <a:pt x="8158457" y="319917"/>
                  <a:pt x="8168851" y="329157"/>
                  <a:pt x="8168851" y="340706"/>
                </a:cubicBezTo>
                <a:cubicBezTo>
                  <a:pt x="8168851" y="352256"/>
                  <a:pt x="8159611" y="361495"/>
                  <a:pt x="8148062" y="361495"/>
                </a:cubicBezTo>
                <a:cubicBezTo>
                  <a:pt x="8136513" y="361495"/>
                  <a:pt x="8127274" y="352256"/>
                  <a:pt x="8127274" y="340706"/>
                </a:cubicBezTo>
                <a:cubicBezTo>
                  <a:pt x="8127274" y="329157"/>
                  <a:pt x="8136513" y="319917"/>
                  <a:pt x="8148062" y="319917"/>
                </a:cubicBezTo>
                <a:close/>
                <a:moveTo>
                  <a:pt x="8009471" y="319917"/>
                </a:moveTo>
                <a:cubicBezTo>
                  <a:pt x="8021020" y="319917"/>
                  <a:pt x="8030259" y="329157"/>
                  <a:pt x="8030259" y="340706"/>
                </a:cubicBezTo>
                <a:cubicBezTo>
                  <a:pt x="8030259" y="352256"/>
                  <a:pt x="8021020" y="361495"/>
                  <a:pt x="8009471" y="361495"/>
                </a:cubicBezTo>
                <a:cubicBezTo>
                  <a:pt x="7997920" y="361495"/>
                  <a:pt x="7988682" y="352256"/>
                  <a:pt x="7988682" y="340706"/>
                </a:cubicBezTo>
                <a:cubicBezTo>
                  <a:pt x="7988682" y="329157"/>
                  <a:pt x="7997920" y="319917"/>
                  <a:pt x="8009471" y="319917"/>
                </a:cubicBezTo>
                <a:close/>
                <a:moveTo>
                  <a:pt x="7872031" y="319917"/>
                </a:moveTo>
                <a:cubicBezTo>
                  <a:pt x="7883582" y="319917"/>
                  <a:pt x="7892822" y="329157"/>
                  <a:pt x="7892822" y="340706"/>
                </a:cubicBezTo>
                <a:cubicBezTo>
                  <a:pt x="7892822" y="352256"/>
                  <a:pt x="7883582" y="361495"/>
                  <a:pt x="7872031" y="361495"/>
                </a:cubicBezTo>
                <a:cubicBezTo>
                  <a:pt x="7860484" y="361495"/>
                  <a:pt x="7851244" y="352256"/>
                  <a:pt x="7851244" y="340706"/>
                </a:cubicBezTo>
                <a:cubicBezTo>
                  <a:pt x="7851244" y="329157"/>
                  <a:pt x="7860484" y="319917"/>
                  <a:pt x="7872031" y="319917"/>
                </a:cubicBezTo>
                <a:close/>
                <a:moveTo>
                  <a:pt x="7713807" y="319917"/>
                </a:moveTo>
                <a:cubicBezTo>
                  <a:pt x="7725356" y="319917"/>
                  <a:pt x="7734596" y="329157"/>
                  <a:pt x="7734596" y="340706"/>
                </a:cubicBezTo>
                <a:cubicBezTo>
                  <a:pt x="7734596" y="352256"/>
                  <a:pt x="7725356" y="361495"/>
                  <a:pt x="7713807" y="361495"/>
                </a:cubicBezTo>
                <a:cubicBezTo>
                  <a:pt x="7702258" y="361495"/>
                  <a:pt x="7693019" y="352256"/>
                  <a:pt x="7693019" y="340706"/>
                </a:cubicBezTo>
                <a:cubicBezTo>
                  <a:pt x="7693019" y="329157"/>
                  <a:pt x="7702258" y="319917"/>
                  <a:pt x="7713807" y="319917"/>
                </a:cubicBezTo>
                <a:close/>
                <a:moveTo>
                  <a:pt x="7605244" y="319917"/>
                </a:moveTo>
                <a:cubicBezTo>
                  <a:pt x="7616793" y="319917"/>
                  <a:pt x="7626031" y="329157"/>
                  <a:pt x="7626031" y="340706"/>
                </a:cubicBezTo>
                <a:cubicBezTo>
                  <a:pt x="7626031" y="352256"/>
                  <a:pt x="7616793" y="361495"/>
                  <a:pt x="7605244" y="361495"/>
                </a:cubicBezTo>
                <a:cubicBezTo>
                  <a:pt x="7593693" y="361495"/>
                  <a:pt x="7584454" y="352256"/>
                  <a:pt x="7584454" y="340706"/>
                </a:cubicBezTo>
                <a:cubicBezTo>
                  <a:pt x="7584454" y="329157"/>
                  <a:pt x="7593693" y="319917"/>
                  <a:pt x="7605244" y="319917"/>
                </a:cubicBezTo>
                <a:close/>
                <a:moveTo>
                  <a:pt x="7466651" y="319917"/>
                </a:moveTo>
                <a:cubicBezTo>
                  <a:pt x="7478200" y="319917"/>
                  <a:pt x="7487439" y="329157"/>
                  <a:pt x="7487439" y="340706"/>
                </a:cubicBezTo>
                <a:cubicBezTo>
                  <a:pt x="7487439" y="352256"/>
                  <a:pt x="7478200" y="361495"/>
                  <a:pt x="7466651" y="361495"/>
                </a:cubicBezTo>
                <a:cubicBezTo>
                  <a:pt x="7455102" y="361495"/>
                  <a:pt x="7445863" y="352256"/>
                  <a:pt x="7445863" y="340706"/>
                </a:cubicBezTo>
                <a:cubicBezTo>
                  <a:pt x="7445863" y="329157"/>
                  <a:pt x="7455102" y="319917"/>
                  <a:pt x="7466651" y="319917"/>
                </a:cubicBezTo>
                <a:close/>
                <a:moveTo>
                  <a:pt x="7329213" y="319917"/>
                </a:moveTo>
                <a:cubicBezTo>
                  <a:pt x="7340762" y="319917"/>
                  <a:pt x="7350002" y="329157"/>
                  <a:pt x="7350002" y="340706"/>
                </a:cubicBezTo>
                <a:cubicBezTo>
                  <a:pt x="7350002" y="352256"/>
                  <a:pt x="7340762" y="361495"/>
                  <a:pt x="7329213" y="361495"/>
                </a:cubicBezTo>
                <a:cubicBezTo>
                  <a:pt x="7317664" y="361495"/>
                  <a:pt x="7308425" y="352256"/>
                  <a:pt x="7308425" y="340706"/>
                </a:cubicBezTo>
                <a:cubicBezTo>
                  <a:pt x="7308425" y="329157"/>
                  <a:pt x="7317664" y="319917"/>
                  <a:pt x="7329213" y="319917"/>
                </a:cubicBezTo>
                <a:close/>
                <a:moveTo>
                  <a:pt x="7191777" y="319917"/>
                </a:moveTo>
                <a:cubicBezTo>
                  <a:pt x="7203326" y="319917"/>
                  <a:pt x="7212566" y="329157"/>
                  <a:pt x="7212566" y="340706"/>
                </a:cubicBezTo>
                <a:cubicBezTo>
                  <a:pt x="7212566" y="352256"/>
                  <a:pt x="7203326" y="361495"/>
                  <a:pt x="7191777" y="361495"/>
                </a:cubicBezTo>
                <a:cubicBezTo>
                  <a:pt x="7180226" y="361495"/>
                  <a:pt x="7170987" y="352256"/>
                  <a:pt x="7170987" y="340706"/>
                </a:cubicBezTo>
                <a:cubicBezTo>
                  <a:pt x="7170987" y="329157"/>
                  <a:pt x="7180226" y="319917"/>
                  <a:pt x="7191777" y="319917"/>
                </a:cubicBezTo>
                <a:close/>
                <a:moveTo>
                  <a:pt x="6040307" y="319917"/>
                </a:moveTo>
                <a:cubicBezTo>
                  <a:pt x="6051855" y="319917"/>
                  <a:pt x="6061095" y="329157"/>
                  <a:pt x="6061095" y="340706"/>
                </a:cubicBezTo>
                <a:cubicBezTo>
                  <a:pt x="6061095" y="352256"/>
                  <a:pt x="6051855" y="361495"/>
                  <a:pt x="6040307" y="361495"/>
                </a:cubicBezTo>
                <a:cubicBezTo>
                  <a:pt x="6028758" y="361495"/>
                  <a:pt x="6019518" y="352256"/>
                  <a:pt x="6019518" y="340706"/>
                </a:cubicBezTo>
                <a:cubicBezTo>
                  <a:pt x="6019518" y="329157"/>
                  <a:pt x="6028758" y="319917"/>
                  <a:pt x="6040307" y="319917"/>
                </a:cubicBezTo>
                <a:close/>
                <a:moveTo>
                  <a:pt x="4641682" y="319917"/>
                </a:moveTo>
                <a:cubicBezTo>
                  <a:pt x="4653231" y="319917"/>
                  <a:pt x="4662471" y="329157"/>
                  <a:pt x="4662471" y="340706"/>
                </a:cubicBezTo>
                <a:cubicBezTo>
                  <a:pt x="4662471" y="352256"/>
                  <a:pt x="4653231" y="361495"/>
                  <a:pt x="4641682" y="361495"/>
                </a:cubicBezTo>
                <a:cubicBezTo>
                  <a:pt x="4630133" y="361495"/>
                  <a:pt x="4620893" y="352256"/>
                  <a:pt x="4620893" y="340706"/>
                </a:cubicBezTo>
                <a:cubicBezTo>
                  <a:pt x="4620893" y="329157"/>
                  <a:pt x="4630133" y="319917"/>
                  <a:pt x="4641682" y="319917"/>
                </a:cubicBezTo>
                <a:close/>
                <a:moveTo>
                  <a:pt x="3535254" y="319917"/>
                </a:moveTo>
                <a:cubicBezTo>
                  <a:pt x="3545648" y="319917"/>
                  <a:pt x="3556043" y="329157"/>
                  <a:pt x="3556043" y="340706"/>
                </a:cubicBezTo>
                <a:cubicBezTo>
                  <a:pt x="3556043" y="352256"/>
                  <a:pt x="3546804" y="361495"/>
                  <a:pt x="3535254" y="361495"/>
                </a:cubicBezTo>
                <a:cubicBezTo>
                  <a:pt x="3523705" y="361495"/>
                  <a:pt x="3514466" y="352256"/>
                  <a:pt x="3514466" y="340706"/>
                </a:cubicBezTo>
                <a:cubicBezTo>
                  <a:pt x="3514466" y="329157"/>
                  <a:pt x="3523705" y="319917"/>
                  <a:pt x="3535254" y="319917"/>
                </a:cubicBezTo>
                <a:close/>
                <a:moveTo>
                  <a:pt x="3396662" y="319917"/>
                </a:moveTo>
                <a:cubicBezTo>
                  <a:pt x="3408212" y="319917"/>
                  <a:pt x="3417451" y="329157"/>
                  <a:pt x="3417451" y="340706"/>
                </a:cubicBezTo>
                <a:cubicBezTo>
                  <a:pt x="3417451" y="352256"/>
                  <a:pt x="3408212" y="361495"/>
                  <a:pt x="3396662" y="361495"/>
                </a:cubicBezTo>
                <a:cubicBezTo>
                  <a:pt x="3385113" y="361495"/>
                  <a:pt x="3375874" y="352256"/>
                  <a:pt x="3375874" y="340706"/>
                </a:cubicBezTo>
                <a:cubicBezTo>
                  <a:pt x="3375874" y="329157"/>
                  <a:pt x="3385113" y="319917"/>
                  <a:pt x="3396662" y="319917"/>
                </a:cubicBezTo>
                <a:close/>
                <a:moveTo>
                  <a:pt x="3259224" y="319917"/>
                </a:moveTo>
                <a:cubicBezTo>
                  <a:pt x="3270774" y="319917"/>
                  <a:pt x="3280013" y="329157"/>
                  <a:pt x="3280013" y="340706"/>
                </a:cubicBezTo>
                <a:cubicBezTo>
                  <a:pt x="3280013" y="352256"/>
                  <a:pt x="3270774" y="361495"/>
                  <a:pt x="3259224" y="361495"/>
                </a:cubicBezTo>
                <a:cubicBezTo>
                  <a:pt x="3247675" y="361495"/>
                  <a:pt x="3238436" y="352256"/>
                  <a:pt x="3238436" y="340706"/>
                </a:cubicBezTo>
                <a:cubicBezTo>
                  <a:pt x="3238436" y="329157"/>
                  <a:pt x="3247675" y="319917"/>
                  <a:pt x="3259224" y="319917"/>
                </a:cubicBezTo>
                <a:close/>
                <a:moveTo>
                  <a:pt x="3100999" y="319917"/>
                </a:moveTo>
                <a:cubicBezTo>
                  <a:pt x="3112549" y="319917"/>
                  <a:pt x="3121789" y="329157"/>
                  <a:pt x="3121789" y="340706"/>
                </a:cubicBezTo>
                <a:cubicBezTo>
                  <a:pt x="3121789" y="352256"/>
                  <a:pt x="3112549" y="361495"/>
                  <a:pt x="3100999" y="361495"/>
                </a:cubicBezTo>
                <a:cubicBezTo>
                  <a:pt x="3089450" y="361495"/>
                  <a:pt x="3080212" y="352256"/>
                  <a:pt x="3080212" y="340706"/>
                </a:cubicBezTo>
                <a:cubicBezTo>
                  <a:pt x="3080212" y="329157"/>
                  <a:pt x="3089450" y="319917"/>
                  <a:pt x="3100999" y="319917"/>
                </a:cubicBezTo>
                <a:close/>
                <a:moveTo>
                  <a:pt x="2992435" y="319917"/>
                </a:moveTo>
                <a:cubicBezTo>
                  <a:pt x="3002829" y="319917"/>
                  <a:pt x="3013224" y="329157"/>
                  <a:pt x="3013224" y="340706"/>
                </a:cubicBezTo>
                <a:cubicBezTo>
                  <a:pt x="3013224" y="352256"/>
                  <a:pt x="3003985" y="361495"/>
                  <a:pt x="2992435" y="361495"/>
                </a:cubicBezTo>
                <a:cubicBezTo>
                  <a:pt x="2980886" y="361495"/>
                  <a:pt x="2971647" y="352256"/>
                  <a:pt x="2971647" y="340706"/>
                </a:cubicBezTo>
                <a:cubicBezTo>
                  <a:pt x="2971647" y="329157"/>
                  <a:pt x="2980886" y="319917"/>
                  <a:pt x="2992435" y="319917"/>
                </a:cubicBezTo>
                <a:close/>
                <a:moveTo>
                  <a:pt x="2853843" y="319917"/>
                </a:moveTo>
                <a:cubicBezTo>
                  <a:pt x="2865393" y="319917"/>
                  <a:pt x="2874633" y="329157"/>
                  <a:pt x="2874633" y="340706"/>
                </a:cubicBezTo>
                <a:cubicBezTo>
                  <a:pt x="2874633" y="352256"/>
                  <a:pt x="2865393" y="361495"/>
                  <a:pt x="2853843" y="361495"/>
                </a:cubicBezTo>
                <a:cubicBezTo>
                  <a:pt x="2842294" y="361495"/>
                  <a:pt x="2833056" y="352256"/>
                  <a:pt x="2833056" y="340706"/>
                </a:cubicBezTo>
                <a:cubicBezTo>
                  <a:pt x="2833056" y="329157"/>
                  <a:pt x="2842294" y="319917"/>
                  <a:pt x="2853843" y="319917"/>
                </a:cubicBezTo>
                <a:close/>
                <a:moveTo>
                  <a:pt x="2716405" y="319917"/>
                </a:moveTo>
                <a:cubicBezTo>
                  <a:pt x="2727955" y="319917"/>
                  <a:pt x="2737195" y="329157"/>
                  <a:pt x="2737195" y="340706"/>
                </a:cubicBezTo>
                <a:cubicBezTo>
                  <a:pt x="2737195" y="352256"/>
                  <a:pt x="2727955" y="361495"/>
                  <a:pt x="2716405" y="361495"/>
                </a:cubicBezTo>
                <a:cubicBezTo>
                  <a:pt x="2704856" y="361495"/>
                  <a:pt x="2695618" y="352256"/>
                  <a:pt x="2695618" y="340706"/>
                </a:cubicBezTo>
                <a:cubicBezTo>
                  <a:pt x="2695618" y="329157"/>
                  <a:pt x="2704856" y="319917"/>
                  <a:pt x="2716405" y="319917"/>
                </a:cubicBezTo>
                <a:close/>
                <a:moveTo>
                  <a:pt x="2578969" y="319917"/>
                </a:moveTo>
                <a:cubicBezTo>
                  <a:pt x="2590518" y="319917"/>
                  <a:pt x="2599758" y="329157"/>
                  <a:pt x="2599758" y="340706"/>
                </a:cubicBezTo>
                <a:cubicBezTo>
                  <a:pt x="2599758" y="352256"/>
                  <a:pt x="2590518" y="361495"/>
                  <a:pt x="2578969" y="361495"/>
                </a:cubicBezTo>
                <a:cubicBezTo>
                  <a:pt x="2567420" y="361495"/>
                  <a:pt x="2558180" y="352256"/>
                  <a:pt x="2558180" y="340706"/>
                </a:cubicBezTo>
                <a:cubicBezTo>
                  <a:pt x="2558180" y="329157"/>
                  <a:pt x="2567420" y="319917"/>
                  <a:pt x="2578969" y="319917"/>
                </a:cubicBezTo>
                <a:close/>
                <a:moveTo>
                  <a:pt x="1427499" y="319917"/>
                </a:moveTo>
                <a:cubicBezTo>
                  <a:pt x="1439048" y="319917"/>
                  <a:pt x="1448288" y="329157"/>
                  <a:pt x="1448288" y="340706"/>
                </a:cubicBezTo>
                <a:cubicBezTo>
                  <a:pt x="1448288" y="352256"/>
                  <a:pt x="1439048" y="361495"/>
                  <a:pt x="1427499" y="361495"/>
                </a:cubicBezTo>
                <a:cubicBezTo>
                  <a:pt x="1415950" y="361495"/>
                  <a:pt x="1406710" y="352256"/>
                  <a:pt x="1406710" y="340706"/>
                </a:cubicBezTo>
                <a:cubicBezTo>
                  <a:pt x="1406710" y="329157"/>
                  <a:pt x="1415950" y="319917"/>
                  <a:pt x="1427499" y="319917"/>
                </a:cubicBezTo>
                <a:close/>
                <a:moveTo>
                  <a:pt x="28874" y="319917"/>
                </a:moveTo>
                <a:cubicBezTo>
                  <a:pt x="40424" y="319917"/>
                  <a:pt x="49663" y="329157"/>
                  <a:pt x="49663" y="340706"/>
                </a:cubicBezTo>
                <a:cubicBezTo>
                  <a:pt x="49663" y="352256"/>
                  <a:pt x="40424" y="361495"/>
                  <a:pt x="28874" y="361495"/>
                </a:cubicBezTo>
                <a:cubicBezTo>
                  <a:pt x="17325" y="361495"/>
                  <a:pt x="8085" y="352256"/>
                  <a:pt x="8085" y="340706"/>
                </a:cubicBezTo>
                <a:cubicBezTo>
                  <a:pt x="8085" y="329157"/>
                  <a:pt x="17325" y="319917"/>
                  <a:pt x="28874" y="319917"/>
                </a:cubicBezTo>
                <a:close/>
                <a:moveTo>
                  <a:pt x="11658510" y="316452"/>
                </a:moveTo>
                <a:cubicBezTo>
                  <a:pt x="11671214" y="316452"/>
                  <a:pt x="11681609" y="326847"/>
                  <a:pt x="11681609" y="339551"/>
                </a:cubicBezTo>
                <a:cubicBezTo>
                  <a:pt x="11681609" y="352256"/>
                  <a:pt x="11671214" y="362649"/>
                  <a:pt x="11658510" y="362649"/>
                </a:cubicBezTo>
                <a:cubicBezTo>
                  <a:pt x="11645806" y="362649"/>
                  <a:pt x="11635412" y="352256"/>
                  <a:pt x="11635412" y="339551"/>
                </a:cubicBezTo>
                <a:cubicBezTo>
                  <a:pt x="11635412" y="326847"/>
                  <a:pt x="11645806" y="316452"/>
                  <a:pt x="11658510" y="316452"/>
                </a:cubicBezTo>
                <a:close/>
                <a:moveTo>
                  <a:pt x="10508196" y="316452"/>
                </a:moveTo>
                <a:cubicBezTo>
                  <a:pt x="10520900" y="316452"/>
                  <a:pt x="10531295" y="326847"/>
                  <a:pt x="10531295" y="339551"/>
                </a:cubicBezTo>
                <a:cubicBezTo>
                  <a:pt x="10531295" y="352256"/>
                  <a:pt x="10520900" y="362649"/>
                  <a:pt x="10508196" y="362649"/>
                </a:cubicBezTo>
                <a:cubicBezTo>
                  <a:pt x="10495491" y="362649"/>
                  <a:pt x="10485098" y="352256"/>
                  <a:pt x="10485098" y="339551"/>
                </a:cubicBezTo>
                <a:cubicBezTo>
                  <a:pt x="10485098" y="326847"/>
                  <a:pt x="10495491" y="316452"/>
                  <a:pt x="10508196" y="316452"/>
                </a:cubicBezTo>
                <a:close/>
                <a:moveTo>
                  <a:pt x="9405233" y="316452"/>
                </a:moveTo>
                <a:cubicBezTo>
                  <a:pt x="9417938" y="316452"/>
                  <a:pt x="9428332" y="326847"/>
                  <a:pt x="9428332" y="339551"/>
                </a:cubicBezTo>
                <a:cubicBezTo>
                  <a:pt x="9428332" y="352256"/>
                  <a:pt x="9417938" y="362649"/>
                  <a:pt x="9405233" y="362649"/>
                </a:cubicBezTo>
                <a:cubicBezTo>
                  <a:pt x="9392530" y="362649"/>
                  <a:pt x="9382135" y="352256"/>
                  <a:pt x="9382135" y="339551"/>
                </a:cubicBezTo>
                <a:cubicBezTo>
                  <a:pt x="9382135" y="326847"/>
                  <a:pt x="9392530" y="316452"/>
                  <a:pt x="9405233" y="316452"/>
                </a:cubicBezTo>
                <a:close/>
                <a:moveTo>
                  <a:pt x="8285498" y="316452"/>
                </a:moveTo>
                <a:cubicBezTo>
                  <a:pt x="8298204" y="316452"/>
                  <a:pt x="8308598" y="326847"/>
                  <a:pt x="8308598" y="339551"/>
                </a:cubicBezTo>
                <a:cubicBezTo>
                  <a:pt x="8308598" y="352256"/>
                  <a:pt x="8298204" y="362649"/>
                  <a:pt x="8285498" y="362649"/>
                </a:cubicBezTo>
                <a:cubicBezTo>
                  <a:pt x="8272794" y="362649"/>
                  <a:pt x="8262401" y="352256"/>
                  <a:pt x="8262401" y="339551"/>
                </a:cubicBezTo>
                <a:cubicBezTo>
                  <a:pt x="8262401" y="326847"/>
                  <a:pt x="8272794" y="316452"/>
                  <a:pt x="8285498" y="316452"/>
                </a:cubicBezTo>
                <a:close/>
                <a:moveTo>
                  <a:pt x="7053184" y="316452"/>
                </a:moveTo>
                <a:cubicBezTo>
                  <a:pt x="7067044" y="316452"/>
                  <a:pt x="7076283" y="326847"/>
                  <a:pt x="7076283" y="339551"/>
                </a:cubicBezTo>
                <a:cubicBezTo>
                  <a:pt x="7076283" y="352256"/>
                  <a:pt x="7065888" y="362649"/>
                  <a:pt x="7053184" y="362649"/>
                </a:cubicBezTo>
                <a:cubicBezTo>
                  <a:pt x="7040480" y="362649"/>
                  <a:pt x="7030086" y="352256"/>
                  <a:pt x="7030086" y="339551"/>
                </a:cubicBezTo>
                <a:cubicBezTo>
                  <a:pt x="7030086" y="326847"/>
                  <a:pt x="7040480" y="316452"/>
                  <a:pt x="7053184" y="316452"/>
                </a:cubicBezTo>
                <a:close/>
                <a:moveTo>
                  <a:pt x="5902869" y="316452"/>
                </a:moveTo>
                <a:cubicBezTo>
                  <a:pt x="5915573" y="316452"/>
                  <a:pt x="5925969" y="326847"/>
                  <a:pt x="5925969" y="339551"/>
                </a:cubicBezTo>
                <a:cubicBezTo>
                  <a:pt x="5925969" y="352256"/>
                  <a:pt x="5915573" y="362649"/>
                  <a:pt x="5902869" y="362649"/>
                </a:cubicBezTo>
                <a:cubicBezTo>
                  <a:pt x="5890165" y="362649"/>
                  <a:pt x="5879771" y="352256"/>
                  <a:pt x="5879771" y="339551"/>
                </a:cubicBezTo>
                <a:cubicBezTo>
                  <a:pt x="5879771" y="326847"/>
                  <a:pt x="5890165" y="316452"/>
                  <a:pt x="5902869" y="316452"/>
                </a:cubicBezTo>
                <a:close/>
                <a:moveTo>
                  <a:pt x="4799906" y="316452"/>
                </a:moveTo>
                <a:cubicBezTo>
                  <a:pt x="4812611" y="316452"/>
                  <a:pt x="4823006" y="326847"/>
                  <a:pt x="4823006" y="339551"/>
                </a:cubicBezTo>
                <a:cubicBezTo>
                  <a:pt x="4823006" y="352256"/>
                  <a:pt x="4812611" y="362649"/>
                  <a:pt x="4799906" y="362649"/>
                </a:cubicBezTo>
                <a:cubicBezTo>
                  <a:pt x="4787204" y="362649"/>
                  <a:pt x="4776809" y="352256"/>
                  <a:pt x="4776809" y="339551"/>
                </a:cubicBezTo>
                <a:cubicBezTo>
                  <a:pt x="4776809" y="326847"/>
                  <a:pt x="4787204" y="316452"/>
                  <a:pt x="4799906" y="316452"/>
                </a:cubicBezTo>
                <a:close/>
                <a:moveTo>
                  <a:pt x="3672691" y="316452"/>
                </a:moveTo>
                <a:cubicBezTo>
                  <a:pt x="3685396" y="316452"/>
                  <a:pt x="3695791" y="326847"/>
                  <a:pt x="3695791" y="339551"/>
                </a:cubicBezTo>
                <a:cubicBezTo>
                  <a:pt x="3695791" y="352256"/>
                  <a:pt x="3685396" y="362649"/>
                  <a:pt x="3672691" y="362649"/>
                </a:cubicBezTo>
                <a:cubicBezTo>
                  <a:pt x="3659987" y="362649"/>
                  <a:pt x="3649592" y="352256"/>
                  <a:pt x="3649592" y="339551"/>
                </a:cubicBezTo>
                <a:cubicBezTo>
                  <a:pt x="3649592" y="326847"/>
                  <a:pt x="3659987" y="316452"/>
                  <a:pt x="3672691" y="316452"/>
                </a:cubicBezTo>
                <a:close/>
                <a:moveTo>
                  <a:pt x="2440377" y="316452"/>
                </a:moveTo>
                <a:cubicBezTo>
                  <a:pt x="2453080" y="316452"/>
                  <a:pt x="2463475" y="326847"/>
                  <a:pt x="2463475" y="339551"/>
                </a:cubicBezTo>
                <a:cubicBezTo>
                  <a:pt x="2463475" y="352256"/>
                  <a:pt x="2453080" y="362649"/>
                  <a:pt x="2440377" y="362649"/>
                </a:cubicBezTo>
                <a:cubicBezTo>
                  <a:pt x="2427672" y="362649"/>
                  <a:pt x="2417278" y="352256"/>
                  <a:pt x="2417278" y="339551"/>
                </a:cubicBezTo>
                <a:cubicBezTo>
                  <a:pt x="2417278" y="326847"/>
                  <a:pt x="2427672" y="316452"/>
                  <a:pt x="2440377" y="316452"/>
                </a:cubicBezTo>
                <a:close/>
                <a:moveTo>
                  <a:pt x="1290062" y="316452"/>
                </a:moveTo>
                <a:cubicBezTo>
                  <a:pt x="1302766" y="316452"/>
                  <a:pt x="1313161" y="326847"/>
                  <a:pt x="1313161" y="339551"/>
                </a:cubicBezTo>
                <a:cubicBezTo>
                  <a:pt x="1313161" y="352256"/>
                  <a:pt x="1302766" y="362649"/>
                  <a:pt x="1290062" y="362649"/>
                </a:cubicBezTo>
                <a:cubicBezTo>
                  <a:pt x="1277357" y="362649"/>
                  <a:pt x="1266964" y="352256"/>
                  <a:pt x="1266964" y="339551"/>
                </a:cubicBezTo>
                <a:cubicBezTo>
                  <a:pt x="1266964" y="326847"/>
                  <a:pt x="1277357" y="316452"/>
                  <a:pt x="1290062" y="316452"/>
                </a:cubicBezTo>
                <a:close/>
                <a:moveTo>
                  <a:pt x="187100" y="316452"/>
                </a:moveTo>
                <a:cubicBezTo>
                  <a:pt x="199805" y="316452"/>
                  <a:pt x="210198" y="326847"/>
                  <a:pt x="210198" y="339551"/>
                </a:cubicBezTo>
                <a:cubicBezTo>
                  <a:pt x="210198" y="352256"/>
                  <a:pt x="199805" y="362649"/>
                  <a:pt x="187100" y="362649"/>
                </a:cubicBezTo>
                <a:cubicBezTo>
                  <a:pt x="174396" y="362649"/>
                  <a:pt x="164001" y="352256"/>
                  <a:pt x="164001" y="339551"/>
                </a:cubicBezTo>
                <a:cubicBezTo>
                  <a:pt x="164001" y="326847"/>
                  <a:pt x="174396" y="316452"/>
                  <a:pt x="187100" y="316452"/>
                </a:cubicBezTo>
                <a:close/>
                <a:moveTo>
                  <a:pt x="11521073" y="310678"/>
                </a:moveTo>
                <a:cubicBezTo>
                  <a:pt x="11537242" y="310678"/>
                  <a:pt x="11549947" y="323382"/>
                  <a:pt x="11549947" y="339551"/>
                </a:cubicBezTo>
                <a:cubicBezTo>
                  <a:pt x="11549947" y="355720"/>
                  <a:pt x="11537242" y="368425"/>
                  <a:pt x="11521073" y="368425"/>
                </a:cubicBezTo>
                <a:cubicBezTo>
                  <a:pt x="11504904" y="368425"/>
                  <a:pt x="11492200" y="355720"/>
                  <a:pt x="11492200" y="339551"/>
                </a:cubicBezTo>
                <a:cubicBezTo>
                  <a:pt x="11492200" y="323382"/>
                  <a:pt x="11504904" y="310678"/>
                  <a:pt x="11521073" y="310678"/>
                </a:cubicBezTo>
                <a:close/>
                <a:moveTo>
                  <a:pt x="10369604" y="310678"/>
                </a:moveTo>
                <a:cubicBezTo>
                  <a:pt x="10385773" y="310678"/>
                  <a:pt x="10398477" y="323382"/>
                  <a:pt x="10398477" y="339551"/>
                </a:cubicBezTo>
                <a:cubicBezTo>
                  <a:pt x="10398477" y="355720"/>
                  <a:pt x="10385773" y="368425"/>
                  <a:pt x="10369604" y="368425"/>
                </a:cubicBezTo>
                <a:cubicBezTo>
                  <a:pt x="10353435" y="368425"/>
                  <a:pt x="10340730" y="355720"/>
                  <a:pt x="10340730" y="339551"/>
                </a:cubicBezTo>
                <a:cubicBezTo>
                  <a:pt x="10340730" y="323382"/>
                  <a:pt x="10353435" y="310678"/>
                  <a:pt x="10369604" y="310678"/>
                </a:cubicBezTo>
                <a:close/>
                <a:moveTo>
                  <a:pt x="9543825" y="310678"/>
                </a:moveTo>
                <a:cubicBezTo>
                  <a:pt x="9558840" y="310678"/>
                  <a:pt x="9572699" y="323382"/>
                  <a:pt x="9572699" y="339551"/>
                </a:cubicBezTo>
                <a:cubicBezTo>
                  <a:pt x="9572699" y="355720"/>
                  <a:pt x="9559995" y="368425"/>
                  <a:pt x="9543825" y="368425"/>
                </a:cubicBezTo>
                <a:cubicBezTo>
                  <a:pt x="9527656" y="368425"/>
                  <a:pt x="9514953" y="355720"/>
                  <a:pt x="9514953" y="339551"/>
                </a:cubicBezTo>
                <a:cubicBezTo>
                  <a:pt x="9514953" y="323382"/>
                  <a:pt x="9527656" y="310678"/>
                  <a:pt x="9543825" y="310678"/>
                </a:cubicBezTo>
                <a:close/>
                <a:moveTo>
                  <a:pt x="8422936" y="310678"/>
                </a:moveTo>
                <a:cubicBezTo>
                  <a:pt x="8439105" y="310678"/>
                  <a:pt x="8451809" y="323382"/>
                  <a:pt x="8451809" y="339551"/>
                </a:cubicBezTo>
                <a:cubicBezTo>
                  <a:pt x="8451809" y="355720"/>
                  <a:pt x="8439105" y="368425"/>
                  <a:pt x="8422936" y="368425"/>
                </a:cubicBezTo>
                <a:cubicBezTo>
                  <a:pt x="8406767" y="368425"/>
                  <a:pt x="8394062" y="355720"/>
                  <a:pt x="8394062" y="339551"/>
                </a:cubicBezTo>
                <a:cubicBezTo>
                  <a:pt x="8394062" y="323382"/>
                  <a:pt x="8406767" y="310678"/>
                  <a:pt x="8422936" y="310678"/>
                </a:cubicBezTo>
                <a:close/>
                <a:moveTo>
                  <a:pt x="6915746" y="310678"/>
                </a:moveTo>
                <a:cubicBezTo>
                  <a:pt x="6931915" y="310678"/>
                  <a:pt x="6944621" y="323382"/>
                  <a:pt x="6944621" y="339551"/>
                </a:cubicBezTo>
                <a:cubicBezTo>
                  <a:pt x="6944621" y="355720"/>
                  <a:pt x="6931915" y="368425"/>
                  <a:pt x="6915746" y="368425"/>
                </a:cubicBezTo>
                <a:cubicBezTo>
                  <a:pt x="6899578" y="368425"/>
                  <a:pt x="6886873" y="355720"/>
                  <a:pt x="6886873" y="339551"/>
                </a:cubicBezTo>
                <a:cubicBezTo>
                  <a:pt x="6886873" y="323382"/>
                  <a:pt x="6899578" y="310678"/>
                  <a:pt x="6915746" y="310678"/>
                </a:cubicBezTo>
                <a:close/>
                <a:moveTo>
                  <a:pt x="5764278" y="310678"/>
                </a:moveTo>
                <a:cubicBezTo>
                  <a:pt x="5780447" y="310678"/>
                  <a:pt x="5793151" y="323382"/>
                  <a:pt x="5793151" y="339551"/>
                </a:cubicBezTo>
                <a:cubicBezTo>
                  <a:pt x="5793151" y="355720"/>
                  <a:pt x="5780447" y="368425"/>
                  <a:pt x="5764278" y="368425"/>
                </a:cubicBezTo>
                <a:cubicBezTo>
                  <a:pt x="5748109" y="368425"/>
                  <a:pt x="5735405" y="355720"/>
                  <a:pt x="5735405" y="339551"/>
                </a:cubicBezTo>
                <a:cubicBezTo>
                  <a:pt x="5735405" y="323382"/>
                  <a:pt x="5748109" y="310678"/>
                  <a:pt x="5764278" y="310678"/>
                </a:cubicBezTo>
                <a:close/>
                <a:moveTo>
                  <a:pt x="4938500" y="310678"/>
                </a:moveTo>
                <a:cubicBezTo>
                  <a:pt x="4953513" y="310678"/>
                  <a:pt x="4967373" y="323382"/>
                  <a:pt x="4967373" y="339551"/>
                </a:cubicBezTo>
                <a:cubicBezTo>
                  <a:pt x="4967373" y="355720"/>
                  <a:pt x="4954668" y="368425"/>
                  <a:pt x="4938500" y="368425"/>
                </a:cubicBezTo>
                <a:cubicBezTo>
                  <a:pt x="4922331" y="368425"/>
                  <a:pt x="4909627" y="355720"/>
                  <a:pt x="4909627" y="339551"/>
                </a:cubicBezTo>
                <a:cubicBezTo>
                  <a:pt x="4909627" y="323382"/>
                  <a:pt x="4922331" y="310678"/>
                  <a:pt x="4938500" y="310678"/>
                </a:cubicBezTo>
                <a:close/>
                <a:moveTo>
                  <a:pt x="3810129" y="310678"/>
                </a:moveTo>
                <a:cubicBezTo>
                  <a:pt x="3826298" y="310678"/>
                  <a:pt x="3839002" y="323382"/>
                  <a:pt x="3839002" y="339551"/>
                </a:cubicBezTo>
                <a:cubicBezTo>
                  <a:pt x="3839002" y="355720"/>
                  <a:pt x="3826298" y="368425"/>
                  <a:pt x="3810129" y="368425"/>
                </a:cubicBezTo>
                <a:cubicBezTo>
                  <a:pt x="3793960" y="368425"/>
                  <a:pt x="3781255" y="355720"/>
                  <a:pt x="3781255" y="339551"/>
                </a:cubicBezTo>
                <a:cubicBezTo>
                  <a:pt x="3781255" y="323382"/>
                  <a:pt x="3793960" y="310678"/>
                  <a:pt x="3810129" y="310678"/>
                </a:cubicBezTo>
                <a:close/>
                <a:moveTo>
                  <a:pt x="2302939" y="310678"/>
                </a:moveTo>
                <a:cubicBezTo>
                  <a:pt x="2319108" y="310678"/>
                  <a:pt x="2331813" y="323382"/>
                  <a:pt x="2331813" y="339551"/>
                </a:cubicBezTo>
                <a:cubicBezTo>
                  <a:pt x="2331813" y="355720"/>
                  <a:pt x="2319108" y="368425"/>
                  <a:pt x="2302939" y="368425"/>
                </a:cubicBezTo>
                <a:cubicBezTo>
                  <a:pt x="2286771" y="368425"/>
                  <a:pt x="2274067" y="355720"/>
                  <a:pt x="2274067" y="339551"/>
                </a:cubicBezTo>
                <a:cubicBezTo>
                  <a:pt x="2274067" y="323382"/>
                  <a:pt x="2286771" y="310678"/>
                  <a:pt x="2302939" y="310678"/>
                </a:cubicBezTo>
                <a:close/>
                <a:moveTo>
                  <a:pt x="1151470" y="310678"/>
                </a:moveTo>
                <a:cubicBezTo>
                  <a:pt x="1167639" y="310678"/>
                  <a:pt x="1180343" y="323382"/>
                  <a:pt x="1180343" y="339551"/>
                </a:cubicBezTo>
                <a:cubicBezTo>
                  <a:pt x="1180343" y="355720"/>
                  <a:pt x="1167639" y="368425"/>
                  <a:pt x="1151470" y="368425"/>
                </a:cubicBezTo>
                <a:cubicBezTo>
                  <a:pt x="1135301" y="368425"/>
                  <a:pt x="1122596" y="355720"/>
                  <a:pt x="1122596" y="339551"/>
                </a:cubicBezTo>
                <a:cubicBezTo>
                  <a:pt x="1122596" y="323382"/>
                  <a:pt x="1135301" y="310678"/>
                  <a:pt x="1151470" y="310678"/>
                </a:cubicBezTo>
                <a:close/>
                <a:moveTo>
                  <a:pt x="325692" y="310678"/>
                </a:moveTo>
                <a:cubicBezTo>
                  <a:pt x="340706" y="310678"/>
                  <a:pt x="354566" y="323382"/>
                  <a:pt x="354566" y="339551"/>
                </a:cubicBezTo>
                <a:cubicBezTo>
                  <a:pt x="354566" y="355720"/>
                  <a:pt x="341861" y="368425"/>
                  <a:pt x="325692" y="368425"/>
                </a:cubicBezTo>
                <a:cubicBezTo>
                  <a:pt x="309523" y="368425"/>
                  <a:pt x="296819" y="355720"/>
                  <a:pt x="296819" y="339551"/>
                </a:cubicBezTo>
                <a:cubicBezTo>
                  <a:pt x="296819" y="323382"/>
                  <a:pt x="309523" y="310678"/>
                  <a:pt x="325692" y="310678"/>
                </a:cubicBezTo>
                <a:close/>
                <a:moveTo>
                  <a:pt x="11383636" y="304903"/>
                </a:moveTo>
                <a:cubicBezTo>
                  <a:pt x="11402115" y="304903"/>
                  <a:pt x="11418284" y="321072"/>
                  <a:pt x="11418284" y="339551"/>
                </a:cubicBezTo>
                <a:cubicBezTo>
                  <a:pt x="11418284" y="358030"/>
                  <a:pt x="11403270" y="374199"/>
                  <a:pt x="11383636" y="374199"/>
                </a:cubicBezTo>
                <a:cubicBezTo>
                  <a:pt x="11365157" y="374199"/>
                  <a:pt x="11348988" y="358030"/>
                  <a:pt x="11348988" y="339551"/>
                </a:cubicBezTo>
                <a:cubicBezTo>
                  <a:pt x="11348988" y="321072"/>
                  <a:pt x="11364002" y="304903"/>
                  <a:pt x="11383636" y="304903"/>
                </a:cubicBezTo>
                <a:close/>
                <a:moveTo>
                  <a:pt x="10811943" y="304903"/>
                </a:moveTo>
                <a:cubicBezTo>
                  <a:pt x="10830422" y="304903"/>
                  <a:pt x="10846591" y="321072"/>
                  <a:pt x="10846591" y="339551"/>
                </a:cubicBezTo>
                <a:cubicBezTo>
                  <a:pt x="10846591" y="358030"/>
                  <a:pt x="10831578" y="374199"/>
                  <a:pt x="10811943" y="374199"/>
                </a:cubicBezTo>
                <a:cubicBezTo>
                  <a:pt x="10793464" y="374199"/>
                  <a:pt x="10777295" y="358030"/>
                  <a:pt x="10777295" y="339551"/>
                </a:cubicBezTo>
                <a:cubicBezTo>
                  <a:pt x="10777295" y="321072"/>
                  <a:pt x="10792310" y="304903"/>
                  <a:pt x="10811943" y="304903"/>
                </a:cubicBezTo>
                <a:close/>
                <a:moveTo>
                  <a:pt x="10232166" y="304903"/>
                </a:moveTo>
                <a:cubicBezTo>
                  <a:pt x="10251801" y="304903"/>
                  <a:pt x="10266814" y="321072"/>
                  <a:pt x="10266814" y="339551"/>
                </a:cubicBezTo>
                <a:cubicBezTo>
                  <a:pt x="10266814" y="358030"/>
                  <a:pt x="10250645" y="374199"/>
                  <a:pt x="10232166" y="374199"/>
                </a:cubicBezTo>
                <a:cubicBezTo>
                  <a:pt x="10213687" y="374199"/>
                  <a:pt x="10197518" y="358030"/>
                  <a:pt x="10197518" y="339551"/>
                </a:cubicBezTo>
                <a:cubicBezTo>
                  <a:pt x="10197518" y="321072"/>
                  <a:pt x="10212533" y="304903"/>
                  <a:pt x="10232166" y="304903"/>
                </a:cubicBezTo>
                <a:close/>
                <a:moveTo>
                  <a:pt x="9681263" y="304903"/>
                </a:moveTo>
                <a:cubicBezTo>
                  <a:pt x="9700896" y="304903"/>
                  <a:pt x="9715911" y="321072"/>
                  <a:pt x="9715911" y="339551"/>
                </a:cubicBezTo>
                <a:cubicBezTo>
                  <a:pt x="9715911" y="358030"/>
                  <a:pt x="9699742" y="374199"/>
                  <a:pt x="9681263" y="374199"/>
                </a:cubicBezTo>
                <a:cubicBezTo>
                  <a:pt x="9662784" y="374199"/>
                  <a:pt x="9646615" y="358030"/>
                  <a:pt x="9646615" y="339551"/>
                </a:cubicBezTo>
                <a:cubicBezTo>
                  <a:pt x="9646615" y="321072"/>
                  <a:pt x="9661629" y="304903"/>
                  <a:pt x="9681263" y="304903"/>
                </a:cubicBezTo>
                <a:close/>
                <a:moveTo>
                  <a:pt x="9112431" y="304903"/>
                </a:moveTo>
                <a:cubicBezTo>
                  <a:pt x="9130910" y="304903"/>
                  <a:pt x="9147079" y="321072"/>
                  <a:pt x="9147079" y="339551"/>
                </a:cubicBezTo>
                <a:cubicBezTo>
                  <a:pt x="9147079" y="358030"/>
                  <a:pt x="9132065" y="374199"/>
                  <a:pt x="9112431" y="374199"/>
                </a:cubicBezTo>
                <a:cubicBezTo>
                  <a:pt x="9093952" y="374199"/>
                  <a:pt x="9077783" y="358030"/>
                  <a:pt x="9077783" y="339551"/>
                </a:cubicBezTo>
                <a:cubicBezTo>
                  <a:pt x="9077783" y="321072"/>
                  <a:pt x="9092798" y="304903"/>
                  <a:pt x="9112431" y="304903"/>
                </a:cubicBezTo>
                <a:close/>
                <a:moveTo>
                  <a:pt x="8561528" y="304903"/>
                </a:moveTo>
                <a:cubicBezTo>
                  <a:pt x="8580007" y="304903"/>
                  <a:pt x="8596176" y="321072"/>
                  <a:pt x="8596176" y="339551"/>
                </a:cubicBezTo>
                <a:cubicBezTo>
                  <a:pt x="8596176" y="358030"/>
                  <a:pt x="8581161" y="374199"/>
                  <a:pt x="8561528" y="374199"/>
                </a:cubicBezTo>
                <a:cubicBezTo>
                  <a:pt x="8543049" y="374199"/>
                  <a:pt x="8526880" y="358030"/>
                  <a:pt x="8526880" y="339551"/>
                </a:cubicBezTo>
                <a:cubicBezTo>
                  <a:pt x="8526880" y="321072"/>
                  <a:pt x="8541893" y="304903"/>
                  <a:pt x="8561528" y="304903"/>
                </a:cubicBezTo>
                <a:close/>
                <a:moveTo>
                  <a:pt x="6778310" y="304903"/>
                </a:moveTo>
                <a:cubicBezTo>
                  <a:pt x="6796790" y="304903"/>
                  <a:pt x="6812959" y="321072"/>
                  <a:pt x="6812959" y="339551"/>
                </a:cubicBezTo>
                <a:cubicBezTo>
                  <a:pt x="6812959" y="358030"/>
                  <a:pt x="6796790" y="374199"/>
                  <a:pt x="6778310" y="374199"/>
                </a:cubicBezTo>
                <a:cubicBezTo>
                  <a:pt x="6759831" y="374199"/>
                  <a:pt x="6743662" y="358030"/>
                  <a:pt x="6743662" y="339551"/>
                </a:cubicBezTo>
                <a:cubicBezTo>
                  <a:pt x="6743662" y="321072"/>
                  <a:pt x="6758675" y="304903"/>
                  <a:pt x="6778310" y="304903"/>
                </a:cubicBezTo>
                <a:close/>
                <a:moveTo>
                  <a:pt x="6206618" y="304903"/>
                </a:moveTo>
                <a:cubicBezTo>
                  <a:pt x="6225097" y="304903"/>
                  <a:pt x="6241265" y="321072"/>
                  <a:pt x="6241265" y="339551"/>
                </a:cubicBezTo>
                <a:cubicBezTo>
                  <a:pt x="6241265" y="358030"/>
                  <a:pt x="6226251" y="374199"/>
                  <a:pt x="6206618" y="374199"/>
                </a:cubicBezTo>
                <a:cubicBezTo>
                  <a:pt x="6188138" y="374199"/>
                  <a:pt x="6171969" y="358030"/>
                  <a:pt x="6171969" y="339551"/>
                </a:cubicBezTo>
                <a:cubicBezTo>
                  <a:pt x="6171969" y="321072"/>
                  <a:pt x="6186984" y="304903"/>
                  <a:pt x="6206618" y="304903"/>
                </a:cubicBezTo>
                <a:close/>
                <a:moveTo>
                  <a:pt x="5626840" y="304903"/>
                </a:moveTo>
                <a:cubicBezTo>
                  <a:pt x="5646475" y="304903"/>
                  <a:pt x="5661488" y="321072"/>
                  <a:pt x="5661488" y="339551"/>
                </a:cubicBezTo>
                <a:cubicBezTo>
                  <a:pt x="5661488" y="358030"/>
                  <a:pt x="5646475" y="374199"/>
                  <a:pt x="5626840" y="374199"/>
                </a:cubicBezTo>
                <a:cubicBezTo>
                  <a:pt x="5608360" y="374199"/>
                  <a:pt x="5592192" y="358030"/>
                  <a:pt x="5592192" y="339551"/>
                </a:cubicBezTo>
                <a:cubicBezTo>
                  <a:pt x="5592192" y="321072"/>
                  <a:pt x="5607207" y="304903"/>
                  <a:pt x="5626840" y="304903"/>
                </a:cubicBezTo>
                <a:close/>
                <a:moveTo>
                  <a:pt x="5075938" y="304903"/>
                </a:moveTo>
                <a:cubicBezTo>
                  <a:pt x="5095571" y="304903"/>
                  <a:pt x="5110584" y="321072"/>
                  <a:pt x="5110584" y="339551"/>
                </a:cubicBezTo>
                <a:cubicBezTo>
                  <a:pt x="5110584" y="358030"/>
                  <a:pt x="5095571" y="374199"/>
                  <a:pt x="5075938" y="374199"/>
                </a:cubicBezTo>
                <a:cubicBezTo>
                  <a:pt x="5057458" y="374199"/>
                  <a:pt x="5041289" y="358030"/>
                  <a:pt x="5041289" y="339551"/>
                </a:cubicBezTo>
                <a:cubicBezTo>
                  <a:pt x="5041289" y="321072"/>
                  <a:pt x="5056302" y="304903"/>
                  <a:pt x="5075938" y="304903"/>
                </a:cubicBezTo>
                <a:close/>
                <a:moveTo>
                  <a:pt x="4499625" y="304903"/>
                </a:moveTo>
                <a:cubicBezTo>
                  <a:pt x="4518102" y="304903"/>
                  <a:pt x="4534273" y="321072"/>
                  <a:pt x="4534273" y="339551"/>
                </a:cubicBezTo>
                <a:cubicBezTo>
                  <a:pt x="4534273" y="358030"/>
                  <a:pt x="4519258" y="374199"/>
                  <a:pt x="4499625" y="374199"/>
                </a:cubicBezTo>
                <a:cubicBezTo>
                  <a:pt x="4481145" y="374199"/>
                  <a:pt x="4464976" y="358030"/>
                  <a:pt x="4464976" y="339551"/>
                </a:cubicBezTo>
                <a:cubicBezTo>
                  <a:pt x="4464976" y="321072"/>
                  <a:pt x="4479992" y="304903"/>
                  <a:pt x="4499625" y="304903"/>
                </a:cubicBezTo>
                <a:close/>
                <a:moveTo>
                  <a:pt x="3948721" y="304903"/>
                </a:moveTo>
                <a:cubicBezTo>
                  <a:pt x="3967200" y="304903"/>
                  <a:pt x="3983369" y="321072"/>
                  <a:pt x="3983369" y="339551"/>
                </a:cubicBezTo>
                <a:cubicBezTo>
                  <a:pt x="3983369" y="358030"/>
                  <a:pt x="3968354" y="374199"/>
                  <a:pt x="3948721" y="374199"/>
                </a:cubicBezTo>
                <a:cubicBezTo>
                  <a:pt x="3930243" y="374199"/>
                  <a:pt x="3914073" y="358030"/>
                  <a:pt x="3914073" y="339551"/>
                </a:cubicBezTo>
                <a:cubicBezTo>
                  <a:pt x="3914073" y="321072"/>
                  <a:pt x="3929086" y="304903"/>
                  <a:pt x="3948721" y="304903"/>
                </a:cubicBezTo>
                <a:close/>
                <a:moveTo>
                  <a:pt x="2165502" y="304903"/>
                </a:moveTo>
                <a:cubicBezTo>
                  <a:pt x="2183981" y="304903"/>
                  <a:pt x="2200150" y="321072"/>
                  <a:pt x="2200150" y="339551"/>
                </a:cubicBezTo>
                <a:cubicBezTo>
                  <a:pt x="2200150" y="358030"/>
                  <a:pt x="2185137" y="374199"/>
                  <a:pt x="2165502" y="374199"/>
                </a:cubicBezTo>
                <a:cubicBezTo>
                  <a:pt x="2147023" y="374199"/>
                  <a:pt x="2130854" y="358030"/>
                  <a:pt x="2130854" y="339551"/>
                </a:cubicBezTo>
                <a:cubicBezTo>
                  <a:pt x="2130854" y="321072"/>
                  <a:pt x="2145868" y="304903"/>
                  <a:pt x="2165502" y="304903"/>
                </a:cubicBezTo>
                <a:close/>
                <a:moveTo>
                  <a:pt x="1593810" y="304903"/>
                </a:moveTo>
                <a:cubicBezTo>
                  <a:pt x="1612288" y="304903"/>
                  <a:pt x="1628457" y="321072"/>
                  <a:pt x="1628457" y="339551"/>
                </a:cubicBezTo>
                <a:cubicBezTo>
                  <a:pt x="1628457" y="358030"/>
                  <a:pt x="1613444" y="374199"/>
                  <a:pt x="1593810" y="374199"/>
                </a:cubicBezTo>
                <a:cubicBezTo>
                  <a:pt x="1575330" y="374199"/>
                  <a:pt x="1559161" y="358030"/>
                  <a:pt x="1559161" y="339551"/>
                </a:cubicBezTo>
                <a:cubicBezTo>
                  <a:pt x="1559161" y="321072"/>
                  <a:pt x="1574176" y="304903"/>
                  <a:pt x="1593810" y="304903"/>
                </a:cubicBezTo>
                <a:close/>
                <a:moveTo>
                  <a:pt x="1014032" y="304903"/>
                </a:moveTo>
                <a:cubicBezTo>
                  <a:pt x="1033667" y="304903"/>
                  <a:pt x="1048681" y="321072"/>
                  <a:pt x="1048681" y="339551"/>
                </a:cubicBezTo>
                <a:cubicBezTo>
                  <a:pt x="1048681" y="358030"/>
                  <a:pt x="1032511" y="374199"/>
                  <a:pt x="1014032" y="374199"/>
                </a:cubicBezTo>
                <a:cubicBezTo>
                  <a:pt x="995554" y="374199"/>
                  <a:pt x="979384" y="358030"/>
                  <a:pt x="979384" y="339551"/>
                </a:cubicBezTo>
                <a:cubicBezTo>
                  <a:pt x="979384" y="321072"/>
                  <a:pt x="994399" y="304903"/>
                  <a:pt x="1014032" y="304903"/>
                </a:cubicBezTo>
                <a:close/>
                <a:moveTo>
                  <a:pt x="463129" y="304903"/>
                </a:moveTo>
                <a:cubicBezTo>
                  <a:pt x="482763" y="304903"/>
                  <a:pt x="497778" y="321072"/>
                  <a:pt x="497778" y="339551"/>
                </a:cubicBezTo>
                <a:cubicBezTo>
                  <a:pt x="497778" y="358030"/>
                  <a:pt x="481608" y="374199"/>
                  <a:pt x="463129" y="374199"/>
                </a:cubicBezTo>
                <a:cubicBezTo>
                  <a:pt x="444651" y="374199"/>
                  <a:pt x="428481" y="358030"/>
                  <a:pt x="428481" y="339551"/>
                </a:cubicBezTo>
                <a:cubicBezTo>
                  <a:pt x="428481" y="321072"/>
                  <a:pt x="443495" y="304903"/>
                  <a:pt x="463129" y="304903"/>
                </a:cubicBezTo>
                <a:close/>
                <a:moveTo>
                  <a:pt x="11245044" y="299129"/>
                </a:moveTo>
                <a:cubicBezTo>
                  <a:pt x="11268143" y="299129"/>
                  <a:pt x="11285466" y="317608"/>
                  <a:pt x="11285466" y="339551"/>
                </a:cubicBezTo>
                <a:cubicBezTo>
                  <a:pt x="11285466" y="361495"/>
                  <a:pt x="11266987" y="379974"/>
                  <a:pt x="11245044" y="379974"/>
                </a:cubicBezTo>
                <a:cubicBezTo>
                  <a:pt x="11223100" y="379974"/>
                  <a:pt x="11204621" y="361495"/>
                  <a:pt x="11204621" y="339551"/>
                </a:cubicBezTo>
                <a:cubicBezTo>
                  <a:pt x="11204621" y="317608"/>
                  <a:pt x="11223100" y="299129"/>
                  <a:pt x="11245044" y="299129"/>
                </a:cubicBezTo>
                <a:close/>
                <a:moveTo>
                  <a:pt x="10970170" y="299129"/>
                </a:moveTo>
                <a:cubicBezTo>
                  <a:pt x="10992113" y="299129"/>
                  <a:pt x="11010592" y="317608"/>
                  <a:pt x="11010592" y="339551"/>
                </a:cubicBezTo>
                <a:cubicBezTo>
                  <a:pt x="11010592" y="361495"/>
                  <a:pt x="10992113" y="379974"/>
                  <a:pt x="10970170" y="379974"/>
                </a:cubicBezTo>
                <a:cubicBezTo>
                  <a:pt x="10948226" y="379974"/>
                  <a:pt x="10929746" y="361495"/>
                  <a:pt x="10929746" y="339551"/>
                </a:cubicBezTo>
                <a:cubicBezTo>
                  <a:pt x="10929746" y="317608"/>
                  <a:pt x="10948226" y="299129"/>
                  <a:pt x="10970170" y="299129"/>
                </a:cubicBezTo>
                <a:close/>
                <a:moveTo>
                  <a:pt x="10094730" y="299129"/>
                </a:moveTo>
                <a:cubicBezTo>
                  <a:pt x="10116673" y="299129"/>
                  <a:pt x="10135152" y="317608"/>
                  <a:pt x="10135152" y="339551"/>
                </a:cubicBezTo>
                <a:cubicBezTo>
                  <a:pt x="10135152" y="361495"/>
                  <a:pt x="10116673" y="379974"/>
                  <a:pt x="10094730" y="379974"/>
                </a:cubicBezTo>
                <a:cubicBezTo>
                  <a:pt x="10072785" y="379974"/>
                  <a:pt x="10054306" y="361495"/>
                  <a:pt x="10054306" y="339551"/>
                </a:cubicBezTo>
                <a:cubicBezTo>
                  <a:pt x="10054306" y="317608"/>
                  <a:pt x="10072785" y="299129"/>
                  <a:pt x="10094730" y="299129"/>
                </a:cubicBezTo>
                <a:close/>
                <a:moveTo>
                  <a:pt x="9818700" y="299129"/>
                </a:moveTo>
                <a:cubicBezTo>
                  <a:pt x="9841798" y="299129"/>
                  <a:pt x="9859123" y="318762"/>
                  <a:pt x="9859123" y="340706"/>
                </a:cubicBezTo>
                <a:cubicBezTo>
                  <a:pt x="9859123" y="362649"/>
                  <a:pt x="9840644" y="381128"/>
                  <a:pt x="9818700" y="381128"/>
                </a:cubicBezTo>
                <a:cubicBezTo>
                  <a:pt x="9796757" y="381128"/>
                  <a:pt x="9778278" y="361495"/>
                  <a:pt x="9778278" y="339551"/>
                </a:cubicBezTo>
                <a:cubicBezTo>
                  <a:pt x="9778278" y="317608"/>
                  <a:pt x="9796757" y="299129"/>
                  <a:pt x="9818700" y="299129"/>
                </a:cubicBezTo>
                <a:close/>
                <a:moveTo>
                  <a:pt x="8974994" y="299129"/>
                </a:moveTo>
                <a:cubicBezTo>
                  <a:pt x="8996938" y="299129"/>
                  <a:pt x="9015416" y="317608"/>
                  <a:pt x="9015416" y="339551"/>
                </a:cubicBezTo>
                <a:cubicBezTo>
                  <a:pt x="9015416" y="361495"/>
                  <a:pt x="8996938" y="379974"/>
                  <a:pt x="8974994" y="379974"/>
                </a:cubicBezTo>
                <a:cubicBezTo>
                  <a:pt x="8953050" y="379974"/>
                  <a:pt x="8934571" y="361495"/>
                  <a:pt x="8934571" y="339551"/>
                </a:cubicBezTo>
                <a:cubicBezTo>
                  <a:pt x="8934571" y="317608"/>
                  <a:pt x="8953050" y="299129"/>
                  <a:pt x="8974994" y="299129"/>
                </a:cubicBezTo>
                <a:close/>
                <a:moveTo>
                  <a:pt x="8698965" y="299129"/>
                </a:moveTo>
                <a:cubicBezTo>
                  <a:pt x="8720909" y="299129"/>
                  <a:pt x="8739388" y="317608"/>
                  <a:pt x="8739388" y="339551"/>
                </a:cubicBezTo>
                <a:cubicBezTo>
                  <a:pt x="8739388" y="361495"/>
                  <a:pt x="8720909" y="379974"/>
                  <a:pt x="8698965" y="379974"/>
                </a:cubicBezTo>
                <a:cubicBezTo>
                  <a:pt x="8677021" y="379974"/>
                  <a:pt x="8658542" y="361495"/>
                  <a:pt x="8658542" y="339551"/>
                </a:cubicBezTo>
                <a:cubicBezTo>
                  <a:pt x="8658542" y="317608"/>
                  <a:pt x="8677021" y="299129"/>
                  <a:pt x="8698965" y="299129"/>
                </a:cubicBezTo>
                <a:close/>
                <a:moveTo>
                  <a:pt x="6639717" y="299129"/>
                </a:moveTo>
                <a:cubicBezTo>
                  <a:pt x="6662817" y="299129"/>
                  <a:pt x="6680139" y="317608"/>
                  <a:pt x="6680139" y="339551"/>
                </a:cubicBezTo>
                <a:cubicBezTo>
                  <a:pt x="6680139" y="361495"/>
                  <a:pt x="6661661" y="379974"/>
                  <a:pt x="6639717" y="379974"/>
                </a:cubicBezTo>
                <a:cubicBezTo>
                  <a:pt x="6617773" y="379974"/>
                  <a:pt x="6599295" y="361495"/>
                  <a:pt x="6599295" y="339551"/>
                </a:cubicBezTo>
                <a:cubicBezTo>
                  <a:pt x="6599295" y="317608"/>
                  <a:pt x="6617773" y="299129"/>
                  <a:pt x="6639717" y="299129"/>
                </a:cubicBezTo>
                <a:close/>
                <a:moveTo>
                  <a:pt x="6364844" y="299129"/>
                </a:moveTo>
                <a:cubicBezTo>
                  <a:pt x="6386786" y="299129"/>
                  <a:pt x="6405265" y="317608"/>
                  <a:pt x="6405265" y="339551"/>
                </a:cubicBezTo>
                <a:cubicBezTo>
                  <a:pt x="6405265" y="361495"/>
                  <a:pt x="6386786" y="379974"/>
                  <a:pt x="6364844" y="379974"/>
                </a:cubicBezTo>
                <a:cubicBezTo>
                  <a:pt x="6342899" y="379974"/>
                  <a:pt x="6324420" y="361495"/>
                  <a:pt x="6324420" y="339551"/>
                </a:cubicBezTo>
                <a:cubicBezTo>
                  <a:pt x="6324420" y="317608"/>
                  <a:pt x="6342899" y="299129"/>
                  <a:pt x="6364844" y="299129"/>
                </a:cubicBezTo>
                <a:close/>
                <a:moveTo>
                  <a:pt x="5489404" y="299129"/>
                </a:moveTo>
                <a:cubicBezTo>
                  <a:pt x="5511346" y="299129"/>
                  <a:pt x="5529826" y="317608"/>
                  <a:pt x="5529826" y="339551"/>
                </a:cubicBezTo>
                <a:cubicBezTo>
                  <a:pt x="5529826" y="361495"/>
                  <a:pt x="5511346" y="379974"/>
                  <a:pt x="5489404" y="379974"/>
                </a:cubicBezTo>
                <a:cubicBezTo>
                  <a:pt x="5467460" y="379974"/>
                  <a:pt x="5448980" y="361495"/>
                  <a:pt x="5448980" y="339551"/>
                </a:cubicBezTo>
                <a:cubicBezTo>
                  <a:pt x="5448980" y="317608"/>
                  <a:pt x="5467460" y="299129"/>
                  <a:pt x="5489404" y="299129"/>
                </a:cubicBezTo>
                <a:close/>
                <a:moveTo>
                  <a:pt x="5213373" y="299129"/>
                </a:moveTo>
                <a:cubicBezTo>
                  <a:pt x="5236473" y="299129"/>
                  <a:pt x="5253797" y="317608"/>
                  <a:pt x="5253797" y="339551"/>
                </a:cubicBezTo>
                <a:cubicBezTo>
                  <a:pt x="5253797" y="361495"/>
                  <a:pt x="5235319" y="379974"/>
                  <a:pt x="5213373" y="379974"/>
                </a:cubicBezTo>
                <a:cubicBezTo>
                  <a:pt x="5191431" y="379974"/>
                  <a:pt x="5172952" y="361495"/>
                  <a:pt x="5172952" y="339551"/>
                </a:cubicBezTo>
                <a:cubicBezTo>
                  <a:pt x="5172952" y="317608"/>
                  <a:pt x="5191431" y="299129"/>
                  <a:pt x="5213373" y="299129"/>
                </a:cubicBezTo>
                <a:close/>
                <a:moveTo>
                  <a:pt x="4361031" y="299129"/>
                </a:moveTo>
                <a:cubicBezTo>
                  <a:pt x="4384131" y="299129"/>
                  <a:pt x="4401455" y="317608"/>
                  <a:pt x="4401455" y="339551"/>
                </a:cubicBezTo>
                <a:cubicBezTo>
                  <a:pt x="4401455" y="361495"/>
                  <a:pt x="4382977" y="379974"/>
                  <a:pt x="4361031" y="379974"/>
                </a:cubicBezTo>
                <a:cubicBezTo>
                  <a:pt x="4339089" y="379974"/>
                  <a:pt x="4320610" y="361495"/>
                  <a:pt x="4320610" y="339551"/>
                </a:cubicBezTo>
                <a:cubicBezTo>
                  <a:pt x="4320610" y="317608"/>
                  <a:pt x="4339089" y="299129"/>
                  <a:pt x="4361031" y="299129"/>
                </a:cubicBezTo>
                <a:close/>
                <a:moveTo>
                  <a:pt x="4086158" y="299129"/>
                </a:moveTo>
                <a:cubicBezTo>
                  <a:pt x="4108102" y="299129"/>
                  <a:pt x="4126582" y="317608"/>
                  <a:pt x="4126582" y="339551"/>
                </a:cubicBezTo>
                <a:cubicBezTo>
                  <a:pt x="4126582" y="361495"/>
                  <a:pt x="4108102" y="379974"/>
                  <a:pt x="4086158" y="379974"/>
                </a:cubicBezTo>
                <a:cubicBezTo>
                  <a:pt x="4064214" y="379974"/>
                  <a:pt x="4045735" y="361495"/>
                  <a:pt x="4045735" y="339551"/>
                </a:cubicBezTo>
                <a:cubicBezTo>
                  <a:pt x="4045735" y="317608"/>
                  <a:pt x="4064214" y="299129"/>
                  <a:pt x="4086158" y="299129"/>
                </a:cubicBezTo>
                <a:close/>
                <a:moveTo>
                  <a:pt x="2026910" y="299129"/>
                </a:moveTo>
                <a:cubicBezTo>
                  <a:pt x="2050009" y="299129"/>
                  <a:pt x="2067332" y="317608"/>
                  <a:pt x="2067332" y="339551"/>
                </a:cubicBezTo>
                <a:cubicBezTo>
                  <a:pt x="2067332" y="361495"/>
                  <a:pt x="2048854" y="379974"/>
                  <a:pt x="2026910" y="379974"/>
                </a:cubicBezTo>
                <a:cubicBezTo>
                  <a:pt x="2004966" y="379974"/>
                  <a:pt x="1986487" y="361495"/>
                  <a:pt x="1986487" y="339551"/>
                </a:cubicBezTo>
                <a:cubicBezTo>
                  <a:pt x="1986487" y="317608"/>
                  <a:pt x="2004966" y="299129"/>
                  <a:pt x="2026910" y="299129"/>
                </a:cubicBezTo>
                <a:close/>
                <a:moveTo>
                  <a:pt x="1752036" y="299129"/>
                </a:moveTo>
                <a:cubicBezTo>
                  <a:pt x="1773979" y="299129"/>
                  <a:pt x="1792458" y="317608"/>
                  <a:pt x="1792458" y="339551"/>
                </a:cubicBezTo>
                <a:cubicBezTo>
                  <a:pt x="1792458" y="361495"/>
                  <a:pt x="1773979" y="379974"/>
                  <a:pt x="1752036" y="379974"/>
                </a:cubicBezTo>
                <a:cubicBezTo>
                  <a:pt x="1730092" y="379974"/>
                  <a:pt x="1711613" y="361495"/>
                  <a:pt x="1711613" y="339551"/>
                </a:cubicBezTo>
                <a:cubicBezTo>
                  <a:pt x="1711613" y="317608"/>
                  <a:pt x="1730092" y="299129"/>
                  <a:pt x="1752036" y="299129"/>
                </a:cubicBezTo>
                <a:close/>
                <a:moveTo>
                  <a:pt x="876596" y="299129"/>
                </a:moveTo>
                <a:cubicBezTo>
                  <a:pt x="898539" y="299129"/>
                  <a:pt x="917018" y="317608"/>
                  <a:pt x="917018" y="339551"/>
                </a:cubicBezTo>
                <a:cubicBezTo>
                  <a:pt x="917018" y="361495"/>
                  <a:pt x="898539" y="379974"/>
                  <a:pt x="876596" y="379974"/>
                </a:cubicBezTo>
                <a:cubicBezTo>
                  <a:pt x="854652" y="379974"/>
                  <a:pt x="836172" y="361495"/>
                  <a:pt x="836172" y="339551"/>
                </a:cubicBezTo>
                <a:cubicBezTo>
                  <a:pt x="836172" y="317608"/>
                  <a:pt x="854652" y="299129"/>
                  <a:pt x="876596" y="299129"/>
                </a:cubicBezTo>
                <a:close/>
                <a:moveTo>
                  <a:pt x="600566" y="299129"/>
                </a:moveTo>
                <a:cubicBezTo>
                  <a:pt x="623665" y="299129"/>
                  <a:pt x="640989" y="318762"/>
                  <a:pt x="640989" y="340706"/>
                </a:cubicBezTo>
                <a:cubicBezTo>
                  <a:pt x="640989" y="362649"/>
                  <a:pt x="622510" y="381128"/>
                  <a:pt x="600566" y="381128"/>
                </a:cubicBezTo>
                <a:cubicBezTo>
                  <a:pt x="578623" y="381128"/>
                  <a:pt x="560144" y="361495"/>
                  <a:pt x="560144" y="339551"/>
                </a:cubicBezTo>
                <a:cubicBezTo>
                  <a:pt x="560144" y="317608"/>
                  <a:pt x="578623" y="299129"/>
                  <a:pt x="600566" y="299129"/>
                </a:cubicBezTo>
                <a:close/>
                <a:moveTo>
                  <a:pt x="11107606" y="288734"/>
                </a:moveTo>
                <a:cubicBezTo>
                  <a:pt x="11136480" y="288734"/>
                  <a:pt x="11158424" y="311832"/>
                  <a:pt x="11158424" y="339551"/>
                </a:cubicBezTo>
                <a:cubicBezTo>
                  <a:pt x="11158424" y="367269"/>
                  <a:pt x="11136480" y="390368"/>
                  <a:pt x="11107606" y="390368"/>
                </a:cubicBezTo>
                <a:cubicBezTo>
                  <a:pt x="11079888" y="390368"/>
                  <a:pt x="11056789" y="367269"/>
                  <a:pt x="11056789" y="339551"/>
                </a:cubicBezTo>
                <a:cubicBezTo>
                  <a:pt x="11056789" y="311832"/>
                  <a:pt x="11078734" y="288734"/>
                  <a:pt x="11107606" y="288734"/>
                </a:cubicBezTo>
                <a:close/>
                <a:moveTo>
                  <a:pt x="9957292" y="288734"/>
                </a:moveTo>
                <a:cubicBezTo>
                  <a:pt x="9985010" y="288734"/>
                  <a:pt x="10008109" y="311832"/>
                  <a:pt x="10008109" y="339551"/>
                </a:cubicBezTo>
                <a:cubicBezTo>
                  <a:pt x="10008109" y="367269"/>
                  <a:pt x="9985010" y="390368"/>
                  <a:pt x="9957292" y="390368"/>
                </a:cubicBezTo>
                <a:cubicBezTo>
                  <a:pt x="9929574" y="390368"/>
                  <a:pt x="9906475" y="367269"/>
                  <a:pt x="9906475" y="339551"/>
                </a:cubicBezTo>
                <a:cubicBezTo>
                  <a:pt x="9906475" y="311832"/>
                  <a:pt x="9928419" y="288734"/>
                  <a:pt x="9957292" y="288734"/>
                </a:cubicBezTo>
                <a:close/>
                <a:moveTo>
                  <a:pt x="8836402" y="288734"/>
                </a:moveTo>
                <a:cubicBezTo>
                  <a:pt x="8865275" y="288734"/>
                  <a:pt x="8887219" y="311832"/>
                  <a:pt x="8887219" y="339551"/>
                </a:cubicBezTo>
                <a:cubicBezTo>
                  <a:pt x="8887219" y="367269"/>
                  <a:pt x="8864121" y="390368"/>
                  <a:pt x="8836402" y="390368"/>
                </a:cubicBezTo>
                <a:cubicBezTo>
                  <a:pt x="8808684" y="390368"/>
                  <a:pt x="8785585" y="367269"/>
                  <a:pt x="8785585" y="339551"/>
                </a:cubicBezTo>
                <a:cubicBezTo>
                  <a:pt x="8785585" y="311832"/>
                  <a:pt x="8807528" y="288734"/>
                  <a:pt x="8836402" y="288734"/>
                </a:cubicBezTo>
                <a:close/>
                <a:moveTo>
                  <a:pt x="6502281" y="288734"/>
                </a:moveTo>
                <a:cubicBezTo>
                  <a:pt x="6531154" y="288734"/>
                  <a:pt x="6553098" y="311832"/>
                  <a:pt x="6553098" y="339551"/>
                </a:cubicBezTo>
                <a:cubicBezTo>
                  <a:pt x="6553098" y="367269"/>
                  <a:pt x="6531154" y="390368"/>
                  <a:pt x="6502281" y="390368"/>
                </a:cubicBezTo>
                <a:cubicBezTo>
                  <a:pt x="6474562" y="390368"/>
                  <a:pt x="6451462" y="367269"/>
                  <a:pt x="6451462" y="339551"/>
                </a:cubicBezTo>
                <a:cubicBezTo>
                  <a:pt x="6451462" y="311832"/>
                  <a:pt x="6473407" y="288734"/>
                  <a:pt x="6502281" y="288734"/>
                </a:cubicBezTo>
                <a:close/>
                <a:moveTo>
                  <a:pt x="5351966" y="288734"/>
                </a:moveTo>
                <a:cubicBezTo>
                  <a:pt x="5379684" y="288734"/>
                  <a:pt x="5402784" y="311832"/>
                  <a:pt x="5402784" y="339551"/>
                </a:cubicBezTo>
                <a:cubicBezTo>
                  <a:pt x="5402784" y="367269"/>
                  <a:pt x="5380840" y="390368"/>
                  <a:pt x="5351966" y="390368"/>
                </a:cubicBezTo>
                <a:cubicBezTo>
                  <a:pt x="5324247" y="390368"/>
                  <a:pt x="5301149" y="367269"/>
                  <a:pt x="5301149" y="339551"/>
                </a:cubicBezTo>
                <a:cubicBezTo>
                  <a:pt x="5301149" y="311832"/>
                  <a:pt x="5323094" y="288734"/>
                  <a:pt x="5351966" y="288734"/>
                </a:cubicBezTo>
                <a:close/>
                <a:moveTo>
                  <a:pt x="4223596" y="288734"/>
                </a:moveTo>
                <a:cubicBezTo>
                  <a:pt x="4252468" y="288734"/>
                  <a:pt x="4274413" y="311832"/>
                  <a:pt x="4274413" y="339551"/>
                </a:cubicBezTo>
                <a:cubicBezTo>
                  <a:pt x="4274413" y="367269"/>
                  <a:pt x="4251315" y="390368"/>
                  <a:pt x="4223596" y="390368"/>
                </a:cubicBezTo>
                <a:cubicBezTo>
                  <a:pt x="4195877" y="390368"/>
                  <a:pt x="4172779" y="367269"/>
                  <a:pt x="4172779" y="339551"/>
                </a:cubicBezTo>
                <a:cubicBezTo>
                  <a:pt x="4172779" y="311832"/>
                  <a:pt x="4194721" y="288734"/>
                  <a:pt x="4223596" y="288734"/>
                </a:cubicBezTo>
                <a:close/>
                <a:moveTo>
                  <a:pt x="1889473" y="288734"/>
                </a:moveTo>
                <a:cubicBezTo>
                  <a:pt x="1918346" y="288734"/>
                  <a:pt x="1940290" y="311832"/>
                  <a:pt x="1940290" y="339551"/>
                </a:cubicBezTo>
                <a:cubicBezTo>
                  <a:pt x="1940290" y="367269"/>
                  <a:pt x="1918346" y="390368"/>
                  <a:pt x="1889473" y="390368"/>
                </a:cubicBezTo>
                <a:cubicBezTo>
                  <a:pt x="1861754" y="390368"/>
                  <a:pt x="1838656" y="367269"/>
                  <a:pt x="1838656" y="339551"/>
                </a:cubicBezTo>
                <a:cubicBezTo>
                  <a:pt x="1838656" y="311832"/>
                  <a:pt x="1860600" y="288734"/>
                  <a:pt x="1889473" y="288734"/>
                </a:cubicBezTo>
                <a:close/>
                <a:moveTo>
                  <a:pt x="739158" y="288734"/>
                </a:moveTo>
                <a:cubicBezTo>
                  <a:pt x="766877" y="288734"/>
                  <a:pt x="789975" y="311832"/>
                  <a:pt x="789975" y="339551"/>
                </a:cubicBezTo>
                <a:cubicBezTo>
                  <a:pt x="789975" y="367269"/>
                  <a:pt x="766877" y="390368"/>
                  <a:pt x="739158" y="390368"/>
                </a:cubicBezTo>
                <a:cubicBezTo>
                  <a:pt x="711440" y="390368"/>
                  <a:pt x="688341" y="367269"/>
                  <a:pt x="688341" y="339551"/>
                </a:cubicBezTo>
                <a:cubicBezTo>
                  <a:pt x="688341" y="311832"/>
                  <a:pt x="710285" y="288734"/>
                  <a:pt x="739158" y="288734"/>
                </a:cubicBezTo>
                <a:close/>
                <a:moveTo>
                  <a:pt x="12227892" y="175550"/>
                </a:moveTo>
                <a:cubicBezTo>
                  <a:pt x="12238288" y="175550"/>
                  <a:pt x="12248682" y="184790"/>
                  <a:pt x="12248682" y="196339"/>
                </a:cubicBezTo>
                <a:cubicBezTo>
                  <a:pt x="12248682" y="207888"/>
                  <a:pt x="12239442" y="217128"/>
                  <a:pt x="12227892" y="217128"/>
                </a:cubicBezTo>
                <a:cubicBezTo>
                  <a:pt x="12216343" y="217128"/>
                  <a:pt x="12207104" y="207888"/>
                  <a:pt x="12207104" y="196339"/>
                </a:cubicBezTo>
                <a:cubicBezTo>
                  <a:pt x="12207104" y="184790"/>
                  <a:pt x="12216343" y="175550"/>
                  <a:pt x="12227892" y="175550"/>
                </a:cubicBezTo>
                <a:close/>
                <a:moveTo>
                  <a:pt x="12091610" y="175550"/>
                </a:moveTo>
                <a:cubicBezTo>
                  <a:pt x="12103160" y="175550"/>
                  <a:pt x="12112399" y="184790"/>
                  <a:pt x="12112399" y="196339"/>
                </a:cubicBezTo>
                <a:cubicBezTo>
                  <a:pt x="12112399" y="207888"/>
                  <a:pt x="12103160" y="217128"/>
                  <a:pt x="12091610" y="217128"/>
                </a:cubicBezTo>
                <a:cubicBezTo>
                  <a:pt x="12080061" y="217128"/>
                  <a:pt x="12070822" y="207888"/>
                  <a:pt x="12070822" y="196339"/>
                </a:cubicBezTo>
                <a:cubicBezTo>
                  <a:pt x="12070822" y="184790"/>
                  <a:pt x="12080061" y="175550"/>
                  <a:pt x="12091610" y="175550"/>
                </a:cubicBezTo>
                <a:close/>
                <a:moveTo>
                  <a:pt x="11956484" y="175550"/>
                </a:moveTo>
                <a:cubicBezTo>
                  <a:pt x="11968033" y="175550"/>
                  <a:pt x="11977272" y="184790"/>
                  <a:pt x="11977272" y="196339"/>
                </a:cubicBezTo>
                <a:cubicBezTo>
                  <a:pt x="11977272" y="207888"/>
                  <a:pt x="11968033" y="217128"/>
                  <a:pt x="11956484" y="217128"/>
                </a:cubicBezTo>
                <a:cubicBezTo>
                  <a:pt x="11944934" y="217128"/>
                  <a:pt x="11935695" y="207888"/>
                  <a:pt x="11935695" y="196339"/>
                </a:cubicBezTo>
                <a:cubicBezTo>
                  <a:pt x="11935695" y="184790"/>
                  <a:pt x="11944934" y="175550"/>
                  <a:pt x="11956484" y="175550"/>
                </a:cubicBezTo>
                <a:close/>
                <a:moveTo>
                  <a:pt x="11821356" y="175550"/>
                </a:moveTo>
                <a:cubicBezTo>
                  <a:pt x="11832905" y="175550"/>
                  <a:pt x="11842144" y="184790"/>
                  <a:pt x="11842144" y="196339"/>
                </a:cubicBezTo>
                <a:cubicBezTo>
                  <a:pt x="11842144" y="207888"/>
                  <a:pt x="11832905" y="217128"/>
                  <a:pt x="11821356" y="217128"/>
                </a:cubicBezTo>
                <a:cubicBezTo>
                  <a:pt x="11809806" y="217128"/>
                  <a:pt x="11800567" y="207888"/>
                  <a:pt x="11800567" y="196339"/>
                </a:cubicBezTo>
                <a:cubicBezTo>
                  <a:pt x="11800567" y="184790"/>
                  <a:pt x="11809806" y="175550"/>
                  <a:pt x="11821356" y="175550"/>
                </a:cubicBezTo>
                <a:close/>
                <a:moveTo>
                  <a:pt x="11685074" y="175550"/>
                </a:moveTo>
                <a:cubicBezTo>
                  <a:pt x="11696623" y="175550"/>
                  <a:pt x="11705862" y="184790"/>
                  <a:pt x="11705862" y="196339"/>
                </a:cubicBezTo>
                <a:cubicBezTo>
                  <a:pt x="11705862" y="207888"/>
                  <a:pt x="11696623" y="217128"/>
                  <a:pt x="11685074" y="217128"/>
                </a:cubicBezTo>
                <a:cubicBezTo>
                  <a:pt x="11673524" y="217128"/>
                  <a:pt x="11664285" y="207888"/>
                  <a:pt x="11664285" y="196339"/>
                </a:cubicBezTo>
                <a:cubicBezTo>
                  <a:pt x="11664285" y="184790"/>
                  <a:pt x="11673524" y="175550"/>
                  <a:pt x="11685074" y="175550"/>
                </a:cubicBezTo>
                <a:close/>
                <a:moveTo>
                  <a:pt x="10736873" y="175550"/>
                </a:moveTo>
                <a:cubicBezTo>
                  <a:pt x="10748422" y="175550"/>
                  <a:pt x="10757662" y="184790"/>
                  <a:pt x="10757662" y="196339"/>
                </a:cubicBezTo>
                <a:cubicBezTo>
                  <a:pt x="10757662" y="207888"/>
                  <a:pt x="10748422" y="217128"/>
                  <a:pt x="10736873" y="217128"/>
                </a:cubicBezTo>
                <a:cubicBezTo>
                  <a:pt x="10725324" y="217128"/>
                  <a:pt x="10716084" y="207888"/>
                  <a:pt x="10716084" y="196339"/>
                </a:cubicBezTo>
                <a:cubicBezTo>
                  <a:pt x="10716084" y="184790"/>
                  <a:pt x="10725324" y="175550"/>
                  <a:pt x="10736873" y="175550"/>
                </a:cubicBezTo>
                <a:close/>
                <a:moveTo>
                  <a:pt x="10601745" y="175550"/>
                </a:moveTo>
                <a:cubicBezTo>
                  <a:pt x="10613294" y="175550"/>
                  <a:pt x="10622534" y="184790"/>
                  <a:pt x="10622534" y="196339"/>
                </a:cubicBezTo>
                <a:cubicBezTo>
                  <a:pt x="10622534" y="207888"/>
                  <a:pt x="10613294" y="217128"/>
                  <a:pt x="10601745" y="217128"/>
                </a:cubicBezTo>
                <a:cubicBezTo>
                  <a:pt x="10590196" y="217128"/>
                  <a:pt x="10580956" y="207888"/>
                  <a:pt x="10580956" y="196339"/>
                </a:cubicBezTo>
                <a:cubicBezTo>
                  <a:pt x="10580956" y="184790"/>
                  <a:pt x="10590196" y="175550"/>
                  <a:pt x="10601745" y="175550"/>
                </a:cubicBezTo>
                <a:close/>
                <a:moveTo>
                  <a:pt x="8027949" y="175550"/>
                </a:moveTo>
                <a:cubicBezTo>
                  <a:pt x="8039499" y="175550"/>
                  <a:pt x="8048737" y="184790"/>
                  <a:pt x="8048737" y="196339"/>
                </a:cubicBezTo>
                <a:cubicBezTo>
                  <a:pt x="8048737" y="207888"/>
                  <a:pt x="8039499" y="217128"/>
                  <a:pt x="8027949" y="217128"/>
                </a:cubicBezTo>
                <a:cubicBezTo>
                  <a:pt x="8016400" y="217128"/>
                  <a:pt x="8007160" y="207888"/>
                  <a:pt x="8007160" y="196339"/>
                </a:cubicBezTo>
                <a:cubicBezTo>
                  <a:pt x="8007160" y="184790"/>
                  <a:pt x="8016400" y="175550"/>
                  <a:pt x="8027949" y="175550"/>
                </a:cubicBezTo>
                <a:close/>
                <a:moveTo>
                  <a:pt x="7892822" y="175550"/>
                </a:moveTo>
                <a:cubicBezTo>
                  <a:pt x="7904371" y="175550"/>
                  <a:pt x="7913611" y="184790"/>
                  <a:pt x="7913611" y="196339"/>
                </a:cubicBezTo>
                <a:cubicBezTo>
                  <a:pt x="7913611" y="207888"/>
                  <a:pt x="7904371" y="217128"/>
                  <a:pt x="7892822" y="217128"/>
                </a:cubicBezTo>
                <a:cubicBezTo>
                  <a:pt x="7881271" y="217128"/>
                  <a:pt x="7872031" y="207888"/>
                  <a:pt x="7872031" y="196339"/>
                </a:cubicBezTo>
                <a:cubicBezTo>
                  <a:pt x="7872031" y="184790"/>
                  <a:pt x="7881271" y="175550"/>
                  <a:pt x="7892822" y="175550"/>
                </a:cubicBezTo>
                <a:close/>
                <a:moveTo>
                  <a:pt x="7757693" y="175550"/>
                </a:moveTo>
                <a:cubicBezTo>
                  <a:pt x="7769244" y="175550"/>
                  <a:pt x="7778483" y="184790"/>
                  <a:pt x="7778483" y="196339"/>
                </a:cubicBezTo>
                <a:cubicBezTo>
                  <a:pt x="7778483" y="207888"/>
                  <a:pt x="7769244" y="217128"/>
                  <a:pt x="7757693" y="217128"/>
                </a:cubicBezTo>
                <a:cubicBezTo>
                  <a:pt x="7746146" y="217128"/>
                  <a:pt x="7736906" y="207888"/>
                  <a:pt x="7736906" y="196339"/>
                </a:cubicBezTo>
                <a:cubicBezTo>
                  <a:pt x="7736906" y="184790"/>
                  <a:pt x="7746146" y="175550"/>
                  <a:pt x="7757693" y="175550"/>
                </a:cubicBezTo>
                <a:close/>
                <a:moveTo>
                  <a:pt x="7622566" y="175550"/>
                </a:moveTo>
                <a:cubicBezTo>
                  <a:pt x="7632962" y="175550"/>
                  <a:pt x="7643355" y="184790"/>
                  <a:pt x="7643355" y="196339"/>
                </a:cubicBezTo>
                <a:cubicBezTo>
                  <a:pt x="7643355" y="207888"/>
                  <a:pt x="7634115" y="217128"/>
                  <a:pt x="7622566" y="217128"/>
                </a:cubicBezTo>
                <a:cubicBezTo>
                  <a:pt x="7611018" y="217128"/>
                  <a:pt x="7601778" y="207888"/>
                  <a:pt x="7601778" y="196339"/>
                </a:cubicBezTo>
                <a:cubicBezTo>
                  <a:pt x="7601778" y="184790"/>
                  <a:pt x="7611018" y="175550"/>
                  <a:pt x="7622566" y="175550"/>
                </a:cubicBezTo>
                <a:close/>
                <a:moveTo>
                  <a:pt x="7486284" y="175550"/>
                </a:moveTo>
                <a:cubicBezTo>
                  <a:pt x="7497834" y="175550"/>
                  <a:pt x="7507074" y="184790"/>
                  <a:pt x="7507074" y="196339"/>
                </a:cubicBezTo>
                <a:cubicBezTo>
                  <a:pt x="7507074" y="207888"/>
                  <a:pt x="7497834" y="217128"/>
                  <a:pt x="7486284" y="217128"/>
                </a:cubicBezTo>
                <a:cubicBezTo>
                  <a:pt x="7474735" y="217128"/>
                  <a:pt x="7465495" y="207888"/>
                  <a:pt x="7465495" y="196339"/>
                </a:cubicBezTo>
                <a:cubicBezTo>
                  <a:pt x="7465495" y="184790"/>
                  <a:pt x="7474735" y="175550"/>
                  <a:pt x="7486284" y="175550"/>
                </a:cubicBezTo>
                <a:close/>
                <a:moveTo>
                  <a:pt x="7351157" y="175550"/>
                </a:moveTo>
                <a:cubicBezTo>
                  <a:pt x="7362706" y="175550"/>
                  <a:pt x="7371946" y="184790"/>
                  <a:pt x="7371946" y="196339"/>
                </a:cubicBezTo>
                <a:cubicBezTo>
                  <a:pt x="7371946" y="207888"/>
                  <a:pt x="7362706" y="217128"/>
                  <a:pt x="7351157" y="217128"/>
                </a:cubicBezTo>
                <a:cubicBezTo>
                  <a:pt x="7339609" y="217128"/>
                  <a:pt x="7330369" y="207888"/>
                  <a:pt x="7330369" y="196339"/>
                </a:cubicBezTo>
                <a:cubicBezTo>
                  <a:pt x="7330369" y="184790"/>
                  <a:pt x="7339609" y="175550"/>
                  <a:pt x="7351157" y="175550"/>
                </a:cubicBezTo>
                <a:close/>
                <a:moveTo>
                  <a:pt x="7216030" y="175550"/>
                </a:moveTo>
                <a:cubicBezTo>
                  <a:pt x="7227579" y="175550"/>
                  <a:pt x="7236819" y="184790"/>
                  <a:pt x="7236819" y="196339"/>
                </a:cubicBezTo>
                <a:cubicBezTo>
                  <a:pt x="7236819" y="207888"/>
                  <a:pt x="7227579" y="217128"/>
                  <a:pt x="7216030" y="217128"/>
                </a:cubicBezTo>
                <a:cubicBezTo>
                  <a:pt x="7204481" y="217128"/>
                  <a:pt x="7195241" y="207888"/>
                  <a:pt x="7195241" y="196339"/>
                </a:cubicBezTo>
                <a:cubicBezTo>
                  <a:pt x="7195241" y="184790"/>
                  <a:pt x="7204481" y="175550"/>
                  <a:pt x="7216030" y="175550"/>
                </a:cubicBezTo>
                <a:close/>
                <a:moveTo>
                  <a:pt x="7079748" y="175550"/>
                </a:moveTo>
                <a:cubicBezTo>
                  <a:pt x="7091297" y="175550"/>
                  <a:pt x="7100537" y="184790"/>
                  <a:pt x="7100537" y="196339"/>
                </a:cubicBezTo>
                <a:cubicBezTo>
                  <a:pt x="7100537" y="207888"/>
                  <a:pt x="7091297" y="217128"/>
                  <a:pt x="7079748" y="217128"/>
                </a:cubicBezTo>
                <a:cubicBezTo>
                  <a:pt x="7068199" y="217128"/>
                  <a:pt x="7058959" y="207888"/>
                  <a:pt x="7058959" y="196339"/>
                </a:cubicBezTo>
                <a:cubicBezTo>
                  <a:pt x="7058959" y="184790"/>
                  <a:pt x="7068199" y="175550"/>
                  <a:pt x="7079748" y="175550"/>
                </a:cubicBezTo>
                <a:close/>
                <a:moveTo>
                  <a:pt x="6131548" y="175550"/>
                </a:moveTo>
                <a:cubicBezTo>
                  <a:pt x="6143096" y="175550"/>
                  <a:pt x="6152336" y="184790"/>
                  <a:pt x="6152336" y="196339"/>
                </a:cubicBezTo>
                <a:cubicBezTo>
                  <a:pt x="6152336" y="207888"/>
                  <a:pt x="6143096" y="217128"/>
                  <a:pt x="6131548" y="217128"/>
                </a:cubicBezTo>
                <a:cubicBezTo>
                  <a:pt x="6119997" y="217128"/>
                  <a:pt x="6110759" y="207888"/>
                  <a:pt x="6110759" y="196339"/>
                </a:cubicBezTo>
                <a:cubicBezTo>
                  <a:pt x="6110759" y="184790"/>
                  <a:pt x="6119997" y="175550"/>
                  <a:pt x="6131548" y="175550"/>
                </a:cubicBezTo>
                <a:close/>
                <a:moveTo>
                  <a:pt x="5996418" y="175550"/>
                </a:moveTo>
                <a:cubicBezTo>
                  <a:pt x="6007969" y="175550"/>
                  <a:pt x="6017209" y="184790"/>
                  <a:pt x="6017209" y="196339"/>
                </a:cubicBezTo>
                <a:cubicBezTo>
                  <a:pt x="6017209" y="207888"/>
                  <a:pt x="6007969" y="217128"/>
                  <a:pt x="5996418" y="217128"/>
                </a:cubicBezTo>
                <a:cubicBezTo>
                  <a:pt x="5984870" y="217128"/>
                  <a:pt x="5975630" y="207888"/>
                  <a:pt x="5975630" y="196339"/>
                </a:cubicBezTo>
                <a:cubicBezTo>
                  <a:pt x="5975630" y="184790"/>
                  <a:pt x="5984870" y="175550"/>
                  <a:pt x="5996418" y="175550"/>
                </a:cubicBezTo>
                <a:close/>
                <a:moveTo>
                  <a:pt x="3415142" y="175550"/>
                </a:moveTo>
                <a:cubicBezTo>
                  <a:pt x="3426691" y="175550"/>
                  <a:pt x="3435930" y="184790"/>
                  <a:pt x="3435930" y="196339"/>
                </a:cubicBezTo>
                <a:cubicBezTo>
                  <a:pt x="3435930" y="207888"/>
                  <a:pt x="3426691" y="217128"/>
                  <a:pt x="3415142" y="217128"/>
                </a:cubicBezTo>
                <a:cubicBezTo>
                  <a:pt x="3403592" y="217128"/>
                  <a:pt x="3394352" y="207888"/>
                  <a:pt x="3394352" y="196339"/>
                </a:cubicBezTo>
                <a:cubicBezTo>
                  <a:pt x="3394352" y="184790"/>
                  <a:pt x="3403592" y="175550"/>
                  <a:pt x="3415142" y="175550"/>
                </a:cubicBezTo>
                <a:close/>
                <a:moveTo>
                  <a:pt x="3280013" y="175550"/>
                </a:moveTo>
                <a:cubicBezTo>
                  <a:pt x="3291564" y="175550"/>
                  <a:pt x="3300802" y="184790"/>
                  <a:pt x="3300802" y="196339"/>
                </a:cubicBezTo>
                <a:cubicBezTo>
                  <a:pt x="3300802" y="207888"/>
                  <a:pt x="3291564" y="217128"/>
                  <a:pt x="3280013" y="217128"/>
                </a:cubicBezTo>
                <a:cubicBezTo>
                  <a:pt x="3268464" y="217128"/>
                  <a:pt x="3259224" y="207888"/>
                  <a:pt x="3259224" y="196339"/>
                </a:cubicBezTo>
                <a:cubicBezTo>
                  <a:pt x="3259224" y="184790"/>
                  <a:pt x="3268464" y="175550"/>
                  <a:pt x="3280013" y="175550"/>
                </a:cubicBezTo>
                <a:close/>
                <a:moveTo>
                  <a:pt x="3144887" y="175550"/>
                </a:moveTo>
                <a:cubicBezTo>
                  <a:pt x="3156436" y="175550"/>
                  <a:pt x="3165675" y="184790"/>
                  <a:pt x="3165675" y="196339"/>
                </a:cubicBezTo>
                <a:cubicBezTo>
                  <a:pt x="3165675" y="207888"/>
                  <a:pt x="3156436" y="217128"/>
                  <a:pt x="3144887" y="217128"/>
                </a:cubicBezTo>
                <a:cubicBezTo>
                  <a:pt x="3133338" y="217128"/>
                  <a:pt x="3124098" y="207888"/>
                  <a:pt x="3124098" y="196339"/>
                </a:cubicBezTo>
                <a:cubicBezTo>
                  <a:pt x="3124098" y="184790"/>
                  <a:pt x="3133338" y="175550"/>
                  <a:pt x="3144887" y="175550"/>
                </a:cubicBezTo>
                <a:close/>
                <a:moveTo>
                  <a:pt x="3009759" y="175550"/>
                </a:moveTo>
                <a:cubicBezTo>
                  <a:pt x="3020154" y="175550"/>
                  <a:pt x="3030548" y="184790"/>
                  <a:pt x="3030548" y="196339"/>
                </a:cubicBezTo>
                <a:cubicBezTo>
                  <a:pt x="3030548" y="207888"/>
                  <a:pt x="3021308" y="217128"/>
                  <a:pt x="3009759" y="217128"/>
                </a:cubicBezTo>
                <a:cubicBezTo>
                  <a:pt x="2998209" y="217128"/>
                  <a:pt x="2988971" y="207888"/>
                  <a:pt x="2988971" y="196339"/>
                </a:cubicBezTo>
                <a:cubicBezTo>
                  <a:pt x="2988971" y="184790"/>
                  <a:pt x="2998209" y="175550"/>
                  <a:pt x="3009759" y="175550"/>
                </a:cubicBezTo>
                <a:close/>
                <a:moveTo>
                  <a:pt x="2873476" y="175550"/>
                </a:moveTo>
                <a:cubicBezTo>
                  <a:pt x="2885026" y="175550"/>
                  <a:pt x="2894265" y="184790"/>
                  <a:pt x="2894265" y="196339"/>
                </a:cubicBezTo>
                <a:cubicBezTo>
                  <a:pt x="2894265" y="207888"/>
                  <a:pt x="2885026" y="217128"/>
                  <a:pt x="2873476" y="217128"/>
                </a:cubicBezTo>
                <a:cubicBezTo>
                  <a:pt x="2861927" y="217128"/>
                  <a:pt x="2852688" y="207888"/>
                  <a:pt x="2852688" y="196339"/>
                </a:cubicBezTo>
                <a:cubicBezTo>
                  <a:pt x="2852688" y="184790"/>
                  <a:pt x="2861927" y="175550"/>
                  <a:pt x="2873476" y="175550"/>
                </a:cubicBezTo>
                <a:close/>
                <a:moveTo>
                  <a:pt x="2738350" y="175550"/>
                </a:moveTo>
                <a:cubicBezTo>
                  <a:pt x="2749899" y="175550"/>
                  <a:pt x="2759139" y="184790"/>
                  <a:pt x="2759139" y="196339"/>
                </a:cubicBezTo>
                <a:cubicBezTo>
                  <a:pt x="2759139" y="207888"/>
                  <a:pt x="2749899" y="217128"/>
                  <a:pt x="2738350" y="217128"/>
                </a:cubicBezTo>
                <a:cubicBezTo>
                  <a:pt x="2726800" y="217128"/>
                  <a:pt x="2717562" y="207888"/>
                  <a:pt x="2717562" y="196339"/>
                </a:cubicBezTo>
                <a:cubicBezTo>
                  <a:pt x="2717562" y="184790"/>
                  <a:pt x="2726800" y="175550"/>
                  <a:pt x="2738350" y="175550"/>
                </a:cubicBezTo>
                <a:close/>
                <a:moveTo>
                  <a:pt x="2603222" y="175550"/>
                </a:moveTo>
                <a:cubicBezTo>
                  <a:pt x="2614771" y="175550"/>
                  <a:pt x="2624011" y="184790"/>
                  <a:pt x="2624011" y="196339"/>
                </a:cubicBezTo>
                <a:cubicBezTo>
                  <a:pt x="2624011" y="207888"/>
                  <a:pt x="2614771" y="217128"/>
                  <a:pt x="2603222" y="217128"/>
                </a:cubicBezTo>
                <a:cubicBezTo>
                  <a:pt x="2591673" y="217128"/>
                  <a:pt x="2582433" y="207888"/>
                  <a:pt x="2582433" y="196339"/>
                </a:cubicBezTo>
                <a:cubicBezTo>
                  <a:pt x="2582433" y="184790"/>
                  <a:pt x="2591673" y="175550"/>
                  <a:pt x="2603222" y="175550"/>
                </a:cubicBezTo>
                <a:close/>
                <a:moveTo>
                  <a:pt x="2466940" y="175550"/>
                </a:moveTo>
                <a:cubicBezTo>
                  <a:pt x="2478489" y="175550"/>
                  <a:pt x="2487729" y="184790"/>
                  <a:pt x="2487729" y="196339"/>
                </a:cubicBezTo>
                <a:cubicBezTo>
                  <a:pt x="2487729" y="207888"/>
                  <a:pt x="2478489" y="217128"/>
                  <a:pt x="2466940" y="217128"/>
                </a:cubicBezTo>
                <a:cubicBezTo>
                  <a:pt x="2455390" y="217128"/>
                  <a:pt x="2446151" y="207888"/>
                  <a:pt x="2446151" y="196339"/>
                </a:cubicBezTo>
                <a:cubicBezTo>
                  <a:pt x="2446151" y="184790"/>
                  <a:pt x="2455390" y="175550"/>
                  <a:pt x="2466940" y="175550"/>
                </a:cubicBezTo>
                <a:close/>
                <a:moveTo>
                  <a:pt x="1518739" y="175550"/>
                </a:moveTo>
                <a:cubicBezTo>
                  <a:pt x="1530289" y="175550"/>
                  <a:pt x="1539528" y="184790"/>
                  <a:pt x="1539528" y="196339"/>
                </a:cubicBezTo>
                <a:cubicBezTo>
                  <a:pt x="1539528" y="207888"/>
                  <a:pt x="1530289" y="217128"/>
                  <a:pt x="1518739" y="217128"/>
                </a:cubicBezTo>
                <a:cubicBezTo>
                  <a:pt x="1507190" y="217128"/>
                  <a:pt x="1497951" y="207888"/>
                  <a:pt x="1497951" y="196339"/>
                </a:cubicBezTo>
                <a:cubicBezTo>
                  <a:pt x="1497951" y="184790"/>
                  <a:pt x="1507190" y="175550"/>
                  <a:pt x="1518739" y="175550"/>
                </a:cubicBezTo>
                <a:close/>
                <a:moveTo>
                  <a:pt x="1383611" y="175550"/>
                </a:moveTo>
                <a:cubicBezTo>
                  <a:pt x="1395161" y="175550"/>
                  <a:pt x="1404400" y="184790"/>
                  <a:pt x="1404400" y="196339"/>
                </a:cubicBezTo>
                <a:cubicBezTo>
                  <a:pt x="1404400" y="207888"/>
                  <a:pt x="1395161" y="217128"/>
                  <a:pt x="1383611" y="217128"/>
                </a:cubicBezTo>
                <a:cubicBezTo>
                  <a:pt x="1372062" y="217128"/>
                  <a:pt x="1362823" y="207888"/>
                  <a:pt x="1362823" y="196339"/>
                </a:cubicBezTo>
                <a:cubicBezTo>
                  <a:pt x="1362823" y="184790"/>
                  <a:pt x="1372062" y="175550"/>
                  <a:pt x="1383611" y="175550"/>
                </a:cubicBezTo>
                <a:close/>
                <a:moveTo>
                  <a:pt x="11549947" y="172086"/>
                </a:moveTo>
                <a:cubicBezTo>
                  <a:pt x="11562650" y="172086"/>
                  <a:pt x="11573046" y="182480"/>
                  <a:pt x="11573046" y="195185"/>
                </a:cubicBezTo>
                <a:cubicBezTo>
                  <a:pt x="11573046" y="207888"/>
                  <a:pt x="11562650" y="218283"/>
                  <a:pt x="11549947" y="218283"/>
                </a:cubicBezTo>
                <a:cubicBezTo>
                  <a:pt x="11537242" y="218283"/>
                  <a:pt x="11526848" y="207888"/>
                  <a:pt x="11526848" y="195185"/>
                </a:cubicBezTo>
                <a:cubicBezTo>
                  <a:pt x="11526848" y="182480"/>
                  <a:pt x="11537242" y="172086"/>
                  <a:pt x="11549947" y="172086"/>
                </a:cubicBezTo>
                <a:close/>
                <a:moveTo>
                  <a:pt x="10466618" y="172086"/>
                </a:moveTo>
                <a:cubicBezTo>
                  <a:pt x="10479322" y="172086"/>
                  <a:pt x="10489717" y="182480"/>
                  <a:pt x="10489717" y="195185"/>
                </a:cubicBezTo>
                <a:cubicBezTo>
                  <a:pt x="10489717" y="207888"/>
                  <a:pt x="10479322" y="218283"/>
                  <a:pt x="10466618" y="218283"/>
                </a:cubicBezTo>
                <a:cubicBezTo>
                  <a:pt x="10453914" y="218283"/>
                  <a:pt x="10443520" y="207888"/>
                  <a:pt x="10443520" y="195185"/>
                </a:cubicBezTo>
                <a:cubicBezTo>
                  <a:pt x="10443520" y="182480"/>
                  <a:pt x="10453914" y="172086"/>
                  <a:pt x="10466618" y="172086"/>
                </a:cubicBezTo>
                <a:close/>
                <a:moveTo>
                  <a:pt x="9244698" y="172086"/>
                </a:moveTo>
                <a:cubicBezTo>
                  <a:pt x="9258557" y="172086"/>
                  <a:pt x="9268951" y="181325"/>
                  <a:pt x="9270107" y="194029"/>
                </a:cubicBezTo>
                <a:cubicBezTo>
                  <a:pt x="9271261" y="206734"/>
                  <a:pt x="9262022" y="219438"/>
                  <a:pt x="9249318" y="219438"/>
                </a:cubicBezTo>
                <a:cubicBezTo>
                  <a:pt x="9236613" y="219438"/>
                  <a:pt x="9225064" y="210198"/>
                  <a:pt x="9223909" y="197494"/>
                </a:cubicBezTo>
                <a:cubicBezTo>
                  <a:pt x="9222754" y="184790"/>
                  <a:pt x="9231993" y="173240"/>
                  <a:pt x="9244698" y="172086"/>
                </a:cubicBezTo>
                <a:close/>
                <a:moveTo>
                  <a:pt x="8164231" y="172086"/>
                </a:moveTo>
                <a:cubicBezTo>
                  <a:pt x="8176935" y="172086"/>
                  <a:pt x="8187331" y="182480"/>
                  <a:pt x="8187331" y="195185"/>
                </a:cubicBezTo>
                <a:cubicBezTo>
                  <a:pt x="8187331" y="207888"/>
                  <a:pt x="8176935" y="218283"/>
                  <a:pt x="8164231" y="218283"/>
                </a:cubicBezTo>
                <a:cubicBezTo>
                  <a:pt x="8151527" y="218283"/>
                  <a:pt x="8141133" y="207888"/>
                  <a:pt x="8141133" y="195185"/>
                </a:cubicBezTo>
                <a:cubicBezTo>
                  <a:pt x="8141133" y="182480"/>
                  <a:pt x="8151527" y="172086"/>
                  <a:pt x="8164231" y="172086"/>
                </a:cubicBezTo>
                <a:close/>
                <a:moveTo>
                  <a:pt x="6944621" y="172086"/>
                </a:moveTo>
                <a:cubicBezTo>
                  <a:pt x="6957325" y="172086"/>
                  <a:pt x="6967719" y="182480"/>
                  <a:pt x="6967719" y="195185"/>
                </a:cubicBezTo>
                <a:cubicBezTo>
                  <a:pt x="6967719" y="207888"/>
                  <a:pt x="6957325" y="218283"/>
                  <a:pt x="6944621" y="218283"/>
                </a:cubicBezTo>
                <a:cubicBezTo>
                  <a:pt x="6931915" y="218283"/>
                  <a:pt x="6921522" y="207888"/>
                  <a:pt x="6921522" y="195185"/>
                </a:cubicBezTo>
                <a:cubicBezTo>
                  <a:pt x="6921522" y="182480"/>
                  <a:pt x="6931915" y="172086"/>
                  <a:pt x="6944621" y="172086"/>
                </a:cubicBezTo>
                <a:close/>
                <a:moveTo>
                  <a:pt x="5861292" y="172086"/>
                </a:moveTo>
                <a:cubicBezTo>
                  <a:pt x="5873996" y="172086"/>
                  <a:pt x="5884392" y="182480"/>
                  <a:pt x="5884392" y="195185"/>
                </a:cubicBezTo>
                <a:cubicBezTo>
                  <a:pt x="5884392" y="207888"/>
                  <a:pt x="5873996" y="218283"/>
                  <a:pt x="5861292" y="218283"/>
                </a:cubicBezTo>
                <a:cubicBezTo>
                  <a:pt x="5848588" y="218283"/>
                  <a:pt x="5838194" y="207888"/>
                  <a:pt x="5838194" y="195185"/>
                </a:cubicBezTo>
                <a:cubicBezTo>
                  <a:pt x="5838194" y="182480"/>
                  <a:pt x="5848588" y="172086"/>
                  <a:pt x="5861292" y="172086"/>
                </a:cubicBezTo>
                <a:close/>
                <a:moveTo>
                  <a:pt x="4639373" y="172086"/>
                </a:moveTo>
                <a:cubicBezTo>
                  <a:pt x="4653231" y="172086"/>
                  <a:pt x="4663624" y="181325"/>
                  <a:pt x="4664780" y="192875"/>
                </a:cubicBezTo>
                <a:cubicBezTo>
                  <a:pt x="4665935" y="205578"/>
                  <a:pt x="4656695" y="217128"/>
                  <a:pt x="4643991" y="218283"/>
                </a:cubicBezTo>
                <a:cubicBezTo>
                  <a:pt x="4631287" y="219438"/>
                  <a:pt x="4619738" y="210198"/>
                  <a:pt x="4618583" y="197494"/>
                </a:cubicBezTo>
                <a:cubicBezTo>
                  <a:pt x="4617427" y="184790"/>
                  <a:pt x="4626667" y="173240"/>
                  <a:pt x="4639373" y="172086"/>
                </a:cubicBezTo>
                <a:close/>
                <a:moveTo>
                  <a:pt x="3551423" y="172086"/>
                </a:moveTo>
                <a:cubicBezTo>
                  <a:pt x="3564127" y="172086"/>
                  <a:pt x="3574522" y="182480"/>
                  <a:pt x="3574522" y="195185"/>
                </a:cubicBezTo>
                <a:cubicBezTo>
                  <a:pt x="3574522" y="207888"/>
                  <a:pt x="3564127" y="218283"/>
                  <a:pt x="3551423" y="218283"/>
                </a:cubicBezTo>
                <a:cubicBezTo>
                  <a:pt x="3538719" y="218283"/>
                  <a:pt x="3528325" y="207888"/>
                  <a:pt x="3528325" y="195185"/>
                </a:cubicBezTo>
                <a:cubicBezTo>
                  <a:pt x="3528325" y="182480"/>
                  <a:pt x="3538719" y="172086"/>
                  <a:pt x="3551423" y="172086"/>
                </a:cubicBezTo>
                <a:close/>
                <a:moveTo>
                  <a:pt x="2331813" y="172086"/>
                </a:moveTo>
                <a:cubicBezTo>
                  <a:pt x="2344517" y="172086"/>
                  <a:pt x="2354912" y="182480"/>
                  <a:pt x="2354912" y="195185"/>
                </a:cubicBezTo>
                <a:cubicBezTo>
                  <a:pt x="2354912" y="207888"/>
                  <a:pt x="2344517" y="218283"/>
                  <a:pt x="2331813" y="218283"/>
                </a:cubicBezTo>
                <a:cubicBezTo>
                  <a:pt x="2319108" y="218283"/>
                  <a:pt x="2308714" y="207888"/>
                  <a:pt x="2308714" y="195185"/>
                </a:cubicBezTo>
                <a:cubicBezTo>
                  <a:pt x="2308714" y="182480"/>
                  <a:pt x="2319108" y="172086"/>
                  <a:pt x="2331813" y="172086"/>
                </a:cubicBezTo>
                <a:close/>
                <a:moveTo>
                  <a:pt x="1248485" y="172086"/>
                </a:moveTo>
                <a:cubicBezTo>
                  <a:pt x="1261188" y="172086"/>
                  <a:pt x="1271583" y="182480"/>
                  <a:pt x="1271583" y="195185"/>
                </a:cubicBezTo>
                <a:cubicBezTo>
                  <a:pt x="1271583" y="207888"/>
                  <a:pt x="1261188" y="218283"/>
                  <a:pt x="1248485" y="218283"/>
                </a:cubicBezTo>
                <a:cubicBezTo>
                  <a:pt x="1235780" y="218283"/>
                  <a:pt x="1225386" y="207888"/>
                  <a:pt x="1225386" y="195185"/>
                </a:cubicBezTo>
                <a:cubicBezTo>
                  <a:pt x="1225386" y="182480"/>
                  <a:pt x="1235780" y="172086"/>
                  <a:pt x="1248485" y="172086"/>
                </a:cubicBezTo>
                <a:close/>
                <a:moveTo>
                  <a:pt x="26564" y="172086"/>
                </a:moveTo>
                <a:cubicBezTo>
                  <a:pt x="40424" y="172086"/>
                  <a:pt x="50817" y="181325"/>
                  <a:pt x="51973" y="194029"/>
                </a:cubicBezTo>
                <a:cubicBezTo>
                  <a:pt x="53127" y="206734"/>
                  <a:pt x="43888" y="219438"/>
                  <a:pt x="31184" y="219438"/>
                </a:cubicBezTo>
                <a:cubicBezTo>
                  <a:pt x="18479" y="219438"/>
                  <a:pt x="6930" y="210198"/>
                  <a:pt x="5776" y="197494"/>
                </a:cubicBezTo>
                <a:cubicBezTo>
                  <a:pt x="4620" y="184790"/>
                  <a:pt x="13860" y="173240"/>
                  <a:pt x="26564" y="172086"/>
                </a:cubicBezTo>
                <a:close/>
                <a:moveTo>
                  <a:pt x="11414819" y="166311"/>
                </a:moveTo>
                <a:cubicBezTo>
                  <a:pt x="11430988" y="166311"/>
                  <a:pt x="11443693" y="179016"/>
                  <a:pt x="11443693" y="195185"/>
                </a:cubicBezTo>
                <a:cubicBezTo>
                  <a:pt x="11443693" y="211354"/>
                  <a:pt x="11430988" y="224057"/>
                  <a:pt x="11414819" y="224057"/>
                </a:cubicBezTo>
                <a:cubicBezTo>
                  <a:pt x="11398650" y="224057"/>
                  <a:pt x="11385946" y="211354"/>
                  <a:pt x="11385946" y="195185"/>
                </a:cubicBezTo>
                <a:cubicBezTo>
                  <a:pt x="11385946" y="179016"/>
                  <a:pt x="11398650" y="166311"/>
                  <a:pt x="11414819" y="166311"/>
                </a:cubicBezTo>
                <a:close/>
                <a:moveTo>
                  <a:pt x="10330336" y="166311"/>
                </a:moveTo>
                <a:cubicBezTo>
                  <a:pt x="10346505" y="166311"/>
                  <a:pt x="10359209" y="179016"/>
                  <a:pt x="10359209" y="195185"/>
                </a:cubicBezTo>
                <a:cubicBezTo>
                  <a:pt x="10359209" y="211354"/>
                  <a:pt x="10346505" y="224057"/>
                  <a:pt x="10330336" y="224057"/>
                </a:cubicBezTo>
                <a:cubicBezTo>
                  <a:pt x="10314167" y="224057"/>
                  <a:pt x="10301462" y="211354"/>
                  <a:pt x="10301462" y="195185"/>
                </a:cubicBezTo>
                <a:cubicBezTo>
                  <a:pt x="10301462" y="179016"/>
                  <a:pt x="10314167" y="166311"/>
                  <a:pt x="10330336" y="166311"/>
                </a:cubicBezTo>
                <a:close/>
                <a:moveTo>
                  <a:pt x="9382135" y="166311"/>
                </a:moveTo>
                <a:cubicBezTo>
                  <a:pt x="9398304" y="166311"/>
                  <a:pt x="9411009" y="179016"/>
                  <a:pt x="9411009" y="195185"/>
                </a:cubicBezTo>
                <a:cubicBezTo>
                  <a:pt x="9411009" y="211354"/>
                  <a:pt x="9398304" y="224057"/>
                  <a:pt x="9382135" y="224057"/>
                </a:cubicBezTo>
                <a:cubicBezTo>
                  <a:pt x="9365966" y="224057"/>
                  <a:pt x="9353262" y="211354"/>
                  <a:pt x="9353262" y="195185"/>
                </a:cubicBezTo>
                <a:cubicBezTo>
                  <a:pt x="9353262" y="179016"/>
                  <a:pt x="9365966" y="166311"/>
                  <a:pt x="9382135" y="166311"/>
                </a:cubicBezTo>
                <a:close/>
                <a:moveTo>
                  <a:pt x="9112431" y="166311"/>
                </a:moveTo>
                <a:cubicBezTo>
                  <a:pt x="9128600" y="166311"/>
                  <a:pt x="9141305" y="179016"/>
                  <a:pt x="9141305" y="195185"/>
                </a:cubicBezTo>
                <a:cubicBezTo>
                  <a:pt x="9141305" y="211354"/>
                  <a:pt x="9128600" y="224057"/>
                  <a:pt x="9112431" y="224057"/>
                </a:cubicBezTo>
                <a:cubicBezTo>
                  <a:pt x="9096262" y="224057"/>
                  <a:pt x="9083558" y="211354"/>
                  <a:pt x="9083558" y="195185"/>
                </a:cubicBezTo>
                <a:cubicBezTo>
                  <a:pt x="9083558" y="179016"/>
                  <a:pt x="9096262" y="166311"/>
                  <a:pt x="9112431" y="166311"/>
                </a:cubicBezTo>
                <a:close/>
                <a:moveTo>
                  <a:pt x="8299358" y="166311"/>
                </a:moveTo>
                <a:cubicBezTo>
                  <a:pt x="8315526" y="166311"/>
                  <a:pt x="8328231" y="179016"/>
                  <a:pt x="8328231" y="195185"/>
                </a:cubicBezTo>
                <a:cubicBezTo>
                  <a:pt x="8328231" y="211354"/>
                  <a:pt x="8315526" y="224057"/>
                  <a:pt x="8299358" y="224057"/>
                </a:cubicBezTo>
                <a:cubicBezTo>
                  <a:pt x="8283189" y="224057"/>
                  <a:pt x="8270485" y="211354"/>
                  <a:pt x="8270485" y="195185"/>
                </a:cubicBezTo>
                <a:cubicBezTo>
                  <a:pt x="8270485" y="179016"/>
                  <a:pt x="8283189" y="166311"/>
                  <a:pt x="8299358" y="166311"/>
                </a:cubicBezTo>
                <a:close/>
                <a:moveTo>
                  <a:pt x="6809492" y="166311"/>
                </a:moveTo>
                <a:cubicBezTo>
                  <a:pt x="6825661" y="166311"/>
                  <a:pt x="6838367" y="179016"/>
                  <a:pt x="6838367" y="195185"/>
                </a:cubicBezTo>
                <a:cubicBezTo>
                  <a:pt x="6838367" y="211354"/>
                  <a:pt x="6825661" y="224057"/>
                  <a:pt x="6809492" y="224057"/>
                </a:cubicBezTo>
                <a:cubicBezTo>
                  <a:pt x="6793324" y="224057"/>
                  <a:pt x="6780620" y="211354"/>
                  <a:pt x="6780620" y="195185"/>
                </a:cubicBezTo>
                <a:cubicBezTo>
                  <a:pt x="6780620" y="179016"/>
                  <a:pt x="6793324" y="166311"/>
                  <a:pt x="6809492" y="166311"/>
                </a:cubicBezTo>
                <a:close/>
                <a:moveTo>
                  <a:pt x="5726165" y="166311"/>
                </a:moveTo>
                <a:cubicBezTo>
                  <a:pt x="5741178" y="166311"/>
                  <a:pt x="5755038" y="179016"/>
                  <a:pt x="5755038" y="195185"/>
                </a:cubicBezTo>
                <a:cubicBezTo>
                  <a:pt x="5755038" y="211354"/>
                  <a:pt x="5742334" y="224057"/>
                  <a:pt x="5726165" y="224057"/>
                </a:cubicBezTo>
                <a:cubicBezTo>
                  <a:pt x="5709996" y="224057"/>
                  <a:pt x="5697292" y="211354"/>
                  <a:pt x="5697292" y="195185"/>
                </a:cubicBezTo>
                <a:cubicBezTo>
                  <a:pt x="5697292" y="179016"/>
                  <a:pt x="5709996" y="166311"/>
                  <a:pt x="5726165" y="166311"/>
                </a:cubicBezTo>
                <a:close/>
                <a:moveTo>
                  <a:pt x="4776809" y="166311"/>
                </a:moveTo>
                <a:cubicBezTo>
                  <a:pt x="4792978" y="166311"/>
                  <a:pt x="4805682" y="179016"/>
                  <a:pt x="4805682" y="195185"/>
                </a:cubicBezTo>
                <a:cubicBezTo>
                  <a:pt x="4805682" y="211354"/>
                  <a:pt x="4792978" y="224057"/>
                  <a:pt x="4776809" y="224057"/>
                </a:cubicBezTo>
                <a:cubicBezTo>
                  <a:pt x="4760640" y="224057"/>
                  <a:pt x="4747936" y="211354"/>
                  <a:pt x="4747936" y="195185"/>
                </a:cubicBezTo>
                <a:cubicBezTo>
                  <a:pt x="4747936" y="179016"/>
                  <a:pt x="4760640" y="166311"/>
                  <a:pt x="4776809" y="166311"/>
                </a:cubicBezTo>
                <a:close/>
                <a:moveTo>
                  <a:pt x="4499625" y="166311"/>
                </a:moveTo>
                <a:cubicBezTo>
                  <a:pt x="4515793" y="166311"/>
                  <a:pt x="4528499" y="179016"/>
                  <a:pt x="4528499" y="195185"/>
                </a:cubicBezTo>
                <a:cubicBezTo>
                  <a:pt x="4528499" y="211354"/>
                  <a:pt x="4515793" y="224057"/>
                  <a:pt x="4499625" y="224057"/>
                </a:cubicBezTo>
                <a:cubicBezTo>
                  <a:pt x="4483456" y="224057"/>
                  <a:pt x="4470752" y="211354"/>
                  <a:pt x="4470752" y="195185"/>
                </a:cubicBezTo>
                <a:cubicBezTo>
                  <a:pt x="4470752" y="179016"/>
                  <a:pt x="4483456" y="166311"/>
                  <a:pt x="4499625" y="166311"/>
                </a:cubicBezTo>
                <a:close/>
                <a:moveTo>
                  <a:pt x="3686551" y="166311"/>
                </a:moveTo>
                <a:cubicBezTo>
                  <a:pt x="3702719" y="166311"/>
                  <a:pt x="3715424" y="179016"/>
                  <a:pt x="3715424" y="195185"/>
                </a:cubicBezTo>
                <a:cubicBezTo>
                  <a:pt x="3715424" y="211354"/>
                  <a:pt x="3702719" y="224057"/>
                  <a:pt x="3686551" y="224057"/>
                </a:cubicBezTo>
                <a:cubicBezTo>
                  <a:pt x="3670381" y="224057"/>
                  <a:pt x="3657677" y="211354"/>
                  <a:pt x="3657677" y="195185"/>
                </a:cubicBezTo>
                <a:cubicBezTo>
                  <a:pt x="3657677" y="179016"/>
                  <a:pt x="3670381" y="166311"/>
                  <a:pt x="3686551" y="166311"/>
                </a:cubicBezTo>
                <a:close/>
                <a:moveTo>
                  <a:pt x="2196685" y="166311"/>
                </a:moveTo>
                <a:cubicBezTo>
                  <a:pt x="2212854" y="166311"/>
                  <a:pt x="2225559" y="179016"/>
                  <a:pt x="2225559" y="195185"/>
                </a:cubicBezTo>
                <a:cubicBezTo>
                  <a:pt x="2225559" y="211354"/>
                  <a:pt x="2212854" y="224057"/>
                  <a:pt x="2196685" y="224057"/>
                </a:cubicBezTo>
                <a:cubicBezTo>
                  <a:pt x="2180516" y="224057"/>
                  <a:pt x="2167813" y="211354"/>
                  <a:pt x="2167813" y="195185"/>
                </a:cubicBezTo>
                <a:cubicBezTo>
                  <a:pt x="2167813" y="179016"/>
                  <a:pt x="2180516" y="166311"/>
                  <a:pt x="2196685" y="166311"/>
                </a:cubicBezTo>
                <a:close/>
                <a:moveTo>
                  <a:pt x="1112202" y="166311"/>
                </a:moveTo>
                <a:cubicBezTo>
                  <a:pt x="1128371" y="166311"/>
                  <a:pt x="1141075" y="179016"/>
                  <a:pt x="1141075" y="195185"/>
                </a:cubicBezTo>
                <a:cubicBezTo>
                  <a:pt x="1141075" y="211354"/>
                  <a:pt x="1128371" y="224057"/>
                  <a:pt x="1112202" y="224057"/>
                </a:cubicBezTo>
                <a:cubicBezTo>
                  <a:pt x="1096033" y="224057"/>
                  <a:pt x="1083328" y="211354"/>
                  <a:pt x="1083328" y="195185"/>
                </a:cubicBezTo>
                <a:cubicBezTo>
                  <a:pt x="1083328" y="179016"/>
                  <a:pt x="1096033" y="166311"/>
                  <a:pt x="1112202" y="166311"/>
                </a:cubicBezTo>
                <a:close/>
                <a:moveTo>
                  <a:pt x="164001" y="166311"/>
                </a:moveTo>
                <a:cubicBezTo>
                  <a:pt x="180170" y="166311"/>
                  <a:pt x="192875" y="179016"/>
                  <a:pt x="192875" y="195185"/>
                </a:cubicBezTo>
                <a:cubicBezTo>
                  <a:pt x="192875" y="211354"/>
                  <a:pt x="180170" y="224057"/>
                  <a:pt x="164001" y="224057"/>
                </a:cubicBezTo>
                <a:cubicBezTo>
                  <a:pt x="147832" y="224057"/>
                  <a:pt x="135128" y="211354"/>
                  <a:pt x="135128" y="195185"/>
                </a:cubicBezTo>
                <a:cubicBezTo>
                  <a:pt x="135128" y="179016"/>
                  <a:pt x="147832" y="166311"/>
                  <a:pt x="164001" y="166311"/>
                </a:cubicBezTo>
                <a:close/>
                <a:moveTo>
                  <a:pt x="11279692" y="160537"/>
                </a:moveTo>
                <a:cubicBezTo>
                  <a:pt x="11298171" y="160537"/>
                  <a:pt x="11314340" y="176706"/>
                  <a:pt x="11314340" y="195185"/>
                </a:cubicBezTo>
                <a:cubicBezTo>
                  <a:pt x="11314340" y="213664"/>
                  <a:pt x="11299326" y="229833"/>
                  <a:pt x="11279692" y="229833"/>
                </a:cubicBezTo>
                <a:cubicBezTo>
                  <a:pt x="11261213" y="229833"/>
                  <a:pt x="11245044" y="213664"/>
                  <a:pt x="11245044" y="195185"/>
                </a:cubicBezTo>
                <a:cubicBezTo>
                  <a:pt x="11245044" y="176706"/>
                  <a:pt x="11260058" y="160537"/>
                  <a:pt x="11279692" y="160537"/>
                </a:cubicBezTo>
                <a:close/>
                <a:moveTo>
                  <a:pt x="10195208" y="160537"/>
                </a:moveTo>
                <a:cubicBezTo>
                  <a:pt x="10214843" y="160537"/>
                  <a:pt x="10229856" y="176706"/>
                  <a:pt x="10229856" y="195185"/>
                </a:cubicBezTo>
                <a:cubicBezTo>
                  <a:pt x="10229856" y="213664"/>
                  <a:pt x="10213687" y="229833"/>
                  <a:pt x="10195208" y="229833"/>
                </a:cubicBezTo>
                <a:cubicBezTo>
                  <a:pt x="10176729" y="229833"/>
                  <a:pt x="10160560" y="213664"/>
                  <a:pt x="10160560" y="195185"/>
                </a:cubicBezTo>
                <a:cubicBezTo>
                  <a:pt x="10160560" y="176706"/>
                  <a:pt x="10175575" y="160537"/>
                  <a:pt x="10195208" y="160537"/>
                </a:cubicBezTo>
                <a:close/>
                <a:moveTo>
                  <a:pt x="9518417" y="160537"/>
                </a:moveTo>
                <a:cubicBezTo>
                  <a:pt x="9536896" y="160537"/>
                  <a:pt x="9553065" y="176706"/>
                  <a:pt x="9553065" y="195185"/>
                </a:cubicBezTo>
                <a:cubicBezTo>
                  <a:pt x="9553065" y="213664"/>
                  <a:pt x="9536896" y="229833"/>
                  <a:pt x="9518417" y="229833"/>
                </a:cubicBezTo>
                <a:cubicBezTo>
                  <a:pt x="9499938" y="229833"/>
                  <a:pt x="9483769" y="213664"/>
                  <a:pt x="9483769" y="195185"/>
                </a:cubicBezTo>
                <a:cubicBezTo>
                  <a:pt x="9483769" y="176706"/>
                  <a:pt x="9498784" y="160537"/>
                  <a:pt x="9518417" y="160537"/>
                </a:cubicBezTo>
                <a:close/>
                <a:moveTo>
                  <a:pt x="8977304" y="160537"/>
                </a:moveTo>
                <a:cubicBezTo>
                  <a:pt x="8995783" y="160537"/>
                  <a:pt x="9011952" y="176706"/>
                  <a:pt x="9011952" y="195185"/>
                </a:cubicBezTo>
                <a:cubicBezTo>
                  <a:pt x="9011952" y="213664"/>
                  <a:pt x="8996938" y="229833"/>
                  <a:pt x="8977304" y="229833"/>
                </a:cubicBezTo>
                <a:cubicBezTo>
                  <a:pt x="8958825" y="229833"/>
                  <a:pt x="8942656" y="213664"/>
                  <a:pt x="8942656" y="195185"/>
                </a:cubicBezTo>
                <a:cubicBezTo>
                  <a:pt x="8942656" y="176706"/>
                  <a:pt x="8957670" y="160537"/>
                  <a:pt x="8977304" y="160537"/>
                </a:cubicBezTo>
                <a:close/>
                <a:moveTo>
                  <a:pt x="8434485" y="160537"/>
                </a:moveTo>
                <a:cubicBezTo>
                  <a:pt x="8454118" y="160537"/>
                  <a:pt x="8469133" y="176706"/>
                  <a:pt x="8469133" y="195185"/>
                </a:cubicBezTo>
                <a:cubicBezTo>
                  <a:pt x="8469133" y="213664"/>
                  <a:pt x="8454118" y="229833"/>
                  <a:pt x="8434485" y="229833"/>
                </a:cubicBezTo>
                <a:cubicBezTo>
                  <a:pt x="8416006" y="229833"/>
                  <a:pt x="8399837" y="213664"/>
                  <a:pt x="8399837" y="195185"/>
                </a:cubicBezTo>
                <a:cubicBezTo>
                  <a:pt x="8399837" y="176706"/>
                  <a:pt x="8414851" y="160537"/>
                  <a:pt x="8434485" y="160537"/>
                </a:cubicBezTo>
                <a:close/>
                <a:moveTo>
                  <a:pt x="6674366" y="160537"/>
                </a:moveTo>
                <a:cubicBezTo>
                  <a:pt x="6692845" y="160537"/>
                  <a:pt x="6709014" y="176706"/>
                  <a:pt x="6709014" y="195185"/>
                </a:cubicBezTo>
                <a:cubicBezTo>
                  <a:pt x="6709014" y="213664"/>
                  <a:pt x="6692845" y="229833"/>
                  <a:pt x="6674366" y="229833"/>
                </a:cubicBezTo>
                <a:cubicBezTo>
                  <a:pt x="6655888" y="229833"/>
                  <a:pt x="6639717" y="213664"/>
                  <a:pt x="6639717" y="195185"/>
                </a:cubicBezTo>
                <a:cubicBezTo>
                  <a:pt x="6639717" y="176706"/>
                  <a:pt x="6654732" y="160537"/>
                  <a:pt x="6674366" y="160537"/>
                </a:cubicBezTo>
                <a:close/>
                <a:moveTo>
                  <a:pt x="5589882" y="160537"/>
                </a:moveTo>
                <a:cubicBezTo>
                  <a:pt x="5609516" y="160537"/>
                  <a:pt x="5624531" y="176706"/>
                  <a:pt x="5624531" y="195185"/>
                </a:cubicBezTo>
                <a:cubicBezTo>
                  <a:pt x="5624531" y="213664"/>
                  <a:pt x="5609516" y="229833"/>
                  <a:pt x="5589882" y="229833"/>
                </a:cubicBezTo>
                <a:cubicBezTo>
                  <a:pt x="5571403" y="229833"/>
                  <a:pt x="5555234" y="213664"/>
                  <a:pt x="5555234" y="195185"/>
                </a:cubicBezTo>
                <a:cubicBezTo>
                  <a:pt x="5555234" y="176706"/>
                  <a:pt x="5570250" y="160537"/>
                  <a:pt x="5589882" y="160537"/>
                </a:cubicBezTo>
                <a:close/>
                <a:moveTo>
                  <a:pt x="4913091" y="160537"/>
                </a:moveTo>
                <a:cubicBezTo>
                  <a:pt x="4931569" y="160537"/>
                  <a:pt x="4947739" y="176706"/>
                  <a:pt x="4947739" y="195185"/>
                </a:cubicBezTo>
                <a:cubicBezTo>
                  <a:pt x="4947739" y="213664"/>
                  <a:pt x="4932726" y="229833"/>
                  <a:pt x="4913091" y="229833"/>
                </a:cubicBezTo>
                <a:cubicBezTo>
                  <a:pt x="4894612" y="229833"/>
                  <a:pt x="4878443" y="213664"/>
                  <a:pt x="4878443" y="195185"/>
                </a:cubicBezTo>
                <a:cubicBezTo>
                  <a:pt x="4878443" y="176706"/>
                  <a:pt x="4893458" y="160537"/>
                  <a:pt x="4913091" y="160537"/>
                </a:cubicBezTo>
                <a:close/>
                <a:moveTo>
                  <a:pt x="4364498" y="160537"/>
                </a:moveTo>
                <a:cubicBezTo>
                  <a:pt x="4382977" y="160537"/>
                  <a:pt x="4399146" y="176706"/>
                  <a:pt x="4399146" y="195185"/>
                </a:cubicBezTo>
                <a:cubicBezTo>
                  <a:pt x="4399146" y="213664"/>
                  <a:pt x="4384131" y="229833"/>
                  <a:pt x="4364498" y="229833"/>
                </a:cubicBezTo>
                <a:cubicBezTo>
                  <a:pt x="4346018" y="229833"/>
                  <a:pt x="4329850" y="213664"/>
                  <a:pt x="4329850" y="195185"/>
                </a:cubicBezTo>
                <a:cubicBezTo>
                  <a:pt x="4329850" y="176706"/>
                  <a:pt x="4344863" y="160537"/>
                  <a:pt x="4364498" y="160537"/>
                </a:cubicBezTo>
                <a:close/>
                <a:moveTo>
                  <a:pt x="3821678" y="160537"/>
                </a:moveTo>
                <a:cubicBezTo>
                  <a:pt x="3841311" y="160537"/>
                  <a:pt x="3856326" y="176706"/>
                  <a:pt x="3856326" y="195185"/>
                </a:cubicBezTo>
                <a:cubicBezTo>
                  <a:pt x="3856326" y="213664"/>
                  <a:pt x="3841311" y="229833"/>
                  <a:pt x="3821678" y="229833"/>
                </a:cubicBezTo>
                <a:cubicBezTo>
                  <a:pt x="3803199" y="229833"/>
                  <a:pt x="3787030" y="213664"/>
                  <a:pt x="3787030" y="195185"/>
                </a:cubicBezTo>
                <a:cubicBezTo>
                  <a:pt x="3787030" y="176706"/>
                  <a:pt x="3802045" y="160537"/>
                  <a:pt x="3821678" y="160537"/>
                </a:cubicBezTo>
                <a:close/>
                <a:moveTo>
                  <a:pt x="2061558" y="160537"/>
                </a:moveTo>
                <a:cubicBezTo>
                  <a:pt x="2080037" y="160537"/>
                  <a:pt x="2096206" y="176706"/>
                  <a:pt x="2096206" y="195185"/>
                </a:cubicBezTo>
                <a:cubicBezTo>
                  <a:pt x="2096206" y="213664"/>
                  <a:pt x="2081192" y="229833"/>
                  <a:pt x="2061558" y="229833"/>
                </a:cubicBezTo>
                <a:cubicBezTo>
                  <a:pt x="2043080" y="229833"/>
                  <a:pt x="2026910" y="213664"/>
                  <a:pt x="2026910" y="195185"/>
                </a:cubicBezTo>
                <a:cubicBezTo>
                  <a:pt x="2026910" y="176706"/>
                  <a:pt x="2041924" y="160537"/>
                  <a:pt x="2061558" y="160537"/>
                </a:cubicBezTo>
                <a:close/>
                <a:moveTo>
                  <a:pt x="977075" y="160537"/>
                </a:moveTo>
                <a:cubicBezTo>
                  <a:pt x="996709" y="160537"/>
                  <a:pt x="1011723" y="176706"/>
                  <a:pt x="1011723" y="195185"/>
                </a:cubicBezTo>
                <a:cubicBezTo>
                  <a:pt x="1011723" y="213664"/>
                  <a:pt x="995554" y="229833"/>
                  <a:pt x="977075" y="229833"/>
                </a:cubicBezTo>
                <a:cubicBezTo>
                  <a:pt x="958596" y="229833"/>
                  <a:pt x="942427" y="213664"/>
                  <a:pt x="942427" y="195185"/>
                </a:cubicBezTo>
                <a:cubicBezTo>
                  <a:pt x="942427" y="176706"/>
                  <a:pt x="957441" y="160537"/>
                  <a:pt x="977075" y="160537"/>
                </a:cubicBezTo>
                <a:close/>
                <a:moveTo>
                  <a:pt x="300283" y="160537"/>
                </a:moveTo>
                <a:cubicBezTo>
                  <a:pt x="318762" y="160537"/>
                  <a:pt x="334931" y="176706"/>
                  <a:pt x="334931" y="195185"/>
                </a:cubicBezTo>
                <a:cubicBezTo>
                  <a:pt x="334931" y="213664"/>
                  <a:pt x="318762" y="229833"/>
                  <a:pt x="300283" y="229833"/>
                </a:cubicBezTo>
                <a:cubicBezTo>
                  <a:pt x="281804" y="229833"/>
                  <a:pt x="265635" y="213664"/>
                  <a:pt x="265635" y="195185"/>
                </a:cubicBezTo>
                <a:cubicBezTo>
                  <a:pt x="265635" y="176706"/>
                  <a:pt x="280650" y="160537"/>
                  <a:pt x="300283" y="160537"/>
                </a:cubicBezTo>
                <a:close/>
                <a:moveTo>
                  <a:pt x="11143410" y="154761"/>
                </a:moveTo>
                <a:cubicBezTo>
                  <a:pt x="11166509" y="154761"/>
                  <a:pt x="11183832" y="173240"/>
                  <a:pt x="11183832" y="195185"/>
                </a:cubicBezTo>
                <a:cubicBezTo>
                  <a:pt x="11183832" y="217128"/>
                  <a:pt x="11165353" y="235607"/>
                  <a:pt x="11143410" y="235607"/>
                </a:cubicBezTo>
                <a:cubicBezTo>
                  <a:pt x="11121466" y="235607"/>
                  <a:pt x="11102987" y="217128"/>
                  <a:pt x="11102987" y="195185"/>
                </a:cubicBezTo>
                <a:cubicBezTo>
                  <a:pt x="11102987" y="173240"/>
                  <a:pt x="11121466" y="154761"/>
                  <a:pt x="11143410" y="154761"/>
                </a:cubicBezTo>
                <a:close/>
                <a:moveTo>
                  <a:pt x="10873155" y="154761"/>
                </a:moveTo>
                <a:cubicBezTo>
                  <a:pt x="10895098" y="154761"/>
                  <a:pt x="10913577" y="173240"/>
                  <a:pt x="10913577" y="195185"/>
                </a:cubicBezTo>
                <a:cubicBezTo>
                  <a:pt x="10913577" y="217128"/>
                  <a:pt x="10895098" y="235607"/>
                  <a:pt x="10873155" y="235607"/>
                </a:cubicBezTo>
                <a:cubicBezTo>
                  <a:pt x="10851211" y="235607"/>
                  <a:pt x="10832732" y="217128"/>
                  <a:pt x="10832732" y="195185"/>
                </a:cubicBezTo>
                <a:cubicBezTo>
                  <a:pt x="10832732" y="173240"/>
                  <a:pt x="10851211" y="154761"/>
                  <a:pt x="10873155" y="154761"/>
                </a:cubicBezTo>
                <a:close/>
                <a:moveTo>
                  <a:pt x="10060082" y="154761"/>
                </a:moveTo>
                <a:cubicBezTo>
                  <a:pt x="10082025" y="154761"/>
                  <a:pt x="10100504" y="173240"/>
                  <a:pt x="10100504" y="195185"/>
                </a:cubicBezTo>
                <a:cubicBezTo>
                  <a:pt x="10100504" y="217128"/>
                  <a:pt x="10082025" y="235607"/>
                  <a:pt x="10060082" y="235607"/>
                </a:cubicBezTo>
                <a:cubicBezTo>
                  <a:pt x="10038137" y="235607"/>
                  <a:pt x="10019658" y="217128"/>
                  <a:pt x="10019658" y="195185"/>
                </a:cubicBezTo>
                <a:cubicBezTo>
                  <a:pt x="10019658" y="173240"/>
                  <a:pt x="10038137" y="154761"/>
                  <a:pt x="10060082" y="154761"/>
                </a:cubicBezTo>
                <a:close/>
                <a:moveTo>
                  <a:pt x="9653545" y="154761"/>
                </a:moveTo>
                <a:cubicBezTo>
                  <a:pt x="9675488" y="154761"/>
                  <a:pt x="9693967" y="173240"/>
                  <a:pt x="9693967" y="195185"/>
                </a:cubicBezTo>
                <a:cubicBezTo>
                  <a:pt x="9693967" y="217128"/>
                  <a:pt x="9675488" y="235607"/>
                  <a:pt x="9653545" y="235607"/>
                </a:cubicBezTo>
                <a:cubicBezTo>
                  <a:pt x="9631600" y="235607"/>
                  <a:pt x="9613122" y="217128"/>
                  <a:pt x="9613122" y="195185"/>
                </a:cubicBezTo>
                <a:cubicBezTo>
                  <a:pt x="9613122" y="173240"/>
                  <a:pt x="9631600" y="154761"/>
                  <a:pt x="9653545" y="154761"/>
                </a:cubicBezTo>
                <a:close/>
                <a:moveTo>
                  <a:pt x="8841022" y="154761"/>
                </a:moveTo>
                <a:cubicBezTo>
                  <a:pt x="8864121" y="154761"/>
                  <a:pt x="8881444" y="173240"/>
                  <a:pt x="8881444" y="195185"/>
                </a:cubicBezTo>
                <a:cubicBezTo>
                  <a:pt x="8881444" y="217128"/>
                  <a:pt x="8862965" y="235607"/>
                  <a:pt x="8841022" y="235607"/>
                </a:cubicBezTo>
                <a:cubicBezTo>
                  <a:pt x="8819078" y="235607"/>
                  <a:pt x="8800599" y="217128"/>
                  <a:pt x="8800599" y="195185"/>
                </a:cubicBezTo>
                <a:cubicBezTo>
                  <a:pt x="8800599" y="173240"/>
                  <a:pt x="8819078" y="154761"/>
                  <a:pt x="8841022" y="154761"/>
                </a:cubicBezTo>
                <a:close/>
                <a:moveTo>
                  <a:pt x="8570767" y="154761"/>
                </a:moveTo>
                <a:cubicBezTo>
                  <a:pt x="8592711" y="154761"/>
                  <a:pt x="8611190" y="173240"/>
                  <a:pt x="8611190" y="195185"/>
                </a:cubicBezTo>
                <a:cubicBezTo>
                  <a:pt x="8611190" y="217128"/>
                  <a:pt x="8592711" y="235607"/>
                  <a:pt x="8570767" y="235607"/>
                </a:cubicBezTo>
                <a:cubicBezTo>
                  <a:pt x="8548823" y="235607"/>
                  <a:pt x="8530344" y="217128"/>
                  <a:pt x="8530344" y="195185"/>
                </a:cubicBezTo>
                <a:cubicBezTo>
                  <a:pt x="8530344" y="173240"/>
                  <a:pt x="8548823" y="154761"/>
                  <a:pt x="8570767" y="154761"/>
                </a:cubicBezTo>
                <a:close/>
                <a:moveTo>
                  <a:pt x="6538083" y="154761"/>
                </a:moveTo>
                <a:cubicBezTo>
                  <a:pt x="6561183" y="154761"/>
                  <a:pt x="6578507" y="173240"/>
                  <a:pt x="6578507" y="195185"/>
                </a:cubicBezTo>
                <a:cubicBezTo>
                  <a:pt x="6578507" y="217128"/>
                  <a:pt x="6560028" y="235607"/>
                  <a:pt x="6538083" y="235607"/>
                </a:cubicBezTo>
                <a:cubicBezTo>
                  <a:pt x="6516139" y="235607"/>
                  <a:pt x="6497661" y="217128"/>
                  <a:pt x="6497661" y="195185"/>
                </a:cubicBezTo>
                <a:cubicBezTo>
                  <a:pt x="6497661" y="173240"/>
                  <a:pt x="6516139" y="154761"/>
                  <a:pt x="6538083" y="154761"/>
                </a:cubicBezTo>
                <a:close/>
                <a:moveTo>
                  <a:pt x="6267830" y="154761"/>
                </a:moveTo>
                <a:cubicBezTo>
                  <a:pt x="6289772" y="154761"/>
                  <a:pt x="6308251" y="173240"/>
                  <a:pt x="6308251" y="195185"/>
                </a:cubicBezTo>
                <a:cubicBezTo>
                  <a:pt x="6308251" y="217128"/>
                  <a:pt x="6289772" y="235607"/>
                  <a:pt x="6267830" y="235607"/>
                </a:cubicBezTo>
                <a:cubicBezTo>
                  <a:pt x="6245885" y="235607"/>
                  <a:pt x="6227406" y="217128"/>
                  <a:pt x="6227406" y="195185"/>
                </a:cubicBezTo>
                <a:cubicBezTo>
                  <a:pt x="6227406" y="173240"/>
                  <a:pt x="6245885" y="154761"/>
                  <a:pt x="6267830" y="154761"/>
                </a:cubicBezTo>
                <a:close/>
                <a:moveTo>
                  <a:pt x="5454756" y="154761"/>
                </a:moveTo>
                <a:cubicBezTo>
                  <a:pt x="5476698" y="154761"/>
                  <a:pt x="5495178" y="173240"/>
                  <a:pt x="5495178" y="195185"/>
                </a:cubicBezTo>
                <a:cubicBezTo>
                  <a:pt x="5495178" y="217128"/>
                  <a:pt x="5476698" y="235607"/>
                  <a:pt x="5454756" y="235607"/>
                </a:cubicBezTo>
                <a:cubicBezTo>
                  <a:pt x="5432812" y="235607"/>
                  <a:pt x="5414332" y="217128"/>
                  <a:pt x="5414332" y="195185"/>
                </a:cubicBezTo>
                <a:cubicBezTo>
                  <a:pt x="5414332" y="173240"/>
                  <a:pt x="5432812" y="154761"/>
                  <a:pt x="5454756" y="154761"/>
                </a:cubicBezTo>
                <a:close/>
                <a:moveTo>
                  <a:pt x="5048218" y="154761"/>
                </a:moveTo>
                <a:cubicBezTo>
                  <a:pt x="5070162" y="154761"/>
                  <a:pt x="5088641" y="173240"/>
                  <a:pt x="5088641" y="195185"/>
                </a:cubicBezTo>
                <a:cubicBezTo>
                  <a:pt x="5088641" y="217128"/>
                  <a:pt x="5070162" y="235607"/>
                  <a:pt x="5048218" y="235607"/>
                </a:cubicBezTo>
                <a:cubicBezTo>
                  <a:pt x="5026274" y="235607"/>
                  <a:pt x="5007796" y="217128"/>
                  <a:pt x="5007796" y="195185"/>
                </a:cubicBezTo>
                <a:cubicBezTo>
                  <a:pt x="5007796" y="173240"/>
                  <a:pt x="5026274" y="154761"/>
                  <a:pt x="5048218" y="154761"/>
                </a:cubicBezTo>
                <a:close/>
                <a:moveTo>
                  <a:pt x="4228216" y="154761"/>
                </a:moveTo>
                <a:cubicBezTo>
                  <a:pt x="4251315" y="154761"/>
                  <a:pt x="4268637" y="173240"/>
                  <a:pt x="4268637" y="195185"/>
                </a:cubicBezTo>
                <a:cubicBezTo>
                  <a:pt x="4268637" y="217128"/>
                  <a:pt x="4250159" y="235607"/>
                  <a:pt x="4228216" y="235607"/>
                </a:cubicBezTo>
                <a:cubicBezTo>
                  <a:pt x="4206271" y="235607"/>
                  <a:pt x="4187792" y="217128"/>
                  <a:pt x="4187792" y="195185"/>
                </a:cubicBezTo>
                <a:cubicBezTo>
                  <a:pt x="4187792" y="173240"/>
                  <a:pt x="4206271" y="154761"/>
                  <a:pt x="4228216" y="154761"/>
                </a:cubicBezTo>
                <a:close/>
                <a:moveTo>
                  <a:pt x="3957960" y="154761"/>
                </a:moveTo>
                <a:cubicBezTo>
                  <a:pt x="3979904" y="154761"/>
                  <a:pt x="3998382" y="173240"/>
                  <a:pt x="3998382" y="195185"/>
                </a:cubicBezTo>
                <a:cubicBezTo>
                  <a:pt x="3998382" y="217128"/>
                  <a:pt x="3979904" y="235607"/>
                  <a:pt x="3957960" y="235607"/>
                </a:cubicBezTo>
                <a:cubicBezTo>
                  <a:pt x="3936016" y="235607"/>
                  <a:pt x="3917537" y="217128"/>
                  <a:pt x="3917537" y="195185"/>
                </a:cubicBezTo>
                <a:cubicBezTo>
                  <a:pt x="3917537" y="173240"/>
                  <a:pt x="3936016" y="154761"/>
                  <a:pt x="3957960" y="154761"/>
                </a:cubicBezTo>
                <a:close/>
                <a:moveTo>
                  <a:pt x="1925276" y="154761"/>
                </a:moveTo>
                <a:cubicBezTo>
                  <a:pt x="1948375" y="154761"/>
                  <a:pt x="1965698" y="173240"/>
                  <a:pt x="1965698" y="195185"/>
                </a:cubicBezTo>
                <a:cubicBezTo>
                  <a:pt x="1965698" y="217128"/>
                  <a:pt x="1947219" y="235607"/>
                  <a:pt x="1925276" y="235607"/>
                </a:cubicBezTo>
                <a:cubicBezTo>
                  <a:pt x="1903332" y="235607"/>
                  <a:pt x="1884853" y="217128"/>
                  <a:pt x="1884853" y="195185"/>
                </a:cubicBezTo>
                <a:cubicBezTo>
                  <a:pt x="1884853" y="173240"/>
                  <a:pt x="1903332" y="154761"/>
                  <a:pt x="1925276" y="154761"/>
                </a:cubicBezTo>
                <a:close/>
                <a:moveTo>
                  <a:pt x="1655022" y="154761"/>
                </a:moveTo>
                <a:cubicBezTo>
                  <a:pt x="1676965" y="154761"/>
                  <a:pt x="1695444" y="173240"/>
                  <a:pt x="1695444" y="195185"/>
                </a:cubicBezTo>
                <a:cubicBezTo>
                  <a:pt x="1695444" y="217128"/>
                  <a:pt x="1676965" y="235607"/>
                  <a:pt x="1655022" y="235607"/>
                </a:cubicBezTo>
                <a:cubicBezTo>
                  <a:pt x="1633077" y="235607"/>
                  <a:pt x="1614598" y="217128"/>
                  <a:pt x="1614598" y="195185"/>
                </a:cubicBezTo>
                <a:cubicBezTo>
                  <a:pt x="1614598" y="173240"/>
                  <a:pt x="1633077" y="154761"/>
                  <a:pt x="1655022" y="154761"/>
                </a:cubicBezTo>
                <a:close/>
                <a:moveTo>
                  <a:pt x="841948" y="154761"/>
                </a:moveTo>
                <a:cubicBezTo>
                  <a:pt x="863891" y="154761"/>
                  <a:pt x="882370" y="173240"/>
                  <a:pt x="882370" y="195185"/>
                </a:cubicBezTo>
                <a:cubicBezTo>
                  <a:pt x="882370" y="217128"/>
                  <a:pt x="863891" y="235607"/>
                  <a:pt x="841948" y="235607"/>
                </a:cubicBezTo>
                <a:cubicBezTo>
                  <a:pt x="820004" y="235607"/>
                  <a:pt x="801525" y="217128"/>
                  <a:pt x="801525" y="195185"/>
                </a:cubicBezTo>
                <a:cubicBezTo>
                  <a:pt x="801525" y="173240"/>
                  <a:pt x="820004" y="154761"/>
                  <a:pt x="841948" y="154761"/>
                </a:cubicBezTo>
                <a:close/>
                <a:moveTo>
                  <a:pt x="435411" y="154761"/>
                </a:moveTo>
                <a:cubicBezTo>
                  <a:pt x="457354" y="154761"/>
                  <a:pt x="475833" y="173240"/>
                  <a:pt x="475833" y="195185"/>
                </a:cubicBezTo>
                <a:cubicBezTo>
                  <a:pt x="475833" y="217128"/>
                  <a:pt x="457354" y="235607"/>
                  <a:pt x="435411" y="235607"/>
                </a:cubicBezTo>
                <a:cubicBezTo>
                  <a:pt x="413467" y="235607"/>
                  <a:pt x="394988" y="217128"/>
                  <a:pt x="394988" y="195185"/>
                </a:cubicBezTo>
                <a:cubicBezTo>
                  <a:pt x="394988" y="173240"/>
                  <a:pt x="413467" y="154761"/>
                  <a:pt x="435411" y="154761"/>
                </a:cubicBezTo>
                <a:close/>
                <a:moveTo>
                  <a:pt x="11008282" y="144368"/>
                </a:moveTo>
                <a:cubicBezTo>
                  <a:pt x="11036000" y="144368"/>
                  <a:pt x="11059099" y="167466"/>
                  <a:pt x="11059099" y="195185"/>
                </a:cubicBezTo>
                <a:cubicBezTo>
                  <a:pt x="11059099" y="222903"/>
                  <a:pt x="11037156" y="246002"/>
                  <a:pt x="11008282" y="246002"/>
                </a:cubicBezTo>
                <a:cubicBezTo>
                  <a:pt x="10980564" y="246002"/>
                  <a:pt x="10957465" y="222903"/>
                  <a:pt x="10957465" y="195185"/>
                </a:cubicBezTo>
                <a:cubicBezTo>
                  <a:pt x="10957465" y="167466"/>
                  <a:pt x="10979409" y="144368"/>
                  <a:pt x="11008282" y="144368"/>
                </a:cubicBezTo>
                <a:close/>
                <a:moveTo>
                  <a:pt x="9924954" y="144368"/>
                </a:moveTo>
                <a:cubicBezTo>
                  <a:pt x="9952672" y="144368"/>
                  <a:pt x="9975771" y="167466"/>
                  <a:pt x="9975771" y="195185"/>
                </a:cubicBezTo>
                <a:cubicBezTo>
                  <a:pt x="9975771" y="222903"/>
                  <a:pt x="9953828" y="246002"/>
                  <a:pt x="9924954" y="246002"/>
                </a:cubicBezTo>
                <a:cubicBezTo>
                  <a:pt x="9897235" y="246002"/>
                  <a:pt x="9874137" y="222903"/>
                  <a:pt x="9874137" y="195185"/>
                </a:cubicBezTo>
                <a:cubicBezTo>
                  <a:pt x="9874137" y="167466"/>
                  <a:pt x="9896081" y="144368"/>
                  <a:pt x="9924954" y="144368"/>
                </a:cubicBezTo>
                <a:close/>
                <a:moveTo>
                  <a:pt x="9788672" y="144368"/>
                </a:moveTo>
                <a:cubicBezTo>
                  <a:pt x="9817545" y="144368"/>
                  <a:pt x="9839489" y="167466"/>
                  <a:pt x="9839489" y="195185"/>
                </a:cubicBezTo>
                <a:cubicBezTo>
                  <a:pt x="9839489" y="222903"/>
                  <a:pt x="9816390" y="246002"/>
                  <a:pt x="9788672" y="246002"/>
                </a:cubicBezTo>
                <a:cubicBezTo>
                  <a:pt x="9760953" y="246002"/>
                  <a:pt x="9737854" y="222903"/>
                  <a:pt x="9737854" y="195185"/>
                </a:cubicBezTo>
                <a:cubicBezTo>
                  <a:pt x="9737854" y="167466"/>
                  <a:pt x="9759799" y="144368"/>
                  <a:pt x="9788672" y="144368"/>
                </a:cubicBezTo>
                <a:close/>
                <a:moveTo>
                  <a:pt x="8705894" y="144368"/>
                </a:moveTo>
                <a:cubicBezTo>
                  <a:pt x="8733613" y="144368"/>
                  <a:pt x="8756711" y="167466"/>
                  <a:pt x="8756711" y="195185"/>
                </a:cubicBezTo>
                <a:cubicBezTo>
                  <a:pt x="8756711" y="222903"/>
                  <a:pt x="8733613" y="246002"/>
                  <a:pt x="8705894" y="246002"/>
                </a:cubicBezTo>
                <a:cubicBezTo>
                  <a:pt x="8678176" y="246002"/>
                  <a:pt x="8655077" y="222903"/>
                  <a:pt x="8655077" y="195185"/>
                </a:cubicBezTo>
                <a:cubicBezTo>
                  <a:pt x="8655077" y="167466"/>
                  <a:pt x="8677021" y="144368"/>
                  <a:pt x="8705894" y="144368"/>
                </a:cubicBezTo>
                <a:close/>
                <a:moveTo>
                  <a:pt x="6402956" y="144368"/>
                </a:moveTo>
                <a:cubicBezTo>
                  <a:pt x="6431830" y="144368"/>
                  <a:pt x="6453773" y="167466"/>
                  <a:pt x="6453773" y="195185"/>
                </a:cubicBezTo>
                <a:cubicBezTo>
                  <a:pt x="6453773" y="222903"/>
                  <a:pt x="6431830" y="246002"/>
                  <a:pt x="6402956" y="246002"/>
                </a:cubicBezTo>
                <a:cubicBezTo>
                  <a:pt x="6375237" y="246002"/>
                  <a:pt x="6352139" y="222903"/>
                  <a:pt x="6352139" y="195185"/>
                </a:cubicBezTo>
                <a:cubicBezTo>
                  <a:pt x="6352139" y="167466"/>
                  <a:pt x="6374084" y="144368"/>
                  <a:pt x="6402956" y="144368"/>
                </a:cubicBezTo>
                <a:close/>
                <a:moveTo>
                  <a:pt x="5319627" y="144368"/>
                </a:moveTo>
                <a:cubicBezTo>
                  <a:pt x="5347347" y="144368"/>
                  <a:pt x="5370444" y="167466"/>
                  <a:pt x="5370444" y="195185"/>
                </a:cubicBezTo>
                <a:cubicBezTo>
                  <a:pt x="5370444" y="222903"/>
                  <a:pt x="5347347" y="246002"/>
                  <a:pt x="5319627" y="246002"/>
                </a:cubicBezTo>
                <a:cubicBezTo>
                  <a:pt x="5291910" y="246002"/>
                  <a:pt x="5268810" y="222903"/>
                  <a:pt x="5268810" y="195185"/>
                </a:cubicBezTo>
                <a:cubicBezTo>
                  <a:pt x="5268810" y="167466"/>
                  <a:pt x="5290756" y="144368"/>
                  <a:pt x="5319627" y="144368"/>
                </a:cubicBezTo>
                <a:close/>
                <a:moveTo>
                  <a:pt x="5183345" y="144368"/>
                </a:moveTo>
                <a:cubicBezTo>
                  <a:pt x="5212220" y="144368"/>
                  <a:pt x="5234162" y="167466"/>
                  <a:pt x="5234162" y="195185"/>
                </a:cubicBezTo>
                <a:cubicBezTo>
                  <a:pt x="5234162" y="222903"/>
                  <a:pt x="5211064" y="246002"/>
                  <a:pt x="5183345" y="246002"/>
                </a:cubicBezTo>
                <a:cubicBezTo>
                  <a:pt x="5155627" y="246002"/>
                  <a:pt x="5132528" y="222903"/>
                  <a:pt x="5132528" y="195185"/>
                </a:cubicBezTo>
                <a:cubicBezTo>
                  <a:pt x="5132528" y="167466"/>
                  <a:pt x="5154472" y="144368"/>
                  <a:pt x="5183345" y="144368"/>
                </a:cubicBezTo>
                <a:close/>
                <a:moveTo>
                  <a:pt x="4093087" y="144368"/>
                </a:moveTo>
                <a:cubicBezTo>
                  <a:pt x="4120806" y="144368"/>
                  <a:pt x="4143904" y="167466"/>
                  <a:pt x="4143904" y="195185"/>
                </a:cubicBezTo>
                <a:cubicBezTo>
                  <a:pt x="4143904" y="222903"/>
                  <a:pt x="4120806" y="246002"/>
                  <a:pt x="4093087" y="246002"/>
                </a:cubicBezTo>
                <a:cubicBezTo>
                  <a:pt x="4065369" y="246002"/>
                  <a:pt x="4042270" y="222903"/>
                  <a:pt x="4042270" y="195185"/>
                </a:cubicBezTo>
                <a:cubicBezTo>
                  <a:pt x="4042270" y="167466"/>
                  <a:pt x="4064214" y="144368"/>
                  <a:pt x="4093087" y="144368"/>
                </a:cubicBezTo>
                <a:close/>
                <a:moveTo>
                  <a:pt x="1790148" y="144368"/>
                </a:moveTo>
                <a:cubicBezTo>
                  <a:pt x="1817867" y="144368"/>
                  <a:pt x="1840965" y="167466"/>
                  <a:pt x="1840965" y="195185"/>
                </a:cubicBezTo>
                <a:cubicBezTo>
                  <a:pt x="1840965" y="222903"/>
                  <a:pt x="1819022" y="246002"/>
                  <a:pt x="1790148" y="246002"/>
                </a:cubicBezTo>
                <a:cubicBezTo>
                  <a:pt x="1762430" y="246002"/>
                  <a:pt x="1739331" y="222903"/>
                  <a:pt x="1739331" y="195185"/>
                </a:cubicBezTo>
                <a:cubicBezTo>
                  <a:pt x="1739331" y="167466"/>
                  <a:pt x="1761275" y="144368"/>
                  <a:pt x="1790148" y="144368"/>
                </a:cubicBezTo>
                <a:close/>
                <a:moveTo>
                  <a:pt x="706820" y="144368"/>
                </a:moveTo>
                <a:cubicBezTo>
                  <a:pt x="734538" y="144368"/>
                  <a:pt x="757637" y="167466"/>
                  <a:pt x="757637" y="195185"/>
                </a:cubicBezTo>
                <a:cubicBezTo>
                  <a:pt x="757637" y="222903"/>
                  <a:pt x="735694" y="246002"/>
                  <a:pt x="706820" y="246002"/>
                </a:cubicBezTo>
                <a:cubicBezTo>
                  <a:pt x="679101" y="246002"/>
                  <a:pt x="656003" y="222903"/>
                  <a:pt x="656003" y="195185"/>
                </a:cubicBezTo>
                <a:cubicBezTo>
                  <a:pt x="656003" y="167466"/>
                  <a:pt x="677947" y="144368"/>
                  <a:pt x="706820" y="144368"/>
                </a:cubicBezTo>
                <a:close/>
                <a:moveTo>
                  <a:pt x="570538" y="144368"/>
                </a:moveTo>
                <a:cubicBezTo>
                  <a:pt x="599412" y="144368"/>
                  <a:pt x="621355" y="167466"/>
                  <a:pt x="621355" y="195185"/>
                </a:cubicBezTo>
                <a:cubicBezTo>
                  <a:pt x="621355" y="222903"/>
                  <a:pt x="598256" y="246002"/>
                  <a:pt x="570538" y="246002"/>
                </a:cubicBezTo>
                <a:cubicBezTo>
                  <a:pt x="542819" y="246002"/>
                  <a:pt x="519721" y="222903"/>
                  <a:pt x="519721" y="195185"/>
                </a:cubicBezTo>
                <a:cubicBezTo>
                  <a:pt x="519721" y="167466"/>
                  <a:pt x="541665" y="144368"/>
                  <a:pt x="570538" y="144368"/>
                </a:cubicBezTo>
                <a:close/>
                <a:moveTo>
                  <a:pt x="12180541" y="31184"/>
                </a:moveTo>
                <a:cubicBezTo>
                  <a:pt x="12192090" y="31184"/>
                  <a:pt x="12201330" y="40424"/>
                  <a:pt x="12201330" y="51973"/>
                </a:cubicBezTo>
                <a:cubicBezTo>
                  <a:pt x="12201330" y="63522"/>
                  <a:pt x="12192090" y="72762"/>
                  <a:pt x="12180541" y="72762"/>
                </a:cubicBezTo>
                <a:cubicBezTo>
                  <a:pt x="12168992" y="72762"/>
                  <a:pt x="12159752" y="63522"/>
                  <a:pt x="12159752" y="51973"/>
                </a:cubicBezTo>
                <a:cubicBezTo>
                  <a:pt x="12159752" y="40424"/>
                  <a:pt x="12168992" y="31184"/>
                  <a:pt x="12180541" y="31184"/>
                </a:cubicBezTo>
                <a:close/>
                <a:moveTo>
                  <a:pt x="12040793" y="31184"/>
                </a:moveTo>
                <a:cubicBezTo>
                  <a:pt x="12052342" y="31184"/>
                  <a:pt x="12061582" y="40424"/>
                  <a:pt x="12061582" y="51973"/>
                </a:cubicBezTo>
                <a:cubicBezTo>
                  <a:pt x="12061582" y="63522"/>
                  <a:pt x="12052342" y="72762"/>
                  <a:pt x="12040793" y="72762"/>
                </a:cubicBezTo>
                <a:cubicBezTo>
                  <a:pt x="12029244" y="72762"/>
                  <a:pt x="12020004" y="63522"/>
                  <a:pt x="12020004" y="51973"/>
                </a:cubicBezTo>
                <a:cubicBezTo>
                  <a:pt x="12020004" y="40424"/>
                  <a:pt x="12029244" y="31184"/>
                  <a:pt x="12040793" y="31184"/>
                </a:cubicBezTo>
                <a:close/>
                <a:moveTo>
                  <a:pt x="11901047" y="31184"/>
                </a:moveTo>
                <a:cubicBezTo>
                  <a:pt x="11912596" y="31184"/>
                  <a:pt x="11921836" y="40424"/>
                  <a:pt x="11921836" y="51973"/>
                </a:cubicBezTo>
                <a:cubicBezTo>
                  <a:pt x="11921836" y="63522"/>
                  <a:pt x="11912596" y="72762"/>
                  <a:pt x="11901047" y="72762"/>
                </a:cubicBezTo>
                <a:cubicBezTo>
                  <a:pt x="11889498" y="72762"/>
                  <a:pt x="11880258" y="63522"/>
                  <a:pt x="11880258" y="51973"/>
                </a:cubicBezTo>
                <a:cubicBezTo>
                  <a:pt x="11880258" y="40424"/>
                  <a:pt x="11889498" y="31184"/>
                  <a:pt x="11901047" y="31184"/>
                </a:cubicBezTo>
                <a:close/>
                <a:moveTo>
                  <a:pt x="11761299" y="31184"/>
                </a:moveTo>
                <a:cubicBezTo>
                  <a:pt x="11772848" y="31184"/>
                  <a:pt x="11782088" y="40424"/>
                  <a:pt x="11782088" y="51973"/>
                </a:cubicBezTo>
                <a:cubicBezTo>
                  <a:pt x="11782088" y="63522"/>
                  <a:pt x="11772848" y="72762"/>
                  <a:pt x="11761299" y="72762"/>
                </a:cubicBezTo>
                <a:cubicBezTo>
                  <a:pt x="11749750" y="72762"/>
                  <a:pt x="11740510" y="63522"/>
                  <a:pt x="11740510" y="51973"/>
                </a:cubicBezTo>
                <a:cubicBezTo>
                  <a:pt x="11740510" y="40424"/>
                  <a:pt x="11749750" y="31184"/>
                  <a:pt x="11761299" y="31184"/>
                </a:cubicBezTo>
                <a:close/>
                <a:moveTo>
                  <a:pt x="11621553" y="31184"/>
                </a:moveTo>
                <a:cubicBezTo>
                  <a:pt x="11633102" y="31184"/>
                  <a:pt x="11642342" y="40424"/>
                  <a:pt x="11642342" y="51973"/>
                </a:cubicBezTo>
                <a:cubicBezTo>
                  <a:pt x="11642342" y="63522"/>
                  <a:pt x="11633102" y="72762"/>
                  <a:pt x="11621553" y="72762"/>
                </a:cubicBezTo>
                <a:cubicBezTo>
                  <a:pt x="11610003" y="72762"/>
                  <a:pt x="11600764" y="63522"/>
                  <a:pt x="11600764" y="51973"/>
                </a:cubicBezTo>
                <a:cubicBezTo>
                  <a:pt x="11600764" y="40424"/>
                  <a:pt x="11610003" y="31184"/>
                  <a:pt x="11621553" y="31184"/>
                </a:cubicBezTo>
                <a:close/>
                <a:moveTo>
                  <a:pt x="11481805" y="31184"/>
                </a:moveTo>
                <a:cubicBezTo>
                  <a:pt x="11493354" y="31184"/>
                  <a:pt x="11502594" y="40424"/>
                  <a:pt x="11502594" y="51973"/>
                </a:cubicBezTo>
                <a:cubicBezTo>
                  <a:pt x="11502594" y="63522"/>
                  <a:pt x="11493354" y="72762"/>
                  <a:pt x="11481805" y="72762"/>
                </a:cubicBezTo>
                <a:cubicBezTo>
                  <a:pt x="11470256" y="72762"/>
                  <a:pt x="11461016" y="63522"/>
                  <a:pt x="11461016" y="51973"/>
                </a:cubicBezTo>
                <a:cubicBezTo>
                  <a:pt x="11461016" y="40424"/>
                  <a:pt x="11470256" y="31184"/>
                  <a:pt x="11481805" y="31184"/>
                </a:cubicBezTo>
                <a:close/>
                <a:moveTo>
                  <a:pt x="10644478" y="31184"/>
                </a:moveTo>
                <a:cubicBezTo>
                  <a:pt x="10656028" y="31184"/>
                  <a:pt x="10665267" y="40424"/>
                  <a:pt x="10665267" y="51973"/>
                </a:cubicBezTo>
                <a:cubicBezTo>
                  <a:pt x="10665267" y="63522"/>
                  <a:pt x="10656028" y="72762"/>
                  <a:pt x="10644478" y="72762"/>
                </a:cubicBezTo>
                <a:cubicBezTo>
                  <a:pt x="10632929" y="72762"/>
                  <a:pt x="10623690" y="63522"/>
                  <a:pt x="10623690" y="51973"/>
                </a:cubicBezTo>
                <a:cubicBezTo>
                  <a:pt x="10623690" y="40424"/>
                  <a:pt x="10632929" y="31184"/>
                  <a:pt x="10644478" y="31184"/>
                </a:cubicBezTo>
                <a:close/>
                <a:moveTo>
                  <a:pt x="10504731" y="31184"/>
                </a:moveTo>
                <a:cubicBezTo>
                  <a:pt x="10516280" y="31184"/>
                  <a:pt x="10525520" y="40424"/>
                  <a:pt x="10525520" y="51973"/>
                </a:cubicBezTo>
                <a:cubicBezTo>
                  <a:pt x="10525520" y="63522"/>
                  <a:pt x="10516280" y="72762"/>
                  <a:pt x="10504731" y="72762"/>
                </a:cubicBezTo>
                <a:cubicBezTo>
                  <a:pt x="10493181" y="72762"/>
                  <a:pt x="10483942" y="63522"/>
                  <a:pt x="10483942" y="51973"/>
                </a:cubicBezTo>
                <a:cubicBezTo>
                  <a:pt x="10483942" y="40424"/>
                  <a:pt x="10493181" y="31184"/>
                  <a:pt x="10504731" y="31184"/>
                </a:cubicBezTo>
                <a:close/>
                <a:moveTo>
                  <a:pt x="10364984" y="31184"/>
                </a:moveTo>
                <a:cubicBezTo>
                  <a:pt x="10376534" y="31184"/>
                  <a:pt x="10385773" y="40424"/>
                  <a:pt x="10385773" y="51973"/>
                </a:cubicBezTo>
                <a:cubicBezTo>
                  <a:pt x="10385773" y="63522"/>
                  <a:pt x="10376534" y="72762"/>
                  <a:pt x="10364984" y="72762"/>
                </a:cubicBezTo>
                <a:cubicBezTo>
                  <a:pt x="10353435" y="72762"/>
                  <a:pt x="10344196" y="63522"/>
                  <a:pt x="10344196" y="51973"/>
                </a:cubicBezTo>
                <a:cubicBezTo>
                  <a:pt x="10344196" y="40424"/>
                  <a:pt x="10353435" y="31184"/>
                  <a:pt x="10364984" y="31184"/>
                </a:cubicBezTo>
                <a:close/>
                <a:moveTo>
                  <a:pt x="7854709" y="31184"/>
                </a:moveTo>
                <a:cubicBezTo>
                  <a:pt x="7866258" y="31184"/>
                  <a:pt x="7875498" y="40424"/>
                  <a:pt x="7875498" y="51973"/>
                </a:cubicBezTo>
                <a:cubicBezTo>
                  <a:pt x="7875498" y="63522"/>
                  <a:pt x="7866258" y="72762"/>
                  <a:pt x="7854709" y="72762"/>
                </a:cubicBezTo>
                <a:cubicBezTo>
                  <a:pt x="7843160" y="72762"/>
                  <a:pt x="7833921" y="63522"/>
                  <a:pt x="7833921" y="51973"/>
                </a:cubicBezTo>
                <a:cubicBezTo>
                  <a:pt x="7833921" y="40424"/>
                  <a:pt x="7843160" y="31184"/>
                  <a:pt x="7854709" y="31184"/>
                </a:cubicBezTo>
                <a:close/>
                <a:moveTo>
                  <a:pt x="7714960" y="31184"/>
                </a:moveTo>
                <a:cubicBezTo>
                  <a:pt x="7726511" y="31184"/>
                  <a:pt x="7735749" y="40424"/>
                  <a:pt x="7735749" y="51973"/>
                </a:cubicBezTo>
                <a:cubicBezTo>
                  <a:pt x="7735749" y="63522"/>
                  <a:pt x="7726511" y="72762"/>
                  <a:pt x="7714960" y="72762"/>
                </a:cubicBezTo>
                <a:cubicBezTo>
                  <a:pt x="7703411" y="72762"/>
                  <a:pt x="7694172" y="63522"/>
                  <a:pt x="7694172" y="51973"/>
                </a:cubicBezTo>
                <a:cubicBezTo>
                  <a:pt x="7694172" y="40424"/>
                  <a:pt x="7703411" y="31184"/>
                  <a:pt x="7714960" y="31184"/>
                </a:cubicBezTo>
                <a:close/>
                <a:moveTo>
                  <a:pt x="7575214" y="31184"/>
                </a:moveTo>
                <a:cubicBezTo>
                  <a:pt x="7586765" y="31184"/>
                  <a:pt x="7596004" y="40424"/>
                  <a:pt x="7596004" y="51973"/>
                </a:cubicBezTo>
                <a:cubicBezTo>
                  <a:pt x="7596004" y="63522"/>
                  <a:pt x="7586765" y="72762"/>
                  <a:pt x="7575214" y="72762"/>
                </a:cubicBezTo>
                <a:cubicBezTo>
                  <a:pt x="7563665" y="72762"/>
                  <a:pt x="7554427" y="63522"/>
                  <a:pt x="7554427" y="51973"/>
                </a:cubicBezTo>
                <a:cubicBezTo>
                  <a:pt x="7554427" y="40424"/>
                  <a:pt x="7563665" y="31184"/>
                  <a:pt x="7575214" y="31184"/>
                </a:cubicBezTo>
                <a:close/>
                <a:moveTo>
                  <a:pt x="7435467" y="31184"/>
                </a:moveTo>
                <a:cubicBezTo>
                  <a:pt x="7447016" y="31184"/>
                  <a:pt x="7456257" y="40424"/>
                  <a:pt x="7456257" y="51973"/>
                </a:cubicBezTo>
                <a:cubicBezTo>
                  <a:pt x="7456257" y="63522"/>
                  <a:pt x="7447016" y="72762"/>
                  <a:pt x="7435467" y="72762"/>
                </a:cubicBezTo>
                <a:cubicBezTo>
                  <a:pt x="7423918" y="72762"/>
                  <a:pt x="7414678" y="63522"/>
                  <a:pt x="7414678" y="51973"/>
                </a:cubicBezTo>
                <a:cubicBezTo>
                  <a:pt x="7414678" y="40424"/>
                  <a:pt x="7423918" y="31184"/>
                  <a:pt x="7435467" y="31184"/>
                </a:cubicBezTo>
                <a:close/>
                <a:moveTo>
                  <a:pt x="7295720" y="31184"/>
                </a:moveTo>
                <a:cubicBezTo>
                  <a:pt x="7307271" y="31184"/>
                  <a:pt x="7316509" y="40424"/>
                  <a:pt x="7316509" y="51973"/>
                </a:cubicBezTo>
                <a:cubicBezTo>
                  <a:pt x="7316509" y="63522"/>
                  <a:pt x="7307271" y="72762"/>
                  <a:pt x="7295720" y="72762"/>
                </a:cubicBezTo>
                <a:cubicBezTo>
                  <a:pt x="7284172" y="72762"/>
                  <a:pt x="7274932" y="63522"/>
                  <a:pt x="7274932" y="51973"/>
                </a:cubicBezTo>
                <a:cubicBezTo>
                  <a:pt x="7274932" y="40424"/>
                  <a:pt x="7284172" y="31184"/>
                  <a:pt x="7295720" y="31184"/>
                </a:cubicBezTo>
                <a:close/>
                <a:moveTo>
                  <a:pt x="7155974" y="31184"/>
                </a:moveTo>
                <a:cubicBezTo>
                  <a:pt x="7167522" y="31184"/>
                  <a:pt x="7176762" y="40424"/>
                  <a:pt x="7176762" y="51973"/>
                </a:cubicBezTo>
                <a:cubicBezTo>
                  <a:pt x="7176762" y="63522"/>
                  <a:pt x="7167522" y="72762"/>
                  <a:pt x="7155974" y="72762"/>
                </a:cubicBezTo>
                <a:cubicBezTo>
                  <a:pt x="7144423" y="72762"/>
                  <a:pt x="7135183" y="63522"/>
                  <a:pt x="7135183" y="51973"/>
                </a:cubicBezTo>
                <a:cubicBezTo>
                  <a:pt x="7135183" y="40424"/>
                  <a:pt x="7144423" y="31184"/>
                  <a:pt x="7155974" y="31184"/>
                </a:cubicBezTo>
                <a:close/>
                <a:moveTo>
                  <a:pt x="7016227" y="31184"/>
                </a:moveTo>
                <a:cubicBezTo>
                  <a:pt x="7027776" y="31184"/>
                  <a:pt x="7037016" y="40424"/>
                  <a:pt x="7037016" y="51973"/>
                </a:cubicBezTo>
                <a:cubicBezTo>
                  <a:pt x="7037016" y="63522"/>
                  <a:pt x="7027776" y="72762"/>
                  <a:pt x="7016227" y="72762"/>
                </a:cubicBezTo>
                <a:cubicBezTo>
                  <a:pt x="7004678" y="72762"/>
                  <a:pt x="6995438" y="63522"/>
                  <a:pt x="6995438" y="51973"/>
                </a:cubicBezTo>
                <a:cubicBezTo>
                  <a:pt x="6995438" y="40424"/>
                  <a:pt x="7004678" y="31184"/>
                  <a:pt x="7016227" y="31184"/>
                </a:cubicBezTo>
                <a:close/>
                <a:moveTo>
                  <a:pt x="6877634" y="31184"/>
                </a:moveTo>
                <a:cubicBezTo>
                  <a:pt x="6888028" y="31184"/>
                  <a:pt x="6898424" y="40424"/>
                  <a:pt x="6898424" y="51973"/>
                </a:cubicBezTo>
                <a:cubicBezTo>
                  <a:pt x="6898424" y="63522"/>
                  <a:pt x="6889184" y="72762"/>
                  <a:pt x="6877634" y="72762"/>
                </a:cubicBezTo>
                <a:cubicBezTo>
                  <a:pt x="6866085" y="72762"/>
                  <a:pt x="6856845" y="63522"/>
                  <a:pt x="6856845" y="51973"/>
                </a:cubicBezTo>
                <a:cubicBezTo>
                  <a:pt x="6856845" y="40424"/>
                  <a:pt x="6866085" y="31184"/>
                  <a:pt x="6877634" y="31184"/>
                </a:cubicBezTo>
                <a:close/>
                <a:moveTo>
                  <a:pt x="6039151" y="31184"/>
                </a:moveTo>
                <a:cubicBezTo>
                  <a:pt x="6050702" y="31184"/>
                  <a:pt x="6059942" y="40424"/>
                  <a:pt x="6059942" y="51973"/>
                </a:cubicBezTo>
                <a:cubicBezTo>
                  <a:pt x="6059942" y="63522"/>
                  <a:pt x="6050702" y="72762"/>
                  <a:pt x="6039151" y="72762"/>
                </a:cubicBezTo>
                <a:cubicBezTo>
                  <a:pt x="6027603" y="72762"/>
                  <a:pt x="6018363" y="63522"/>
                  <a:pt x="6018363" y="51973"/>
                </a:cubicBezTo>
                <a:cubicBezTo>
                  <a:pt x="6018363" y="40424"/>
                  <a:pt x="6027603" y="31184"/>
                  <a:pt x="6039151" y="31184"/>
                </a:cubicBezTo>
                <a:close/>
                <a:moveTo>
                  <a:pt x="5899405" y="31184"/>
                </a:moveTo>
                <a:cubicBezTo>
                  <a:pt x="5910953" y="31184"/>
                  <a:pt x="5920193" y="40424"/>
                  <a:pt x="5920193" y="51973"/>
                </a:cubicBezTo>
                <a:cubicBezTo>
                  <a:pt x="5920193" y="63522"/>
                  <a:pt x="5910953" y="72762"/>
                  <a:pt x="5899405" y="72762"/>
                </a:cubicBezTo>
                <a:cubicBezTo>
                  <a:pt x="5887855" y="72762"/>
                  <a:pt x="5878616" y="63522"/>
                  <a:pt x="5878616" y="51973"/>
                </a:cubicBezTo>
                <a:cubicBezTo>
                  <a:pt x="5878616" y="40424"/>
                  <a:pt x="5887855" y="31184"/>
                  <a:pt x="5899405" y="31184"/>
                </a:cubicBezTo>
                <a:close/>
                <a:moveTo>
                  <a:pt x="5759658" y="31184"/>
                </a:moveTo>
                <a:cubicBezTo>
                  <a:pt x="5771207" y="31184"/>
                  <a:pt x="5780447" y="40424"/>
                  <a:pt x="5780447" y="51973"/>
                </a:cubicBezTo>
                <a:cubicBezTo>
                  <a:pt x="5780447" y="63522"/>
                  <a:pt x="5771207" y="72762"/>
                  <a:pt x="5759658" y="72762"/>
                </a:cubicBezTo>
                <a:cubicBezTo>
                  <a:pt x="5748109" y="72762"/>
                  <a:pt x="5738869" y="63522"/>
                  <a:pt x="5738869" y="51973"/>
                </a:cubicBezTo>
                <a:cubicBezTo>
                  <a:pt x="5738869" y="40424"/>
                  <a:pt x="5748109" y="31184"/>
                  <a:pt x="5759658" y="31184"/>
                </a:cubicBezTo>
                <a:close/>
                <a:moveTo>
                  <a:pt x="3241901" y="31184"/>
                </a:moveTo>
                <a:cubicBezTo>
                  <a:pt x="3253450" y="31184"/>
                  <a:pt x="3262690" y="40424"/>
                  <a:pt x="3262690" y="51973"/>
                </a:cubicBezTo>
                <a:cubicBezTo>
                  <a:pt x="3262690" y="63522"/>
                  <a:pt x="3253450" y="72762"/>
                  <a:pt x="3241901" y="72762"/>
                </a:cubicBezTo>
                <a:cubicBezTo>
                  <a:pt x="3230352" y="72762"/>
                  <a:pt x="3221112" y="63522"/>
                  <a:pt x="3221112" y="51973"/>
                </a:cubicBezTo>
                <a:cubicBezTo>
                  <a:pt x="3221112" y="40424"/>
                  <a:pt x="3230352" y="31184"/>
                  <a:pt x="3241901" y="31184"/>
                </a:cubicBezTo>
                <a:close/>
                <a:moveTo>
                  <a:pt x="3102153" y="31184"/>
                </a:moveTo>
                <a:cubicBezTo>
                  <a:pt x="3113703" y="31184"/>
                  <a:pt x="3122942" y="40424"/>
                  <a:pt x="3122942" y="51973"/>
                </a:cubicBezTo>
                <a:cubicBezTo>
                  <a:pt x="3122942" y="63522"/>
                  <a:pt x="3113703" y="72762"/>
                  <a:pt x="3102153" y="72762"/>
                </a:cubicBezTo>
                <a:cubicBezTo>
                  <a:pt x="3090605" y="72762"/>
                  <a:pt x="3081365" y="63522"/>
                  <a:pt x="3081365" y="51973"/>
                </a:cubicBezTo>
                <a:cubicBezTo>
                  <a:pt x="3081365" y="40424"/>
                  <a:pt x="3090605" y="31184"/>
                  <a:pt x="3102153" y="31184"/>
                </a:cubicBezTo>
                <a:close/>
                <a:moveTo>
                  <a:pt x="2962407" y="31184"/>
                </a:moveTo>
                <a:cubicBezTo>
                  <a:pt x="2973956" y="31184"/>
                  <a:pt x="2983196" y="40424"/>
                  <a:pt x="2983196" y="51973"/>
                </a:cubicBezTo>
                <a:cubicBezTo>
                  <a:pt x="2983196" y="63522"/>
                  <a:pt x="2973956" y="72762"/>
                  <a:pt x="2962407" y="72762"/>
                </a:cubicBezTo>
                <a:cubicBezTo>
                  <a:pt x="2950858" y="72762"/>
                  <a:pt x="2941618" y="63522"/>
                  <a:pt x="2941618" y="51973"/>
                </a:cubicBezTo>
                <a:cubicBezTo>
                  <a:pt x="2941618" y="40424"/>
                  <a:pt x="2950858" y="31184"/>
                  <a:pt x="2962407" y="31184"/>
                </a:cubicBezTo>
                <a:close/>
                <a:moveTo>
                  <a:pt x="2822659" y="31184"/>
                </a:moveTo>
                <a:cubicBezTo>
                  <a:pt x="2834209" y="31184"/>
                  <a:pt x="2843448" y="40424"/>
                  <a:pt x="2843448" y="51973"/>
                </a:cubicBezTo>
                <a:cubicBezTo>
                  <a:pt x="2843448" y="63522"/>
                  <a:pt x="2834209" y="72762"/>
                  <a:pt x="2822659" y="72762"/>
                </a:cubicBezTo>
                <a:cubicBezTo>
                  <a:pt x="2811110" y="72762"/>
                  <a:pt x="2801871" y="63522"/>
                  <a:pt x="2801871" y="51973"/>
                </a:cubicBezTo>
                <a:cubicBezTo>
                  <a:pt x="2801871" y="40424"/>
                  <a:pt x="2811110" y="31184"/>
                  <a:pt x="2822659" y="31184"/>
                </a:cubicBezTo>
                <a:close/>
                <a:moveTo>
                  <a:pt x="2682913" y="31184"/>
                </a:moveTo>
                <a:cubicBezTo>
                  <a:pt x="2694462" y="31184"/>
                  <a:pt x="2703702" y="40424"/>
                  <a:pt x="2703702" y="51973"/>
                </a:cubicBezTo>
                <a:cubicBezTo>
                  <a:pt x="2703702" y="63522"/>
                  <a:pt x="2694462" y="72762"/>
                  <a:pt x="2682913" y="72762"/>
                </a:cubicBezTo>
                <a:cubicBezTo>
                  <a:pt x="2671365" y="72762"/>
                  <a:pt x="2662124" y="63522"/>
                  <a:pt x="2662124" y="51973"/>
                </a:cubicBezTo>
                <a:cubicBezTo>
                  <a:pt x="2662124" y="40424"/>
                  <a:pt x="2671365" y="31184"/>
                  <a:pt x="2682913" y="31184"/>
                </a:cubicBezTo>
                <a:close/>
                <a:moveTo>
                  <a:pt x="2543167" y="31184"/>
                </a:moveTo>
                <a:cubicBezTo>
                  <a:pt x="2554715" y="31184"/>
                  <a:pt x="2563954" y="40424"/>
                  <a:pt x="2563954" y="51973"/>
                </a:cubicBezTo>
                <a:cubicBezTo>
                  <a:pt x="2563954" y="63522"/>
                  <a:pt x="2554715" y="72762"/>
                  <a:pt x="2543167" y="72762"/>
                </a:cubicBezTo>
                <a:cubicBezTo>
                  <a:pt x="2531616" y="72762"/>
                  <a:pt x="2522376" y="63522"/>
                  <a:pt x="2522376" y="51973"/>
                </a:cubicBezTo>
                <a:cubicBezTo>
                  <a:pt x="2522376" y="40424"/>
                  <a:pt x="2531616" y="31184"/>
                  <a:pt x="2543167" y="31184"/>
                </a:cubicBezTo>
                <a:close/>
                <a:moveTo>
                  <a:pt x="2403419" y="31184"/>
                </a:moveTo>
                <a:cubicBezTo>
                  <a:pt x="2414969" y="31184"/>
                  <a:pt x="2424209" y="40424"/>
                  <a:pt x="2424209" y="51973"/>
                </a:cubicBezTo>
                <a:cubicBezTo>
                  <a:pt x="2424209" y="63522"/>
                  <a:pt x="2414969" y="72762"/>
                  <a:pt x="2403419" y="72762"/>
                </a:cubicBezTo>
                <a:cubicBezTo>
                  <a:pt x="2391869" y="72762"/>
                  <a:pt x="2382630" y="63522"/>
                  <a:pt x="2382630" y="51973"/>
                </a:cubicBezTo>
                <a:cubicBezTo>
                  <a:pt x="2382630" y="40424"/>
                  <a:pt x="2391869" y="31184"/>
                  <a:pt x="2403419" y="31184"/>
                </a:cubicBezTo>
                <a:close/>
                <a:moveTo>
                  <a:pt x="2263671" y="31184"/>
                </a:moveTo>
                <a:cubicBezTo>
                  <a:pt x="2275221" y="31184"/>
                  <a:pt x="2284460" y="40424"/>
                  <a:pt x="2284460" y="51973"/>
                </a:cubicBezTo>
                <a:cubicBezTo>
                  <a:pt x="2284460" y="63522"/>
                  <a:pt x="2275221" y="72762"/>
                  <a:pt x="2263671" y="72762"/>
                </a:cubicBezTo>
                <a:cubicBezTo>
                  <a:pt x="2252122" y="72762"/>
                  <a:pt x="2242883" y="63522"/>
                  <a:pt x="2242883" y="51973"/>
                </a:cubicBezTo>
                <a:cubicBezTo>
                  <a:pt x="2242883" y="40424"/>
                  <a:pt x="2252122" y="31184"/>
                  <a:pt x="2263671" y="31184"/>
                </a:cubicBezTo>
                <a:close/>
                <a:moveTo>
                  <a:pt x="1426344" y="31184"/>
                </a:moveTo>
                <a:cubicBezTo>
                  <a:pt x="1437894" y="31184"/>
                  <a:pt x="1447133" y="40424"/>
                  <a:pt x="1447133" y="51973"/>
                </a:cubicBezTo>
                <a:cubicBezTo>
                  <a:pt x="1447133" y="63522"/>
                  <a:pt x="1437894" y="72762"/>
                  <a:pt x="1426344" y="72762"/>
                </a:cubicBezTo>
                <a:cubicBezTo>
                  <a:pt x="1414795" y="72762"/>
                  <a:pt x="1405556" y="63522"/>
                  <a:pt x="1405556" y="51973"/>
                </a:cubicBezTo>
                <a:cubicBezTo>
                  <a:pt x="1405556" y="40424"/>
                  <a:pt x="1414795" y="31184"/>
                  <a:pt x="1426344" y="31184"/>
                </a:cubicBezTo>
                <a:close/>
                <a:moveTo>
                  <a:pt x="1286597" y="31184"/>
                </a:moveTo>
                <a:cubicBezTo>
                  <a:pt x="1298146" y="31184"/>
                  <a:pt x="1307386" y="40424"/>
                  <a:pt x="1307386" y="51973"/>
                </a:cubicBezTo>
                <a:cubicBezTo>
                  <a:pt x="1307386" y="63522"/>
                  <a:pt x="1298146" y="72762"/>
                  <a:pt x="1286597" y="72762"/>
                </a:cubicBezTo>
                <a:cubicBezTo>
                  <a:pt x="1275048" y="72762"/>
                  <a:pt x="1265808" y="63522"/>
                  <a:pt x="1265808" y="51973"/>
                </a:cubicBezTo>
                <a:cubicBezTo>
                  <a:pt x="1265808" y="40424"/>
                  <a:pt x="1275048" y="31184"/>
                  <a:pt x="1286597" y="31184"/>
                </a:cubicBezTo>
                <a:close/>
                <a:moveTo>
                  <a:pt x="1146851" y="31184"/>
                </a:moveTo>
                <a:cubicBezTo>
                  <a:pt x="1158400" y="31184"/>
                  <a:pt x="1167639" y="40424"/>
                  <a:pt x="1167639" y="51973"/>
                </a:cubicBezTo>
                <a:cubicBezTo>
                  <a:pt x="1167639" y="63522"/>
                  <a:pt x="1158400" y="72762"/>
                  <a:pt x="1146851" y="72762"/>
                </a:cubicBezTo>
                <a:cubicBezTo>
                  <a:pt x="1135301" y="72762"/>
                  <a:pt x="1126062" y="63522"/>
                  <a:pt x="1126062" y="51973"/>
                </a:cubicBezTo>
                <a:cubicBezTo>
                  <a:pt x="1126062" y="40424"/>
                  <a:pt x="1135301" y="31184"/>
                  <a:pt x="1146851" y="31184"/>
                </a:cubicBezTo>
                <a:close/>
                <a:moveTo>
                  <a:pt x="11343213" y="27719"/>
                </a:moveTo>
                <a:cubicBezTo>
                  <a:pt x="11355918" y="27719"/>
                  <a:pt x="11366312" y="38114"/>
                  <a:pt x="11366312" y="50817"/>
                </a:cubicBezTo>
                <a:cubicBezTo>
                  <a:pt x="11366312" y="63522"/>
                  <a:pt x="11355918" y="73916"/>
                  <a:pt x="11343213" y="73916"/>
                </a:cubicBezTo>
                <a:cubicBezTo>
                  <a:pt x="11330509" y="73916"/>
                  <a:pt x="11320114" y="63522"/>
                  <a:pt x="11320114" y="50817"/>
                </a:cubicBezTo>
                <a:cubicBezTo>
                  <a:pt x="11320114" y="38114"/>
                  <a:pt x="11330509" y="27719"/>
                  <a:pt x="11343213" y="27719"/>
                </a:cubicBezTo>
                <a:close/>
                <a:moveTo>
                  <a:pt x="10225237" y="27719"/>
                </a:moveTo>
                <a:cubicBezTo>
                  <a:pt x="10237942" y="27719"/>
                  <a:pt x="10248335" y="38114"/>
                  <a:pt x="10248335" y="50817"/>
                </a:cubicBezTo>
                <a:cubicBezTo>
                  <a:pt x="10248335" y="63522"/>
                  <a:pt x="10237942" y="73916"/>
                  <a:pt x="10225237" y="73916"/>
                </a:cubicBezTo>
                <a:cubicBezTo>
                  <a:pt x="10212533" y="73916"/>
                  <a:pt x="10202138" y="63522"/>
                  <a:pt x="10202138" y="50817"/>
                </a:cubicBezTo>
                <a:cubicBezTo>
                  <a:pt x="10202138" y="38114"/>
                  <a:pt x="10212533" y="27719"/>
                  <a:pt x="10225237" y="27719"/>
                </a:cubicBezTo>
                <a:close/>
                <a:moveTo>
                  <a:pt x="9112431" y="27719"/>
                </a:moveTo>
                <a:cubicBezTo>
                  <a:pt x="9125136" y="27719"/>
                  <a:pt x="9135530" y="38114"/>
                  <a:pt x="9135530" y="50817"/>
                </a:cubicBezTo>
                <a:cubicBezTo>
                  <a:pt x="9135530" y="63522"/>
                  <a:pt x="9125136" y="73916"/>
                  <a:pt x="9112431" y="73916"/>
                </a:cubicBezTo>
                <a:cubicBezTo>
                  <a:pt x="9099727" y="73916"/>
                  <a:pt x="9089332" y="63522"/>
                  <a:pt x="9089332" y="50817"/>
                </a:cubicBezTo>
                <a:cubicBezTo>
                  <a:pt x="9089332" y="38114"/>
                  <a:pt x="9099727" y="27719"/>
                  <a:pt x="9112431" y="27719"/>
                </a:cubicBezTo>
                <a:close/>
                <a:moveTo>
                  <a:pt x="7994456" y="27719"/>
                </a:moveTo>
                <a:cubicBezTo>
                  <a:pt x="8007160" y="27719"/>
                  <a:pt x="8017555" y="38114"/>
                  <a:pt x="8017555" y="50817"/>
                </a:cubicBezTo>
                <a:cubicBezTo>
                  <a:pt x="8017555" y="63522"/>
                  <a:pt x="8007160" y="73916"/>
                  <a:pt x="7994456" y="73916"/>
                </a:cubicBezTo>
                <a:cubicBezTo>
                  <a:pt x="7981752" y="73916"/>
                  <a:pt x="7971356" y="63522"/>
                  <a:pt x="7971356" y="50817"/>
                </a:cubicBezTo>
                <a:cubicBezTo>
                  <a:pt x="7971356" y="38114"/>
                  <a:pt x="7981752" y="27719"/>
                  <a:pt x="7994456" y="27719"/>
                </a:cubicBezTo>
                <a:close/>
                <a:moveTo>
                  <a:pt x="6737887" y="27719"/>
                </a:moveTo>
                <a:cubicBezTo>
                  <a:pt x="6750591" y="27719"/>
                  <a:pt x="6760986" y="38114"/>
                  <a:pt x="6760986" y="50817"/>
                </a:cubicBezTo>
                <a:cubicBezTo>
                  <a:pt x="6760986" y="63522"/>
                  <a:pt x="6750591" y="73916"/>
                  <a:pt x="6737887" y="73916"/>
                </a:cubicBezTo>
                <a:cubicBezTo>
                  <a:pt x="6725183" y="73916"/>
                  <a:pt x="6714789" y="63522"/>
                  <a:pt x="6714789" y="50817"/>
                </a:cubicBezTo>
                <a:cubicBezTo>
                  <a:pt x="6714789" y="38114"/>
                  <a:pt x="6725183" y="27719"/>
                  <a:pt x="6737887" y="27719"/>
                </a:cubicBezTo>
                <a:close/>
                <a:moveTo>
                  <a:pt x="5619911" y="27719"/>
                </a:moveTo>
                <a:cubicBezTo>
                  <a:pt x="5632616" y="27719"/>
                  <a:pt x="5643008" y="38114"/>
                  <a:pt x="5643008" y="50817"/>
                </a:cubicBezTo>
                <a:cubicBezTo>
                  <a:pt x="5643008" y="63522"/>
                  <a:pt x="5632616" y="73916"/>
                  <a:pt x="5619911" y="73916"/>
                </a:cubicBezTo>
                <a:cubicBezTo>
                  <a:pt x="5607207" y="73916"/>
                  <a:pt x="5596812" y="63522"/>
                  <a:pt x="5596812" y="50817"/>
                </a:cubicBezTo>
                <a:cubicBezTo>
                  <a:pt x="5596812" y="38114"/>
                  <a:pt x="5607207" y="27719"/>
                  <a:pt x="5619911" y="27719"/>
                </a:cubicBezTo>
                <a:close/>
                <a:moveTo>
                  <a:pt x="4499625" y="27719"/>
                </a:moveTo>
                <a:cubicBezTo>
                  <a:pt x="4512329" y="27719"/>
                  <a:pt x="4522722" y="38114"/>
                  <a:pt x="4522722" y="50817"/>
                </a:cubicBezTo>
                <a:cubicBezTo>
                  <a:pt x="4522722" y="63522"/>
                  <a:pt x="4512329" y="73916"/>
                  <a:pt x="4499625" y="73916"/>
                </a:cubicBezTo>
                <a:cubicBezTo>
                  <a:pt x="4486920" y="73916"/>
                  <a:pt x="4476525" y="63522"/>
                  <a:pt x="4476525" y="50817"/>
                </a:cubicBezTo>
                <a:cubicBezTo>
                  <a:pt x="4476525" y="38114"/>
                  <a:pt x="4486920" y="27719"/>
                  <a:pt x="4499625" y="27719"/>
                </a:cubicBezTo>
                <a:close/>
                <a:moveTo>
                  <a:pt x="3381648" y="27719"/>
                </a:moveTo>
                <a:cubicBezTo>
                  <a:pt x="3394352" y="27719"/>
                  <a:pt x="3404746" y="38114"/>
                  <a:pt x="3404746" y="50817"/>
                </a:cubicBezTo>
                <a:cubicBezTo>
                  <a:pt x="3404746" y="63522"/>
                  <a:pt x="3394352" y="73916"/>
                  <a:pt x="3381648" y="73916"/>
                </a:cubicBezTo>
                <a:cubicBezTo>
                  <a:pt x="3368944" y="73916"/>
                  <a:pt x="3358549" y="63522"/>
                  <a:pt x="3358549" y="50817"/>
                </a:cubicBezTo>
                <a:cubicBezTo>
                  <a:pt x="3358549" y="38114"/>
                  <a:pt x="3368944" y="27719"/>
                  <a:pt x="3381648" y="27719"/>
                </a:cubicBezTo>
                <a:close/>
                <a:moveTo>
                  <a:pt x="2125079" y="27719"/>
                </a:moveTo>
                <a:cubicBezTo>
                  <a:pt x="2137784" y="27719"/>
                  <a:pt x="2148178" y="38114"/>
                  <a:pt x="2148178" y="50817"/>
                </a:cubicBezTo>
                <a:cubicBezTo>
                  <a:pt x="2148178" y="63522"/>
                  <a:pt x="2137784" y="73916"/>
                  <a:pt x="2125079" y="73916"/>
                </a:cubicBezTo>
                <a:cubicBezTo>
                  <a:pt x="2112376" y="73916"/>
                  <a:pt x="2101980" y="63522"/>
                  <a:pt x="2101980" y="50817"/>
                </a:cubicBezTo>
                <a:cubicBezTo>
                  <a:pt x="2101980" y="38114"/>
                  <a:pt x="2112376" y="27719"/>
                  <a:pt x="2125079" y="27719"/>
                </a:cubicBezTo>
                <a:close/>
                <a:moveTo>
                  <a:pt x="1007103" y="27719"/>
                </a:moveTo>
                <a:cubicBezTo>
                  <a:pt x="1019808" y="27719"/>
                  <a:pt x="1030201" y="38114"/>
                  <a:pt x="1030201" y="50817"/>
                </a:cubicBezTo>
                <a:cubicBezTo>
                  <a:pt x="1030201" y="63522"/>
                  <a:pt x="1019808" y="73916"/>
                  <a:pt x="1007103" y="73916"/>
                </a:cubicBezTo>
                <a:cubicBezTo>
                  <a:pt x="994399" y="73916"/>
                  <a:pt x="984004" y="63522"/>
                  <a:pt x="984004" y="50817"/>
                </a:cubicBezTo>
                <a:cubicBezTo>
                  <a:pt x="984004" y="38114"/>
                  <a:pt x="994399" y="27719"/>
                  <a:pt x="1007103" y="27719"/>
                </a:cubicBezTo>
                <a:close/>
                <a:moveTo>
                  <a:pt x="11203466" y="21945"/>
                </a:moveTo>
                <a:cubicBezTo>
                  <a:pt x="11218480" y="21945"/>
                  <a:pt x="11232339" y="34648"/>
                  <a:pt x="11232339" y="50817"/>
                </a:cubicBezTo>
                <a:cubicBezTo>
                  <a:pt x="11232339" y="66986"/>
                  <a:pt x="11219636" y="79691"/>
                  <a:pt x="11203466" y="79691"/>
                </a:cubicBezTo>
                <a:cubicBezTo>
                  <a:pt x="11187298" y="79691"/>
                  <a:pt x="11174593" y="66986"/>
                  <a:pt x="11174593" y="50817"/>
                </a:cubicBezTo>
                <a:cubicBezTo>
                  <a:pt x="11174593" y="34648"/>
                  <a:pt x="11187298" y="21945"/>
                  <a:pt x="11203466" y="21945"/>
                </a:cubicBezTo>
                <a:close/>
                <a:moveTo>
                  <a:pt x="10085490" y="21945"/>
                </a:moveTo>
                <a:cubicBezTo>
                  <a:pt x="10101659" y="21945"/>
                  <a:pt x="10114363" y="35804"/>
                  <a:pt x="10114363" y="51973"/>
                </a:cubicBezTo>
                <a:cubicBezTo>
                  <a:pt x="10114363" y="68142"/>
                  <a:pt x="10101659" y="80846"/>
                  <a:pt x="10085490" y="80846"/>
                </a:cubicBezTo>
                <a:cubicBezTo>
                  <a:pt x="10069321" y="80846"/>
                  <a:pt x="10056616" y="66986"/>
                  <a:pt x="10056616" y="50817"/>
                </a:cubicBezTo>
                <a:cubicBezTo>
                  <a:pt x="10056616" y="34648"/>
                  <a:pt x="10069321" y="21945"/>
                  <a:pt x="10085490" y="21945"/>
                </a:cubicBezTo>
                <a:close/>
                <a:moveTo>
                  <a:pt x="9247008" y="21945"/>
                </a:moveTo>
                <a:cubicBezTo>
                  <a:pt x="9263177" y="21945"/>
                  <a:pt x="9275881" y="34648"/>
                  <a:pt x="9275881" y="50817"/>
                </a:cubicBezTo>
                <a:cubicBezTo>
                  <a:pt x="9275881" y="66986"/>
                  <a:pt x="9263177" y="80846"/>
                  <a:pt x="9247008" y="80846"/>
                </a:cubicBezTo>
                <a:cubicBezTo>
                  <a:pt x="9230839" y="80846"/>
                  <a:pt x="9218134" y="65832"/>
                  <a:pt x="9218134" y="50817"/>
                </a:cubicBezTo>
                <a:cubicBezTo>
                  <a:pt x="9218134" y="35804"/>
                  <a:pt x="9230839" y="21945"/>
                  <a:pt x="9247008" y="21945"/>
                </a:cubicBezTo>
                <a:close/>
                <a:moveTo>
                  <a:pt x="8972685" y="21945"/>
                </a:moveTo>
                <a:cubicBezTo>
                  <a:pt x="8988854" y="21945"/>
                  <a:pt x="9001557" y="34648"/>
                  <a:pt x="9001557" y="50817"/>
                </a:cubicBezTo>
                <a:cubicBezTo>
                  <a:pt x="9001557" y="66986"/>
                  <a:pt x="8988854" y="79691"/>
                  <a:pt x="8972685" y="79691"/>
                </a:cubicBezTo>
                <a:cubicBezTo>
                  <a:pt x="8956515" y="79691"/>
                  <a:pt x="8943811" y="66986"/>
                  <a:pt x="8943811" y="50817"/>
                </a:cubicBezTo>
                <a:cubicBezTo>
                  <a:pt x="8943811" y="34648"/>
                  <a:pt x="8956515" y="21945"/>
                  <a:pt x="8972685" y="21945"/>
                </a:cubicBezTo>
                <a:close/>
                <a:moveTo>
                  <a:pt x="8134203" y="21945"/>
                </a:moveTo>
                <a:cubicBezTo>
                  <a:pt x="8150373" y="21945"/>
                  <a:pt x="8163075" y="34648"/>
                  <a:pt x="8163075" y="50817"/>
                </a:cubicBezTo>
                <a:cubicBezTo>
                  <a:pt x="8163075" y="66986"/>
                  <a:pt x="8150373" y="79691"/>
                  <a:pt x="8134203" y="79691"/>
                </a:cubicBezTo>
                <a:cubicBezTo>
                  <a:pt x="8118034" y="79691"/>
                  <a:pt x="8105330" y="66986"/>
                  <a:pt x="8105330" y="50817"/>
                </a:cubicBezTo>
                <a:cubicBezTo>
                  <a:pt x="8105330" y="34648"/>
                  <a:pt x="8118034" y="21945"/>
                  <a:pt x="8134203" y="21945"/>
                </a:cubicBezTo>
                <a:close/>
                <a:moveTo>
                  <a:pt x="6598140" y="21945"/>
                </a:moveTo>
                <a:cubicBezTo>
                  <a:pt x="6613155" y="21945"/>
                  <a:pt x="6627013" y="34648"/>
                  <a:pt x="6627013" y="50817"/>
                </a:cubicBezTo>
                <a:cubicBezTo>
                  <a:pt x="6627013" y="66986"/>
                  <a:pt x="6614309" y="79691"/>
                  <a:pt x="6598140" y="79691"/>
                </a:cubicBezTo>
                <a:cubicBezTo>
                  <a:pt x="6581971" y="79691"/>
                  <a:pt x="6569267" y="66986"/>
                  <a:pt x="6569267" y="50817"/>
                </a:cubicBezTo>
                <a:cubicBezTo>
                  <a:pt x="6569267" y="34648"/>
                  <a:pt x="6581971" y="21945"/>
                  <a:pt x="6598140" y="21945"/>
                </a:cubicBezTo>
                <a:close/>
                <a:moveTo>
                  <a:pt x="5480165" y="21945"/>
                </a:moveTo>
                <a:cubicBezTo>
                  <a:pt x="5496333" y="21945"/>
                  <a:pt x="5509037" y="34648"/>
                  <a:pt x="5509037" y="50817"/>
                </a:cubicBezTo>
                <a:cubicBezTo>
                  <a:pt x="5509037" y="66986"/>
                  <a:pt x="5496333" y="79691"/>
                  <a:pt x="5480165" y="79691"/>
                </a:cubicBezTo>
                <a:cubicBezTo>
                  <a:pt x="5463996" y="79691"/>
                  <a:pt x="5451289" y="66986"/>
                  <a:pt x="5451289" y="50817"/>
                </a:cubicBezTo>
                <a:cubicBezTo>
                  <a:pt x="5451289" y="34648"/>
                  <a:pt x="5463996" y="21945"/>
                  <a:pt x="5480165" y="21945"/>
                </a:cubicBezTo>
                <a:close/>
                <a:moveTo>
                  <a:pt x="4641682" y="21945"/>
                </a:moveTo>
                <a:cubicBezTo>
                  <a:pt x="4657851" y="21945"/>
                  <a:pt x="4670555" y="34648"/>
                  <a:pt x="4670555" y="50817"/>
                </a:cubicBezTo>
                <a:cubicBezTo>
                  <a:pt x="4670555" y="66986"/>
                  <a:pt x="4657851" y="79691"/>
                  <a:pt x="4641682" y="79691"/>
                </a:cubicBezTo>
                <a:cubicBezTo>
                  <a:pt x="4625513" y="79691"/>
                  <a:pt x="4612809" y="66986"/>
                  <a:pt x="4612809" y="50817"/>
                </a:cubicBezTo>
                <a:cubicBezTo>
                  <a:pt x="4612809" y="34648"/>
                  <a:pt x="4625513" y="21945"/>
                  <a:pt x="4641682" y="21945"/>
                </a:cubicBezTo>
                <a:close/>
                <a:moveTo>
                  <a:pt x="4359878" y="21945"/>
                </a:moveTo>
                <a:cubicBezTo>
                  <a:pt x="4376046" y="21945"/>
                  <a:pt x="4388751" y="34648"/>
                  <a:pt x="4388751" y="50817"/>
                </a:cubicBezTo>
                <a:cubicBezTo>
                  <a:pt x="4388751" y="66986"/>
                  <a:pt x="4376046" y="79691"/>
                  <a:pt x="4359878" y="79691"/>
                </a:cubicBezTo>
                <a:cubicBezTo>
                  <a:pt x="4343709" y="79691"/>
                  <a:pt x="4331003" y="66986"/>
                  <a:pt x="4331003" y="50817"/>
                </a:cubicBezTo>
                <a:cubicBezTo>
                  <a:pt x="4331003" y="34648"/>
                  <a:pt x="4343709" y="21945"/>
                  <a:pt x="4359878" y="21945"/>
                </a:cubicBezTo>
                <a:close/>
                <a:moveTo>
                  <a:pt x="3521396" y="21945"/>
                </a:moveTo>
                <a:cubicBezTo>
                  <a:pt x="3537564" y="21945"/>
                  <a:pt x="3550268" y="34648"/>
                  <a:pt x="3550268" y="50817"/>
                </a:cubicBezTo>
                <a:cubicBezTo>
                  <a:pt x="3550268" y="66986"/>
                  <a:pt x="3537564" y="79691"/>
                  <a:pt x="3521396" y="79691"/>
                </a:cubicBezTo>
                <a:cubicBezTo>
                  <a:pt x="3505226" y="79691"/>
                  <a:pt x="3492521" y="66986"/>
                  <a:pt x="3492521" y="50817"/>
                </a:cubicBezTo>
                <a:cubicBezTo>
                  <a:pt x="3492521" y="34648"/>
                  <a:pt x="3505226" y="21945"/>
                  <a:pt x="3521396" y="21945"/>
                </a:cubicBezTo>
                <a:close/>
                <a:moveTo>
                  <a:pt x="1985333" y="21945"/>
                </a:moveTo>
                <a:cubicBezTo>
                  <a:pt x="2000346" y="21945"/>
                  <a:pt x="2014205" y="34648"/>
                  <a:pt x="2014205" y="50817"/>
                </a:cubicBezTo>
                <a:cubicBezTo>
                  <a:pt x="2014205" y="66986"/>
                  <a:pt x="2001502" y="79691"/>
                  <a:pt x="1985333" y="79691"/>
                </a:cubicBezTo>
                <a:cubicBezTo>
                  <a:pt x="1969164" y="79691"/>
                  <a:pt x="1956459" y="66986"/>
                  <a:pt x="1956459" y="50817"/>
                </a:cubicBezTo>
                <a:cubicBezTo>
                  <a:pt x="1956459" y="34648"/>
                  <a:pt x="1969164" y="21945"/>
                  <a:pt x="1985333" y="21945"/>
                </a:cubicBezTo>
                <a:close/>
                <a:moveTo>
                  <a:pt x="867356" y="21945"/>
                </a:moveTo>
                <a:cubicBezTo>
                  <a:pt x="883525" y="21945"/>
                  <a:pt x="896229" y="35804"/>
                  <a:pt x="896229" y="51973"/>
                </a:cubicBezTo>
                <a:cubicBezTo>
                  <a:pt x="896229" y="68142"/>
                  <a:pt x="883525" y="80846"/>
                  <a:pt x="867356" y="80846"/>
                </a:cubicBezTo>
                <a:cubicBezTo>
                  <a:pt x="851187" y="80846"/>
                  <a:pt x="838482" y="66986"/>
                  <a:pt x="838482" y="50817"/>
                </a:cubicBezTo>
                <a:cubicBezTo>
                  <a:pt x="838482" y="34648"/>
                  <a:pt x="851187" y="21945"/>
                  <a:pt x="867356" y="21945"/>
                </a:cubicBezTo>
                <a:close/>
                <a:moveTo>
                  <a:pt x="28874" y="21945"/>
                </a:moveTo>
                <a:cubicBezTo>
                  <a:pt x="45043" y="21945"/>
                  <a:pt x="57747" y="34648"/>
                  <a:pt x="57747" y="50817"/>
                </a:cubicBezTo>
                <a:cubicBezTo>
                  <a:pt x="57747" y="66986"/>
                  <a:pt x="45043" y="80846"/>
                  <a:pt x="28874" y="80846"/>
                </a:cubicBezTo>
                <a:cubicBezTo>
                  <a:pt x="12705" y="80846"/>
                  <a:pt x="0" y="65832"/>
                  <a:pt x="0" y="50817"/>
                </a:cubicBezTo>
                <a:cubicBezTo>
                  <a:pt x="0" y="35804"/>
                  <a:pt x="12705" y="21945"/>
                  <a:pt x="28874" y="21945"/>
                </a:cubicBezTo>
                <a:close/>
                <a:moveTo>
                  <a:pt x="11063719" y="16169"/>
                </a:moveTo>
                <a:cubicBezTo>
                  <a:pt x="11082198" y="16169"/>
                  <a:pt x="11098367" y="32338"/>
                  <a:pt x="11098367" y="50817"/>
                </a:cubicBezTo>
                <a:cubicBezTo>
                  <a:pt x="11098367" y="69296"/>
                  <a:pt x="11083353" y="85465"/>
                  <a:pt x="11063719" y="85465"/>
                </a:cubicBezTo>
                <a:cubicBezTo>
                  <a:pt x="11045240" y="85465"/>
                  <a:pt x="11029071" y="69296"/>
                  <a:pt x="11029071" y="50817"/>
                </a:cubicBezTo>
                <a:cubicBezTo>
                  <a:pt x="11029071" y="32338"/>
                  <a:pt x="11044086" y="16169"/>
                  <a:pt x="11063719" y="16169"/>
                </a:cubicBezTo>
                <a:close/>
                <a:moveTo>
                  <a:pt x="9945743" y="16169"/>
                </a:moveTo>
                <a:cubicBezTo>
                  <a:pt x="9965377" y="16169"/>
                  <a:pt x="9980391" y="32338"/>
                  <a:pt x="9980391" y="50817"/>
                </a:cubicBezTo>
                <a:cubicBezTo>
                  <a:pt x="9980391" y="69296"/>
                  <a:pt x="9964222" y="85465"/>
                  <a:pt x="9945743" y="85465"/>
                </a:cubicBezTo>
                <a:cubicBezTo>
                  <a:pt x="9927264" y="85465"/>
                  <a:pt x="9911094" y="69296"/>
                  <a:pt x="9911094" y="50817"/>
                </a:cubicBezTo>
                <a:cubicBezTo>
                  <a:pt x="9911094" y="32338"/>
                  <a:pt x="9926109" y="16169"/>
                  <a:pt x="9945743" y="16169"/>
                </a:cubicBezTo>
                <a:close/>
                <a:moveTo>
                  <a:pt x="9386754" y="16169"/>
                </a:moveTo>
                <a:cubicBezTo>
                  <a:pt x="9406389" y="16169"/>
                  <a:pt x="9421402" y="32338"/>
                  <a:pt x="9421402" y="50817"/>
                </a:cubicBezTo>
                <a:cubicBezTo>
                  <a:pt x="9421402" y="69296"/>
                  <a:pt x="9405233" y="85465"/>
                  <a:pt x="9386754" y="85465"/>
                </a:cubicBezTo>
                <a:cubicBezTo>
                  <a:pt x="9368275" y="85465"/>
                  <a:pt x="9352106" y="69296"/>
                  <a:pt x="9352106" y="50817"/>
                </a:cubicBezTo>
                <a:cubicBezTo>
                  <a:pt x="9352106" y="32338"/>
                  <a:pt x="9367121" y="16169"/>
                  <a:pt x="9386754" y="16169"/>
                </a:cubicBezTo>
                <a:close/>
                <a:moveTo>
                  <a:pt x="8832937" y="16169"/>
                </a:moveTo>
                <a:cubicBezTo>
                  <a:pt x="8852571" y="16169"/>
                  <a:pt x="8867585" y="32338"/>
                  <a:pt x="8867585" y="50817"/>
                </a:cubicBezTo>
                <a:cubicBezTo>
                  <a:pt x="8867585" y="69296"/>
                  <a:pt x="8852571" y="85465"/>
                  <a:pt x="8832937" y="85465"/>
                </a:cubicBezTo>
                <a:cubicBezTo>
                  <a:pt x="8814458" y="85465"/>
                  <a:pt x="8798289" y="69296"/>
                  <a:pt x="8798289" y="50817"/>
                </a:cubicBezTo>
                <a:cubicBezTo>
                  <a:pt x="8798289" y="32338"/>
                  <a:pt x="8813304" y="16169"/>
                  <a:pt x="8832937" y="16169"/>
                </a:cubicBezTo>
                <a:close/>
                <a:moveTo>
                  <a:pt x="8273949" y="16169"/>
                </a:moveTo>
                <a:cubicBezTo>
                  <a:pt x="8293584" y="16169"/>
                  <a:pt x="8308598" y="32338"/>
                  <a:pt x="8308598" y="50817"/>
                </a:cubicBezTo>
                <a:cubicBezTo>
                  <a:pt x="8308598" y="69296"/>
                  <a:pt x="8293584" y="85465"/>
                  <a:pt x="8273949" y="85465"/>
                </a:cubicBezTo>
                <a:cubicBezTo>
                  <a:pt x="8255471" y="85465"/>
                  <a:pt x="8239301" y="69296"/>
                  <a:pt x="8239301" y="50817"/>
                </a:cubicBezTo>
                <a:cubicBezTo>
                  <a:pt x="8239301" y="32338"/>
                  <a:pt x="8254316" y="16169"/>
                  <a:pt x="8273949" y="16169"/>
                </a:cubicBezTo>
                <a:close/>
                <a:moveTo>
                  <a:pt x="6458393" y="16169"/>
                </a:moveTo>
                <a:cubicBezTo>
                  <a:pt x="6476871" y="16169"/>
                  <a:pt x="6493041" y="32338"/>
                  <a:pt x="6493041" y="50817"/>
                </a:cubicBezTo>
                <a:cubicBezTo>
                  <a:pt x="6493041" y="69296"/>
                  <a:pt x="6476871" y="85465"/>
                  <a:pt x="6458393" y="85465"/>
                </a:cubicBezTo>
                <a:cubicBezTo>
                  <a:pt x="6439914" y="85465"/>
                  <a:pt x="6423745" y="69296"/>
                  <a:pt x="6423745" y="50817"/>
                </a:cubicBezTo>
                <a:cubicBezTo>
                  <a:pt x="6423745" y="32338"/>
                  <a:pt x="6438760" y="16169"/>
                  <a:pt x="6458393" y="16169"/>
                </a:cubicBezTo>
                <a:close/>
                <a:moveTo>
                  <a:pt x="5340416" y="16169"/>
                </a:moveTo>
                <a:cubicBezTo>
                  <a:pt x="5360051" y="16169"/>
                  <a:pt x="5375064" y="32338"/>
                  <a:pt x="5375064" y="50817"/>
                </a:cubicBezTo>
                <a:cubicBezTo>
                  <a:pt x="5375064" y="69296"/>
                  <a:pt x="5358895" y="85465"/>
                  <a:pt x="5340416" y="85465"/>
                </a:cubicBezTo>
                <a:cubicBezTo>
                  <a:pt x="5321938" y="85465"/>
                  <a:pt x="5305769" y="69296"/>
                  <a:pt x="5305769" y="50817"/>
                </a:cubicBezTo>
                <a:cubicBezTo>
                  <a:pt x="5305769" y="32338"/>
                  <a:pt x="5320783" y="16169"/>
                  <a:pt x="5340416" y="16169"/>
                </a:cubicBezTo>
                <a:close/>
                <a:moveTo>
                  <a:pt x="4781429" y="16169"/>
                </a:moveTo>
                <a:cubicBezTo>
                  <a:pt x="4801062" y="16169"/>
                  <a:pt x="4816075" y="32338"/>
                  <a:pt x="4816075" y="50817"/>
                </a:cubicBezTo>
                <a:cubicBezTo>
                  <a:pt x="4816075" y="69296"/>
                  <a:pt x="4799906" y="85465"/>
                  <a:pt x="4781429" y="85465"/>
                </a:cubicBezTo>
                <a:cubicBezTo>
                  <a:pt x="4762949" y="85465"/>
                  <a:pt x="4746781" y="69296"/>
                  <a:pt x="4746781" y="50817"/>
                </a:cubicBezTo>
                <a:cubicBezTo>
                  <a:pt x="4746781" y="32338"/>
                  <a:pt x="4761794" y="16169"/>
                  <a:pt x="4781429" y="16169"/>
                </a:cubicBezTo>
                <a:close/>
                <a:moveTo>
                  <a:pt x="4220129" y="16169"/>
                </a:moveTo>
                <a:cubicBezTo>
                  <a:pt x="4239764" y="16169"/>
                  <a:pt x="4254779" y="32338"/>
                  <a:pt x="4254779" y="50817"/>
                </a:cubicBezTo>
                <a:cubicBezTo>
                  <a:pt x="4254779" y="69296"/>
                  <a:pt x="4239764" y="85465"/>
                  <a:pt x="4220129" y="85465"/>
                </a:cubicBezTo>
                <a:cubicBezTo>
                  <a:pt x="4201651" y="85465"/>
                  <a:pt x="4185482" y="69296"/>
                  <a:pt x="4185482" y="50817"/>
                </a:cubicBezTo>
                <a:cubicBezTo>
                  <a:pt x="4185482" y="32338"/>
                  <a:pt x="4200498" y="16169"/>
                  <a:pt x="4220129" y="16169"/>
                </a:cubicBezTo>
                <a:close/>
                <a:moveTo>
                  <a:pt x="3661142" y="16169"/>
                </a:moveTo>
                <a:cubicBezTo>
                  <a:pt x="3680776" y="16169"/>
                  <a:pt x="3695791" y="32338"/>
                  <a:pt x="3695791" y="50817"/>
                </a:cubicBezTo>
                <a:cubicBezTo>
                  <a:pt x="3695791" y="69296"/>
                  <a:pt x="3680776" y="85465"/>
                  <a:pt x="3661142" y="85465"/>
                </a:cubicBezTo>
                <a:cubicBezTo>
                  <a:pt x="3642663" y="85465"/>
                  <a:pt x="3626494" y="69296"/>
                  <a:pt x="3626494" y="50817"/>
                </a:cubicBezTo>
                <a:cubicBezTo>
                  <a:pt x="3626494" y="32338"/>
                  <a:pt x="3641508" y="16169"/>
                  <a:pt x="3661142" y="16169"/>
                </a:cubicBezTo>
                <a:close/>
                <a:moveTo>
                  <a:pt x="1845585" y="16169"/>
                </a:moveTo>
                <a:cubicBezTo>
                  <a:pt x="1864064" y="16169"/>
                  <a:pt x="1880233" y="32338"/>
                  <a:pt x="1880233" y="50817"/>
                </a:cubicBezTo>
                <a:cubicBezTo>
                  <a:pt x="1880233" y="69296"/>
                  <a:pt x="1865220" y="85465"/>
                  <a:pt x="1845585" y="85465"/>
                </a:cubicBezTo>
                <a:cubicBezTo>
                  <a:pt x="1827106" y="85465"/>
                  <a:pt x="1810937" y="69296"/>
                  <a:pt x="1810937" y="50817"/>
                </a:cubicBezTo>
                <a:cubicBezTo>
                  <a:pt x="1810937" y="32338"/>
                  <a:pt x="1825952" y="16169"/>
                  <a:pt x="1845585" y="16169"/>
                </a:cubicBezTo>
                <a:close/>
                <a:moveTo>
                  <a:pt x="727609" y="16169"/>
                </a:moveTo>
                <a:cubicBezTo>
                  <a:pt x="747243" y="16169"/>
                  <a:pt x="762257" y="32338"/>
                  <a:pt x="762257" y="50817"/>
                </a:cubicBezTo>
                <a:cubicBezTo>
                  <a:pt x="762257" y="69296"/>
                  <a:pt x="746088" y="85465"/>
                  <a:pt x="727609" y="85465"/>
                </a:cubicBezTo>
                <a:cubicBezTo>
                  <a:pt x="709130" y="85465"/>
                  <a:pt x="692961" y="69296"/>
                  <a:pt x="692961" y="50817"/>
                </a:cubicBezTo>
                <a:cubicBezTo>
                  <a:pt x="692961" y="32338"/>
                  <a:pt x="707976" y="16169"/>
                  <a:pt x="727609" y="16169"/>
                </a:cubicBezTo>
                <a:close/>
                <a:moveTo>
                  <a:pt x="168621" y="16169"/>
                </a:moveTo>
                <a:cubicBezTo>
                  <a:pt x="188255" y="16169"/>
                  <a:pt x="203269" y="32338"/>
                  <a:pt x="203269" y="50817"/>
                </a:cubicBezTo>
                <a:cubicBezTo>
                  <a:pt x="203269" y="69296"/>
                  <a:pt x="187100" y="85465"/>
                  <a:pt x="168621" y="85465"/>
                </a:cubicBezTo>
                <a:cubicBezTo>
                  <a:pt x="150142" y="85465"/>
                  <a:pt x="133973" y="69296"/>
                  <a:pt x="133973" y="50817"/>
                </a:cubicBezTo>
                <a:cubicBezTo>
                  <a:pt x="133973" y="32338"/>
                  <a:pt x="148988" y="16169"/>
                  <a:pt x="168621" y="16169"/>
                </a:cubicBezTo>
                <a:close/>
                <a:moveTo>
                  <a:pt x="10923972" y="10395"/>
                </a:moveTo>
                <a:cubicBezTo>
                  <a:pt x="10945916" y="10395"/>
                  <a:pt x="10964394" y="28874"/>
                  <a:pt x="10964394" y="50817"/>
                </a:cubicBezTo>
                <a:cubicBezTo>
                  <a:pt x="10964394" y="72762"/>
                  <a:pt x="10945916" y="91241"/>
                  <a:pt x="10923972" y="91241"/>
                </a:cubicBezTo>
                <a:cubicBezTo>
                  <a:pt x="10902028" y="91241"/>
                  <a:pt x="10883549" y="72762"/>
                  <a:pt x="10883549" y="50817"/>
                </a:cubicBezTo>
                <a:cubicBezTo>
                  <a:pt x="10883549" y="28874"/>
                  <a:pt x="10902028" y="10395"/>
                  <a:pt x="10923972" y="10395"/>
                </a:cubicBezTo>
                <a:close/>
                <a:moveTo>
                  <a:pt x="9805996" y="10395"/>
                </a:moveTo>
                <a:cubicBezTo>
                  <a:pt x="9827939" y="10395"/>
                  <a:pt x="9846418" y="30029"/>
                  <a:pt x="9846418" y="51973"/>
                </a:cubicBezTo>
                <a:cubicBezTo>
                  <a:pt x="9846418" y="73916"/>
                  <a:pt x="9827939" y="92395"/>
                  <a:pt x="9805996" y="92395"/>
                </a:cubicBezTo>
                <a:cubicBezTo>
                  <a:pt x="9784052" y="92395"/>
                  <a:pt x="9765573" y="72762"/>
                  <a:pt x="9765573" y="50817"/>
                </a:cubicBezTo>
                <a:cubicBezTo>
                  <a:pt x="9765573" y="28874"/>
                  <a:pt x="9784052" y="10395"/>
                  <a:pt x="9805996" y="10395"/>
                </a:cubicBezTo>
                <a:close/>
                <a:moveTo>
                  <a:pt x="9526502" y="10395"/>
                </a:moveTo>
                <a:cubicBezTo>
                  <a:pt x="9548445" y="10395"/>
                  <a:pt x="9566924" y="30029"/>
                  <a:pt x="9566924" y="51973"/>
                </a:cubicBezTo>
                <a:cubicBezTo>
                  <a:pt x="9566924" y="73916"/>
                  <a:pt x="9548445" y="92395"/>
                  <a:pt x="9526502" y="92395"/>
                </a:cubicBezTo>
                <a:cubicBezTo>
                  <a:pt x="9504558" y="92395"/>
                  <a:pt x="9486079" y="72762"/>
                  <a:pt x="9486079" y="50817"/>
                </a:cubicBezTo>
                <a:cubicBezTo>
                  <a:pt x="9486079" y="28874"/>
                  <a:pt x="9504558" y="10395"/>
                  <a:pt x="9526502" y="10395"/>
                </a:cubicBezTo>
                <a:close/>
                <a:moveTo>
                  <a:pt x="8693190" y="10395"/>
                </a:moveTo>
                <a:cubicBezTo>
                  <a:pt x="8715134" y="10395"/>
                  <a:pt x="8733613" y="28874"/>
                  <a:pt x="8733613" y="50817"/>
                </a:cubicBezTo>
                <a:cubicBezTo>
                  <a:pt x="8733613" y="72762"/>
                  <a:pt x="8715134" y="91241"/>
                  <a:pt x="8693190" y="91241"/>
                </a:cubicBezTo>
                <a:cubicBezTo>
                  <a:pt x="8671246" y="91241"/>
                  <a:pt x="8652767" y="72762"/>
                  <a:pt x="8652767" y="50817"/>
                </a:cubicBezTo>
                <a:cubicBezTo>
                  <a:pt x="8652767" y="28874"/>
                  <a:pt x="8671246" y="10395"/>
                  <a:pt x="8693190" y="10395"/>
                </a:cubicBezTo>
                <a:close/>
                <a:moveTo>
                  <a:pt x="8413696" y="10395"/>
                </a:moveTo>
                <a:cubicBezTo>
                  <a:pt x="8435640" y="10395"/>
                  <a:pt x="8454118" y="28874"/>
                  <a:pt x="8454118" y="50817"/>
                </a:cubicBezTo>
                <a:cubicBezTo>
                  <a:pt x="8454118" y="72762"/>
                  <a:pt x="8435640" y="91241"/>
                  <a:pt x="8413696" y="91241"/>
                </a:cubicBezTo>
                <a:cubicBezTo>
                  <a:pt x="8391752" y="91241"/>
                  <a:pt x="8373274" y="72762"/>
                  <a:pt x="8373274" y="50817"/>
                </a:cubicBezTo>
                <a:cubicBezTo>
                  <a:pt x="8373274" y="28874"/>
                  <a:pt x="8391752" y="10395"/>
                  <a:pt x="8413696" y="10395"/>
                </a:cubicBezTo>
                <a:close/>
                <a:moveTo>
                  <a:pt x="6318647" y="10395"/>
                </a:moveTo>
                <a:cubicBezTo>
                  <a:pt x="6340589" y="10395"/>
                  <a:pt x="6359068" y="28874"/>
                  <a:pt x="6359068" y="50817"/>
                </a:cubicBezTo>
                <a:cubicBezTo>
                  <a:pt x="6359068" y="72762"/>
                  <a:pt x="6340589" y="91241"/>
                  <a:pt x="6318647" y="91241"/>
                </a:cubicBezTo>
                <a:cubicBezTo>
                  <a:pt x="6296702" y="91241"/>
                  <a:pt x="6278223" y="72762"/>
                  <a:pt x="6278223" y="50817"/>
                </a:cubicBezTo>
                <a:cubicBezTo>
                  <a:pt x="6278223" y="28874"/>
                  <a:pt x="6296702" y="10395"/>
                  <a:pt x="6318647" y="10395"/>
                </a:cubicBezTo>
                <a:close/>
                <a:moveTo>
                  <a:pt x="5200669" y="10395"/>
                </a:moveTo>
                <a:cubicBezTo>
                  <a:pt x="5222613" y="10395"/>
                  <a:pt x="5241093" y="28874"/>
                  <a:pt x="5241093" y="50817"/>
                </a:cubicBezTo>
                <a:cubicBezTo>
                  <a:pt x="5241093" y="72762"/>
                  <a:pt x="5222613" y="91241"/>
                  <a:pt x="5200669" y="91241"/>
                </a:cubicBezTo>
                <a:cubicBezTo>
                  <a:pt x="5178725" y="91241"/>
                  <a:pt x="5160247" y="72762"/>
                  <a:pt x="5160247" y="50817"/>
                </a:cubicBezTo>
                <a:cubicBezTo>
                  <a:pt x="5160247" y="28874"/>
                  <a:pt x="5178725" y="10395"/>
                  <a:pt x="5200669" y="10395"/>
                </a:cubicBezTo>
                <a:close/>
                <a:moveTo>
                  <a:pt x="4921176" y="10395"/>
                </a:moveTo>
                <a:cubicBezTo>
                  <a:pt x="4944275" y="10395"/>
                  <a:pt x="4961597" y="28874"/>
                  <a:pt x="4961597" y="50817"/>
                </a:cubicBezTo>
                <a:cubicBezTo>
                  <a:pt x="4961597" y="72762"/>
                  <a:pt x="4943120" y="91241"/>
                  <a:pt x="4921176" y="91241"/>
                </a:cubicBezTo>
                <a:cubicBezTo>
                  <a:pt x="4899232" y="91241"/>
                  <a:pt x="4880752" y="72762"/>
                  <a:pt x="4880752" y="50817"/>
                </a:cubicBezTo>
                <a:cubicBezTo>
                  <a:pt x="4880752" y="28874"/>
                  <a:pt x="4899232" y="10395"/>
                  <a:pt x="4921176" y="10395"/>
                </a:cubicBezTo>
                <a:close/>
                <a:moveTo>
                  <a:pt x="4080383" y="10395"/>
                </a:moveTo>
                <a:cubicBezTo>
                  <a:pt x="4102326" y="10395"/>
                  <a:pt x="4120806" y="28874"/>
                  <a:pt x="4120806" y="50817"/>
                </a:cubicBezTo>
                <a:cubicBezTo>
                  <a:pt x="4120806" y="72762"/>
                  <a:pt x="4102326" y="91241"/>
                  <a:pt x="4080383" y="91241"/>
                </a:cubicBezTo>
                <a:cubicBezTo>
                  <a:pt x="4058439" y="91241"/>
                  <a:pt x="4039961" y="72762"/>
                  <a:pt x="4039961" y="50817"/>
                </a:cubicBezTo>
                <a:cubicBezTo>
                  <a:pt x="4039961" y="28874"/>
                  <a:pt x="4058439" y="10395"/>
                  <a:pt x="4080383" y="10395"/>
                </a:cubicBezTo>
                <a:close/>
                <a:moveTo>
                  <a:pt x="3800889" y="10395"/>
                </a:moveTo>
                <a:cubicBezTo>
                  <a:pt x="3822833" y="10395"/>
                  <a:pt x="3841311" y="28874"/>
                  <a:pt x="3841311" y="50817"/>
                </a:cubicBezTo>
                <a:cubicBezTo>
                  <a:pt x="3841311" y="72762"/>
                  <a:pt x="3822833" y="91241"/>
                  <a:pt x="3800889" y="91241"/>
                </a:cubicBezTo>
                <a:cubicBezTo>
                  <a:pt x="3778945" y="91241"/>
                  <a:pt x="3760466" y="72762"/>
                  <a:pt x="3760466" y="50817"/>
                </a:cubicBezTo>
                <a:cubicBezTo>
                  <a:pt x="3760466" y="28874"/>
                  <a:pt x="3778945" y="10395"/>
                  <a:pt x="3800889" y="10395"/>
                </a:cubicBezTo>
                <a:close/>
                <a:moveTo>
                  <a:pt x="1705839" y="10395"/>
                </a:moveTo>
                <a:cubicBezTo>
                  <a:pt x="1727782" y="10395"/>
                  <a:pt x="1746261" y="28874"/>
                  <a:pt x="1746261" y="50817"/>
                </a:cubicBezTo>
                <a:cubicBezTo>
                  <a:pt x="1746261" y="72762"/>
                  <a:pt x="1727782" y="91241"/>
                  <a:pt x="1705839" y="91241"/>
                </a:cubicBezTo>
                <a:cubicBezTo>
                  <a:pt x="1683894" y="91241"/>
                  <a:pt x="1665415" y="72762"/>
                  <a:pt x="1665415" y="50817"/>
                </a:cubicBezTo>
                <a:cubicBezTo>
                  <a:pt x="1665415" y="28874"/>
                  <a:pt x="1683894" y="10395"/>
                  <a:pt x="1705839" y="10395"/>
                </a:cubicBezTo>
                <a:close/>
                <a:moveTo>
                  <a:pt x="587862" y="10395"/>
                </a:moveTo>
                <a:cubicBezTo>
                  <a:pt x="609806" y="10395"/>
                  <a:pt x="628284" y="30029"/>
                  <a:pt x="628284" y="51973"/>
                </a:cubicBezTo>
                <a:cubicBezTo>
                  <a:pt x="628284" y="73916"/>
                  <a:pt x="609806" y="92395"/>
                  <a:pt x="587862" y="92395"/>
                </a:cubicBezTo>
                <a:cubicBezTo>
                  <a:pt x="565918" y="92395"/>
                  <a:pt x="547439" y="72762"/>
                  <a:pt x="547439" y="50817"/>
                </a:cubicBezTo>
                <a:cubicBezTo>
                  <a:pt x="547439" y="28874"/>
                  <a:pt x="565918" y="10395"/>
                  <a:pt x="587862" y="10395"/>
                </a:cubicBezTo>
                <a:close/>
                <a:moveTo>
                  <a:pt x="308368" y="10395"/>
                </a:moveTo>
                <a:cubicBezTo>
                  <a:pt x="330311" y="10395"/>
                  <a:pt x="348790" y="30029"/>
                  <a:pt x="348790" y="51973"/>
                </a:cubicBezTo>
                <a:cubicBezTo>
                  <a:pt x="348790" y="73916"/>
                  <a:pt x="330311" y="92395"/>
                  <a:pt x="308368" y="92395"/>
                </a:cubicBezTo>
                <a:cubicBezTo>
                  <a:pt x="286424" y="92395"/>
                  <a:pt x="267945" y="72762"/>
                  <a:pt x="267945" y="50817"/>
                </a:cubicBezTo>
                <a:cubicBezTo>
                  <a:pt x="267945" y="28874"/>
                  <a:pt x="286424" y="10395"/>
                  <a:pt x="308368" y="10395"/>
                </a:cubicBezTo>
                <a:close/>
                <a:moveTo>
                  <a:pt x="10784225" y="0"/>
                </a:moveTo>
                <a:cubicBezTo>
                  <a:pt x="10811943" y="0"/>
                  <a:pt x="10835042" y="23099"/>
                  <a:pt x="10835042" y="50817"/>
                </a:cubicBezTo>
                <a:cubicBezTo>
                  <a:pt x="10835042" y="78536"/>
                  <a:pt x="10811943" y="101634"/>
                  <a:pt x="10784225" y="101634"/>
                </a:cubicBezTo>
                <a:cubicBezTo>
                  <a:pt x="10756506" y="101634"/>
                  <a:pt x="10733408" y="78536"/>
                  <a:pt x="10733408" y="50817"/>
                </a:cubicBezTo>
                <a:cubicBezTo>
                  <a:pt x="10733408" y="23099"/>
                  <a:pt x="10755352" y="0"/>
                  <a:pt x="10784225" y="0"/>
                </a:cubicBezTo>
                <a:close/>
                <a:moveTo>
                  <a:pt x="9666248" y="0"/>
                </a:moveTo>
                <a:cubicBezTo>
                  <a:pt x="9695122" y="0"/>
                  <a:pt x="9717066" y="23099"/>
                  <a:pt x="9717066" y="50817"/>
                </a:cubicBezTo>
                <a:cubicBezTo>
                  <a:pt x="9717066" y="78536"/>
                  <a:pt x="9695122" y="101634"/>
                  <a:pt x="9666248" y="101634"/>
                </a:cubicBezTo>
                <a:cubicBezTo>
                  <a:pt x="9638530" y="101634"/>
                  <a:pt x="9615431" y="78536"/>
                  <a:pt x="9615431" y="50817"/>
                </a:cubicBezTo>
                <a:cubicBezTo>
                  <a:pt x="9615431" y="23099"/>
                  <a:pt x="9637376" y="0"/>
                  <a:pt x="9666248" y="0"/>
                </a:cubicBezTo>
                <a:close/>
                <a:moveTo>
                  <a:pt x="8553443" y="0"/>
                </a:moveTo>
                <a:cubicBezTo>
                  <a:pt x="8582317" y="0"/>
                  <a:pt x="8604260" y="23099"/>
                  <a:pt x="8604260" y="50817"/>
                </a:cubicBezTo>
                <a:cubicBezTo>
                  <a:pt x="8604260" y="78536"/>
                  <a:pt x="8582317" y="101634"/>
                  <a:pt x="8553443" y="101634"/>
                </a:cubicBezTo>
                <a:cubicBezTo>
                  <a:pt x="8525724" y="101634"/>
                  <a:pt x="8502626" y="78536"/>
                  <a:pt x="8502626" y="50817"/>
                </a:cubicBezTo>
                <a:cubicBezTo>
                  <a:pt x="8502626" y="23099"/>
                  <a:pt x="8524570" y="0"/>
                  <a:pt x="8553443" y="0"/>
                </a:cubicBezTo>
                <a:close/>
                <a:moveTo>
                  <a:pt x="6178898" y="0"/>
                </a:moveTo>
                <a:cubicBezTo>
                  <a:pt x="6206618" y="0"/>
                  <a:pt x="6229715" y="23099"/>
                  <a:pt x="6229715" y="50817"/>
                </a:cubicBezTo>
                <a:cubicBezTo>
                  <a:pt x="6229715" y="78536"/>
                  <a:pt x="6206618" y="101634"/>
                  <a:pt x="6178898" y="101634"/>
                </a:cubicBezTo>
                <a:cubicBezTo>
                  <a:pt x="6151180" y="101634"/>
                  <a:pt x="6128081" y="78536"/>
                  <a:pt x="6128081" y="50817"/>
                </a:cubicBezTo>
                <a:cubicBezTo>
                  <a:pt x="6128081" y="23099"/>
                  <a:pt x="6150025" y="0"/>
                  <a:pt x="6178898" y="0"/>
                </a:cubicBezTo>
                <a:close/>
                <a:moveTo>
                  <a:pt x="5060922" y="0"/>
                </a:moveTo>
                <a:cubicBezTo>
                  <a:pt x="5089795" y="0"/>
                  <a:pt x="5111739" y="23099"/>
                  <a:pt x="5111739" y="50817"/>
                </a:cubicBezTo>
                <a:cubicBezTo>
                  <a:pt x="5111739" y="78536"/>
                  <a:pt x="5088641" y="101634"/>
                  <a:pt x="5060922" y="101634"/>
                </a:cubicBezTo>
                <a:cubicBezTo>
                  <a:pt x="5033205" y="101634"/>
                  <a:pt x="5010105" y="78536"/>
                  <a:pt x="5010105" y="50817"/>
                </a:cubicBezTo>
                <a:cubicBezTo>
                  <a:pt x="5010105" y="23099"/>
                  <a:pt x="5032050" y="0"/>
                  <a:pt x="5060922" y="0"/>
                </a:cubicBezTo>
                <a:close/>
                <a:moveTo>
                  <a:pt x="3940636" y="0"/>
                </a:moveTo>
                <a:cubicBezTo>
                  <a:pt x="3969510" y="0"/>
                  <a:pt x="3991453" y="23099"/>
                  <a:pt x="3991453" y="50817"/>
                </a:cubicBezTo>
                <a:cubicBezTo>
                  <a:pt x="3991453" y="78536"/>
                  <a:pt x="3969510" y="101634"/>
                  <a:pt x="3940636" y="101634"/>
                </a:cubicBezTo>
                <a:cubicBezTo>
                  <a:pt x="3912917" y="101634"/>
                  <a:pt x="3889819" y="78536"/>
                  <a:pt x="3889819" y="50817"/>
                </a:cubicBezTo>
                <a:cubicBezTo>
                  <a:pt x="3889819" y="23099"/>
                  <a:pt x="3911763" y="0"/>
                  <a:pt x="3940636" y="0"/>
                </a:cubicBezTo>
                <a:close/>
                <a:moveTo>
                  <a:pt x="1566091" y="0"/>
                </a:moveTo>
                <a:cubicBezTo>
                  <a:pt x="1593810" y="0"/>
                  <a:pt x="1616908" y="23099"/>
                  <a:pt x="1616908" y="50817"/>
                </a:cubicBezTo>
                <a:cubicBezTo>
                  <a:pt x="1616908" y="78536"/>
                  <a:pt x="1593810" y="101634"/>
                  <a:pt x="1566091" y="101634"/>
                </a:cubicBezTo>
                <a:cubicBezTo>
                  <a:pt x="1538373" y="101634"/>
                  <a:pt x="1515274" y="78536"/>
                  <a:pt x="1515274" y="50817"/>
                </a:cubicBezTo>
                <a:cubicBezTo>
                  <a:pt x="1515274" y="23099"/>
                  <a:pt x="1537218" y="0"/>
                  <a:pt x="1566091" y="0"/>
                </a:cubicBezTo>
                <a:close/>
                <a:moveTo>
                  <a:pt x="448115" y="0"/>
                </a:moveTo>
                <a:cubicBezTo>
                  <a:pt x="476989" y="0"/>
                  <a:pt x="498932" y="23099"/>
                  <a:pt x="498932" y="50817"/>
                </a:cubicBezTo>
                <a:cubicBezTo>
                  <a:pt x="498932" y="78536"/>
                  <a:pt x="476989" y="101634"/>
                  <a:pt x="448115" y="101634"/>
                </a:cubicBezTo>
                <a:cubicBezTo>
                  <a:pt x="420396" y="101634"/>
                  <a:pt x="397298" y="78536"/>
                  <a:pt x="397298" y="50817"/>
                </a:cubicBezTo>
                <a:cubicBezTo>
                  <a:pt x="397298" y="23099"/>
                  <a:pt x="419242" y="0"/>
                  <a:pt x="448115" y="0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800"/>
          </a:p>
        </p:txBody>
      </p:sp>
      <p:pic>
        <p:nvPicPr>
          <p:cNvPr id="5" name="Picture 4" descr="A picture containing blur&#10;&#10;Description automatically generated">
            <a:extLst>
              <a:ext uri="{FF2B5EF4-FFF2-40B4-BE49-F238E27FC236}">
                <a16:creationId xmlns:a16="http://schemas.microsoft.com/office/drawing/2014/main" id="{B33FC2B8-FEF3-40A3-B42F-1A6F8933C9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971802"/>
            <a:ext cx="12192000" cy="2285999"/>
          </a:xfrm>
          <a:prstGeom prst="rect">
            <a:avLst/>
          </a:prstGeom>
        </p:spPr>
      </p:pic>
      <p:sp>
        <p:nvSpPr>
          <p:cNvPr id="27" name="Dot Pattern crop">
            <a:extLst>
              <a:ext uri="{FF2B5EF4-FFF2-40B4-BE49-F238E27FC236}">
                <a16:creationId xmlns:a16="http://schemas.microsoft.com/office/drawing/2014/main" id="{F4CB5DB3-B8DC-4EB1-815C-902A50C6AC07}"/>
              </a:ext>
            </a:extLst>
          </p:cNvPr>
          <p:cNvSpPr/>
          <p:nvPr userDrawn="1"/>
        </p:nvSpPr>
        <p:spPr>
          <a:xfrm>
            <a:off x="-3082" y="4648002"/>
            <a:ext cx="12251873" cy="609800"/>
          </a:xfrm>
          <a:custGeom>
            <a:avLst/>
            <a:gdLst>
              <a:gd name="connsiteX0" fmla="*/ 12227892 w 12248682"/>
              <a:gd name="connsiteY0" fmla="*/ 608651 h 609800"/>
              <a:gd name="connsiteX1" fmla="*/ 12230601 w 12248682"/>
              <a:gd name="connsiteY1" fmla="*/ 609800 h 609800"/>
              <a:gd name="connsiteX2" fmla="*/ 12225102 w 12248682"/>
              <a:gd name="connsiteY2" fmla="*/ 609800 h 609800"/>
              <a:gd name="connsiteX3" fmla="*/ 12091610 w 12248682"/>
              <a:gd name="connsiteY3" fmla="*/ 608651 h 609800"/>
              <a:gd name="connsiteX4" fmla="*/ 12094400 w 12248682"/>
              <a:gd name="connsiteY4" fmla="*/ 609800 h 609800"/>
              <a:gd name="connsiteX5" fmla="*/ 12088820 w 12248682"/>
              <a:gd name="connsiteY5" fmla="*/ 609800 h 609800"/>
              <a:gd name="connsiteX6" fmla="*/ 11956484 w 12248682"/>
              <a:gd name="connsiteY6" fmla="*/ 608651 h 609800"/>
              <a:gd name="connsiteX7" fmla="*/ 11959274 w 12248682"/>
              <a:gd name="connsiteY7" fmla="*/ 609800 h 609800"/>
              <a:gd name="connsiteX8" fmla="*/ 11953693 w 12248682"/>
              <a:gd name="connsiteY8" fmla="*/ 609800 h 609800"/>
              <a:gd name="connsiteX9" fmla="*/ 11821356 w 12248682"/>
              <a:gd name="connsiteY9" fmla="*/ 608651 h 609800"/>
              <a:gd name="connsiteX10" fmla="*/ 11824146 w 12248682"/>
              <a:gd name="connsiteY10" fmla="*/ 609800 h 609800"/>
              <a:gd name="connsiteX11" fmla="*/ 11818565 w 12248682"/>
              <a:gd name="connsiteY11" fmla="*/ 609800 h 609800"/>
              <a:gd name="connsiteX12" fmla="*/ 11685074 w 12248682"/>
              <a:gd name="connsiteY12" fmla="*/ 608651 h 609800"/>
              <a:gd name="connsiteX13" fmla="*/ 11687864 w 12248682"/>
              <a:gd name="connsiteY13" fmla="*/ 609800 h 609800"/>
              <a:gd name="connsiteX14" fmla="*/ 11682283 w 12248682"/>
              <a:gd name="connsiteY14" fmla="*/ 609800 h 609800"/>
              <a:gd name="connsiteX15" fmla="*/ 10736873 w 12248682"/>
              <a:gd name="connsiteY15" fmla="*/ 608651 h 609800"/>
              <a:gd name="connsiteX16" fmla="*/ 10739663 w 12248682"/>
              <a:gd name="connsiteY16" fmla="*/ 609800 h 609800"/>
              <a:gd name="connsiteX17" fmla="*/ 10734082 w 12248682"/>
              <a:gd name="connsiteY17" fmla="*/ 609800 h 609800"/>
              <a:gd name="connsiteX18" fmla="*/ 10601745 w 12248682"/>
              <a:gd name="connsiteY18" fmla="*/ 608651 h 609800"/>
              <a:gd name="connsiteX19" fmla="*/ 10604536 w 12248682"/>
              <a:gd name="connsiteY19" fmla="*/ 609800 h 609800"/>
              <a:gd name="connsiteX20" fmla="*/ 10598955 w 12248682"/>
              <a:gd name="connsiteY20" fmla="*/ 609800 h 609800"/>
              <a:gd name="connsiteX21" fmla="*/ 8027949 w 12248682"/>
              <a:gd name="connsiteY21" fmla="*/ 608651 h 609800"/>
              <a:gd name="connsiteX22" fmla="*/ 8030740 w 12248682"/>
              <a:gd name="connsiteY22" fmla="*/ 609800 h 609800"/>
              <a:gd name="connsiteX23" fmla="*/ 8025159 w 12248682"/>
              <a:gd name="connsiteY23" fmla="*/ 609800 h 609800"/>
              <a:gd name="connsiteX24" fmla="*/ 7892822 w 12248682"/>
              <a:gd name="connsiteY24" fmla="*/ 608651 h 609800"/>
              <a:gd name="connsiteX25" fmla="*/ 7895613 w 12248682"/>
              <a:gd name="connsiteY25" fmla="*/ 609800 h 609800"/>
              <a:gd name="connsiteX26" fmla="*/ 7890031 w 12248682"/>
              <a:gd name="connsiteY26" fmla="*/ 609800 h 609800"/>
              <a:gd name="connsiteX27" fmla="*/ 7757693 w 12248682"/>
              <a:gd name="connsiteY27" fmla="*/ 608651 h 609800"/>
              <a:gd name="connsiteX28" fmla="*/ 7760484 w 12248682"/>
              <a:gd name="connsiteY28" fmla="*/ 609800 h 609800"/>
              <a:gd name="connsiteX29" fmla="*/ 7754903 w 12248682"/>
              <a:gd name="connsiteY29" fmla="*/ 609800 h 609800"/>
              <a:gd name="connsiteX30" fmla="*/ 7622566 w 12248682"/>
              <a:gd name="connsiteY30" fmla="*/ 608651 h 609800"/>
              <a:gd name="connsiteX31" fmla="*/ 7625275 w 12248682"/>
              <a:gd name="connsiteY31" fmla="*/ 609800 h 609800"/>
              <a:gd name="connsiteX32" fmla="*/ 7619776 w 12248682"/>
              <a:gd name="connsiteY32" fmla="*/ 609800 h 609800"/>
              <a:gd name="connsiteX33" fmla="*/ 7486284 w 12248682"/>
              <a:gd name="connsiteY33" fmla="*/ 608651 h 609800"/>
              <a:gd name="connsiteX34" fmla="*/ 7489075 w 12248682"/>
              <a:gd name="connsiteY34" fmla="*/ 609800 h 609800"/>
              <a:gd name="connsiteX35" fmla="*/ 7483494 w 12248682"/>
              <a:gd name="connsiteY35" fmla="*/ 609800 h 609800"/>
              <a:gd name="connsiteX36" fmla="*/ 7351157 w 12248682"/>
              <a:gd name="connsiteY36" fmla="*/ 608651 h 609800"/>
              <a:gd name="connsiteX37" fmla="*/ 7353948 w 12248682"/>
              <a:gd name="connsiteY37" fmla="*/ 609800 h 609800"/>
              <a:gd name="connsiteX38" fmla="*/ 7348367 w 12248682"/>
              <a:gd name="connsiteY38" fmla="*/ 609800 h 609800"/>
              <a:gd name="connsiteX39" fmla="*/ 7216030 w 12248682"/>
              <a:gd name="connsiteY39" fmla="*/ 608651 h 609800"/>
              <a:gd name="connsiteX40" fmla="*/ 7218821 w 12248682"/>
              <a:gd name="connsiteY40" fmla="*/ 609800 h 609800"/>
              <a:gd name="connsiteX41" fmla="*/ 7213240 w 12248682"/>
              <a:gd name="connsiteY41" fmla="*/ 609800 h 609800"/>
              <a:gd name="connsiteX42" fmla="*/ 7079748 w 12248682"/>
              <a:gd name="connsiteY42" fmla="*/ 608651 h 609800"/>
              <a:gd name="connsiteX43" fmla="*/ 7082539 w 12248682"/>
              <a:gd name="connsiteY43" fmla="*/ 609800 h 609800"/>
              <a:gd name="connsiteX44" fmla="*/ 7076958 w 12248682"/>
              <a:gd name="connsiteY44" fmla="*/ 609800 h 609800"/>
              <a:gd name="connsiteX45" fmla="*/ 6131548 w 12248682"/>
              <a:gd name="connsiteY45" fmla="*/ 608651 h 609800"/>
              <a:gd name="connsiteX46" fmla="*/ 6134339 w 12248682"/>
              <a:gd name="connsiteY46" fmla="*/ 609800 h 609800"/>
              <a:gd name="connsiteX47" fmla="*/ 6128758 w 12248682"/>
              <a:gd name="connsiteY47" fmla="*/ 609800 h 609800"/>
              <a:gd name="connsiteX48" fmla="*/ 5996418 w 12248682"/>
              <a:gd name="connsiteY48" fmla="*/ 608651 h 609800"/>
              <a:gd name="connsiteX49" fmla="*/ 5999209 w 12248682"/>
              <a:gd name="connsiteY49" fmla="*/ 609800 h 609800"/>
              <a:gd name="connsiteX50" fmla="*/ 5993628 w 12248682"/>
              <a:gd name="connsiteY50" fmla="*/ 609800 h 609800"/>
              <a:gd name="connsiteX51" fmla="*/ 3415142 w 12248682"/>
              <a:gd name="connsiteY51" fmla="*/ 608651 h 609800"/>
              <a:gd name="connsiteX52" fmla="*/ 3417933 w 12248682"/>
              <a:gd name="connsiteY52" fmla="*/ 609800 h 609800"/>
              <a:gd name="connsiteX53" fmla="*/ 3412352 w 12248682"/>
              <a:gd name="connsiteY53" fmla="*/ 609800 h 609800"/>
              <a:gd name="connsiteX54" fmla="*/ 3280013 w 12248682"/>
              <a:gd name="connsiteY54" fmla="*/ 608651 h 609800"/>
              <a:gd name="connsiteX55" fmla="*/ 3282804 w 12248682"/>
              <a:gd name="connsiteY55" fmla="*/ 609800 h 609800"/>
              <a:gd name="connsiteX56" fmla="*/ 3277223 w 12248682"/>
              <a:gd name="connsiteY56" fmla="*/ 609800 h 609800"/>
              <a:gd name="connsiteX57" fmla="*/ 3144887 w 12248682"/>
              <a:gd name="connsiteY57" fmla="*/ 608651 h 609800"/>
              <a:gd name="connsiteX58" fmla="*/ 3147678 w 12248682"/>
              <a:gd name="connsiteY58" fmla="*/ 609800 h 609800"/>
              <a:gd name="connsiteX59" fmla="*/ 3142097 w 12248682"/>
              <a:gd name="connsiteY59" fmla="*/ 609800 h 609800"/>
              <a:gd name="connsiteX60" fmla="*/ 3009759 w 12248682"/>
              <a:gd name="connsiteY60" fmla="*/ 608651 h 609800"/>
              <a:gd name="connsiteX61" fmla="*/ 3012468 w 12248682"/>
              <a:gd name="connsiteY61" fmla="*/ 609800 h 609800"/>
              <a:gd name="connsiteX62" fmla="*/ 3006969 w 12248682"/>
              <a:gd name="connsiteY62" fmla="*/ 609800 h 609800"/>
              <a:gd name="connsiteX63" fmla="*/ 2873476 w 12248682"/>
              <a:gd name="connsiteY63" fmla="*/ 608651 h 609800"/>
              <a:gd name="connsiteX64" fmla="*/ 2876267 w 12248682"/>
              <a:gd name="connsiteY64" fmla="*/ 609800 h 609800"/>
              <a:gd name="connsiteX65" fmla="*/ 2870686 w 12248682"/>
              <a:gd name="connsiteY65" fmla="*/ 609800 h 609800"/>
              <a:gd name="connsiteX66" fmla="*/ 2738350 w 12248682"/>
              <a:gd name="connsiteY66" fmla="*/ 608651 h 609800"/>
              <a:gd name="connsiteX67" fmla="*/ 2741141 w 12248682"/>
              <a:gd name="connsiteY67" fmla="*/ 609800 h 609800"/>
              <a:gd name="connsiteX68" fmla="*/ 2735560 w 12248682"/>
              <a:gd name="connsiteY68" fmla="*/ 609800 h 609800"/>
              <a:gd name="connsiteX69" fmla="*/ 2603222 w 12248682"/>
              <a:gd name="connsiteY69" fmla="*/ 608651 h 609800"/>
              <a:gd name="connsiteX70" fmla="*/ 2606013 w 12248682"/>
              <a:gd name="connsiteY70" fmla="*/ 609800 h 609800"/>
              <a:gd name="connsiteX71" fmla="*/ 2600432 w 12248682"/>
              <a:gd name="connsiteY71" fmla="*/ 609800 h 609800"/>
              <a:gd name="connsiteX72" fmla="*/ 2466940 w 12248682"/>
              <a:gd name="connsiteY72" fmla="*/ 608651 h 609800"/>
              <a:gd name="connsiteX73" fmla="*/ 2469731 w 12248682"/>
              <a:gd name="connsiteY73" fmla="*/ 609800 h 609800"/>
              <a:gd name="connsiteX74" fmla="*/ 2464150 w 12248682"/>
              <a:gd name="connsiteY74" fmla="*/ 609800 h 609800"/>
              <a:gd name="connsiteX75" fmla="*/ 1518739 w 12248682"/>
              <a:gd name="connsiteY75" fmla="*/ 608651 h 609800"/>
              <a:gd name="connsiteX76" fmla="*/ 1521530 w 12248682"/>
              <a:gd name="connsiteY76" fmla="*/ 609800 h 609800"/>
              <a:gd name="connsiteX77" fmla="*/ 1515949 w 12248682"/>
              <a:gd name="connsiteY77" fmla="*/ 609800 h 609800"/>
              <a:gd name="connsiteX78" fmla="*/ 1383611 w 12248682"/>
              <a:gd name="connsiteY78" fmla="*/ 608651 h 609800"/>
              <a:gd name="connsiteX79" fmla="*/ 1386402 w 12248682"/>
              <a:gd name="connsiteY79" fmla="*/ 609800 h 609800"/>
              <a:gd name="connsiteX80" fmla="*/ 1380821 w 12248682"/>
              <a:gd name="connsiteY80" fmla="*/ 609800 h 609800"/>
              <a:gd name="connsiteX81" fmla="*/ 11549947 w 12248682"/>
              <a:gd name="connsiteY81" fmla="*/ 606341 h 609800"/>
              <a:gd name="connsiteX82" fmla="*/ 11558263 w 12248682"/>
              <a:gd name="connsiteY82" fmla="*/ 609800 h 609800"/>
              <a:gd name="connsiteX83" fmla="*/ 11541630 w 12248682"/>
              <a:gd name="connsiteY83" fmla="*/ 609800 h 609800"/>
              <a:gd name="connsiteX84" fmla="*/ 10466618 w 12248682"/>
              <a:gd name="connsiteY84" fmla="*/ 606341 h 609800"/>
              <a:gd name="connsiteX85" fmla="*/ 10474935 w 12248682"/>
              <a:gd name="connsiteY85" fmla="*/ 609800 h 609800"/>
              <a:gd name="connsiteX86" fmla="*/ 10458302 w 12248682"/>
              <a:gd name="connsiteY86" fmla="*/ 609800 h 609800"/>
              <a:gd name="connsiteX87" fmla="*/ 9244698 w 12248682"/>
              <a:gd name="connsiteY87" fmla="*/ 606341 h 609800"/>
              <a:gd name="connsiteX88" fmla="*/ 9256325 w 12248682"/>
              <a:gd name="connsiteY88" fmla="*/ 609800 h 609800"/>
              <a:gd name="connsiteX89" fmla="*/ 9238257 w 12248682"/>
              <a:gd name="connsiteY89" fmla="*/ 609800 h 609800"/>
              <a:gd name="connsiteX90" fmla="*/ 8164231 w 12248682"/>
              <a:gd name="connsiteY90" fmla="*/ 606341 h 609800"/>
              <a:gd name="connsiteX91" fmla="*/ 8172548 w 12248682"/>
              <a:gd name="connsiteY91" fmla="*/ 609800 h 609800"/>
              <a:gd name="connsiteX92" fmla="*/ 8155915 w 12248682"/>
              <a:gd name="connsiteY92" fmla="*/ 609800 h 609800"/>
              <a:gd name="connsiteX93" fmla="*/ 6944621 w 12248682"/>
              <a:gd name="connsiteY93" fmla="*/ 606341 h 609800"/>
              <a:gd name="connsiteX94" fmla="*/ 6952937 w 12248682"/>
              <a:gd name="connsiteY94" fmla="*/ 609800 h 609800"/>
              <a:gd name="connsiteX95" fmla="*/ 6936304 w 12248682"/>
              <a:gd name="connsiteY95" fmla="*/ 609800 h 609800"/>
              <a:gd name="connsiteX96" fmla="*/ 5861292 w 12248682"/>
              <a:gd name="connsiteY96" fmla="*/ 606341 h 609800"/>
              <a:gd name="connsiteX97" fmla="*/ 5869609 w 12248682"/>
              <a:gd name="connsiteY97" fmla="*/ 609800 h 609800"/>
              <a:gd name="connsiteX98" fmla="*/ 5852976 w 12248682"/>
              <a:gd name="connsiteY98" fmla="*/ 609800 h 609800"/>
              <a:gd name="connsiteX99" fmla="*/ 4639374 w 12248682"/>
              <a:gd name="connsiteY99" fmla="*/ 606341 h 609800"/>
              <a:gd name="connsiteX100" fmla="*/ 4651000 w 12248682"/>
              <a:gd name="connsiteY100" fmla="*/ 609800 h 609800"/>
              <a:gd name="connsiteX101" fmla="*/ 4632932 w 12248682"/>
              <a:gd name="connsiteY101" fmla="*/ 609800 h 609800"/>
              <a:gd name="connsiteX102" fmla="*/ 3551423 w 12248682"/>
              <a:gd name="connsiteY102" fmla="*/ 606341 h 609800"/>
              <a:gd name="connsiteX103" fmla="*/ 3559740 w 12248682"/>
              <a:gd name="connsiteY103" fmla="*/ 609800 h 609800"/>
              <a:gd name="connsiteX104" fmla="*/ 3543107 w 12248682"/>
              <a:gd name="connsiteY104" fmla="*/ 609800 h 609800"/>
              <a:gd name="connsiteX105" fmla="*/ 2331813 w 12248682"/>
              <a:gd name="connsiteY105" fmla="*/ 606341 h 609800"/>
              <a:gd name="connsiteX106" fmla="*/ 2340130 w 12248682"/>
              <a:gd name="connsiteY106" fmla="*/ 609800 h 609800"/>
              <a:gd name="connsiteX107" fmla="*/ 2323497 w 12248682"/>
              <a:gd name="connsiteY107" fmla="*/ 609800 h 609800"/>
              <a:gd name="connsiteX108" fmla="*/ 1248485 w 12248682"/>
              <a:gd name="connsiteY108" fmla="*/ 606341 h 609800"/>
              <a:gd name="connsiteX109" fmla="*/ 1256801 w 12248682"/>
              <a:gd name="connsiteY109" fmla="*/ 609800 h 609800"/>
              <a:gd name="connsiteX110" fmla="*/ 1240169 w 12248682"/>
              <a:gd name="connsiteY110" fmla="*/ 609800 h 609800"/>
              <a:gd name="connsiteX111" fmla="*/ 26564 w 12248682"/>
              <a:gd name="connsiteY111" fmla="*/ 606341 h 609800"/>
              <a:gd name="connsiteX112" fmla="*/ 38192 w 12248682"/>
              <a:gd name="connsiteY112" fmla="*/ 609800 h 609800"/>
              <a:gd name="connsiteX113" fmla="*/ 20123 w 12248682"/>
              <a:gd name="connsiteY113" fmla="*/ 609800 h 609800"/>
              <a:gd name="connsiteX114" fmla="*/ 11414819 w 12248682"/>
              <a:gd name="connsiteY114" fmla="*/ 600566 h 609800"/>
              <a:gd name="connsiteX115" fmla="*/ 11435319 w 12248682"/>
              <a:gd name="connsiteY115" fmla="*/ 608940 h 609800"/>
              <a:gd name="connsiteX116" fmla="*/ 11435671 w 12248682"/>
              <a:gd name="connsiteY116" fmla="*/ 609800 h 609800"/>
              <a:gd name="connsiteX117" fmla="*/ 11393968 w 12248682"/>
              <a:gd name="connsiteY117" fmla="*/ 609800 h 609800"/>
              <a:gd name="connsiteX118" fmla="*/ 11394319 w 12248682"/>
              <a:gd name="connsiteY118" fmla="*/ 608940 h 609800"/>
              <a:gd name="connsiteX119" fmla="*/ 11414819 w 12248682"/>
              <a:gd name="connsiteY119" fmla="*/ 600566 h 609800"/>
              <a:gd name="connsiteX120" fmla="*/ 10330336 w 12248682"/>
              <a:gd name="connsiteY120" fmla="*/ 600566 h 609800"/>
              <a:gd name="connsiteX121" fmla="*/ 10350836 w 12248682"/>
              <a:gd name="connsiteY121" fmla="*/ 608940 h 609800"/>
              <a:gd name="connsiteX122" fmla="*/ 10351187 w 12248682"/>
              <a:gd name="connsiteY122" fmla="*/ 609800 h 609800"/>
              <a:gd name="connsiteX123" fmla="*/ 10309484 w 12248682"/>
              <a:gd name="connsiteY123" fmla="*/ 609800 h 609800"/>
              <a:gd name="connsiteX124" fmla="*/ 10309836 w 12248682"/>
              <a:gd name="connsiteY124" fmla="*/ 608940 h 609800"/>
              <a:gd name="connsiteX125" fmla="*/ 10330336 w 12248682"/>
              <a:gd name="connsiteY125" fmla="*/ 600566 h 609800"/>
              <a:gd name="connsiteX126" fmla="*/ 9382135 w 12248682"/>
              <a:gd name="connsiteY126" fmla="*/ 600566 h 609800"/>
              <a:gd name="connsiteX127" fmla="*/ 9402635 w 12248682"/>
              <a:gd name="connsiteY127" fmla="*/ 608940 h 609800"/>
              <a:gd name="connsiteX128" fmla="*/ 9402987 w 12248682"/>
              <a:gd name="connsiteY128" fmla="*/ 609800 h 609800"/>
              <a:gd name="connsiteX129" fmla="*/ 9361284 w 12248682"/>
              <a:gd name="connsiteY129" fmla="*/ 609800 h 609800"/>
              <a:gd name="connsiteX130" fmla="*/ 9361635 w 12248682"/>
              <a:gd name="connsiteY130" fmla="*/ 608940 h 609800"/>
              <a:gd name="connsiteX131" fmla="*/ 9382135 w 12248682"/>
              <a:gd name="connsiteY131" fmla="*/ 600566 h 609800"/>
              <a:gd name="connsiteX132" fmla="*/ 9112431 w 12248682"/>
              <a:gd name="connsiteY132" fmla="*/ 600566 h 609800"/>
              <a:gd name="connsiteX133" fmla="*/ 9132931 w 12248682"/>
              <a:gd name="connsiteY133" fmla="*/ 608940 h 609800"/>
              <a:gd name="connsiteX134" fmla="*/ 9133283 w 12248682"/>
              <a:gd name="connsiteY134" fmla="*/ 609800 h 609800"/>
              <a:gd name="connsiteX135" fmla="*/ 9091580 w 12248682"/>
              <a:gd name="connsiteY135" fmla="*/ 609800 h 609800"/>
              <a:gd name="connsiteX136" fmla="*/ 9091931 w 12248682"/>
              <a:gd name="connsiteY136" fmla="*/ 608940 h 609800"/>
              <a:gd name="connsiteX137" fmla="*/ 9112431 w 12248682"/>
              <a:gd name="connsiteY137" fmla="*/ 600566 h 609800"/>
              <a:gd name="connsiteX138" fmla="*/ 8299358 w 12248682"/>
              <a:gd name="connsiteY138" fmla="*/ 600566 h 609800"/>
              <a:gd name="connsiteX139" fmla="*/ 8319858 w 12248682"/>
              <a:gd name="connsiteY139" fmla="*/ 608940 h 609800"/>
              <a:gd name="connsiteX140" fmla="*/ 8320209 w 12248682"/>
              <a:gd name="connsiteY140" fmla="*/ 609800 h 609800"/>
              <a:gd name="connsiteX141" fmla="*/ 8278507 w 12248682"/>
              <a:gd name="connsiteY141" fmla="*/ 609800 h 609800"/>
              <a:gd name="connsiteX142" fmla="*/ 8278858 w 12248682"/>
              <a:gd name="connsiteY142" fmla="*/ 608940 h 609800"/>
              <a:gd name="connsiteX143" fmla="*/ 8299358 w 12248682"/>
              <a:gd name="connsiteY143" fmla="*/ 600566 h 609800"/>
              <a:gd name="connsiteX144" fmla="*/ 6809492 w 12248682"/>
              <a:gd name="connsiteY144" fmla="*/ 600566 h 609800"/>
              <a:gd name="connsiteX145" fmla="*/ 6829993 w 12248682"/>
              <a:gd name="connsiteY145" fmla="*/ 608940 h 609800"/>
              <a:gd name="connsiteX146" fmla="*/ 6830345 w 12248682"/>
              <a:gd name="connsiteY146" fmla="*/ 609800 h 609800"/>
              <a:gd name="connsiteX147" fmla="*/ 6788642 w 12248682"/>
              <a:gd name="connsiteY147" fmla="*/ 609800 h 609800"/>
              <a:gd name="connsiteX148" fmla="*/ 6788993 w 12248682"/>
              <a:gd name="connsiteY148" fmla="*/ 608940 h 609800"/>
              <a:gd name="connsiteX149" fmla="*/ 6809492 w 12248682"/>
              <a:gd name="connsiteY149" fmla="*/ 600566 h 609800"/>
              <a:gd name="connsiteX150" fmla="*/ 5726165 w 12248682"/>
              <a:gd name="connsiteY150" fmla="*/ 600566 h 609800"/>
              <a:gd name="connsiteX151" fmla="*/ 5746232 w 12248682"/>
              <a:gd name="connsiteY151" fmla="*/ 608940 h 609800"/>
              <a:gd name="connsiteX152" fmla="*/ 5746601 w 12248682"/>
              <a:gd name="connsiteY152" fmla="*/ 609800 h 609800"/>
              <a:gd name="connsiteX153" fmla="*/ 5705314 w 12248682"/>
              <a:gd name="connsiteY153" fmla="*/ 609800 h 609800"/>
              <a:gd name="connsiteX154" fmla="*/ 5705666 w 12248682"/>
              <a:gd name="connsiteY154" fmla="*/ 608940 h 609800"/>
              <a:gd name="connsiteX155" fmla="*/ 5726165 w 12248682"/>
              <a:gd name="connsiteY155" fmla="*/ 600566 h 609800"/>
              <a:gd name="connsiteX156" fmla="*/ 4776809 w 12248682"/>
              <a:gd name="connsiteY156" fmla="*/ 600566 h 609800"/>
              <a:gd name="connsiteX157" fmla="*/ 4797309 w 12248682"/>
              <a:gd name="connsiteY157" fmla="*/ 608940 h 609800"/>
              <a:gd name="connsiteX158" fmla="*/ 4797661 w 12248682"/>
              <a:gd name="connsiteY158" fmla="*/ 609800 h 609800"/>
              <a:gd name="connsiteX159" fmla="*/ 4755958 w 12248682"/>
              <a:gd name="connsiteY159" fmla="*/ 609800 h 609800"/>
              <a:gd name="connsiteX160" fmla="*/ 4756310 w 12248682"/>
              <a:gd name="connsiteY160" fmla="*/ 608940 h 609800"/>
              <a:gd name="connsiteX161" fmla="*/ 4776809 w 12248682"/>
              <a:gd name="connsiteY161" fmla="*/ 600566 h 609800"/>
              <a:gd name="connsiteX162" fmla="*/ 4499625 w 12248682"/>
              <a:gd name="connsiteY162" fmla="*/ 600566 h 609800"/>
              <a:gd name="connsiteX163" fmla="*/ 4520126 w 12248682"/>
              <a:gd name="connsiteY163" fmla="*/ 608940 h 609800"/>
              <a:gd name="connsiteX164" fmla="*/ 4520477 w 12248682"/>
              <a:gd name="connsiteY164" fmla="*/ 609800 h 609800"/>
              <a:gd name="connsiteX165" fmla="*/ 4478774 w 12248682"/>
              <a:gd name="connsiteY165" fmla="*/ 609800 h 609800"/>
              <a:gd name="connsiteX166" fmla="*/ 4479126 w 12248682"/>
              <a:gd name="connsiteY166" fmla="*/ 608940 h 609800"/>
              <a:gd name="connsiteX167" fmla="*/ 4499625 w 12248682"/>
              <a:gd name="connsiteY167" fmla="*/ 600566 h 609800"/>
              <a:gd name="connsiteX168" fmla="*/ 3686551 w 12248682"/>
              <a:gd name="connsiteY168" fmla="*/ 600566 h 609800"/>
              <a:gd name="connsiteX169" fmla="*/ 3707051 w 12248682"/>
              <a:gd name="connsiteY169" fmla="*/ 608940 h 609800"/>
              <a:gd name="connsiteX170" fmla="*/ 3707402 w 12248682"/>
              <a:gd name="connsiteY170" fmla="*/ 609800 h 609800"/>
              <a:gd name="connsiteX171" fmla="*/ 3665699 w 12248682"/>
              <a:gd name="connsiteY171" fmla="*/ 609800 h 609800"/>
              <a:gd name="connsiteX172" fmla="*/ 3666051 w 12248682"/>
              <a:gd name="connsiteY172" fmla="*/ 608940 h 609800"/>
              <a:gd name="connsiteX173" fmla="*/ 3686551 w 12248682"/>
              <a:gd name="connsiteY173" fmla="*/ 600566 h 609800"/>
              <a:gd name="connsiteX174" fmla="*/ 2196685 w 12248682"/>
              <a:gd name="connsiteY174" fmla="*/ 600566 h 609800"/>
              <a:gd name="connsiteX175" fmla="*/ 2217186 w 12248682"/>
              <a:gd name="connsiteY175" fmla="*/ 608940 h 609800"/>
              <a:gd name="connsiteX176" fmla="*/ 2217537 w 12248682"/>
              <a:gd name="connsiteY176" fmla="*/ 609800 h 609800"/>
              <a:gd name="connsiteX177" fmla="*/ 2175835 w 12248682"/>
              <a:gd name="connsiteY177" fmla="*/ 609800 h 609800"/>
              <a:gd name="connsiteX178" fmla="*/ 2176186 w 12248682"/>
              <a:gd name="connsiteY178" fmla="*/ 608940 h 609800"/>
              <a:gd name="connsiteX179" fmla="*/ 2196685 w 12248682"/>
              <a:gd name="connsiteY179" fmla="*/ 600566 h 609800"/>
              <a:gd name="connsiteX180" fmla="*/ 1112202 w 12248682"/>
              <a:gd name="connsiteY180" fmla="*/ 600566 h 609800"/>
              <a:gd name="connsiteX181" fmla="*/ 1132702 w 12248682"/>
              <a:gd name="connsiteY181" fmla="*/ 608940 h 609800"/>
              <a:gd name="connsiteX182" fmla="*/ 1133053 w 12248682"/>
              <a:gd name="connsiteY182" fmla="*/ 609800 h 609800"/>
              <a:gd name="connsiteX183" fmla="*/ 1091351 w 12248682"/>
              <a:gd name="connsiteY183" fmla="*/ 609800 h 609800"/>
              <a:gd name="connsiteX184" fmla="*/ 1091702 w 12248682"/>
              <a:gd name="connsiteY184" fmla="*/ 608940 h 609800"/>
              <a:gd name="connsiteX185" fmla="*/ 1112202 w 12248682"/>
              <a:gd name="connsiteY185" fmla="*/ 600566 h 609800"/>
              <a:gd name="connsiteX186" fmla="*/ 164001 w 12248682"/>
              <a:gd name="connsiteY186" fmla="*/ 600566 h 609800"/>
              <a:gd name="connsiteX187" fmla="*/ 184502 w 12248682"/>
              <a:gd name="connsiteY187" fmla="*/ 608940 h 609800"/>
              <a:gd name="connsiteX188" fmla="*/ 184853 w 12248682"/>
              <a:gd name="connsiteY188" fmla="*/ 609800 h 609800"/>
              <a:gd name="connsiteX189" fmla="*/ 143150 w 12248682"/>
              <a:gd name="connsiteY189" fmla="*/ 609800 h 609800"/>
              <a:gd name="connsiteX190" fmla="*/ 143501 w 12248682"/>
              <a:gd name="connsiteY190" fmla="*/ 608940 h 609800"/>
              <a:gd name="connsiteX191" fmla="*/ 164001 w 12248682"/>
              <a:gd name="connsiteY191" fmla="*/ 600566 h 609800"/>
              <a:gd name="connsiteX192" fmla="*/ 11279692 w 12248682"/>
              <a:gd name="connsiteY192" fmla="*/ 594792 h 609800"/>
              <a:gd name="connsiteX193" fmla="*/ 11303946 w 12248682"/>
              <a:gd name="connsiteY193" fmla="*/ 605187 h 609800"/>
              <a:gd name="connsiteX194" fmla="*/ 11305923 w 12248682"/>
              <a:gd name="connsiteY194" fmla="*/ 609800 h 609800"/>
              <a:gd name="connsiteX195" fmla="*/ 11253110 w 12248682"/>
              <a:gd name="connsiteY195" fmla="*/ 609800 h 609800"/>
              <a:gd name="connsiteX196" fmla="*/ 11255005 w 12248682"/>
              <a:gd name="connsiteY196" fmla="*/ 605187 h 609800"/>
              <a:gd name="connsiteX197" fmla="*/ 11279692 w 12248682"/>
              <a:gd name="connsiteY197" fmla="*/ 594792 h 609800"/>
              <a:gd name="connsiteX198" fmla="*/ 10195208 w 12248682"/>
              <a:gd name="connsiteY198" fmla="*/ 594792 h 609800"/>
              <a:gd name="connsiteX199" fmla="*/ 10219895 w 12248682"/>
              <a:gd name="connsiteY199" fmla="*/ 605187 h 609800"/>
              <a:gd name="connsiteX200" fmla="*/ 10221790 w 12248682"/>
              <a:gd name="connsiteY200" fmla="*/ 609800 h 609800"/>
              <a:gd name="connsiteX201" fmla="*/ 10168627 w 12248682"/>
              <a:gd name="connsiteY201" fmla="*/ 609800 h 609800"/>
              <a:gd name="connsiteX202" fmla="*/ 10170522 w 12248682"/>
              <a:gd name="connsiteY202" fmla="*/ 605187 h 609800"/>
              <a:gd name="connsiteX203" fmla="*/ 10195208 w 12248682"/>
              <a:gd name="connsiteY203" fmla="*/ 594792 h 609800"/>
              <a:gd name="connsiteX204" fmla="*/ 9518417 w 12248682"/>
              <a:gd name="connsiteY204" fmla="*/ 594792 h 609800"/>
              <a:gd name="connsiteX205" fmla="*/ 9542671 w 12248682"/>
              <a:gd name="connsiteY205" fmla="*/ 605187 h 609800"/>
              <a:gd name="connsiteX206" fmla="*/ 9544648 w 12248682"/>
              <a:gd name="connsiteY206" fmla="*/ 609800 h 609800"/>
              <a:gd name="connsiteX207" fmla="*/ 9491836 w 12248682"/>
              <a:gd name="connsiteY207" fmla="*/ 609800 h 609800"/>
              <a:gd name="connsiteX208" fmla="*/ 9493731 w 12248682"/>
              <a:gd name="connsiteY208" fmla="*/ 605187 h 609800"/>
              <a:gd name="connsiteX209" fmla="*/ 9518417 w 12248682"/>
              <a:gd name="connsiteY209" fmla="*/ 594792 h 609800"/>
              <a:gd name="connsiteX210" fmla="*/ 8977304 w 12248682"/>
              <a:gd name="connsiteY210" fmla="*/ 594792 h 609800"/>
              <a:gd name="connsiteX211" fmla="*/ 9001558 w 12248682"/>
              <a:gd name="connsiteY211" fmla="*/ 605187 h 609800"/>
              <a:gd name="connsiteX212" fmla="*/ 9003535 w 12248682"/>
              <a:gd name="connsiteY212" fmla="*/ 609800 h 609800"/>
              <a:gd name="connsiteX213" fmla="*/ 8950722 w 12248682"/>
              <a:gd name="connsiteY213" fmla="*/ 609800 h 609800"/>
              <a:gd name="connsiteX214" fmla="*/ 8952617 w 12248682"/>
              <a:gd name="connsiteY214" fmla="*/ 605187 h 609800"/>
              <a:gd name="connsiteX215" fmla="*/ 8977304 w 12248682"/>
              <a:gd name="connsiteY215" fmla="*/ 594792 h 609800"/>
              <a:gd name="connsiteX216" fmla="*/ 8434485 w 12248682"/>
              <a:gd name="connsiteY216" fmla="*/ 594792 h 609800"/>
              <a:gd name="connsiteX217" fmla="*/ 8459172 w 12248682"/>
              <a:gd name="connsiteY217" fmla="*/ 605187 h 609800"/>
              <a:gd name="connsiteX218" fmla="*/ 8461066 w 12248682"/>
              <a:gd name="connsiteY218" fmla="*/ 609800 h 609800"/>
              <a:gd name="connsiteX219" fmla="*/ 8407903 w 12248682"/>
              <a:gd name="connsiteY219" fmla="*/ 609800 h 609800"/>
              <a:gd name="connsiteX220" fmla="*/ 8409798 w 12248682"/>
              <a:gd name="connsiteY220" fmla="*/ 605187 h 609800"/>
              <a:gd name="connsiteX221" fmla="*/ 8434485 w 12248682"/>
              <a:gd name="connsiteY221" fmla="*/ 594792 h 609800"/>
              <a:gd name="connsiteX222" fmla="*/ 6674366 w 12248682"/>
              <a:gd name="connsiteY222" fmla="*/ 594792 h 609800"/>
              <a:gd name="connsiteX223" fmla="*/ 6698620 w 12248682"/>
              <a:gd name="connsiteY223" fmla="*/ 605187 h 609800"/>
              <a:gd name="connsiteX224" fmla="*/ 6700597 w 12248682"/>
              <a:gd name="connsiteY224" fmla="*/ 609800 h 609800"/>
              <a:gd name="connsiteX225" fmla="*/ 6647784 w 12248682"/>
              <a:gd name="connsiteY225" fmla="*/ 609800 h 609800"/>
              <a:gd name="connsiteX226" fmla="*/ 6649679 w 12248682"/>
              <a:gd name="connsiteY226" fmla="*/ 605187 h 609800"/>
              <a:gd name="connsiteX227" fmla="*/ 6674366 w 12248682"/>
              <a:gd name="connsiteY227" fmla="*/ 594792 h 609800"/>
              <a:gd name="connsiteX228" fmla="*/ 5589882 w 12248682"/>
              <a:gd name="connsiteY228" fmla="*/ 594792 h 609800"/>
              <a:gd name="connsiteX229" fmla="*/ 5614570 w 12248682"/>
              <a:gd name="connsiteY229" fmla="*/ 605187 h 609800"/>
              <a:gd name="connsiteX230" fmla="*/ 5616465 w 12248682"/>
              <a:gd name="connsiteY230" fmla="*/ 609800 h 609800"/>
              <a:gd name="connsiteX231" fmla="*/ 5563301 w 12248682"/>
              <a:gd name="connsiteY231" fmla="*/ 609800 h 609800"/>
              <a:gd name="connsiteX232" fmla="*/ 5565196 w 12248682"/>
              <a:gd name="connsiteY232" fmla="*/ 605187 h 609800"/>
              <a:gd name="connsiteX233" fmla="*/ 5589882 w 12248682"/>
              <a:gd name="connsiteY233" fmla="*/ 594792 h 609800"/>
              <a:gd name="connsiteX234" fmla="*/ 4913091 w 12248682"/>
              <a:gd name="connsiteY234" fmla="*/ 594792 h 609800"/>
              <a:gd name="connsiteX235" fmla="*/ 4937345 w 12248682"/>
              <a:gd name="connsiteY235" fmla="*/ 605187 h 609800"/>
              <a:gd name="connsiteX236" fmla="*/ 4939322 w 12248682"/>
              <a:gd name="connsiteY236" fmla="*/ 609800 h 609800"/>
              <a:gd name="connsiteX237" fmla="*/ 4886510 w 12248682"/>
              <a:gd name="connsiteY237" fmla="*/ 609800 h 609800"/>
              <a:gd name="connsiteX238" fmla="*/ 4888405 w 12248682"/>
              <a:gd name="connsiteY238" fmla="*/ 605187 h 609800"/>
              <a:gd name="connsiteX239" fmla="*/ 4913091 w 12248682"/>
              <a:gd name="connsiteY239" fmla="*/ 594792 h 609800"/>
              <a:gd name="connsiteX240" fmla="*/ 4364499 w 12248682"/>
              <a:gd name="connsiteY240" fmla="*/ 594792 h 609800"/>
              <a:gd name="connsiteX241" fmla="*/ 4388752 w 12248682"/>
              <a:gd name="connsiteY241" fmla="*/ 605187 h 609800"/>
              <a:gd name="connsiteX242" fmla="*/ 4390729 w 12248682"/>
              <a:gd name="connsiteY242" fmla="*/ 609800 h 609800"/>
              <a:gd name="connsiteX243" fmla="*/ 4337917 w 12248682"/>
              <a:gd name="connsiteY243" fmla="*/ 609800 h 609800"/>
              <a:gd name="connsiteX244" fmla="*/ 4339811 w 12248682"/>
              <a:gd name="connsiteY244" fmla="*/ 605187 h 609800"/>
              <a:gd name="connsiteX245" fmla="*/ 4364499 w 12248682"/>
              <a:gd name="connsiteY245" fmla="*/ 594792 h 609800"/>
              <a:gd name="connsiteX246" fmla="*/ 3821678 w 12248682"/>
              <a:gd name="connsiteY246" fmla="*/ 594792 h 609800"/>
              <a:gd name="connsiteX247" fmla="*/ 3846365 w 12248682"/>
              <a:gd name="connsiteY247" fmla="*/ 605187 h 609800"/>
              <a:gd name="connsiteX248" fmla="*/ 3848260 w 12248682"/>
              <a:gd name="connsiteY248" fmla="*/ 609800 h 609800"/>
              <a:gd name="connsiteX249" fmla="*/ 3795097 w 12248682"/>
              <a:gd name="connsiteY249" fmla="*/ 609800 h 609800"/>
              <a:gd name="connsiteX250" fmla="*/ 3796992 w 12248682"/>
              <a:gd name="connsiteY250" fmla="*/ 605187 h 609800"/>
              <a:gd name="connsiteX251" fmla="*/ 3821678 w 12248682"/>
              <a:gd name="connsiteY251" fmla="*/ 594792 h 609800"/>
              <a:gd name="connsiteX252" fmla="*/ 2061558 w 12248682"/>
              <a:gd name="connsiteY252" fmla="*/ 594792 h 609800"/>
              <a:gd name="connsiteX253" fmla="*/ 2085812 w 12248682"/>
              <a:gd name="connsiteY253" fmla="*/ 605187 h 609800"/>
              <a:gd name="connsiteX254" fmla="*/ 2087789 w 12248682"/>
              <a:gd name="connsiteY254" fmla="*/ 609800 h 609800"/>
              <a:gd name="connsiteX255" fmla="*/ 2034977 w 12248682"/>
              <a:gd name="connsiteY255" fmla="*/ 609800 h 609800"/>
              <a:gd name="connsiteX256" fmla="*/ 2036871 w 12248682"/>
              <a:gd name="connsiteY256" fmla="*/ 605187 h 609800"/>
              <a:gd name="connsiteX257" fmla="*/ 2061558 w 12248682"/>
              <a:gd name="connsiteY257" fmla="*/ 594792 h 609800"/>
              <a:gd name="connsiteX258" fmla="*/ 977075 w 12248682"/>
              <a:gd name="connsiteY258" fmla="*/ 594792 h 609800"/>
              <a:gd name="connsiteX259" fmla="*/ 1001762 w 12248682"/>
              <a:gd name="connsiteY259" fmla="*/ 605187 h 609800"/>
              <a:gd name="connsiteX260" fmla="*/ 1003657 w 12248682"/>
              <a:gd name="connsiteY260" fmla="*/ 609800 h 609800"/>
              <a:gd name="connsiteX261" fmla="*/ 950494 w 12248682"/>
              <a:gd name="connsiteY261" fmla="*/ 609800 h 609800"/>
              <a:gd name="connsiteX262" fmla="*/ 952388 w 12248682"/>
              <a:gd name="connsiteY262" fmla="*/ 605187 h 609800"/>
              <a:gd name="connsiteX263" fmla="*/ 977075 w 12248682"/>
              <a:gd name="connsiteY263" fmla="*/ 594792 h 609800"/>
              <a:gd name="connsiteX264" fmla="*/ 300283 w 12248682"/>
              <a:gd name="connsiteY264" fmla="*/ 594792 h 609800"/>
              <a:gd name="connsiteX265" fmla="*/ 324537 w 12248682"/>
              <a:gd name="connsiteY265" fmla="*/ 605187 h 609800"/>
              <a:gd name="connsiteX266" fmla="*/ 326514 w 12248682"/>
              <a:gd name="connsiteY266" fmla="*/ 609800 h 609800"/>
              <a:gd name="connsiteX267" fmla="*/ 273702 w 12248682"/>
              <a:gd name="connsiteY267" fmla="*/ 609800 h 609800"/>
              <a:gd name="connsiteX268" fmla="*/ 275597 w 12248682"/>
              <a:gd name="connsiteY268" fmla="*/ 605187 h 609800"/>
              <a:gd name="connsiteX269" fmla="*/ 300283 w 12248682"/>
              <a:gd name="connsiteY269" fmla="*/ 594792 h 609800"/>
              <a:gd name="connsiteX270" fmla="*/ 11143410 w 12248682"/>
              <a:gd name="connsiteY270" fmla="*/ 589016 h 609800"/>
              <a:gd name="connsiteX271" fmla="*/ 11172283 w 12248682"/>
              <a:gd name="connsiteY271" fmla="*/ 600999 h 609800"/>
              <a:gd name="connsiteX272" fmla="*/ 11175857 w 12248682"/>
              <a:gd name="connsiteY272" fmla="*/ 609800 h 609800"/>
              <a:gd name="connsiteX273" fmla="*/ 11111262 w 12248682"/>
              <a:gd name="connsiteY273" fmla="*/ 609800 h 609800"/>
              <a:gd name="connsiteX274" fmla="*/ 11114970 w 12248682"/>
              <a:gd name="connsiteY274" fmla="*/ 600999 h 609800"/>
              <a:gd name="connsiteX275" fmla="*/ 11143410 w 12248682"/>
              <a:gd name="connsiteY275" fmla="*/ 589016 h 609800"/>
              <a:gd name="connsiteX276" fmla="*/ 10873155 w 12248682"/>
              <a:gd name="connsiteY276" fmla="*/ 589016 h 609800"/>
              <a:gd name="connsiteX277" fmla="*/ 10901595 w 12248682"/>
              <a:gd name="connsiteY277" fmla="*/ 600999 h 609800"/>
              <a:gd name="connsiteX278" fmla="*/ 10905303 w 12248682"/>
              <a:gd name="connsiteY278" fmla="*/ 609800 h 609800"/>
              <a:gd name="connsiteX279" fmla="*/ 10841006 w 12248682"/>
              <a:gd name="connsiteY279" fmla="*/ 609800 h 609800"/>
              <a:gd name="connsiteX280" fmla="*/ 10844715 w 12248682"/>
              <a:gd name="connsiteY280" fmla="*/ 600999 h 609800"/>
              <a:gd name="connsiteX281" fmla="*/ 10873155 w 12248682"/>
              <a:gd name="connsiteY281" fmla="*/ 589016 h 609800"/>
              <a:gd name="connsiteX282" fmla="*/ 10060082 w 12248682"/>
              <a:gd name="connsiteY282" fmla="*/ 589016 h 609800"/>
              <a:gd name="connsiteX283" fmla="*/ 10088522 w 12248682"/>
              <a:gd name="connsiteY283" fmla="*/ 600999 h 609800"/>
              <a:gd name="connsiteX284" fmla="*/ 10092230 w 12248682"/>
              <a:gd name="connsiteY284" fmla="*/ 609800 h 609800"/>
              <a:gd name="connsiteX285" fmla="*/ 10027932 w 12248682"/>
              <a:gd name="connsiteY285" fmla="*/ 609800 h 609800"/>
              <a:gd name="connsiteX286" fmla="*/ 10031640 w 12248682"/>
              <a:gd name="connsiteY286" fmla="*/ 600999 h 609800"/>
              <a:gd name="connsiteX287" fmla="*/ 10060082 w 12248682"/>
              <a:gd name="connsiteY287" fmla="*/ 589016 h 609800"/>
              <a:gd name="connsiteX288" fmla="*/ 9653545 w 12248682"/>
              <a:gd name="connsiteY288" fmla="*/ 589016 h 609800"/>
              <a:gd name="connsiteX289" fmla="*/ 9681985 w 12248682"/>
              <a:gd name="connsiteY289" fmla="*/ 600999 h 609800"/>
              <a:gd name="connsiteX290" fmla="*/ 9685693 w 12248682"/>
              <a:gd name="connsiteY290" fmla="*/ 609800 h 609800"/>
              <a:gd name="connsiteX291" fmla="*/ 9621396 w 12248682"/>
              <a:gd name="connsiteY291" fmla="*/ 609800 h 609800"/>
              <a:gd name="connsiteX292" fmla="*/ 9625104 w 12248682"/>
              <a:gd name="connsiteY292" fmla="*/ 600999 h 609800"/>
              <a:gd name="connsiteX293" fmla="*/ 9653545 w 12248682"/>
              <a:gd name="connsiteY293" fmla="*/ 589016 h 609800"/>
              <a:gd name="connsiteX294" fmla="*/ 8841022 w 12248682"/>
              <a:gd name="connsiteY294" fmla="*/ 589016 h 609800"/>
              <a:gd name="connsiteX295" fmla="*/ 8869895 w 12248682"/>
              <a:gd name="connsiteY295" fmla="*/ 600999 h 609800"/>
              <a:gd name="connsiteX296" fmla="*/ 8873469 w 12248682"/>
              <a:gd name="connsiteY296" fmla="*/ 609800 h 609800"/>
              <a:gd name="connsiteX297" fmla="*/ 8808873 w 12248682"/>
              <a:gd name="connsiteY297" fmla="*/ 609800 h 609800"/>
              <a:gd name="connsiteX298" fmla="*/ 8812582 w 12248682"/>
              <a:gd name="connsiteY298" fmla="*/ 600999 h 609800"/>
              <a:gd name="connsiteX299" fmla="*/ 8841022 w 12248682"/>
              <a:gd name="connsiteY299" fmla="*/ 589016 h 609800"/>
              <a:gd name="connsiteX300" fmla="*/ 8570767 w 12248682"/>
              <a:gd name="connsiteY300" fmla="*/ 589016 h 609800"/>
              <a:gd name="connsiteX301" fmla="*/ 8599207 w 12248682"/>
              <a:gd name="connsiteY301" fmla="*/ 600999 h 609800"/>
              <a:gd name="connsiteX302" fmla="*/ 8602916 w 12248682"/>
              <a:gd name="connsiteY302" fmla="*/ 609800 h 609800"/>
              <a:gd name="connsiteX303" fmla="*/ 8538618 w 12248682"/>
              <a:gd name="connsiteY303" fmla="*/ 609800 h 609800"/>
              <a:gd name="connsiteX304" fmla="*/ 8542327 w 12248682"/>
              <a:gd name="connsiteY304" fmla="*/ 600999 h 609800"/>
              <a:gd name="connsiteX305" fmla="*/ 8570767 w 12248682"/>
              <a:gd name="connsiteY305" fmla="*/ 589016 h 609800"/>
              <a:gd name="connsiteX306" fmla="*/ 6538083 w 12248682"/>
              <a:gd name="connsiteY306" fmla="*/ 589016 h 609800"/>
              <a:gd name="connsiteX307" fmla="*/ 6566958 w 12248682"/>
              <a:gd name="connsiteY307" fmla="*/ 600999 h 609800"/>
              <a:gd name="connsiteX308" fmla="*/ 6570532 w 12248682"/>
              <a:gd name="connsiteY308" fmla="*/ 609800 h 609800"/>
              <a:gd name="connsiteX309" fmla="*/ 6505935 w 12248682"/>
              <a:gd name="connsiteY309" fmla="*/ 609800 h 609800"/>
              <a:gd name="connsiteX310" fmla="*/ 6509643 w 12248682"/>
              <a:gd name="connsiteY310" fmla="*/ 600999 h 609800"/>
              <a:gd name="connsiteX311" fmla="*/ 6538083 w 12248682"/>
              <a:gd name="connsiteY311" fmla="*/ 589016 h 609800"/>
              <a:gd name="connsiteX312" fmla="*/ 6267830 w 12248682"/>
              <a:gd name="connsiteY312" fmla="*/ 589016 h 609800"/>
              <a:gd name="connsiteX313" fmla="*/ 6296269 w 12248682"/>
              <a:gd name="connsiteY313" fmla="*/ 600999 h 609800"/>
              <a:gd name="connsiteX314" fmla="*/ 6299977 w 12248682"/>
              <a:gd name="connsiteY314" fmla="*/ 609800 h 609800"/>
              <a:gd name="connsiteX315" fmla="*/ 6235681 w 12248682"/>
              <a:gd name="connsiteY315" fmla="*/ 609800 h 609800"/>
              <a:gd name="connsiteX316" fmla="*/ 6239389 w 12248682"/>
              <a:gd name="connsiteY316" fmla="*/ 600999 h 609800"/>
              <a:gd name="connsiteX317" fmla="*/ 6267830 w 12248682"/>
              <a:gd name="connsiteY317" fmla="*/ 589016 h 609800"/>
              <a:gd name="connsiteX318" fmla="*/ 5454756 w 12248682"/>
              <a:gd name="connsiteY318" fmla="*/ 589016 h 609800"/>
              <a:gd name="connsiteX319" fmla="*/ 5483196 w 12248682"/>
              <a:gd name="connsiteY319" fmla="*/ 600999 h 609800"/>
              <a:gd name="connsiteX320" fmla="*/ 5486904 w 12248682"/>
              <a:gd name="connsiteY320" fmla="*/ 609800 h 609800"/>
              <a:gd name="connsiteX321" fmla="*/ 5422607 w 12248682"/>
              <a:gd name="connsiteY321" fmla="*/ 609800 h 609800"/>
              <a:gd name="connsiteX322" fmla="*/ 5426315 w 12248682"/>
              <a:gd name="connsiteY322" fmla="*/ 600999 h 609800"/>
              <a:gd name="connsiteX323" fmla="*/ 5454756 w 12248682"/>
              <a:gd name="connsiteY323" fmla="*/ 589016 h 609800"/>
              <a:gd name="connsiteX324" fmla="*/ 5048218 w 12248682"/>
              <a:gd name="connsiteY324" fmla="*/ 589016 h 609800"/>
              <a:gd name="connsiteX325" fmla="*/ 5076659 w 12248682"/>
              <a:gd name="connsiteY325" fmla="*/ 600999 h 609800"/>
              <a:gd name="connsiteX326" fmla="*/ 5080367 w 12248682"/>
              <a:gd name="connsiteY326" fmla="*/ 609800 h 609800"/>
              <a:gd name="connsiteX327" fmla="*/ 5016070 w 12248682"/>
              <a:gd name="connsiteY327" fmla="*/ 609800 h 609800"/>
              <a:gd name="connsiteX328" fmla="*/ 5019778 w 12248682"/>
              <a:gd name="connsiteY328" fmla="*/ 600999 h 609800"/>
              <a:gd name="connsiteX329" fmla="*/ 5048218 w 12248682"/>
              <a:gd name="connsiteY329" fmla="*/ 589016 h 609800"/>
              <a:gd name="connsiteX330" fmla="*/ 4228217 w 12248682"/>
              <a:gd name="connsiteY330" fmla="*/ 589016 h 609800"/>
              <a:gd name="connsiteX331" fmla="*/ 4257089 w 12248682"/>
              <a:gd name="connsiteY331" fmla="*/ 600999 h 609800"/>
              <a:gd name="connsiteX332" fmla="*/ 4260663 w 12248682"/>
              <a:gd name="connsiteY332" fmla="*/ 609800 h 609800"/>
              <a:gd name="connsiteX333" fmla="*/ 4196067 w 12248682"/>
              <a:gd name="connsiteY333" fmla="*/ 609800 h 609800"/>
              <a:gd name="connsiteX334" fmla="*/ 4199775 w 12248682"/>
              <a:gd name="connsiteY334" fmla="*/ 600999 h 609800"/>
              <a:gd name="connsiteX335" fmla="*/ 4228217 w 12248682"/>
              <a:gd name="connsiteY335" fmla="*/ 589016 h 609800"/>
              <a:gd name="connsiteX336" fmla="*/ 3957960 w 12248682"/>
              <a:gd name="connsiteY336" fmla="*/ 589016 h 609800"/>
              <a:gd name="connsiteX337" fmla="*/ 3986400 w 12248682"/>
              <a:gd name="connsiteY337" fmla="*/ 600999 h 609800"/>
              <a:gd name="connsiteX338" fmla="*/ 3990108 w 12248682"/>
              <a:gd name="connsiteY338" fmla="*/ 609800 h 609800"/>
              <a:gd name="connsiteX339" fmla="*/ 3925812 w 12248682"/>
              <a:gd name="connsiteY339" fmla="*/ 609800 h 609800"/>
              <a:gd name="connsiteX340" fmla="*/ 3929520 w 12248682"/>
              <a:gd name="connsiteY340" fmla="*/ 600999 h 609800"/>
              <a:gd name="connsiteX341" fmla="*/ 3957960 w 12248682"/>
              <a:gd name="connsiteY341" fmla="*/ 589016 h 609800"/>
              <a:gd name="connsiteX342" fmla="*/ 1925276 w 12248682"/>
              <a:gd name="connsiteY342" fmla="*/ 589016 h 609800"/>
              <a:gd name="connsiteX343" fmla="*/ 1954149 w 12248682"/>
              <a:gd name="connsiteY343" fmla="*/ 600999 h 609800"/>
              <a:gd name="connsiteX344" fmla="*/ 1957723 w 12248682"/>
              <a:gd name="connsiteY344" fmla="*/ 609800 h 609800"/>
              <a:gd name="connsiteX345" fmla="*/ 1893128 w 12248682"/>
              <a:gd name="connsiteY345" fmla="*/ 609800 h 609800"/>
              <a:gd name="connsiteX346" fmla="*/ 1896836 w 12248682"/>
              <a:gd name="connsiteY346" fmla="*/ 600999 h 609800"/>
              <a:gd name="connsiteX347" fmla="*/ 1925276 w 12248682"/>
              <a:gd name="connsiteY347" fmla="*/ 589016 h 609800"/>
              <a:gd name="connsiteX348" fmla="*/ 1655022 w 12248682"/>
              <a:gd name="connsiteY348" fmla="*/ 589016 h 609800"/>
              <a:gd name="connsiteX349" fmla="*/ 1683462 w 12248682"/>
              <a:gd name="connsiteY349" fmla="*/ 600999 h 609800"/>
              <a:gd name="connsiteX350" fmla="*/ 1687170 w 12248682"/>
              <a:gd name="connsiteY350" fmla="*/ 609800 h 609800"/>
              <a:gd name="connsiteX351" fmla="*/ 1622873 w 12248682"/>
              <a:gd name="connsiteY351" fmla="*/ 609800 h 609800"/>
              <a:gd name="connsiteX352" fmla="*/ 1626581 w 12248682"/>
              <a:gd name="connsiteY352" fmla="*/ 600999 h 609800"/>
              <a:gd name="connsiteX353" fmla="*/ 1655022 w 12248682"/>
              <a:gd name="connsiteY353" fmla="*/ 589016 h 609800"/>
              <a:gd name="connsiteX354" fmla="*/ 841948 w 12248682"/>
              <a:gd name="connsiteY354" fmla="*/ 589016 h 609800"/>
              <a:gd name="connsiteX355" fmla="*/ 870388 w 12248682"/>
              <a:gd name="connsiteY355" fmla="*/ 600999 h 609800"/>
              <a:gd name="connsiteX356" fmla="*/ 874096 w 12248682"/>
              <a:gd name="connsiteY356" fmla="*/ 609800 h 609800"/>
              <a:gd name="connsiteX357" fmla="*/ 809800 w 12248682"/>
              <a:gd name="connsiteY357" fmla="*/ 609800 h 609800"/>
              <a:gd name="connsiteX358" fmla="*/ 813508 w 12248682"/>
              <a:gd name="connsiteY358" fmla="*/ 600999 h 609800"/>
              <a:gd name="connsiteX359" fmla="*/ 841948 w 12248682"/>
              <a:gd name="connsiteY359" fmla="*/ 589016 h 609800"/>
              <a:gd name="connsiteX360" fmla="*/ 435411 w 12248682"/>
              <a:gd name="connsiteY360" fmla="*/ 589016 h 609800"/>
              <a:gd name="connsiteX361" fmla="*/ 463851 w 12248682"/>
              <a:gd name="connsiteY361" fmla="*/ 600999 h 609800"/>
              <a:gd name="connsiteX362" fmla="*/ 467559 w 12248682"/>
              <a:gd name="connsiteY362" fmla="*/ 609800 h 609800"/>
              <a:gd name="connsiteX363" fmla="*/ 403263 w 12248682"/>
              <a:gd name="connsiteY363" fmla="*/ 609800 h 609800"/>
              <a:gd name="connsiteX364" fmla="*/ 406971 w 12248682"/>
              <a:gd name="connsiteY364" fmla="*/ 600999 h 609800"/>
              <a:gd name="connsiteX365" fmla="*/ 435411 w 12248682"/>
              <a:gd name="connsiteY365" fmla="*/ 589016 h 609800"/>
              <a:gd name="connsiteX366" fmla="*/ 11008282 w 12248682"/>
              <a:gd name="connsiteY366" fmla="*/ 577467 h 609800"/>
              <a:gd name="connsiteX367" fmla="*/ 11044085 w 12248682"/>
              <a:gd name="connsiteY367" fmla="*/ 592481 h 609800"/>
              <a:gd name="connsiteX368" fmla="*/ 11051348 w 12248682"/>
              <a:gd name="connsiteY368" fmla="*/ 609800 h 609800"/>
              <a:gd name="connsiteX369" fmla="*/ 10964993 w 12248682"/>
              <a:gd name="connsiteY369" fmla="*/ 609800 h 609800"/>
              <a:gd name="connsiteX370" fmla="*/ 10972046 w 12248682"/>
              <a:gd name="connsiteY370" fmla="*/ 592481 h 609800"/>
              <a:gd name="connsiteX371" fmla="*/ 11008282 w 12248682"/>
              <a:gd name="connsiteY371" fmla="*/ 577467 h 609800"/>
              <a:gd name="connsiteX372" fmla="*/ 9924954 w 12248682"/>
              <a:gd name="connsiteY372" fmla="*/ 577467 h 609800"/>
              <a:gd name="connsiteX373" fmla="*/ 9960757 w 12248682"/>
              <a:gd name="connsiteY373" fmla="*/ 592481 h 609800"/>
              <a:gd name="connsiteX374" fmla="*/ 9968020 w 12248682"/>
              <a:gd name="connsiteY374" fmla="*/ 609800 h 609800"/>
              <a:gd name="connsiteX375" fmla="*/ 9881665 w 12248682"/>
              <a:gd name="connsiteY375" fmla="*/ 609800 h 609800"/>
              <a:gd name="connsiteX376" fmla="*/ 9888718 w 12248682"/>
              <a:gd name="connsiteY376" fmla="*/ 592481 h 609800"/>
              <a:gd name="connsiteX377" fmla="*/ 9924954 w 12248682"/>
              <a:gd name="connsiteY377" fmla="*/ 577467 h 609800"/>
              <a:gd name="connsiteX378" fmla="*/ 9788672 w 12248682"/>
              <a:gd name="connsiteY378" fmla="*/ 577467 h 609800"/>
              <a:gd name="connsiteX379" fmla="*/ 9824908 w 12248682"/>
              <a:gd name="connsiteY379" fmla="*/ 593059 h 609800"/>
              <a:gd name="connsiteX380" fmla="*/ 9831618 w 12248682"/>
              <a:gd name="connsiteY380" fmla="*/ 609800 h 609800"/>
              <a:gd name="connsiteX381" fmla="*/ 9745864 w 12248682"/>
              <a:gd name="connsiteY381" fmla="*/ 609800 h 609800"/>
              <a:gd name="connsiteX382" fmla="*/ 9752868 w 12248682"/>
              <a:gd name="connsiteY382" fmla="*/ 592626 h 609800"/>
              <a:gd name="connsiteX383" fmla="*/ 9788672 w 12248682"/>
              <a:gd name="connsiteY383" fmla="*/ 577467 h 609800"/>
              <a:gd name="connsiteX384" fmla="*/ 8705894 w 12248682"/>
              <a:gd name="connsiteY384" fmla="*/ 577467 h 609800"/>
              <a:gd name="connsiteX385" fmla="*/ 8741697 w 12248682"/>
              <a:gd name="connsiteY385" fmla="*/ 592481 h 609800"/>
              <a:gd name="connsiteX386" fmla="*/ 8748960 w 12248682"/>
              <a:gd name="connsiteY386" fmla="*/ 609800 h 609800"/>
              <a:gd name="connsiteX387" fmla="*/ 8662605 w 12248682"/>
              <a:gd name="connsiteY387" fmla="*/ 609800 h 609800"/>
              <a:gd name="connsiteX388" fmla="*/ 8669658 w 12248682"/>
              <a:gd name="connsiteY388" fmla="*/ 592481 h 609800"/>
              <a:gd name="connsiteX389" fmla="*/ 8705894 w 12248682"/>
              <a:gd name="connsiteY389" fmla="*/ 577467 h 609800"/>
              <a:gd name="connsiteX390" fmla="*/ 6402956 w 12248682"/>
              <a:gd name="connsiteY390" fmla="*/ 577467 h 609800"/>
              <a:gd name="connsiteX391" fmla="*/ 6439192 w 12248682"/>
              <a:gd name="connsiteY391" fmla="*/ 592481 h 609800"/>
              <a:gd name="connsiteX392" fmla="*/ 6446246 w 12248682"/>
              <a:gd name="connsiteY392" fmla="*/ 609800 h 609800"/>
              <a:gd name="connsiteX393" fmla="*/ 6359667 w 12248682"/>
              <a:gd name="connsiteY393" fmla="*/ 609800 h 609800"/>
              <a:gd name="connsiteX394" fmla="*/ 6366721 w 12248682"/>
              <a:gd name="connsiteY394" fmla="*/ 592481 h 609800"/>
              <a:gd name="connsiteX395" fmla="*/ 6402956 w 12248682"/>
              <a:gd name="connsiteY395" fmla="*/ 577467 h 609800"/>
              <a:gd name="connsiteX396" fmla="*/ 5319628 w 12248682"/>
              <a:gd name="connsiteY396" fmla="*/ 577467 h 609800"/>
              <a:gd name="connsiteX397" fmla="*/ 5355431 w 12248682"/>
              <a:gd name="connsiteY397" fmla="*/ 592481 h 609800"/>
              <a:gd name="connsiteX398" fmla="*/ 5362693 w 12248682"/>
              <a:gd name="connsiteY398" fmla="*/ 609800 h 609800"/>
              <a:gd name="connsiteX399" fmla="*/ 5276339 w 12248682"/>
              <a:gd name="connsiteY399" fmla="*/ 609800 h 609800"/>
              <a:gd name="connsiteX400" fmla="*/ 5283392 w 12248682"/>
              <a:gd name="connsiteY400" fmla="*/ 592481 h 609800"/>
              <a:gd name="connsiteX401" fmla="*/ 5319628 w 12248682"/>
              <a:gd name="connsiteY401" fmla="*/ 577467 h 609800"/>
              <a:gd name="connsiteX402" fmla="*/ 5183346 w 12248682"/>
              <a:gd name="connsiteY402" fmla="*/ 577467 h 609800"/>
              <a:gd name="connsiteX403" fmla="*/ 5219582 w 12248682"/>
              <a:gd name="connsiteY403" fmla="*/ 592481 h 609800"/>
              <a:gd name="connsiteX404" fmla="*/ 5226635 w 12248682"/>
              <a:gd name="connsiteY404" fmla="*/ 609800 h 609800"/>
              <a:gd name="connsiteX405" fmla="*/ 5140056 w 12248682"/>
              <a:gd name="connsiteY405" fmla="*/ 609800 h 609800"/>
              <a:gd name="connsiteX406" fmla="*/ 5147110 w 12248682"/>
              <a:gd name="connsiteY406" fmla="*/ 592481 h 609800"/>
              <a:gd name="connsiteX407" fmla="*/ 5183346 w 12248682"/>
              <a:gd name="connsiteY407" fmla="*/ 577467 h 609800"/>
              <a:gd name="connsiteX408" fmla="*/ 4093087 w 12248682"/>
              <a:gd name="connsiteY408" fmla="*/ 577467 h 609800"/>
              <a:gd name="connsiteX409" fmla="*/ 4128890 w 12248682"/>
              <a:gd name="connsiteY409" fmla="*/ 592481 h 609800"/>
              <a:gd name="connsiteX410" fmla="*/ 4136153 w 12248682"/>
              <a:gd name="connsiteY410" fmla="*/ 609800 h 609800"/>
              <a:gd name="connsiteX411" fmla="*/ 4049798 w 12248682"/>
              <a:gd name="connsiteY411" fmla="*/ 609800 h 609800"/>
              <a:gd name="connsiteX412" fmla="*/ 4056851 w 12248682"/>
              <a:gd name="connsiteY412" fmla="*/ 592481 h 609800"/>
              <a:gd name="connsiteX413" fmla="*/ 4093087 w 12248682"/>
              <a:gd name="connsiteY413" fmla="*/ 577467 h 609800"/>
              <a:gd name="connsiteX414" fmla="*/ 1790148 w 12248682"/>
              <a:gd name="connsiteY414" fmla="*/ 577467 h 609800"/>
              <a:gd name="connsiteX415" fmla="*/ 1825951 w 12248682"/>
              <a:gd name="connsiteY415" fmla="*/ 592481 h 609800"/>
              <a:gd name="connsiteX416" fmla="*/ 1833214 w 12248682"/>
              <a:gd name="connsiteY416" fmla="*/ 609800 h 609800"/>
              <a:gd name="connsiteX417" fmla="*/ 1746859 w 12248682"/>
              <a:gd name="connsiteY417" fmla="*/ 609800 h 609800"/>
              <a:gd name="connsiteX418" fmla="*/ 1753912 w 12248682"/>
              <a:gd name="connsiteY418" fmla="*/ 592481 h 609800"/>
              <a:gd name="connsiteX419" fmla="*/ 1790148 w 12248682"/>
              <a:gd name="connsiteY419" fmla="*/ 577467 h 609800"/>
              <a:gd name="connsiteX420" fmla="*/ 706820 w 12248682"/>
              <a:gd name="connsiteY420" fmla="*/ 577467 h 609800"/>
              <a:gd name="connsiteX421" fmla="*/ 742623 w 12248682"/>
              <a:gd name="connsiteY421" fmla="*/ 592481 h 609800"/>
              <a:gd name="connsiteX422" fmla="*/ 749886 w 12248682"/>
              <a:gd name="connsiteY422" fmla="*/ 609800 h 609800"/>
              <a:gd name="connsiteX423" fmla="*/ 663531 w 12248682"/>
              <a:gd name="connsiteY423" fmla="*/ 609800 h 609800"/>
              <a:gd name="connsiteX424" fmla="*/ 670584 w 12248682"/>
              <a:gd name="connsiteY424" fmla="*/ 592481 h 609800"/>
              <a:gd name="connsiteX425" fmla="*/ 706820 w 12248682"/>
              <a:gd name="connsiteY425" fmla="*/ 577467 h 609800"/>
              <a:gd name="connsiteX426" fmla="*/ 570538 w 12248682"/>
              <a:gd name="connsiteY426" fmla="*/ 577467 h 609800"/>
              <a:gd name="connsiteX427" fmla="*/ 606775 w 12248682"/>
              <a:gd name="connsiteY427" fmla="*/ 593059 h 609800"/>
              <a:gd name="connsiteX428" fmla="*/ 613484 w 12248682"/>
              <a:gd name="connsiteY428" fmla="*/ 609800 h 609800"/>
              <a:gd name="connsiteX429" fmla="*/ 527731 w 12248682"/>
              <a:gd name="connsiteY429" fmla="*/ 609800 h 609800"/>
              <a:gd name="connsiteX430" fmla="*/ 534735 w 12248682"/>
              <a:gd name="connsiteY430" fmla="*/ 592626 h 609800"/>
              <a:gd name="connsiteX431" fmla="*/ 570538 w 12248682"/>
              <a:gd name="connsiteY431" fmla="*/ 577467 h 609800"/>
              <a:gd name="connsiteX432" fmla="*/ 12180541 w 12248682"/>
              <a:gd name="connsiteY432" fmla="*/ 464284 h 609800"/>
              <a:gd name="connsiteX433" fmla="*/ 12201330 w 12248682"/>
              <a:gd name="connsiteY433" fmla="*/ 485072 h 609800"/>
              <a:gd name="connsiteX434" fmla="*/ 12180541 w 12248682"/>
              <a:gd name="connsiteY434" fmla="*/ 505861 h 609800"/>
              <a:gd name="connsiteX435" fmla="*/ 12159752 w 12248682"/>
              <a:gd name="connsiteY435" fmla="*/ 485072 h 609800"/>
              <a:gd name="connsiteX436" fmla="*/ 12180541 w 12248682"/>
              <a:gd name="connsiteY436" fmla="*/ 464284 h 609800"/>
              <a:gd name="connsiteX437" fmla="*/ 12040793 w 12248682"/>
              <a:gd name="connsiteY437" fmla="*/ 464284 h 609800"/>
              <a:gd name="connsiteX438" fmla="*/ 12061582 w 12248682"/>
              <a:gd name="connsiteY438" fmla="*/ 485072 h 609800"/>
              <a:gd name="connsiteX439" fmla="*/ 12040793 w 12248682"/>
              <a:gd name="connsiteY439" fmla="*/ 505861 h 609800"/>
              <a:gd name="connsiteX440" fmla="*/ 12020004 w 12248682"/>
              <a:gd name="connsiteY440" fmla="*/ 485072 h 609800"/>
              <a:gd name="connsiteX441" fmla="*/ 12040793 w 12248682"/>
              <a:gd name="connsiteY441" fmla="*/ 464284 h 609800"/>
              <a:gd name="connsiteX442" fmla="*/ 11901047 w 12248682"/>
              <a:gd name="connsiteY442" fmla="*/ 464284 h 609800"/>
              <a:gd name="connsiteX443" fmla="*/ 11921836 w 12248682"/>
              <a:gd name="connsiteY443" fmla="*/ 485072 h 609800"/>
              <a:gd name="connsiteX444" fmla="*/ 11901047 w 12248682"/>
              <a:gd name="connsiteY444" fmla="*/ 505861 h 609800"/>
              <a:gd name="connsiteX445" fmla="*/ 11880258 w 12248682"/>
              <a:gd name="connsiteY445" fmla="*/ 485072 h 609800"/>
              <a:gd name="connsiteX446" fmla="*/ 11901047 w 12248682"/>
              <a:gd name="connsiteY446" fmla="*/ 464284 h 609800"/>
              <a:gd name="connsiteX447" fmla="*/ 11761299 w 12248682"/>
              <a:gd name="connsiteY447" fmla="*/ 464284 h 609800"/>
              <a:gd name="connsiteX448" fmla="*/ 11782088 w 12248682"/>
              <a:gd name="connsiteY448" fmla="*/ 485072 h 609800"/>
              <a:gd name="connsiteX449" fmla="*/ 11761299 w 12248682"/>
              <a:gd name="connsiteY449" fmla="*/ 505861 h 609800"/>
              <a:gd name="connsiteX450" fmla="*/ 11740510 w 12248682"/>
              <a:gd name="connsiteY450" fmla="*/ 485072 h 609800"/>
              <a:gd name="connsiteX451" fmla="*/ 11761299 w 12248682"/>
              <a:gd name="connsiteY451" fmla="*/ 464284 h 609800"/>
              <a:gd name="connsiteX452" fmla="*/ 11621553 w 12248682"/>
              <a:gd name="connsiteY452" fmla="*/ 464284 h 609800"/>
              <a:gd name="connsiteX453" fmla="*/ 11642342 w 12248682"/>
              <a:gd name="connsiteY453" fmla="*/ 485072 h 609800"/>
              <a:gd name="connsiteX454" fmla="*/ 11621553 w 12248682"/>
              <a:gd name="connsiteY454" fmla="*/ 505861 h 609800"/>
              <a:gd name="connsiteX455" fmla="*/ 11600764 w 12248682"/>
              <a:gd name="connsiteY455" fmla="*/ 485072 h 609800"/>
              <a:gd name="connsiteX456" fmla="*/ 11621553 w 12248682"/>
              <a:gd name="connsiteY456" fmla="*/ 464284 h 609800"/>
              <a:gd name="connsiteX457" fmla="*/ 11481805 w 12248682"/>
              <a:gd name="connsiteY457" fmla="*/ 464284 h 609800"/>
              <a:gd name="connsiteX458" fmla="*/ 11502594 w 12248682"/>
              <a:gd name="connsiteY458" fmla="*/ 485072 h 609800"/>
              <a:gd name="connsiteX459" fmla="*/ 11481805 w 12248682"/>
              <a:gd name="connsiteY459" fmla="*/ 505861 h 609800"/>
              <a:gd name="connsiteX460" fmla="*/ 11461016 w 12248682"/>
              <a:gd name="connsiteY460" fmla="*/ 485072 h 609800"/>
              <a:gd name="connsiteX461" fmla="*/ 11481805 w 12248682"/>
              <a:gd name="connsiteY461" fmla="*/ 464284 h 609800"/>
              <a:gd name="connsiteX462" fmla="*/ 10644478 w 12248682"/>
              <a:gd name="connsiteY462" fmla="*/ 464284 h 609800"/>
              <a:gd name="connsiteX463" fmla="*/ 10665267 w 12248682"/>
              <a:gd name="connsiteY463" fmla="*/ 485072 h 609800"/>
              <a:gd name="connsiteX464" fmla="*/ 10644478 w 12248682"/>
              <a:gd name="connsiteY464" fmla="*/ 505861 h 609800"/>
              <a:gd name="connsiteX465" fmla="*/ 10623690 w 12248682"/>
              <a:gd name="connsiteY465" fmla="*/ 485072 h 609800"/>
              <a:gd name="connsiteX466" fmla="*/ 10644478 w 12248682"/>
              <a:gd name="connsiteY466" fmla="*/ 464284 h 609800"/>
              <a:gd name="connsiteX467" fmla="*/ 10504731 w 12248682"/>
              <a:gd name="connsiteY467" fmla="*/ 464284 h 609800"/>
              <a:gd name="connsiteX468" fmla="*/ 10525520 w 12248682"/>
              <a:gd name="connsiteY468" fmla="*/ 485072 h 609800"/>
              <a:gd name="connsiteX469" fmla="*/ 10504731 w 12248682"/>
              <a:gd name="connsiteY469" fmla="*/ 505861 h 609800"/>
              <a:gd name="connsiteX470" fmla="*/ 10483942 w 12248682"/>
              <a:gd name="connsiteY470" fmla="*/ 485072 h 609800"/>
              <a:gd name="connsiteX471" fmla="*/ 10504731 w 12248682"/>
              <a:gd name="connsiteY471" fmla="*/ 464284 h 609800"/>
              <a:gd name="connsiteX472" fmla="*/ 10364984 w 12248682"/>
              <a:gd name="connsiteY472" fmla="*/ 464284 h 609800"/>
              <a:gd name="connsiteX473" fmla="*/ 10385773 w 12248682"/>
              <a:gd name="connsiteY473" fmla="*/ 485072 h 609800"/>
              <a:gd name="connsiteX474" fmla="*/ 10364984 w 12248682"/>
              <a:gd name="connsiteY474" fmla="*/ 505861 h 609800"/>
              <a:gd name="connsiteX475" fmla="*/ 10344196 w 12248682"/>
              <a:gd name="connsiteY475" fmla="*/ 485072 h 609800"/>
              <a:gd name="connsiteX476" fmla="*/ 10364984 w 12248682"/>
              <a:gd name="connsiteY476" fmla="*/ 464284 h 609800"/>
              <a:gd name="connsiteX477" fmla="*/ 7854709 w 12248682"/>
              <a:gd name="connsiteY477" fmla="*/ 464284 h 609800"/>
              <a:gd name="connsiteX478" fmla="*/ 7875498 w 12248682"/>
              <a:gd name="connsiteY478" fmla="*/ 485072 h 609800"/>
              <a:gd name="connsiteX479" fmla="*/ 7854709 w 12248682"/>
              <a:gd name="connsiteY479" fmla="*/ 505861 h 609800"/>
              <a:gd name="connsiteX480" fmla="*/ 7833921 w 12248682"/>
              <a:gd name="connsiteY480" fmla="*/ 485072 h 609800"/>
              <a:gd name="connsiteX481" fmla="*/ 7854709 w 12248682"/>
              <a:gd name="connsiteY481" fmla="*/ 464284 h 609800"/>
              <a:gd name="connsiteX482" fmla="*/ 7714960 w 12248682"/>
              <a:gd name="connsiteY482" fmla="*/ 464284 h 609800"/>
              <a:gd name="connsiteX483" fmla="*/ 7735749 w 12248682"/>
              <a:gd name="connsiteY483" fmla="*/ 485072 h 609800"/>
              <a:gd name="connsiteX484" fmla="*/ 7714960 w 12248682"/>
              <a:gd name="connsiteY484" fmla="*/ 505861 h 609800"/>
              <a:gd name="connsiteX485" fmla="*/ 7694172 w 12248682"/>
              <a:gd name="connsiteY485" fmla="*/ 485072 h 609800"/>
              <a:gd name="connsiteX486" fmla="*/ 7714960 w 12248682"/>
              <a:gd name="connsiteY486" fmla="*/ 464284 h 609800"/>
              <a:gd name="connsiteX487" fmla="*/ 7575214 w 12248682"/>
              <a:gd name="connsiteY487" fmla="*/ 464284 h 609800"/>
              <a:gd name="connsiteX488" fmla="*/ 7596004 w 12248682"/>
              <a:gd name="connsiteY488" fmla="*/ 485072 h 609800"/>
              <a:gd name="connsiteX489" fmla="*/ 7575214 w 12248682"/>
              <a:gd name="connsiteY489" fmla="*/ 505861 h 609800"/>
              <a:gd name="connsiteX490" fmla="*/ 7554427 w 12248682"/>
              <a:gd name="connsiteY490" fmla="*/ 485072 h 609800"/>
              <a:gd name="connsiteX491" fmla="*/ 7575214 w 12248682"/>
              <a:gd name="connsiteY491" fmla="*/ 464284 h 609800"/>
              <a:gd name="connsiteX492" fmla="*/ 7435467 w 12248682"/>
              <a:gd name="connsiteY492" fmla="*/ 464284 h 609800"/>
              <a:gd name="connsiteX493" fmla="*/ 7456257 w 12248682"/>
              <a:gd name="connsiteY493" fmla="*/ 485072 h 609800"/>
              <a:gd name="connsiteX494" fmla="*/ 7435467 w 12248682"/>
              <a:gd name="connsiteY494" fmla="*/ 505861 h 609800"/>
              <a:gd name="connsiteX495" fmla="*/ 7414678 w 12248682"/>
              <a:gd name="connsiteY495" fmla="*/ 485072 h 609800"/>
              <a:gd name="connsiteX496" fmla="*/ 7435467 w 12248682"/>
              <a:gd name="connsiteY496" fmla="*/ 464284 h 609800"/>
              <a:gd name="connsiteX497" fmla="*/ 7295720 w 12248682"/>
              <a:gd name="connsiteY497" fmla="*/ 464284 h 609800"/>
              <a:gd name="connsiteX498" fmla="*/ 7316509 w 12248682"/>
              <a:gd name="connsiteY498" fmla="*/ 485072 h 609800"/>
              <a:gd name="connsiteX499" fmla="*/ 7295720 w 12248682"/>
              <a:gd name="connsiteY499" fmla="*/ 505861 h 609800"/>
              <a:gd name="connsiteX500" fmla="*/ 7274932 w 12248682"/>
              <a:gd name="connsiteY500" fmla="*/ 485072 h 609800"/>
              <a:gd name="connsiteX501" fmla="*/ 7295720 w 12248682"/>
              <a:gd name="connsiteY501" fmla="*/ 464284 h 609800"/>
              <a:gd name="connsiteX502" fmla="*/ 7155974 w 12248682"/>
              <a:gd name="connsiteY502" fmla="*/ 464284 h 609800"/>
              <a:gd name="connsiteX503" fmla="*/ 7176762 w 12248682"/>
              <a:gd name="connsiteY503" fmla="*/ 485072 h 609800"/>
              <a:gd name="connsiteX504" fmla="*/ 7155974 w 12248682"/>
              <a:gd name="connsiteY504" fmla="*/ 505861 h 609800"/>
              <a:gd name="connsiteX505" fmla="*/ 7135183 w 12248682"/>
              <a:gd name="connsiteY505" fmla="*/ 485072 h 609800"/>
              <a:gd name="connsiteX506" fmla="*/ 7155974 w 12248682"/>
              <a:gd name="connsiteY506" fmla="*/ 464284 h 609800"/>
              <a:gd name="connsiteX507" fmla="*/ 7016227 w 12248682"/>
              <a:gd name="connsiteY507" fmla="*/ 464284 h 609800"/>
              <a:gd name="connsiteX508" fmla="*/ 7037016 w 12248682"/>
              <a:gd name="connsiteY508" fmla="*/ 485072 h 609800"/>
              <a:gd name="connsiteX509" fmla="*/ 7016227 w 12248682"/>
              <a:gd name="connsiteY509" fmla="*/ 505861 h 609800"/>
              <a:gd name="connsiteX510" fmla="*/ 6995438 w 12248682"/>
              <a:gd name="connsiteY510" fmla="*/ 485072 h 609800"/>
              <a:gd name="connsiteX511" fmla="*/ 7016227 w 12248682"/>
              <a:gd name="connsiteY511" fmla="*/ 464284 h 609800"/>
              <a:gd name="connsiteX512" fmla="*/ 6877634 w 12248682"/>
              <a:gd name="connsiteY512" fmla="*/ 464284 h 609800"/>
              <a:gd name="connsiteX513" fmla="*/ 6898424 w 12248682"/>
              <a:gd name="connsiteY513" fmla="*/ 485072 h 609800"/>
              <a:gd name="connsiteX514" fmla="*/ 6877634 w 12248682"/>
              <a:gd name="connsiteY514" fmla="*/ 505861 h 609800"/>
              <a:gd name="connsiteX515" fmla="*/ 6856845 w 12248682"/>
              <a:gd name="connsiteY515" fmla="*/ 485072 h 609800"/>
              <a:gd name="connsiteX516" fmla="*/ 6877634 w 12248682"/>
              <a:gd name="connsiteY516" fmla="*/ 464284 h 609800"/>
              <a:gd name="connsiteX517" fmla="*/ 6039151 w 12248682"/>
              <a:gd name="connsiteY517" fmla="*/ 464284 h 609800"/>
              <a:gd name="connsiteX518" fmla="*/ 6059942 w 12248682"/>
              <a:gd name="connsiteY518" fmla="*/ 485072 h 609800"/>
              <a:gd name="connsiteX519" fmla="*/ 6039151 w 12248682"/>
              <a:gd name="connsiteY519" fmla="*/ 505861 h 609800"/>
              <a:gd name="connsiteX520" fmla="*/ 6018363 w 12248682"/>
              <a:gd name="connsiteY520" fmla="*/ 485072 h 609800"/>
              <a:gd name="connsiteX521" fmla="*/ 6039151 w 12248682"/>
              <a:gd name="connsiteY521" fmla="*/ 464284 h 609800"/>
              <a:gd name="connsiteX522" fmla="*/ 5899406 w 12248682"/>
              <a:gd name="connsiteY522" fmla="*/ 464284 h 609800"/>
              <a:gd name="connsiteX523" fmla="*/ 5920193 w 12248682"/>
              <a:gd name="connsiteY523" fmla="*/ 485072 h 609800"/>
              <a:gd name="connsiteX524" fmla="*/ 5899406 w 12248682"/>
              <a:gd name="connsiteY524" fmla="*/ 505861 h 609800"/>
              <a:gd name="connsiteX525" fmla="*/ 5878616 w 12248682"/>
              <a:gd name="connsiteY525" fmla="*/ 485072 h 609800"/>
              <a:gd name="connsiteX526" fmla="*/ 5899406 w 12248682"/>
              <a:gd name="connsiteY526" fmla="*/ 464284 h 609800"/>
              <a:gd name="connsiteX527" fmla="*/ 5759658 w 12248682"/>
              <a:gd name="connsiteY527" fmla="*/ 464284 h 609800"/>
              <a:gd name="connsiteX528" fmla="*/ 5780448 w 12248682"/>
              <a:gd name="connsiteY528" fmla="*/ 485072 h 609800"/>
              <a:gd name="connsiteX529" fmla="*/ 5759658 w 12248682"/>
              <a:gd name="connsiteY529" fmla="*/ 505861 h 609800"/>
              <a:gd name="connsiteX530" fmla="*/ 5738869 w 12248682"/>
              <a:gd name="connsiteY530" fmla="*/ 485072 h 609800"/>
              <a:gd name="connsiteX531" fmla="*/ 5759658 w 12248682"/>
              <a:gd name="connsiteY531" fmla="*/ 464284 h 609800"/>
              <a:gd name="connsiteX532" fmla="*/ 3241901 w 12248682"/>
              <a:gd name="connsiteY532" fmla="*/ 464284 h 609800"/>
              <a:gd name="connsiteX533" fmla="*/ 3262690 w 12248682"/>
              <a:gd name="connsiteY533" fmla="*/ 485072 h 609800"/>
              <a:gd name="connsiteX534" fmla="*/ 3241901 w 12248682"/>
              <a:gd name="connsiteY534" fmla="*/ 505861 h 609800"/>
              <a:gd name="connsiteX535" fmla="*/ 3221112 w 12248682"/>
              <a:gd name="connsiteY535" fmla="*/ 485072 h 609800"/>
              <a:gd name="connsiteX536" fmla="*/ 3241901 w 12248682"/>
              <a:gd name="connsiteY536" fmla="*/ 464284 h 609800"/>
              <a:gd name="connsiteX537" fmla="*/ 3102153 w 12248682"/>
              <a:gd name="connsiteY537" fmla="*/ 464284 h 609800"/>
              <a:gd name="connsiteX538" fmla="*/ 3122942 w 12248682"/>
              <a:gd name="connsiteY538" fmla="*/ 485072 h 609800"/>
              <a:gd name="connsiteX539" fmla="*/ 3102153 w 12248682"/>
              <a:gd name="connsiteY539" fmla="*/ 505861 h 609800"/>
              <a:gd name="connsiteX540" fmla="*/ 3081365 w 12248682"/>
              <a:gd name="connsiteY540" fmla="*/ 485072 h 609800"/>
              <a:gd name="connsiteX541" fmla="*/ 3102153 w 12248682"/>
              <a:gd name="connsiteY541" fmla="*/ 464284 h 609800"/>
              <a:gd name="connsiteX542" fmla="*/ 2962407 w 12248682"/>
              <a:gd name="connsiteY542" fmla="*/ 464284 h 609800"/>
              <a:gd name="connsiteX543" fmla="*/ 2983196 w 12248682"/>
              <a:gd name="connsiteY543" fmla="*/ 485072 h 609800"/>
              <a:gd name="connsiteX544" fmla="*/ 2962407 w 12248682"/>
              <a:gd name="connsiteY544" fmla="*/ 505861 h 609800"/>
              <a:gd name="connsiteX545" fmla="*/ 2941618 w 12248682"/>
              <a:gd name="connsiteY545" fmla="*/ 485072 h 609800"/>
              <a:gd name="connsiteX546" fmla="*/ 2962407 w 12248682"/>
              <a:gd name="connsiteY546" fmla="*/ 464284 h 609800"/>
              <a:gd name="connsiteX547" fmla="*/ 2822659 w 12248682"/>
              <a:gd name="connsiteY547" fmla="*/ 464284 h 609800"/>
              <a:gd name="connsiteX548" fmla="*/ 2843448 w 12248682"/>
              <a:gd name="connsiteY548" fmla="*/ 485072 h 609800"/>
              <a:gd name="connsiteX549" fmla="*/ 2822659 w 12248682"/>
              <a:gd name="connsiteY549" fmla="*/ 505861 h 609800"/>
              <a:gd name="connsiteX550" fmla="*/ 2801871 w 12248682"/>
              <a:gd name="connsiteY550" fmla="*/ 485072 h 609800"/>
              <a:gd name="connsiteX551" fmla="*/ 2822659 w 12248682"/>
              <a:gd name="connsiteY551" fmla="*/ 464284 h 609800"/>
              <a:gd name="connsiteX552" fmla="*/ 2682913 w 12248682"/>
              <a:gd name="connsiteY552" fmla="*/ 464284 h 609800"/>
              <a:gd name="connsiteX553" fmla="*/ 2703702 w 12248682"/>
              <a:gd name="connsiteY553" fmla="*/ 485072 h 609800"/>
              <a:gd name="connsiteX554" fmla="*/ 2682913 w 12248682"/>
              <a:gd name="connsiteY554" fmla="*/ 505861 h 609800"/>
              <a:gd name="connsiteX555" fmla="*/ 2662124 w 12248682"/>
              <a:gd name="connsiteY555" fmla="*/ 485072 h 609800"/>
              <a:gd name="connsiteX556" fmla="*/ 2682913 w 12248682"/>
              <a:gd name="connsiteY556" fmla="*/ 464284 h 609800"/>
              <a:gd name="connsiteX557" fmla="*/ 2543167 w 12248682"/>
              <a:gd name="connsiteY557" fmla="*/ 464284 h 609800"/>
              <a:gd name="connsiteX558" fmla="*/ 2563954 w 12248682"/>
              <a:gd name="connsiteY558" fmla="*/ 485072 h 609800"/>
              <a:gd name="connsiteX559" fmla="*/ 2543167 w 12248682"/>
              <a:gd name="connsiteY559" fmla="*/ 505861 h 609800"/>
              <a:gd name="connsiteX560" fmla="*/ 2522376 w 12248682"/>
              <a:gd name="connsiteY560" fmla="*/ 485072 h 609800"/>
              <a:gd name="connsiteX561" fmla="*/ 2543167 w 12248682"/>
              <a:gd name="connsiteY561" fmla="*/ 464284 h 609800"/>
              <a:gd name="connsiteX562" fmla="*/ 2403419 w 12248682"/>
              <a:gd name="connsiteY562" fmla="*/ 464284 h 609800"/>
              <a:gd name="connsiteX563" fmla="*/ 2424209 w 12248682"/>
              <a:gd name="connsiteY563" fmla="*/ 485072 h 609800"/>
              <a:gd name="connsiteX564" fmla="*/ 2403419 w 12248682"/>
              <a:gd name="connsiteY564" fmla="*/ 505861 h 609800"/>
              <a:gd name="connsiteX565" fmla="*/ 2382630 w 12248682"/>
              <a:gd name="connsiteY565" fmla="*/ 485072 h 609800"/>
              <a:gd name="connsiteX566" fmla="*/ 2403419 w 12248682"/>
              <a:gd name="connsiteY566" fmla="*/ 464284 h 609800"/>
              <a:gd name="connsiteX567" fmla="*/ 2263671 w 12248682"/>
              <a:gd name="connsiteY567" fmla="*/ 464284 h 609800"/>
              <a:gd name="connsiteX568" fmla="*/ 2284460 w 12248682"/>
              <a:gd name="connsiteY568" fmla="*/ 485072 h 609800"/>
              <a:gd name="connsiteX569" fmla="*/ 2263671 w 12248682"/>
              <a:gd name="connsiteY569" fmla="*/ 505861 h 609800"/>
              <a:gd name="connsiteX570" fmla="*/ 2242883 w 12248682"/>
              <a:gd name="connsiteY570" fmla="*/ 485072 h 609800"/>
              <a:gd name="connsiteX571" fmla="*/ 2263671 w 12248682"/>
              <a:gd name="connsiteY571" fmla="*/ 464284 h 609800"/>
              <a:gd name="connsiteX572" fmla="*/ 1426344 w 12248682"/>
              <a:gd name="connsiteY572" fmla="*/ 464284 h 609800"/>
              <a:gd name="connsiteX573" fmla="*/ 1447133 w 12248682"/>
              <a:gd name="connsiteY573" fmla="*/ 485072 h 609800"/>
              <a:gd name="connsiteX574" fmla="*/ 1426344 w 12248682"/>
              <a:gd name="connsiteY574" fmla="*/ 505861 h 609800"/>
              <a:gd name="connsiteX575" fmla="*/ 1405556 w 12248682"/>
              <a:gd name="connsiteY575" fmla="*/ 485072 h 609800"/>
              <a:gd name="connsiteX576" fmla="*/ 1426344 w 12248682"/>
              <a:gd name="connsiteY576" fmla="*/ 464284 h 609800"/>
              <a:gd name="connsiteX577" fmla="*/ 1286597 w 12248682"/>
              <a:gd name="connsiteY577" fmla="*/ 464284 h 609800"/>
              <a:gd name="connsiteX578" fmla="*/ 1307386 w 12248682"/>
              <a:gd name="connsiteY578" fmla="*/ 485072 h 609800"/>
              <a:gd name="connsiteX579" fmla="*/ 1286597 w 12248682"/>
              <a:gd name="connsiteY579" fmla="*/ 505861 h 609800"/>
              <a:gd name="connsiteX580" fmla="*/ 1265808 w 12248682"/>
              <a:gd name="connsiteY580" fmla="*/ 485072 h 609800"/>
              <a:gd name="connsiteX581" fmla="*/ 1286597 w 12248682"/>
              <a:gd name="connsiteY581" fmla="*/ 464284 h 609800"/>
              <a:gd name="connsiteX582" fmla="*/ 1146851 w 12248682"/>
              <a:gd name="connsiteY582" fmla="*/ 464284 h 609800"/>
              <a:gd name="connsiteX583" fmla="*/ 1167639 w 12248682"/>
              <a:gd name="connsiteY583" fmla="*/ 485072 h 609800"/>
              <a:gd name="connsiteX584" fmla="*/ 1146851 w 12248682"/>
              <a:gd name="connsiteY584" fmla="*/ 505861 h 609800"/>
              <a:gd name="connsiteX585" fmla="*/ 1126062 w 12248682"/>
              <a:gd name="connsiteY585" fmla="*/ 485072 h 609800"/>
              <a:gd name="connsiteX586" fmla="*/ 1146851 w 12248682"/>
              <a:gd name="connsiteY586" fmla="*/ 464284 h 609800"/>
              <a:gd name="connsiteX587" fmla="*/ 11343213 w 12248682"/>
              <a:gd name="connsiteY587" fmla="*/ 461974 h 609800"/>
              <a:gd name="connsiteX588" fmla="*/ 11366312 w 12248682"/>
              <a:gd name="connsiteY588" fmla="*/ 485072 h 609800"/>
              <a:gd name="connsiteX589" fmla="*/ 11343213 w 12248682"/>
              <a:gd name="connsiteY589" fmla="*/ 508171 h 609800"/>
              <a:gd name="connsiteX590" fmla="*/ 11320114 w 12248682"/>
              <a:gd name="connsiteY590" fmla="*/ 485072 h 609800"/>
              <a:gd name="connsiteX591" fmla="*/ 11343213 w 12248682"/>
              <a:gd name="connsiteY591" fmla="*/ 461974 h 609800"/>
              <a:gd name="connsiteX592" fmla="*/ 10225237 w 12248682"/>
              <a:gd name="connsiteY592" fmla="*/ 461974 h 609800"/>
              <a:gd name="connsiteX593" fmla="*/ 10248335 w 12248682"/>
              <a:gd name="connsiteY593" fmla="*/ 485072 h 609800"/>
              <a:gd name="connsiteX594" fmla="*/ 10225237 w 12248682"/>
              <a:gd name="connsiteY594" fmla="*/ 508171 h 609800"/>
              <a:gd name="connsiteX595" fmla="*/ 10202138 w 12248682"/>
              <a:gd name="connsiteY595" fmla="*/ 485072 h 609800"/>
              <a:gd name="connsiteX596" fmla="*/ 10225237 w 12248682"/>
              <a:gd name="connsiteY596" fmla="*/ 461974 h 609800"/>
              <a:gd name="connsiteX597" fmla="*/ 9112431 w 12248682"/>
              <a:gd name="connsiteY597" fmla="*/ 461974 h 609800"/>
              <a:gd name="connsiteX598" fmla="*/ 9135530 w 12248682"/>
              <a:gd name="connsiteY598" fmla="*/ 485072 h 609800"/>
              <a:gd name="connsiteX599" fmla="*/ 9112431 w 12248682"/>
              <a:gd name="connsiteY599" fmla="*/ 508171 h 609800"/>
              <a:gd name="connsiteX600" fmla="*/ 9089332 w 12248682"/>
              <a:gd name="connsiteY600" fmla="*/ 485072 h 609800"/>
              <a:gd name="connsiteX601" fmla="*/ 9112431 w 12248682"/>
              <a:gd name="connsiteY601" fmla="*/ 461974 h 609800"/>
              <a:gd name="connsiteX602" fmla="*/ 7994456 w 12248682"/>
              <a:gd name="connsiteY602" fmla="*/ 461974 h 609800"/>
              <a:gd name="connsiteX603" fmla="*/ 8017555 w 12248682"/>
              <a:gd name="connsiteY603" fmla="*/ 485072 h 609800"/>
              <a:gd name="connsiteX604" fmla="*/ 7994456 w 12248682"/>
              <a:gd name="connsiteY604" fmla="*/ 508171 h 609800"/>
              <a:gd name="connsiteX605" fmla="*/ 7971356 w 12248682"/>
              <a:gd name="connsiteY605" fmla="*/ 485072 h 609800"/>
              <a:gd name="connsiteX606" fmla="*/ 7994456 w 12248682"/>
              <a:gd name="connsiteY606" fmla="*/ 461974 h 609800"/>
              <a:gd name="connsiteX607" fmla="*/ 6737887 w 12248682"/>
              <a:gd name="connsiteY607" fmla="*/ 461974 h 609800"/>
              <a:gd name="connsiteX608" fmla="*/ 6760986 w 12248682"/>
              <a:gd name="connsiteY608" fmla="*/ 485072 h 609800"/>
              <a:gd name="connsiteX609" fmla="*/ 6737887 w 12248682"/>
              <a:gd name="connsiteY609" fmla="*/ 508171 h 609800"/>
              <a:gd name="connsiteX610" fmla="*/ 6714789 w 12248682"/>
              <a:gd name="connsiteY610" fmla="*/ 485072 h 609800"/>
              <a:gd name="connsiteX611" fmla="*/ 6737887 w 12248682"/>
              <a:gd name="connsiteY611" fmla="*/ 461974 h 609800"/>
              <a:gd name="connsiteX612" fmla="*/ 5619912 w 12248682"/>
              <a:gd name="connsiteY612" fmla="*/ 461974 h 609800"/>
              <a:gd name="connsiteX613" fmla="*/ 5643008 w 12248682"/>
              <a:gd name="connsiteY613" fmla="*/ 485072 h 609800"/>
              <a:gd name="connsiteX614" fmla="*/ 5619912 w 12248682"/>
              <a:gd name="connsiteY614" fmla="*/ 508171 h 609800"/>
              <a:gd name="connsiteX615" fmla="*/ 5596812 w 12248682"/>
              <a:gd name="connsiteY615" fmla="*/ 485072 h 609800"/>
              <a:gd name="connsiteX616" fmla="*/ 5619912 w 12248682"/>
              <a:gd name="connsiteY616" fmla="*/ 461974 h 609800"/>
              <a:gd name="connsiteX617" fmla="*/ 4499625 w 12248682"/>
              <a:gd name="connsiteY617" fmla="*/ 461974 h 609800"/>
              <a:gd name="connsiteX618" fmla="*/ 4522722 w 12248682"/>
              <a:gd name="connsiteY618" fmla="*/ 485072 h 609800"/>
              <a:gd name="connsiteX619" fmla="*/ 4499625 w 12248682"/>
              <a:gd name="connsiteY619" fmla="*/ 508171 h 609800"/>
              <a:gd name="connsiteX620" fmla="*/ 4476525 w 12248682"/>
              <a:gd name="connsiteY620" fmla="*/ 485072 h 609800"/>
              <a:gd name="connsiteX621" fmla="*/ 4499625 w 12248682"/>
              <a:gd name="connsiteY621" fmla="*/ 461974 h 609800"/>
              <a:gd name="connsiteX622" fmla="*/ 3381648 w 12248682"/>
              <a:gd name="connsiteY622" fmla="*/ 461974 h 609800"/>
              <a:gd name="connsiteX623" fmla="*/ 3404746 w 12248682"/>
              <a:gd name="connsiteY623" fmla="*/ 485072 h 609800"/>
              <a:gd name="connsiteX624" fmla="*/ 3381648 w 12248682"/>
              <a:gd name="connsiteY624" fmla="*/ 508171 h 609800"/>
              <a:gd name="connsiteX625" fmla="*/ 3358549 w 12248682"/>
              <a:gd name="connsiteY625" fmla="*/ 485072 h 609800"/>
              <a:gd name="connsiteX626" fmla="*/ 3381648 w 12248682"/>
              <a:gd name="connsiteY626" fmla="*/ 461974 h 609800"/>
              <a:gd name="connsiteX627" fmla="*/ 2125079 w 12248682"/>
              <a:gd name="connsiteY627" fmla="*/ 461974 h 609800"/>
              <a:gd name="connsiteX628" fmla="*/ 2148178 w 12248682"/>
              <a:gd name="connsiteY628" fmla="*/ 485072 h 609800"/>
              <a:gd name="connsiteX629" fmla="*/ 2125079 w 12248682"/>
              <a:gd name="connsiteY629" fmla="*/ 508171 h 609800"/>
              <a:gd name="connsiteX630" fmla="*/ 2101980 w 12248682"/>
              <a:gd name="connsiteY630" fmla="*/ 485072 h 609800"/>
              <a:gd name="connsiteX631" fmla="*/ 2125079 w 12248682"/>
              <a:gd name="connsiteY631" fmla="*/ 461974 h 609800"/>
              <a:gd name="connsiteX632" fmla="*/ 1007103 w 12248682"/>
              <a:gd name="connsiteY632" fmla="*/ 461974 h 609800"/>
              <a:gd name="connsiteX633" fmla="*/ 1030201 w 12248682"/>
              <a:gd name="connsiteY633" fmla="*/ 485072 h 609800"/>
              <a:gd name="connsiteX634" fmla="*/ 1007103 w 12248682"/>
              <a:gd name="connsiteY634" fmla="*/ 508171 h 609800"/>
              <a:gd name="connsiteX635" fmla="*/ 984004 w 12248682"/>
              <a:gd name="connsiteY635" fmla="*/ 485072 h 609800"/>
              <a:gd name="connsiteX636" fmla="*/ 1007103 w 12248682"/>
              <a:gd name="connsiteY636" fmla="*/ 461974 h 609800"/>
              <a:gd name="connsiteX637" fmla="*/ 11203466 w 12248682"/>
              <a:gd name="connsiteY637" fmla="*/ 456200 h 609800"/>
              <a:gd name="connsiteX638" fmla="*/ 11232339 w 12248682"/>
              <a:gd name="connsiteY638" fmla="*/ 485072 h 609800"/>
              <a:gd name="connsiteX639" fmla="*/ 11203466 w 12248682"/>
              <a:gd name="connsiteY639" fmla="*/ 513946 h 609800"/>
              <a:gd name="connsiteX640" fmla="*/ 11174593 w 12248682"/>
              <a:gd name="connsiteY640" fmla="*/ 485072 h 609800"/>
              <a:gd name="connsiteX641" fmla="*/ 11203466 w 12248682"/>
              <a:gd name="connsiteY641" fmla="*/ 456200 h 609800"/>
              <a:gd name="connsiteX642" fmla="*/ 10085490 w 12248682"/>
              <a:gd name="connsiteY642" fmla="*/ 456200 h 609800"/>
              <a:gd name="connsiteX643" fmla="*/ 10114363 w 12248682"/>
              <a:gd name="connsiteY643" fmla="*/ 485072 h 609800"/>
              <a:gd name="connsiteX644" fmla="*/ 10085490 w 12248682"/>
              <a:gd name="connsiteY644" fmla="*/ 513946 h 609800"/>
              <a:gd name="connsiteX645" fmla="*/ 10056616 w 12248682"/>
              <a:gd name="connsiteY645" fmla="*/ 485072 h 609800"/>
              <a:gd name="connsiteX646" fmla="*/ 10085490 w 12248682"/>
              <a:gd name="connsiteY646" fmla="*/ 456200 h 609800"/>
              <a:gd name="connsiteX647" fmla="*/ 9247008 w 12248682"/>
              <a:gd name="connsiteY647" fmla="*/ 456200 h 609800"/>
              <a:gd name="connsiteX648" fmla="*/ 9275881 w 12248682"/>
              <a:gd name="connsiteY648" fmla="*/ 485072 h 609800"/>
              <a:gd name="connsiteX649" fmla="*/ 9247008 w 12248682"/>
              <a:gd name="connsiteY649" fmla="*/ 513946 h 609800"/>
              <a:gd name="connsiteX650" fmla="*/ 9218134 w 12248682"/>
              <a:gd name="connsiteY650" fmla="*/ 485072 h 609800"/>
              <a:gd name="connsiteX651" fmla="*/ 9247008 w 12248682"/>
              <a:gd name="connsiteY651" fmla="*/ 456200 h 609800"/>
              <a:gd name="connsiteX652" fmla="*/ 8972685 w 12248682"/>
              <a:gd name="connsiteY652" fmla="*/ 456200 h 609800"/>
              <a:gd name="connsiteX653" fmla="*/ 9001557 w 12248682"/>
              <a:gd name="connsiteY653" fmla="*/ 485072 h 609800"/>
              <a:gd name="connsiteX654" fmla="*/ 8972685 w 12248682"/>
              <a:gd name="connsiteY654" fmla="*/ 513946 h 609800"/>
              <a:gd name="connsiteX655" fmla="*/ 8943811 w 12248682"/>
              <a:gd name="connsiteY655" fmla="*/ 485072 h 609800"/>
              <a:gd name="connsiteX656" fmla="*/ 8972685 w 12248682"/>
              <a:gd name="connsiteY656" fmla="*/ 456200 h 609800"/>
              <a:gd name="connsiteX657" fmla="*/ 8134203 w 12248682"/>
              <a:gd name="connsiteY657" fmla="*/ 456200 h 609800"/>
              <a:gd name="connsiteX658" fmla="*/ 8163075 w 12248682"/>
              <a:gd name="connsiteY658" fmla="*/ 485072 h 609800"/>
              <a:gd name="connsiteX659" fmla="*/ 8134203 w 12248682"/>
              <a:gd name="connsiteY659" fmla="*/ 513946 h 609800"/>
              <a:gd name="connsiteX660" fmla="*/ 8105330 w 12248682"/>
              <a:gd name="connsiteY660" fmla="*/ 485072 h 609800"/>
              <a:gd name="connsiteX661" fmla="*/ 8134203 w 12248682"/>
              <a:gd name="connsiteY661" fmla="*/ 456200 h 609800"/>
              <a:gd name="connsiteX662" fmla="*/ 6598140 w 12248682"/>
              <a:gd name="connsiteY662" fmla="*/ 456200 h 609800"/>
              <a:gd name="connsiteX663" fmla="*/ 6627013 w 12248682"/>
              <a:gd name="connsiteY663" fmla="*/ 485072 h 609800"/>
              <a:gd name="connsiteX664" fmla="*/ 6598140 w 12248682"/>
              <a:gd name="connsiteY664" fmla="*/ 513946 h 609800"/>
              <a:gd name="connsiteX665" fmla="*/ 6569267 w 12248682"/>
              <a:gd name="connsiteY665" fmla="*/ 485072 h 609800"/>
              <a:gd name="connsiteX666" fmla="*/ 6598140 w 12248682"/>
              <a:gd name="connsiteY666" fmla="*/ 456200 h 609800"/>
              <a:gd name="connsiteX667" fmla="*/ 5480165 w 12248682"/>
              <a:gd name="connsiteY667" fmla="*/ 456200 h 609800"/>
              <a:gd name="connsiteX668" fmla="*/ 5509037 w 12248682"/>
              <a:gd name="connsiteY668" fmla="*/ 485072 h 609800"/>
              <a:gd name="connsiteX669" fmla="*/ 5480165 w 12248682"/>
              <a:gd name="connsiteY669" fmla="*/ 513946 h 609800"/>
              <a:gd name="connsiteX670" fmla="*/ 5451289 w 12248682"/>
              <a:gd name="connsiteY670" fmla="*/ 485072 h 609800"/>
              <a:gd name="connsiteX671" fmla="*/ 5480165 w 12248682"/>
              <a:gd name="connsiteY671" fmla="*/ 456200 h 609800"/>
              <a:gd name="connsiteX672" fmla="*/ 4641682 w 12248682"/>
              <a:gd name="connsiteY672" fmla="*/ 456200 h 609800"/>
              <a:gd name="connsiteX673" fmla="*/ 4670555 w 12248682"/>
              <a:gd name="connsiteY673" fmla="*/ 485072 h 609800"/>
              <a:gd name="connsiteX674" fmla="*/ 4641682 w 12248682"/>
              <a:gd name="connsiteY674" fmla="*/ 513946 h 609800"/>
              <a:gd name="connsiteX675" fmla="*/ 4612809 w 12248682"/>
              <a:gd name="connsiteY675" fmla="*/ 485072 h 609800"/>
              <a:gd name="connsiteX676" fmla="*/ 4641682 w 12248682"/>
              <a:gd name="connsiteY676" fmla="*/ 456200 h 609800"/>
              <a:gd name="connsiteX677" fmla="*/ 4359878 w 12248682"/>
              <a:gd name="connsiteY677" fmla="*/ 456200 h 609800"/>
              <a:gd name="connsiteX678" fmla="*/ 4388751 w 12248682"/>
              <a:gd name="connsiteY678" fmla="*/ 485072 h 609800"/>
              <a:gd name="connsiteX679" fmla="*/ 4359878 w 12248682"/>
              <a:gd name="connsiteY679" fmla="*/ 513946 h 609800"/>
              <a:gd name="connsiteX680" fmla="*/ 4331004 w 12248682"/>
              <a:gd name="connsiteY680" fmla="*/ 485072 h 609800"/>
              <a:gd name="connsiteX681" fmla="*/ 4359878 w 12248682"/>
              <a:gd name="connsiteY681" fmla="*/ 456200 h 609800"/>
              <a:gd name="connsiteX682" fmla="*/ 3521396 w 12248682"/>
              <a:gd name="connsiteY682" fmla="*/ 456200 h 609800"/>
              <a:gd name="connsiteX683" fmla="*/ 3550268 w 12248682"/>
              <a:gd name="connsiteY683" fmla="*/ 485072 h 609800"/>
              <a:gd name="connsiteX684" fmla="*/ 3521396 w 12248682"/>
              <a:gd name="connsiteY684" fmla="*/ 513946 h 609800"/>
              <a:gd name="connsiteX685" fmla="*/ 3492521 w 12248682"/>
              <a:gd name="connsiteY685" fmla="*/ 485072 h 609800"/>
              <a:gd name="connsiteX686" fmla="*/ 3521396 w 12248682"/>
              <a:gd name="connsiteY686" fmla="*/ 456200 h 609800"/>
              <a:gd name="connsiteX687" fmla="*/ 1985333 w 12248682"/>
              <a:gd name="connsiteY687" fmla="*/ 456200 h 609800"/>
              <a:gd name="connsiteX688" fmla="*/ 2014205 w 12248682"/>
              <a:gd name="connsiteY688" fmla="*/ 485072 h 609800"/>
              <a:gd name="connsiteX689" fmla="*/ 1985333 w 12248682"/>
              <a:gd name="connsiteY689" fmla="*/ 513946 h 609800"/>
              <a:gd name="connsiteX690" fmla="*/ 1956459 w 12248682"/>
              <a:gd name="connsiteY690" fmla="*/ 485072 h 609800"/>
              <a:gd name="connsiteX691" fmla="*/ 1985333 w 12248682"/>
              <a:gd name="connsiteY691" fmla="*/ 456200 h 609800"/>
              <a:gd name="connsiteX692" fmla="*/ 867356 w 12248682"/>
              <a:gd name="connsiteY692" fmla="*/ 456200 h 609800"/>
              <a:gd name="connsiteX693" fmla="*/ 896229 w 12248682"/>
              <a:gd name="connsiteY693" fmla="*/ 485072 h 609800"/>
              <a:gd name="connsiteX694" fmla="*/ 867356 w 12248682"/>
              <a:gd name="connsiteY694" fmla="*/ 513946 h 609800"/>
              <a:gd name="connsiteX695" fmla="*/ 838482 w 12248682"/>
              <a:gd name="connsiteY695" fmla="*/ 485072 h 609800"/>
              <a:gd name="connsiteX696" fmla="*/ 867356 w 12248682"/>
              <a:gd name="connsiteY696" fmla="*/ 456200 h 609800"/>
              <a:gd name="connsiteX697" fmla="*/ 28874 w 12248682"/>
              <a:gd name="connsiteY697" fmla="*/ 456200 h 609800"/>
              <a:gd name="connsiteX698" fmla="*/ 57747 w 12248682"/>
              <a:gd name="connsiteY698" fmla="*/ 485072 h 609800"/>
              <a:gd name="connsiteX699" fmla="*/ 28874 w 12248682"/>
              <a:gd name="connsiteY699" fmla="*/ 513946 h 609800"/>
              <a:gd name="connsiteX700" fmla="*/ 0 w 12248682"/>
              <a:gd name="connsiteY700" fmla="*/ 485072 h 609800"/>
              <a:gd name="connsiteX701" fmla="*/ 28874 w 12248682"/>
              <a:gd name="connsiteY701" fmla="*/ 456200 h 609800"/>
              <a:gd name="connsiteX702" fmla="*/ 11063719 w 12248682"/>
              <a:gd name="connsiteY702" fmla="*/ 449270 h 609800"/>
              <a:gd name="connsiteX703" fmla="*/ 11098367 w 12248682"/>
              <a:gd name="connsiteY703" fmla="*/ 483918 h 609800"/>
              <a:gd name="connsiteX704" fmla="*/ 11063719 w 12248682"/>
              <a:gd name="connsiteY704" fmla="*/ 518566 h 609800"/>
              <a:gd name="connsiteX705" fmla="*/ 11029071 w 12248682"/>
              <a:gd name="connsiteY705" fmla="*/ 483918 h 609800"/>
              <a:gd name="connsiteX706" fmla="*/ 11063719 w 12248682"/>
              <a:gd name="connsiteY706" fmla="*/ 449270 h 609800"/>
              <a:gd name="connsiteX707" fmla="*/ 9945743 w 12248682"/>
              <a:gd name="connsiteY707" fmla="*/ 449270 h 609800"/>
              <a:gd name="connsiteX708" fmla="*/ 9980391 w 12248682"/>
              <a:gd name="connsiteY708" fmla="*/ 483918 h 609800"/>
              <a:gd name="connsiteX709" fmla="*/ 9945743 w 12248682"/>
              <a:gd name="connsiteY709" fmla="*/ 518566 h 609800"/>
              <a:gd name="connsiteX710" fmla="*/ 9911094 w 12248682"/>
              <a:gd name="connsiteY710" fmla="*/ 483918 h 609800"/>
              <a:gd name="connsiteX711" fmla="*/ 9945743 w 12248682"/>
              <a:gd name="connsiteY711" fmla="*/ 449270 h 609800"/>
              <a:gd name="connsiteX712" fmla="*/ 9386754 w 12248682"/>
              <a:gd name="connsiteY712" fmla="*/ 449270 h 609800"/>
              <a:gd name="connsiteX713" fmla="*/ 9421402 w 12248682"/>
              <a:gd name="connsiteY713" fmla="*/ 483918 h 609800"/>
              <a:gd name="connsiteX714" fmla="*/ 9386754 w 12248682"/>
              <a:gd name="connsiteY714" fmla="*/ 518566 h 609800"/>
              <a:gd name="connsiteX715" fmla="*/ 9352106 w 12248682"/>
              <a:gd name="connsiteY715" fmla="*/ 483918 h 609800"/>
              <a:gd name="connsiteX716" fmla="*/ 9386754 w 12248682"/>
              <a:gd name="connsiteY716" fmla="*/ 449270 h 609800"/>
              <a:gd name="connsiteX717" fmla="*/ 8832937 w 12248682"/>
              <a:gd name="connsiteY717" fmla="*/ 449270 h 609800"/>
              <a:gd name="connsiteX718" fmla="*/ 8867585 w 12248682"/>
              <a:gd name="connsiteY718" fmla="*/ 483918 h 609800"/>
              <a:gd name="connsiteX719" fmla="*/ 8832937 w 12248682"/>
              <a:gd name="connsiteY719" fmla="*/ 518566 h 609800"/>
              <a:gd name="connsiteX720" fmla="*/ 8798289 w 12248682"/>
              <a:gd name="connsiteY720" fmla="*/ 483918 h 609800"/>
              <a:gd name="connsiteX721" fmla="*/ 8832937 w 12248682"/>
              <a:gd name="connsiteY721" fmla="*/ 449270 h 609800"/>
              <a:gd name="connsiteX722" fmla="*/ 8273949 w 12248682"/>
              <a:gd name="connsiteY722" fmla="*/ 449270 h 609800"/>
              <a:gd name="connsiteX723" fmla="*/ 8308598 w 12248682"/>
              <a:gd name="connsiteY723" fmla="*/ 483918 h 609800"/>
              <a:gd name="connsiteX724" fmla="*/ 8273949 w 12248682"/>
              <a:gd name="connsiteY724" fmla="*/ 518566 h 609800"/>
              <a:gd name="connsiteX725" fmla="*/ 8239301 w 12248682"/>
              <a:gd name="connsiteY725" fmla="*/ 483918 h 609800"/>
              <a:gd name="connsiteX726" fmla="*/ 8273949 w 12248682"/>
              <a:gd name="connsiteY726" fmla="*/ 449270 h 609800"/>
              <a:gd name="connsiteX727" fmla="*/ 6458393 w 12248682"/>
              <a:gd name="connsiteY727" fmla="*/ 449270 h 609800"/>
              <a:gd name="connsiteX728" fmla="*/ 6493041 w 12248682"/>
              <a:gd name="connsiteY728" fmla="*/ 483918 h 609800"/>
              <a:gd name="connsiteX729" fmla="*/ 6458393 w 12248682"/>
              <a:gd name="connsiteY729" fmla="*/ 518566 h 609800"/>
              <a:gd name="connsiteX730" fmla="*/ 6423745 w 12248682"/>
              <a:gd name="connsiteY730" fmla="*/ 483918 h 609800"/>
              <a:gd name="connsiteX731" fmla="*/ 6458393 w 12248682"/>
              <a:gd name="connsiteY731" fmla="*/ 449270 h 609800"/>
              <a:gd name="connsiteX732" fmla="*/ 5340416 w 12248682"/>
              <a:gd name="connsiteY732" fmla="*/ 449270 h 609800"/>
              <a:gd name="connsiteX733" fmla="*/ 5375064 w 12248682"/>
              <a:gd name="connsiteY733" fmla="*/ 483918 h 609800"/>
              <a:gd name="connsiteX734" fmla="*/ 5340416 w 12248682"/>
              <a:gd name="connsiteY734" fmla="*/ 518566 h 609800"/>
              <a:gd name="connsiteX735" fmla="*/ 5305769 w 12248682"/>
              <a:gd name="connsiteY735" fmla="*/ 483918 h 609800"/>
              <a:gd name="connsiteX736" fmla="*/ 5340416 w 12248682"/>
              <a:gd name="connsiteY736" fmla="*/ 449270 h 609800"/>
              <a:gd name="connsiteX737" fmla="*/ 4781429 w 12248682"/>
              <a:gd name="connsiteY737" fmla="*/ 449270 h 609800"/>
              <a:gd name="connsiteX738" fmla="*/ 4816075 w 12248682"/>
              <a:gd name="connsiteY738" fmla="*/ 483918 h 609800"/>
              <a:gd name="connsiteX739" fmla="*/ 4781429 w 12248682"/>
              <a:gd name="connsiteY739" fmla="*/ 518566 h 609800"/>
              <a:gd name="connsiteX740" fmla="*/ 4746781 w 12248682"/>
              <a:gd name="connsiteY740" fmla="*/ 483918 h 609800"/>
              <a:gd name="connsiteX741" fmla="*/ 4781429 w 12248682"/>
              <a:gd name="connsiteY741" fmla="*/ 449270 h 609800"/>
              <a:gd name="connsiteX742" fmla="*/ 4220129 w 12248682"/>
              <a:gd name="connsiteY742" fmla="*/ 449270 h 609800"/>
              <a:gd name="connsiteX743" fmla="*/ 4254779 w 12248682"/>
              <a:gd name="connsiteY743" fmla="*/ 483918 h 609800"/>
              <a:gd name="connsiteX744" fmla="*/ 4220129 w 12248682"/>
              <a:gd name="connsiteY744" fmla="*/ 518566 h 609800"/>
              <a:gd name="connsiteX745" fmla="*/ 4185482 w 12248682"/>
              <a:gd name="connsiteY745" fmla="*/ 483918 h 609800"/>
              <a:gd name="connsiteX746" fmla="*/ 4220129 w 12248682"/>
              <a:gd name="connsiteY746" fmla="*/ 449270 h 609800"/>
              <a:gd name="connsiteX747" fmla="*/ 3661142 w 12248682"/>
              <a:gd name="connsiteY747" fmla="*/ 449270 h 609800"/>
              <a:gd name="connsiteX748" fmla="*/ 3695791 w 12248682"/>
              <a:gd name="connsiteY748" fmla="*/ 483918 h 609800"/>
              <a:gd name="connsiteX749" fmla="*/ 3661142 w 12248682"/>
              <a:gd name="connsiteY749" fmla="*/ 518566 h 609800"/>
              <a:gd name="connsiteX750" fmla="*/ 3626494 w 12248682"/>
              <a:gd name="connsiteY750" fmla="*/ 483918 h 609800"/>
              <a:gd name="connsiteX751" fmla="*/ 3661142 w 12248682"/>
              <a:gd name="connsiteY751" fmla="*/ 449270 h 609800"/>
              <a:gd name="connsiteX752" fmla="*/ 1845585 w 12248682"/>
              <a:gd name="connsiteY752" fmla="*/ 449270 h 609800"/>
              <a:gd name="connsiteX753" fmla="*/ 1880233 w 12248682"/>
              <a:gd name="connsiteY753" fmla="*/ 483918 h 609800"/>
              <a:gd name="connsiteX754" fmla="*/ 1845585 w 12248682"/>
              <a:gd name="connsiteY754" fmla="*/ 518566 h 609800"/>
              <a:gd name="connsiteX755" fmla="*/ 1810937 w 12248682"/>
              <a:gd name="connsiteY755" fmla="*/ 483918 h 609800"/>
              <a:gd name="connsiteX756" fmla="*/ 1845585 w 12248682"/>
              <a:gd name="connsiteY756" fmla="*/ 449270 h 609800"/>
              <a:gd name="connsiteX757" fmla="*/ 727609 w 12248682"/>
              <a:gd name="connsiteY757" fmla="*/ 449270 h 609800"/>
              <a:gd name="connsiteX758" fmla="*/ 762257 w 12248682"/>
              <a:gd name="connsiteY758" fmla="*/ 483918 h 609800"/>
              <a:gd name="connsiteX759" fmla="*/ 727609 w 12248682"/>
              <a:gd name="connsiteY759" fmla="*/ 518566 h 609800"/>
              <a:gd name="connsiteX760" fmla="*/ 692961 w 12248682"/>
              <a:gd name="connsiteY760" fmla="*/ 483918 h 609800"/>
              <a:gd name="connsiteX761" fmla="*/ 727609 w 12248682"/>
              <a:gd name="connsiteY761" fmla="*/ 449270 h 609800"/>
              <a:gd name="connsiteX762" fmla="*/ 168621 w 12248682"/>
              <a:gd name="connsiteY762" fmla="*/ 449270 h 609800"/>
              <a:gd name="connsiteX763" fmla="*/ 203269 w 12248682"/>
              <a:gd name="connsiteY763" fmla="*/ 483918 h 609800"/>
              <a:gd name="connsiteX764" fmla="*/ 168621 w 12248682"/>
              <a:gd name="connsiteY764" fmla="*/ 518566 h 609800"/>
              <a:gd name="connsiteX765" fmla="*/ 133973 w 12248682"/>
              <a:gd name="connsiteY765" fmla="*/ 483918 h 609800"/>
              <a:gd name="connsiteX766" fmla="*/ 168621 w 12248682"/>
              <a:gd name="connsiteY766" fmla="*/ 449270 h 609800"/>
              <a:gd name="connsiteX767" fmla="*/ 10923972 w 12248682"/>
              <a:gd name="connsiteY767" fmla="*/ 443495 h 609800"/>
              <a:gd name="connsiteX768" fmla="*/ 10964394 w 12248682"/>
              <a:gd name="connsiteY768" fmla="*/ 483918 h 609800"/>
              <a:gd name="connsiteX769" fmla="*/ 10923972 w 12248682"/>
              <a:gd name="connsiteY769" fmla="*/ 524340 h 609800"/>
              <a:gd name="connsiteX770" fmla="*/ 10883549 w 12248682"/>
              <a:gd name="connsiteY770" fmla="*/ 483918 h 609800"/>
              <a:gd name="connsiteX771" fmla="*/ 10923972 w 12248682"/>
              <a:gd name="connsiteY771" fmla="*/ 443495 h 609800"/>
              <a:gd name="connsiteX772" fmla="*/ 9805996 w 12248682"/>
              <a:gd name="connsiteY772" fmla="*/ 443495 h 609800"/>
              <a:gd name="connsiteX773" fmla="*/ 9846418 w 12248682"/>
              <a:gd name="connsiteY773" fmla="*/ 483918 h 609800"/>
              <a:gd name="connsiteX774" fmla="*/ 9805996 w 12248682"/>
              <a:gd name="connsiteY774" fmla="*/ 524340 h 609800"/>
              <a:gd name="connsiteX775" fmla="*/ 9765573 w 12248682"/>
              <a:gd name="connsiteY775" fmla="*/ 483918 h 609800"/>
              <a:gd name="connsiteX776" fmla="*/ 9805996 w 12248682"/>
              <a:gd name="connsiteY776" fmla="*/ 443495 h 609800"/>
              <a:gd name="connsiteX777" fmla="*/ 9526502 w 12248682"/>
              <a:gd name="connsiteY777" fmla="*/ 443495 h 609800"/>
              <a:gd name="connsiteX778" fmla="*/ 9566924 w 12248682"/>
              <a:gd name="connsiteY778" fmla="*/ 483918 h 609800"/>
              <a:gd name="connsiteX779" fmla="*/ 9526502 w 12248682"/>
              <a:gd name="connsiteY779" fmla="*/ 524340 h 609800"/>
              <a:gd name="connsiteX780" fmla="*/ 9486079 w 12248682"/>
              <a:gd name="connsiteY780" fmla="*/ 483918 h 609800"/>
              <a:gd name="connsiteX781" fmla="*/ 9526502 w 12248682"/>
              <a:gd name="connsiteY781" fmla="*/ 443495 h 609800"/>
              <a:gd name="connsiteX782" fmla="*/ 8693190 w 12248682"/>
              <a:gd name="connsiteY782" fmla="*/ 443495 h 609800"/>
              <a:gd name="connsiteX783" fmla="*/ 8733613 w 12248682"/>
              <a:gd name="connsiteY783" fmla="*/ 483918 h 609800"/>
              <a:gd name="connsiteX784" fmla="*/ 8693190 w 12248682"/>
              <a:gd name="connsiteY784" fmla="*/ 524340 h 609800"/>
              <a:gd name="connsiteX785" fmla="*/ 8652767 w 12248682"/>
              <a:gd name="connsiteY785" fmla="*/ 483918 h 609800"/>
              <a:gd name="connsiteX786" fmla="*/ 8693190 w 12248682"/>
              <a:gd name="connsiteY786" fmla="*/ 443495 h 609800"/>
              <a:gd name="connsiteX787" fmla="*/ 8413696 w 12248682"/>
              <a:gd name="connsiteY787" fmla="*/ 443495 h 609800"/>
              <a:gd name="connsiteX788" fmla="*/ 8454118 w 12248682"/>
              <a:gd name="connsiteY788" fmla="*/ 483918 h 609800"/>
              <a:gd name="connsiteX789" fmla="*/ 8413696 w 12248682"/>
              <a:gd name="connsiteY789" fmla="*/ 524340 h 609800"/>
              <a:gd name="connsiteX790" fmla="*/ 8373274 w 12248682"/>
              <a:gd name="connsiteY790" fmla="*/ 483918 h 609800"/>
              <a:gd name="connsiteX791" fmla="*/ 8413696 w 12248682"/>
              <a:gd name="connsiteY791" fmla="*/ 443495 h 609800"/>
              <a:gd name="connsiteX792" fmla="*/ 6318647 w 12248682"/>
              <a:gd name="connsiteY792" fmla="*/ 443495 h 609800"/>
              <a:gd name="connsiteX793" fmla="*/ 6359068 w 12248682"/>
              <a:gd name="connsiteY793" fmla="*/ 483918 h 609800"/>
              <a:gd name="connsiteX794" fmla="*/ 6318647 w 12248682"/>
              <a:gd name="connsiteY794" fmla="*/ 524340 h 609800"/>
              <a:gd name="connsiteX795" fmla="*/ 6278223 w 12248682"/>
              <a:gd name="connsiteY795" fmla="*/ 483918 h 609800"/>
              <a:gd name="connsiteX796" fmla="*/ 6318647 w 12248682"/>
              <a:gd name="connsiteY796" fmla="*/ 443495 h 609800"/>
              <a:gd name="connsiteX797" fmla="*/ 5200670 w 12248682"/>
              <a:gd name="connsiteY797" fmla="*/ 443495 h 609800"/>
              <a:gd name="connsiteX798" fmla="*/ 5241093 w 12248682"/>
              <a:gd name="connsiteY798" fmla="*/ 483918 h 609800"/>
              <a:gd name="connsiteX799" fmla="*/ 5200670 w 12248682"/>
              <a:gd name="connsiteY799" fmla="*/ 524340 h 609800"/>
              <a:gd name="connsiteX800" fmla="*/ 5160247 w 12248682"/>
              <a:gd name="connsiteY800" fmla="*/ 483918 h 609800"/>
              <a:gd name="connsiteX801" fmla="*/ 5200670 w 12248682"/>
              <a:gd name="connsiteY801" fmla="*/ 443495 h 609800"/>
              <a:gd name="connsiteX802" fmla="*/ 4921176 w 12248682"/>
              <a:gd name="connsiteY802" fmla="*/ 443495 h 609800"/>
              <a:gd name="connsiteX803" fmla="*/ 4961598 w 12248682"/>
              <a:gd name="connsiteY803" fmla="*/ 483918 h 609800"/>
              <a:gd name="connsiteX804" fmla="*/ 4921176 w 12248682"/>
              <a:gd name="connsiteY804" fmla="*/ 524340 h 609800"/>
              <a:gd name="connsiteX805" fmla="*/ 4880752 w 12248682"/>
              <a:gd name="connsiteY805" fmla="*/ 483918 h 609800"/>
              <a:gd name="connsiteX806" fmla="*/ 4921176 w 12248682"/>
              <a:gd name="connsiteY806" fmla="*/ 443495 h 609800"/>
              <a:gd name="connsiteX807" fmla="*/ 4080383 w 12248682"/>
              <a:gd name="connsiteY807" fmla="*/ 443495 h 609800"/>
              <a:gd name="connsiteX808" fmla="*/ 4120806 w 12248682"/>
              <a:gd name="connsiteY808" fmla="*/ 483918 h 609800"/>
              <a:gd name="connsiteX809" fmla="*/ 4080383 w 12248682"/>
              <a:gd name="connsiteY809" fmla="*/ 524340 h 609800"/>
              <a:gd name="connsiteX810" fmla="*/ 4039961 w 12248682"/>
              <a:gd name="connsiteY810" fmla="*/ 483918 h 609800"/>
              <a:gd name="connsiteX811" fmla="*/ 4080383 w 12248682"/>
              <a:gd name="connsiteY811" fmla="*/ 443495 h 609800"/>
              <a:gd name="connsiteX812" fmla="*/ 3800889 w 12248682"/>
              <a:gd name="connsiteY812" fmla="*/ 443495 h 609800"/>
              <a:gd name="connsiteX813" fmla="*/ 3841311 w 12248682"/>
              <a:gd name="connsiteY813" fmla="*/ 483918 h 609800"/>
              <a:gd name="connsiteX814" fmla="*/ 3800889 w 12248682"/>
              <a:gd name="connsiteY814" fmla="*/ 524340 h 609800"/>
              <a:gd name="connsiteX815" fmla="*/ 3760466 w 12248682"/>
              <a:gd name="connsiteY815" fmla="*/ 483918 h 609800"/>
              <a:gd name="connsiteX816" fmla="*/ 3800889 w 12248682"/>
              <a:gd name="connsiteY816" fmla="*/ 443495 h 609800"/>
              <a:gd name="connsiteX817" fmla="*/ 1705839 w 12248682"/>
              <a:gd name="connsiteY817" fmla="*/ 443495 h 609800"/>
              <a:gd name="connsiteX818" fmla="*/ 1746261 w 12248682"/>
              <a:gd name="connsiteY818" fmla="*/ 483918 h 609800"/>
              <a:gd name="connsiteX819" fmla="*/ 1705839 w 12248682"/>
              <a:gd name="connsiteY819" fmla="*/ 524340 h 609800"/>
              <a:gd name="connsiteX820" fmla="*/ 1665415 w 12248682"/>
              <a:gd name="connsiteY820" fmla="*/ 483918 h 609800"/>
              <a:gd name="connsiteX821" fmla="*/ 1705839 w 12248682"/>
              <a:gd name="connsiteY821" fmla="*/ 443495 h 609800"/>
              <a:gd name="connsiteX822" fmla="*/ 587862 w 12248682"/>
              <a:gd name="connsiteY822" fmla="*/ 443495 h 609800"/>
              <a:gd name="connsiteX823" fmla="*/ 628284 w 12248682"/>
              <a:gd name="connsiteY823" fmla="*/ 483918 h 609800"/>
              <a:gd name="connsiteX824" fmla="*/ 587862 w 12248682"/>
              <a:gd name="connsiteY824" fmla="*/ 524340 h 609800"/>
              <a:gd name="connsiteX825" fmla="*/ 547439 w 12248682"/>
              <a:gd name="connsiteY825" fmla="*/ 483918 h 609800"/>
              <a:gd name="connsiteX826" fmla="*/ 587862 w 12248682"/>
              <a:gd name="connsiteY826" fmla="*/ 443495 h 609800"/>
              <a:gd name="connsiteX827" fmla="*/ 308368 w 12248682"/>
              <a:gd name="connsiteY827" fmla="*/ 443495 h 609800"/>
              <a:gd name="connsiteX828" fmla="*/ 348790 w 12248682"/>
              <a:gd name="connsiteY828" fmla="*/ 483918 h 609800"/>
              <a:gd name="connsiteX829" fmla="*/ 308368 w 12248682"/>
              <a:gd name="connsiteY829" fmla="*/ 524340 h 609800"/>
              <a:gd name="connsiteX830" fmla="*/ 267945 w 12248682"/>
              <a:gd name="connsiteY830" fmla="*/ 483918 h 609800"/>
              <a:gd name="connsiteX831" fmla="*/ 308368 w 12248682"/>
              <a:gd name="connsiteY831" fmla="*/ 443495 h 609800"/>
              <a:gd name="connsiteX832" fmla="*/ 10784225 w 12248682"/>
              <a:gd name="connsiteY832" fmla="*/ 433101 h 609800"/>
              <a:gd name="connsiteX833" fmla="*/ 10835042 w 12248682"/>
              <a:gd name="connsiteY833" fmla="*/ 483918 h 609800"/>
              <a:gd name="connsiteX834" fmla="*/ 10784225 w 12248682"/>
              <a:gd name="connsiteY834" fmla="*/ 534735 h 609800"/>
              <a:gd name="connsiteX835" fmla="*/ 10733408 w 12248682"/>
              <a:gd name="connsiteY835" fmla="*/ 483918 h 609800"/>
              <a:gd name="connsiteX836" fmla="*/ 10784225 w 12248682"/>
              <a:gd name="connsiteY836" fmla="*/ 433101 h 609800"/>
              <a:gd name="connsiteX837" fmla="*/ 9666248 w 12248682"/>
              <a:gd name="connsiteY837" fmla="*/ 433101 h 609800"/>
              <a:gd name="connsiteX838" fmla="*/ 9717066 w 12248682"/>
              <a:gd name="connsiteY838" fmla="*/ 483918 h 609800"/>
              <a:gd name="connsiteX839" fmla="*/ 9666248 w 12248682"/>
              <a:gd name="connsiteY839" fmla="*/ 534735 h 609800"/>
              <a:gd name="connsiteX840" fmla="*/ 9615431 w 12248682"/>
              <a:gd name="connsiteY840" fmla="*/ 483918 h 609800"/>
              <a:gd name="connsiteX841" fmla="*/ 9666248 w 12248682"/>
              <a:gd name="connsiteY841" fmla="*/ 433101 h 609800"/>
              <a:gd name="connsiteX842" fmla="*/ 8553443 w 12248682"/>
              <a:gd name="connsiteY842" fmla="*/ 433101 h 609800"/>
              <a:gd name="connsiteX843" fmla="*/ 8604260 w 12248682"/>
              <a:gd name="connsiteY843" fmla="*/ 483918 h 609800"/>
              <a:gd name="connsiteX844" fmla="*/ 8553443 w 12248682"/>
              <a:gd name="connsiteY844" fmla="*/ 534735 h 609800"/>
              <a:gd name="connsiteX845" fmla="*/ 8502626 w 12248682"/>
              <a:gd name="connsiteY845" fmla="*/ 483918 h 609800"/>
              <a:gd name="connsiteX846" fmla="*/ 8553443 w 12248682"/>
              <a:gd name="connsiteY846" fmla="*/ 433101 h 609800"/>
              <a:gd name="connsiteX847" fmla="*/ 6178898 w 12248682"/>
              <a:gd name="connsiteY847" fmla="*/ 433101 h 609800"/>
              <a:gd name="connsiteX848" fmla="*/ 6229715 w 12248682"/>
              <a:gd name="connsiteY848" fmla="*/ 483918 h 609800"/>
              <a:gd name="connsiteX849" fmla="*/ 6178898 w 12248682"/>
              <a:gd name="connsiteY849" fmla="*/ 534735 h 609800"/>
              <a:gd name="connsiteX850" fmla="*/ 6128081 w 12248682"/>
              <a:gd name="connsiteY850" fmla="*/ 483918 h 609800"/>
              <a:gd name="connsiteX851" fmla="*/ 6178898 w 12248682"/>
              <a:gd name="connsiteY851" fmla="*/ 433101 h 609800"/>
              <a:gd name="connsiteX852" fmla="*/ 5060922 w 12248682"/>
              <a:gd name="connsiteY852" fmla="*/ 433101 h 609800"/>
              <a:gd name="connsiteX853" fmla="*/ 5111740 w 12248682"/>
              <a:gd name="connsiteY853" fmla="*/ 483918 h 609800"/>
              <a:gd name="connsiteX854" fmla="*/ 5060922 w 12248682"/>
              <a:gd name="connsiteY854" fmla="*/ 534735 h 609800"/>
              <a:gd name="connsiteX855" fmla="*/ 5010105 w 12248682"/>
              <a:gd name="connsiteY855" fmla="*/ 483918 h 609800"/>
              <a:gd name="connsiteX856" fmla="*/ 5060922 w 12248682"/>
              <a:gd name="connsiteY856" fmla="*/ 433101 h 609800"/>
              <a:gd name="connsiteX857" fmla="*/ 3940636 w 12248682"/>
              <a:gd name="connsiteY857" fmla="*/ 433101 h 609800"/>
              <a:gd name="connsiteX858" fmla="*/ 3991453 w 12248682"/>
              <a:gd name="connsiteY858" fmla="*/ 483918 h 609800"/>
              <a:gd name="connsiteX859" fmla="*/ 3940636 w 12248682"/>
              <a:gd name="connsiteY859" fmla="*/ 534735 h 609800"/>
              <a:gd name="connsiteX860" fmla="*/ 3889819 w 12248682"/>
              <a:gd name="connsiteY860" fmla="*/ 483918 h 609800"/>
              <a:gd name="connsiteX861" fmla="*/ 3940636 w 12248682"/>
              <a:gd name="connsiteY861" fmla="*/ 433101 h 609800"/>
              <a:gd name="connsiteX862" fmla="*/ 1566091 w 12248682"/>
              <a:gd name="connsiteY862" fmla="*/ 433101 h 609800"/>
              <a:gd name="connsiteX863" fmla="*/ 1616908 w 12248682"/>
              <a:gd name="connsiteY863" fmla="*/ 483918 h 609800"/>
              <a:gd name="connsiteX864" fmla="*/ 1566091 w 12248682"/>
              <a:gd name="connsiteY864" fmla="*/ 534735 h 609800"/>
              <a:gd name="connsiteX865" fmla="*/ 1515274 w 12248682"/>
              <a:gd name="connsiteY865" fmla="*/ 483918 h 609800"/>
              <a:gd name="connsiteX866" fmla="*/ 1566091 w 12248682"/>
              <a:gd name="connsiteY866" fmla="*/ 433101 h 609800"/>
              <a:gd name="connsiteX867" fmla="*/ 448115 w 12248682"/>
              <a:gd name="connsiteY867" fmla="*/ 433101 h 609800"/>
              <a:gd name="connsiteX868" fmla="*/ 498932 w 12248682"/>
              <a:gd name="connsiteY868" fmla="*/ 483918 h 609800"/>
              <a:gd name="connsiteX869" fmla="*/ 448115 w 12248682"/>
              <a:gd name="connsiteY869" fmla="*/ 534735 h 609800"/>
              <a:gd name="connsiteX870" fmla="*/ 397298 w 12248682"/>
              <a:gd name="connsiteY870" fmla="*/ 483918 h 609800"/>
              <a:gd name="connsiteX871" fmla="*/ 448115 w 12248682"/>
              <a:gd name="connsiteY871" fmla="*/ 433101 h 609800"/>
              <a:gd name="connsiteX872" fmla="*/ 12210569 w 12248682"/>
              <a:gd name="connsiteY872" fmla="*/ 319917 h 609800"/>
              <a:gd name="connsiteX873" fmla="*/ 12231358 w 12248682"/>
              <a:gd name="connsiteY873" fmla="*/ 340706 h 609800"/>
              <a:gd name="connsiteX874" fmla="*/ 12210569 w 12248682"/>
              <a:gd name="connsiteY874" fmla="*/ 361495 h 609800"/>
              <a:gd name="connsiteX875" fmla="*/ 12189780 w 12248682"/>
              <a:gd name="connsiteY875" fmla="*/ 340706 h 609800"/>
              <a:gd name="connsiteX876" fmla="*/ 12210569 w 12248682"/>
              <a:gd name="connsiteY876" fmla="*/ 319917 h 609800"/>
              <a:gd name="connsiteX877" fmla="*/ 12071977 w 12248682"/>
              <a:gd name="connsiteY877" fmla="*/ 319917 h 609800"/>
              <a:gd name="connsiteX878" fmla="*/ 12092766 w 12248682"/>
              <a:gd name="connsiteY878" fmla="*/ 340706 h 609800"/>
              <a:gd name="connsiteX879" fmla="*/ 12071977 w 12248682"/>
              <a:gd name="connsiteY879" fmla="*/ 361495 h 609800"/>
              <a:gd name="connsiteX880" fmla="*/ 12051188 w 12248682"/>
              <a:gd name="connsiteY880" fmla="*/ 340706 h 609800"/>
              <a:gd name="connsiteX881" fmla="*/ 12071977 w 12248682"/>
              <a:gd name="connsiteY881" fmla="*/ 319917 h 609800"/>
              <a:gd name="connsiteX882" fmla="*/ 11934539 w 12248682"/>
              <a:gd name="connsiteY882" fmla="*/ 319917 h 609800"/>
              <a:gd name="connsiteX883" fmla="*/ 11955328 w 12248682"/>
              <a:gd name="connsiteY883" fmla="*/ 340706 h 609800"/>
              <a:gd name="connsiteX884" fmla="*/ 11934539 w 12248682"/>
              <a:gd name="connsiteY884" fmla="*/ 361495 h 609800"/>
              <a:gd name="connsiteX885" fmla="*/ 11913750 w 12248682"/>
              <a:gd name="connsiteY885" fmla="*/ 340706 h 609800"/>
              <a:gd name="connsiteX886" fmla="*/ 11934539 w 12248682"/>
              <a:gd name="connsiteY886" fmla="*/ 319917 h 609800"/>
              <a:gd name="connsiteX887" fmla="*/ 11797103 w 12248682"/>
              <a:gd name="connsiteY887" fmla="*/ 319917 h 609800"/>
              <a:gd name="connsiteX888" fmla="*/ 11817892 w 12248682"/>
              <a:gd name="connsiteY888" fmla="*/ 340706 h 609800"/>
              <a:gd name="connsiteX889" fmla="*/ 11797103 w 12248682"/>
              <a:gd name="connsiteY889" fmla="*/ 361495 h 609800"/>
              <a:gd name="connsiteX890" fmla="*/ 11776314 w 12248682"/>
              <a:gd name="connsiteY890" fmla="*/ 340706 h 609800"/>
              <a:gd name="connsiteX891" fmla="*/ 11797103 w 12248682"/>
              <a:gd name="connsiteY891" fmla="*/ 319917 h 609800"/>
              <a:gd name="connsiteX892" fmla="*/ 10645633 w 12248682"/>
              <a:gd name="connsiteY892" fmla="*/ 319917 h 609800"/>
              <a:gd name="connsiteX893" fmla="*/ 10666422 w 12248682"/>
              <a:gd name="connsiteY893" fmla="*/ 340706 h 609800"/>
              <a:gd name="connsiteX894" fmla="*/ 10645633 w 12248682"/>
              <a:gd name="connsiteY894" fmla="*/ 361495 h 609800"/>
              <a:gd name="connsiteX895" fmla="*/ 10624844 w 12248682"/>
              <a:gd name="connsiteY895" fmla="*/ 340706 h 609800"/>
              <a:gd name="connsiteX896" fmla="*/ 10645633 w 12248682"/>
              <a:gd name="connsiteY896" fmla="*/ 319917 h 609800"/>
              <a:gd name="connsiteX897" fmla="*/ 9247008 w 12248682"/>
              <a:gd name="connsiteY897" fmla="*/ 319917 h 609800"/>
              <a:gd name="connsiteX898" fmla="*/ 9267797 w 12248682"/>
              <a:gd name="connsiteY898" fmla="*/ 340706 h 609800"/>
              <a:gd name="connsiteX899" fmla="*/ 9247008 w 12248682"/>
              <a:gd name="connsiteY899" fmla="*/ 361495 h 609800"/>
              <a:gd name="connsiteX900" fmla="*/ 9226219 w 12248682"/>
              <a:gd name="connsiteY900" fmla="*/ 340706 h 609800"/>
              <a:gd name="connsiteX901" fmla="*/ 9247008 w 12248682"/>
              <a:gd name="connsiteY901" fmla="*/ 319917 h 609800"/>
              <a:gd name="connsiteX902" fmla="*/ 8148062 w 12248682"/>
              <a:gd name="connsiteY902" fmla="*/ 319917 h 609800"/>
              <a:gd name="connsiteX903" fmla="*/ 8168851 w 12248682"/>
              <a:gd name="connsiteY903" fmla="*/ 340706 h 609800"/>
              <a:gd name="connsiteX904" fmla="*/ 8148062 w 12248682"/>
              <a:gd name="connsiteY904" fmla="*/ 361495 h 609800"/>
              <a:gd name="connsiteX905" fmla="*/ 8127274 w 12248682"/>
              <a:gd name="connsiteY905" fmla="*/ 340706 h 609800"/>
              <a:gd name="connsiteX906" fmla="*/ 8148062 w 12248682"/>
              <a:gd name="connsiteY906" fmla="*/ 319917 h 609800"/>
              <a:gd name="connsiteX907" fmla="*/ 8009471 w 12248682"/>
              <a:gd name="connsiteY907" fmla="*/ 319917 h 609800"/>
              <a:gd name="connsiteX908" fmla="*/ 8030259 w 12248682"/>
              <a:gd name="connsiteY908" fmla="*/ 340706 h 609800"/>
              <a:gd name="connsiteX909" fmla="*/ 8009471 w 12248682"/>
              <a:gd name="connsiteY909" fmla="*/ 361495 h 609800"/>
              <a:gd name="connsiteX910" fmla="*/ 7988682 w 12248682"/>
              <a:gd name="connsiteY910" fmla="*/ 340706 h 609800"/>
              <a:gd name="connsiteX911" fmla="*/ 8009471 w 12248682"/>
              <a:gd name="connsiteY911" fmla="*/ 319917 h 609800"/>
              <a:gd name="connsiteX912" fmla="*/ 7872031 w 12248682"/>
              <a:gd name="connsiteY912" fmla="*/ 319917 h 609800"/>
              <a:gd name="connsiteX913" fmla="*/ 7892822 w 12248682"/>
              <a:gd name="connsiteY913" fmla="*/ 340706 h 609800"/>
              <a:gd name="connsiteX914" fmla="*/ 7872031 w 12248682"/>
              <a:gd name="connsiteY914" fmla="*/ 361495 h 609800"/>
              <a:gd name="connsiteX915" fmla="*/ 7851244 w 12248682"/>
              <a:gd name="connsiteY915" fmla="*/ 340706 h 609800"/>
              <a:gd name="connsiteX916" fmla="*/ 7872031 w 12248682"/>
              <a:gd name="connsiteY916" fmla="*/ 319917 h 609800"/>
              <a:gd name="connsiteX917" fmla="*/ 7713807 w 12248682"/>
              <a:gd name="connsiteY917" fmla="*/ 319917 h 609800"/>
              <a:gd name="connsiteX918" fmla="*/ 7734596 w 12248682"/>
              <a:gd name="connsiteY918" fmla="*/ 340706 h 609800"/>
              <a:gd name="connsiteX919" fmla="*/ 7713807 w 12248682"/>
              <a:gd name="connsiteY919" fmla="*/ 361495 h 609800"/>
              <a:gd name="connsiteX920" fmla="*/ 7693019 w 12248682"/>
              <a:gd name="connsiteY920" fmla="*/ 340706 h 609800"/>
              <a:gd name="connsiteX921" fmla="*/ 7713807 w 12248682"/>
              <a:gd name="connsiteY921" fmla="*/ 319917 h 609800"/>
              <a:gd name="connsiteX922" fmla="*/ 7605244 w 12248682"/>
              <a:gd name="connsiteY922" fmla="*/ 319917 h 609800"/>
              <a:gd name="connsiteX923" fmla="*/ 7626031 w 12248682"/>
              <a:gd name="connsiteY923" fmla="*/ 340706 h 609800"/>
              <a:gd name="connsiteX924" fmla="*/ 7605244 w 12248682"/>
              <a:gd name="connsiteY924" fmla="*/ 361495 h 609800"/>
              <a:gd name="connsiteX925" fmla="*/ 7584454 w 12248682"/>
              <a:gd name="connsiteY925" fmla="*/ 340706 h 609800"/>
              <a:gd name="connsiteX926" fmla="*/ 7605244 w 12248682"/>
              <a:gd name="connsiteY926" fmla="*/ 319917 h 609800"/>
              <a:gd name="connsiteX927" fmla="*/ 7466651 w 12248682"/>
              <a:gd name="connsiteY927" fmla="*/ 319917 h 609800"/>
              <a:gd name="connsiteX928" fmla="*/ 7487439 w 12248682"/>
              <a:gd name="connsiteY928" fmla="*/ 340706 h 609800"/>
              <a:gd name="connsiteX929" fmla="*/ 7466651 w 12248682"/>
              <a:gd name="connsiteY929" fmla="*/ 361495 h 609800"/>
              <a:gd name="connsiteX930" fmla="*/ 7445863 w 12248682"/>
              <a:gd name="connsiteY930" fmla="*/ 340706 h 609800"/>
              <a:gd name="connsiteX931" fmla="*/ 7466651 w 12248682"/>
              <a:gd name="connsiteY931" fmla="*/ 319917 h 609800"/>
              <a:gd name="connsiteX932" fmla="*/ 7329213 w 12248682"/>
              <a:gd name="connsiteY932" fmla="*/ 319917 h 609800"/>
              <a:gd name="connsiteX933" fmla="*/ 7350002 w 12248682"/>
              <a:gd name="connsiteY933" fmla="*/ 340706 h 609800"/>
              <a:gd name="connsiteX934" fmla="*/ 7329213 w 12248682"/>
              <a:gd name="connsiteY934" fmla="*/ 361495 h 609800"/>
              <a:gd name="connsiteX935" fmla="*/ 7308425 w 12248682"/>
              <a:gd name="connsiteY935" fmla="*/ 340706 h 609800"/>
              <a:gd name="connsiteX936" fmla="*/ 7329213 w 12248682"/>
              <a:gd name="connsiteY936" fmla="*/ 319917 h 609800"/>
              <a:gd name="connsiteX937" fmla="*/ 7191777 w 12248682"/>
              <a:gd name="connsiteY937" fmla="*/ 319917 h 609800"/>
              <a:gd name="connsiteX938" fmla="*/ 7212566 w 12248682"/>
              <a:gd name="connsiteY938" fmla="*/ 340706 h 609800"/>
              <a:gd name="connsiteX939" fmla="*/ 7191777 w 12248682"/>
              <a:gd name="connsiteY939" fmla="*/ 361495 h 609800"/>
              <a:gd name="connsiteX940" fmla="*/ 7170987 w 12248682"/>
              <a:gd name="connsiteY940" fmla="*/ 340706 h 609800"/>
              <a:gd name="connsiteX941" fmla="*/ 7191777 w 12248682"/>
              <a:gd name="connsiteY941" fmla="*/ 319917 h 609800"/>
              <a:gd name="connsiteX942" fmla="*/ 6040307 w 12248682"/>
              <a:gd name="connsiteY942" fmla="*/ 319917 h 609800"/>
              <a:gd name="connsiteX943" fmla="*/ 6061095 w 12248682"/>
              <a:gd name="connsiteY943" fmla="*/ 340706 h 609800"/>
              <a:gd name="connsiteX944" fmla="*/ 6040307 w 12248682"/>
              <a:gd name="connsiteY944" fmla="*/ 361495 h 609800"/>
              <a:gd name="connsiteX945" fmla="*/ 6019518 w 12248682"/>
              <a:gd name="connsiteY945" fmla="*/ 340706 h 609800"/>
              <a:gd name="connsiteX946" fmla="*/ 6040307 w 12248682"/>
              <a:gd name="connsiteY946" fmla="*/ 319917 h 609800"/>
              <a:gd name="connsiteX947" fmla="*/ 4641682 w 12248682"/>
              <a:gd name="connsiteY947" fmla="*/ 319917 h 609800"/>
              <a:gd name="connsiteX948" fmla="*/ 4662472 w 12248682"/>
              <a:gd name="connsiteY948" fmla="*/ 340706 h 609800"/>
              <a:gd name="connsiteX949" fmla="*/ 4641682 w 12248682"/>
              <a:gd name="connsiteY949" fmla="*/ 361495 h 609800"/>
              <a:gd name="connsiteX950" fmla="*/ 4620893 w 12248682"/>
              <a:gd name="connsiteY950" fmla="*/ 340706 h 609800"/>
              <a:gd name="connsiteX951" fmla="*/ 4641682 w 12248682"/>
              <a:gd name="connsiteY951" fmla="*/ 319917 h 609800"/>
              <a:gd name="connsiteX952" fmla="*/ 3535254 w 12248682"/>
              <a:gd name="connsiteY952" fmla="*/ 319917 h 609800"/>
              <a:gd name="connsiteX953" fmla="*/ 3556043 w 12248682"/>
              <a:gd name="connsiteY953" fmla="*/ 340706 h 609800"/>
              <a:gd name="connsiteX954" fmla="*/ 3535254 w 12248682"/>
              <a:gd name="connsiteY954" fmla="*/ 361495 h 609800"/>
              <a:gd name="connsiteX955" fmla="*/ 3514466 w 12248682"/>
              <a:gd name="connsiteY955" fmla="*/ 340706 h 609800"/>
              <a:gd name="connsiteX956" fmla="*/ 3535254 w 12248682"/>
              <a:gd name="connsiteY956" fmla="*/ 319917 h 609800"/>
              <a:gd name="connsiteX957" fmla="*/ 3396662 w 12248682"/>
              <a:gd name="connsiteY957" fmla="*/ 319917 h 609800"/>
              <a:gd name="connsiteX958" fmla="*/ 3417451 w 12248682"/>
              <a:gd name="connsiteY958" fmla="*/ 340706 h 609800"/>
              <a:gd name="connsiteX959" fmla="*/ 3396662 w 12248682"/>
              <a:gd name="connsiteY959" fmla="*/ 361495 h 609800"/>
              <a:gd name="connsiteX960" fmla="*/ 3375874 w 12248682"/>
              <a:gd name="connsiteY960" fmla="*/ 340706 h 609800"/>
              <a:gd name="connsiteX961" fmla="*/ 3396662 w 12248682"/>
              <a:gd name="connsiteY961" fmla="*/ 319917 h 609800"/>
              <a:gd name="connsiteX962" fmla="*/ 3259224 w 12248682"/>
              <a:gd name="connsiteY962" fmla="*/ 319917 h 609800"/>
              <a:gd name="connsiteX963" fmla="*/ 3280013 w 12248682"/>
              <a:gd name="connsiteY963" fmla="*/ 340706 h 609800"/>
              <a:gd name="connsiteX964" fmla="*/ 3259224 w 12248682"/>
              <a:gd name="connsiteY964" fmla="*/ 361495 h 609800"/>
              <a:gd name="connsiteX965" fmla="*/ 3238436 w 12248682"/>
              <a:gd name="connsiteY965" fmla="*/ 340706 h 609800"/>
              <a:gd name="connsiteX966" fmla="*/ 3259224 w 12248682"/>
              <a:gd name="connsiteY966" fmla="*/ 319917 h 609800"/>
              <a:gd name="connsiteX967" fmla="*/ 3100999 w 12248682"/>
              <a:gd name="connsiteY967" fmla="*/ 319917 h 609800"/>
              <a:gd name="connsiteX968" fmla="*/ 3121789 w 12248682"/>
              <a:gd name="connsiteY968" fmla="*/ 340706 h 609800"/>
              <a:gd name="connsiteX969" fmla="*/ 3100999 w 12248682"/>
              <a:gd name="connsiteY969" fmla="*/ 361495 h 609800"/>
              <a:gd name="connsiteX970" fmla="*/ 3080212 w 12248682"/>
              <a:gd name="connsiteY970" fmla="*/ 340706 h 609800"/>
              <a:gd name="connsiteX971" fmla="*/ 3100999 w 12248682"/>
              <a:gd name="connsiteY971" fmla="*/ 319917 h 609800"/>
              <a:gd name="connsiteX972" fmla="*/ 2992435 w 12248682"/>
              <a:gd name="connsiteY972" fmla="*/ 319917 h 609800"/>
              <a:gd name="connsiteX973" fmla="*/ 3013224 w 12248682"/>
              <a:gd name="connsiteY973" fmla="*/ 340706 h 609800"/>
              <a:gd name="connsiteX974" fmla="*/ 2992435 w 12248682"/>
              <a:gd name="connsiteY974" fmla="*/ 361495 h 609800"/>
              <a:gd name="connsiteX975" fmla="*/ 2971647 w 12248682"/>
              <a:gd name="connsiteY975" fmla="*/ 340706 h 609800"/>
              <a:gd name="connsiteX976" fmla="*/ 2992435 w 12248682"/>
              <a:gd name="connsiteY976" fmla="*/ 319917 h 609800"/>
              <a:gd name="connsiteX977" fmla="*/ 2853843 w 12248682"/>
              <a:gd name="connsiteY977" fmla="*/ 319917 h 609800"/>
              <a:gd name="connsiteX978" fmla="*/ 2874633 w 12248682"/>
              <a:gd name="connsiteY978" fmla="*/ 340706 h 609800"/>
              <a:gd name="connsiteX979" fmla="*/ 2853843 w 12248682"/>
              <a:gd name="connsiteY979" fmla="*/ 361495 h 609800"/>
              <a:gd name="connsiteX980" fmla="*/ 2833056 w 12248682"/>
              <a:gd name="connsiteY980" fmla="*/ 340706 h 609800"/>
              <a:gd name="connsiteX981" fmla="*/ 2853843 w 12248682"/>
              <a:gd name="connsiteY981" fmla="*/ 319917 h 609800"/>
              <a:gd name="connsiteX982" fmla="*/ 2716405 w 12248682"/>
              <a:gd name="connsiteY982" fmla="*/ 319917 h 609800"/>
              <a:gd name="connsiteX983" fmla="*/ 2737195 w 12248682"/>
              <a:gd name="connsiteY983" fmla="*/ 340706 h 609800"/>
              <a:gd name="connsiteX984" fmla="*/ 2716405 w 12248682"/>
              <a:gd name="connsiteY984" fmla="*/ 361495 h 609800"/>
              <a:gd name="connsiteX985" fmla="*/ 2695618 w 12248682"/>
              <a:gd name="connsiteY985" fmla="*/ 340706 h 609800"/>
              <a:gd name="connsiteX986" fmla="*/ 2716405 w 12248682"/>
              <a:gd name="connsiteY986" fmla="*/ 319917 h 609800"/>
              <a:gd name="connsiteX987" fmla="*/ 2578969 w 12248682"/>
              <a:gd name="connsiteY987" fmla="*/ 319917 h 609800"/>
              <a:gd name="connsiteX988" fmla="*/ 2599758 w 12248682"/>
              <a:gd name="connsiteY988" fmla="*/ 340706 h 609800"/>
              <a:gd name="connsiteX989" fmla="*/ 2578969 w 12248682"/>
              <a:gd name="connsiteY989" fmla="*/ 361495 h 609800"/>
              <a:gd name="connsiteX990" fmla="*/ 2558180 w 12248682"/>
              <a:gd name="connsiteY990" fmla="*/ 340706 h 609800"/>
              <a:gd name="connsiteX991" fmla="*/ 2578969 w 12248682"/>
              <a:gd name="connsiteY991" fmla="*/ 319917 h 609800"/>
              <a:gd name="connsiteX992" fmla="*/ 1427499 w 12248682"/>
              <a:gd name="connsiteY992" fmla="*/ 319917 h 609800"/>
              <a:gd name="connsiteX993" fmla="*/ 1448288 w 12248682"/>
              <a:gd name="connsiteY993" fmla="*/ 340706 h 609800"/>
              <a:gd name="connsiteX994" fmla="*/ 1427499 w 12248682"/>
              <a:gd name="connsiteY994" fmla="*/ 361495 h 609800"/>
              <a:gd name="connsiteX995" fmla="*/ 1406710 w 12248682"/>
              <a:gd name="connsiteY995" fmla="*/ 340706 h 609800"/>
              <a:gd name="connsiteX996" fmla="*/ 1427499 w 12248682"/>
              <a:gd name="connsiteY996" fmla="*/ 319917 h 609800"/>
              <a:gd name="connsiteX997" fmla="*/ 28874 w 12248682"/>
              <a:gd name="connsiteY997" fmla="*/ 319917 h 609800"/>
              <a:gd name="connsiteX998" fmla="*/ 49663 w 12248682"/>
              <a:gd name="connsiteY998" fmla="*/ 340706 h 609800"/>
              <a:gd name="connsiteX999" fmla="*/ 28874 w 12248682"/>
              <a:gd name="connsiteY999" fmla="*/ 361495 h 609800"/>
              <a:gd name="connsiteX1000" fmla="*/ 8085 w 12248682"/>
              <a:gd name="connsiteY1000" fmla="*/ 340706 h 609800"/>
              <a:gd name="connsiteX1001" fmla="*/ 28874 w 12248682"/>
              <a:gd name="connsiteY1001" fmla="*/ 319917 h 609800"/>
              <a:gd name="connsiteX1002" fmla="*/ 11658510 w 12248682"/>
              <a:gd name="connsiteY1002" fmla="*/ 316452 h 609800"/>
              <a:gd name="connsiteX1003" fmla="*/ 11681609 w 12248682"/>
              <a:gd name="connsiteY1003" fmla="*/ 339551 h 609800"/>
              <a:gd name="connsiteX1004" fmla="*/ 11658510 w 12248682"/>
              <a:gd name="connsiteY1004" fmla="*/ 362649 h 609800"/>
              <a:gd name="connsiteX1005" fmla="*/ 11635412 w 12248682"/>
              <a:gd name="connsiteY1005" fmla="*/ 339551 h 609800"/>
              <a:gd name="connsiteX1006" fmla="*/ 11658510 w 12248682"/>
              <a:gd name="connsiteY1006" fmla="*/ 316452 h 609800"/>
              <a:gd name="connsiteX1007" fmla="*/ 10508196 w 12248682"/>
              <a:gd name="connsiteY1007" fmla="*/ 316452 h 609800"/>
              <a:gd name="connsiteX1008" fmla="*/ 10531295 w 12248682"/>
              <a:gd name="connsiteY1008" fmla="*/ 339551 h 609800"/>
              <a:gd name="connsiteX1009" fmla="*/ 10508196 w 12248682"/>
              <a:gd name="connsiteY1009" fmla="*/ 362649 h 609800"/>
              <a:gd name="connsiteX1010" fmla="*/ 10485098 w 12248682"/>
              <a:gd name="connsiteY1010" fmla="*/ 339551 h 609800"/>
              <a:gd name="connsiteX1011" fmla="*/ 10508196 w 12248682"/>
              <a:gd name="connsiteY1011" fmla="*/ 316452 h 609800"/>
              <a:gd name="connsiteX1012" fmla="*/ 9405233 w 12248682"/>
              <a:gd name="connsiteY1012" fmla="*/ 316452 h 609800"/>
              <a:gd name="connsiteX1013" fmla="*/ 9428332 w 12248682"/>
              <a:gd name="connsiteY1013" fmla="*/ 339551 h 609800"/>
              <a:gd name="connsiteX1014" fmla="*/ 9405233 w 12248682"/>
              <a:gd name="connsiteY1014" fmla="*/ 362649 h 609800"/>
              <a:gd name="connsiteX1015" fmla="*/ 9382135 w 12248682"/>
              <a:gd name="connsiteY1015" fmla="*/ 339551 h 609800"/>
              <a:gd name="connsiteX1016" fmla="*/ 9405233 w 12248682"/>
              <a:gd name="connsiteY1016" fmla="*/ 316452 h 609800"/>
              <a:gd name="connsiteX1017" fmla="*/ 8285498 w 12248682"/>
              <a:gd name="connsiteY1017" fmla="*/ 316452 h 609800"/>
              <a:gd name="connsiteX1018" fmla="*/ 8308598 w 12248682"/>
              <a:gd name="connsiteY1018" fmla="*/ 339551 h 609800"/>
              <a:gd name="connsiteX1019" fmla="*/ 8285498 w 12248682"/>
              <a:gd name="connsiteY1019" fmla="*/ 362649 h 609800"/>
              <a:gd name="connsiteX1020" fmla="*/ 8262401 w 12248682"/>
              <a:gd name="connsiteY1020" fmla="*/ 339551 h 609800"/>
              <a:gd name="connsiteX1021" fmla="*/ 8285498 w 12248682"/>
              <a:gd name="connsiteY1021" fmla="*/ 316452 h 609800"/>
              <a:gd name="connsiteX1022" fmla="*/ 7053184 w 12248682"/>
              <a:gd name="connsiteY1022" fmla="*/ 316452 h 609800"/>
              <a:gd name="connsiteX1023" fmla="*/ 7076283 w 12248682"/>
              <a:gd name="connsiteY1023" fmla="*/ 339551 h 609800"/>
              <a:gd name="connsiteX1024" fmla="*/ 7053184 w 12248682"/>
              <a:gd name="connsiteY1024" fmla="*/ 362649 h 609800"/>
              <a:gd name="connsiteX1025" fmla="*/ 7030086 w 12248682"/>
              <a:gd name="connsiteY1025" fmla="*/ 339551 h 609800"/>
              <a:gd name="connsiteX1026" fmla="*/ 7053184 w 12248682"/>
              <a:gd name="connsiteY1026" fmla="*/ 316452 h 609800"/>
              <a:gd name="connsiteX1027" fmla="*/ 5902869 w 12248682"/>
              <a:gd name="connsiteY1027" fmla="*/ 316452 h 609800"/>
              <a:gd name="connsiteX1028" fmla="*/ 5925969 w 12248682"/>
              <a:gd name="connsiteY1028" fmla="*/ 339551 h 609800"/>
              <a:gd name="connsiteX1029" fmla="*/ 5902869 w 12248682"/>
              <a:gd name="connsiteY1029" fmla="*/ 362649 h 609800"/>
              <a:gd name="connsiteX1030" fmla="*/ 5879771 w 12248682"/>
              <a:gd name="connsiteY1030" fmla="*/ 339551 h 609800"/>
              <a:gd name="connsiteX1031" fmla="*/ 5902869 w 12248682"/>
              <a:gd name="connsiteY1031" fmla="*/ 316452 h 609800"/>
              <a:gd name="connsiteX1032" fmla="*/ 4799906 w 12248682"/>
              <a:gd name="connsiteY1032" fmla="*/ 316452 h 609800"/>
              <a:gd name="connsiteX1033" fmla="*/ 4823006 w 12248682"/>
              <a:gd name="connsiteY1033" fmla="*/ 339551 h 609800"/>
              <a:gd name="connsiteX1034" fmla="*/ 4799906 w 12248682"/>
              <a:gd name="connsiteY1034" fmla="*/ 362649 h 609800"/>
              <a:gd name="connsiteX1035" fmla="*/ 4776809 w 12248682"/>
              <a:gd name="connsiteY1035" fmla="*/ 339551 h 609800"/>
              <a:gd name="connsiteX1036" fmla="*/ 4799906 w 12248682"/>
              <a:gd name="connsiteY1036" fmla="*/ 316452 h 609800"/>
              <a:gd name="connsiteX1037" fmla="*/ 3672691 w 12248682"/>
              <a:gd name="connsiteY1037" fmla="*/ 316452 h 609800"/>
              <a:gd name="connsiteX1038" fmla="*/ 3695791 w 12248682"/>
              <a:gd name="connsiteY1038" fmla="*/ 339551 h 609800"/>
              <a:gd name="connsiteX1039" fmla="*/ 3672691 w 12248682"/>
              <a:gd name="connsiteY1039" fmla="*/ 362649 h 609800"/>
              <a:gd name="connsiteX1040" fmla="*/ 3649592 w 12248682"/>
              <a:gd name="connsiteY1040" fmla="*/ 339551 h 609800"/>
              <a:gd name="connsiteX1041" fmla="*/ 3672691 w 12248682"/>
              <a:gd name="connsiteY1041" fmla="*/ 316452 h 609800"/>
              <a:gd name="connsiteX1042" fmla="*/ 2440377 w 12248682"/>
              <a:gd name="connsiteY1042" fmla="*/ 316452 h 609800"/>
              <a:gd name="connsiteX1043" fmla="*/ 2463475 w 12248682"/>
              <a:gd name="connsiteY1043" fmla="*/ 339551 h 609800"/>
              <a:gd name="connsiteX1044" fmla="*/ 2440377 w 12248682"/>
              <a:gd name="connsiteY1044" fmla="*/ 362649 h 609800"/>
              <a:gd name="connsiteX1045" fmla="*/ 2417278 w 12248682"/>
              <a:gd name="connsiteY1045" fmla="*/ 339551 h 609800"/>
              <a:gd name="connsiteX1046" fmla="*/ 2440377 w 12248682"/>
              <a:gd name="connsiteY1046" fmla="*/ 316452 h 609800"/>
              <a:gd name="connsiteX1047" fmla="*/ 1290062 w 12248682"/>
              <a:gd name="connsiteY1047" fmla="*/ 316452 h 609800"/>
              <a:gd name="connsiteX1048" fmla="*/ 1313161 w 12248682"/>
              <a:gd name="connsiteY1048" fmla="*/ 339551 h 609800"/>
              <a:gd name="connsiteX1049" fmla="*/ 1290062 w 12248682"/>
              <a:gd name="connsiteY1049" fmla="*/ 362649 h 609800"/>
              <a:gd name="connsiteX1050" fmla="*/ 1266964 w 12248682"/>
              <a:gd name="connsiteY1050" fmla="*/ 339551 h 609800"/>
              <a:gd name="connsiteX1051" fmla="*/ 1290062 w 12248682"/>
              <a:gd name="connsiteY1051" fmla="*/ 316452 h 609800"/>
              <a:gd name="connsiteX1052" fmla="*/ 187100 w 12248682"/>
              <a:gd name="connsiteY1052" fmla="*/ 316452 h 609800"/>
              <a:gd name="connsiteX1053" fmla="*/ 210198 w 12248682"/>
              <a:gd name="connsiteY1053" fmla="*/ 339551 h 609800"/>
              <a:gd name="connsiteX1054" fmla="*/ 187100 w 12248682"/>
              <a:gd name="connsiteY1054" fmla="*/ 362649 h 609800"/>
              <a:gd name="connsiteX1055" fmla="*/ 164001 w 12248682"/>
              <a:gd name="connsiteY1055" fmla="*/ 339551 h 609800"/>
              <a:gd name="connsiteX1056" fmla="*/ 187100 w 12248682"/>
              <a:gd name="connsiteY1056" fmla="*/ 316452 h 609800"/>
              <a:gd name="connsiteX1057" fmla="*/ 11521073 w 12248682"/>
              <a:gd name="connsiteY1057" fmla="*/ 310678 h 609800"/>
              <a:gd name="connsiteX1058" fmla="*/ 11549947 w 12248682"/>
              <a:gd name="connsiteY1058" fmla="*/ 339551 h 609800"/>
              <a:gd name="connsiteX1059" fmla="*/ 11521073 w 12248682"/>
              <a:gd name="connsiteY1059" fmla="*/ 368425 h 609800"/>
              <a:gd name="connsiteX1060" fmla="*/ 11492200 w 12248682"/>
              <a:gd name="connsiteY1060" fmla="*/ 339551 h 609800"/>
              <a:gd name="connsiteX1061" fmla="*/ 11521073 w 12248682"/>
              <a:gd name="connsiteY1061" fmla="*/ 310678 h 609800"/>
              <a:gd name="connsiteX1062" fmla="*/ 10369604 w 12248682"/>
              <a:gd name="connsiteY1062" fmla="*/ 310678 h 609800"/>
              <a:gd name="connsiteX1063" fmla="*/ 10398477 w 12248682"/>
              <a:gd name="connsiteY1063" fmla="*/ 339551 h 609800"/>
              <a:gd name="connsiteX1064" fmla="*/ 10369604 w 12248682"/>
              <a:gd name="connsiteY1064" fmla="*/ 368425 h 609800"/>
              <a:gd name="connsiteX1065" fmla="*/ 10340730 w 12248682"/>
              <a:gd name="connsiteY1065" fmla="*/ 339551 h 609800"/>
              <a:gd name="connsiteX1066" fmla="*/ 10369604 w 12248682"/>
              <a:gd name="connsiteY1066" fmla="*/ 310678 h 609800"/>
              <a:gd name="connsiteX1067" fmla="*/ 9543825 w 12248682"/>
              <a:gd name="connsiteY1067" fmla="*/ 310678 h 609800"/>
              <a:gd name="connsiteX1068" fmla="*/ 9572699 w 12248682"/>
              <a:gd name="connsiteY1068" fmla="*/ 339551 h 609800"/>
              <a:gd name="connsiteX1069" fmla="*/ 9543825 w 12248682"/>
              <a:gd name="connsiteY1069" fmla="*/ 368425 h 609800"/>
              <a:gd name="connsiteX1070" fmla="*/ 9514953 w 12248682"/>
              <a:gd name="connsiteY1070" fmla="*/ 339551 h 609800"/>
              <a:gd name="connsiteX1071" fmla="*/ 9543825 w 12248682"/>
              <a:gd name="connsiteY1071" fmla="*/ 310678 h 609800"/>
              <a:gd name="connsiteX1072" fmla="*/ 8422936 w 12248682"/>
              <a:gd name="connsiteY1072" fmla="*/ 310678 h 609800"/>
              <a:gd name="connsiteX1073" fmla="*/ 8451809 w 12248682"/>
              <a:gd name="connsiteY1073" fmla="*/ 339551 h 609800"/>
              <a:gd name="connsiteX1074" fmla="*/ 8422936 w 12248682"/>
              <a:gd name="connsiteY1074" fmla="*/ 368425 h 609800"/>
              <a:gd name="connsiteX1075" fmla="*/ 8394062 w 12248682"/>
              <a:gd name="connsiteY1075" fmla="*/ 339551 h 609800"/>
              <a:gd name="connsiteX1076" fmla="*/ 8422936 w 12248682"/>
              <a:gd name="connsiteY1076" fmla="*/ 310678 h 609800"/>
              <a:gd name="connsiteX1077" fmla="*/ 6915746 w 12248682"/>
              <a:gd name="connsiteY1077" fmla="*/ 310678 h 609800"/>
              <a:gd name="connsiteX1078" fmla="*/ 6944621 w 12248682"/>
              <a:gd name="connsiteY1078" fmla="*/ 339551 h 609800"/>
              <a:gd name="connsiteX1079" fmla="*/ 6915746 w 12248682"/>
              <a:gd name="connsiteY1079" fmla="*/ 368425 h 609800"/>
              <a:gd name="connsiteX1080" fmla="*/ 6886873 w 12248682"/>
              <a:gd name="connsiteY1080" fmla="*/ 339551 h 609800"/>
              <a:gd name="connsiteX1081" fmla="*/ 6915746 w 12248682"/>
              <a:gd name="connsiteY1081" fmla="*/ 310678 h 609800"/>
              <a:gd name="connsiteX1082" fmla="*/ 5764278 w 12248682"/>
              <a:gd name="connsiteY1082" fmla="*/ 310678 h 609800"/>
              <a:gd name="connsiteX1083" fmla="*/ 5793151 w 12248682"/>
              <a:gd name="connsiteY1083" fmla="*/ 339551 h 609800"/>
              <a:gd name="connsiteX1084" fmla="*/ 5764278 w 12248682"/>
              <a:gd name="connsiteY1084" fmla="*/ 368425 h 609800"/>
              <a:gd name="connsiteX1085" fmla="*/ 5735405 w 12248682"/>
              <a:gd name="connsiteY1085" fmla="*/ 339551 h 609800"/>
              <a:gd name="connsiteX1086" fmla="*/ 5764278 w 12248682"/>
              <a:gd name="connsiteY1086" fmla="*/ 310678 h 609800"/>
              <a:gd name="connsiteX1087" fmla="*/ 4938500 w 12248682"/>
              <a:gd name="connsiteY1087" fmla="*/ 310678 h 609800"/>
              <a:gd name="connsiteX1088" fmla="*/ 4967373 w 12248682"/>
              <a:gd name="connsiteY1088" fmla="*/ 339551 h 609800"/>
              <a:gd name="connsiteX1089" fmla="*/ 4938500 w 12248682"/>
              <a:gd name="connsiteY1089" fmla="*/ 368425 h 609800"/>
              <a:gd name="connsiteX1090" fmla="*/ 4909627 w 12248682"/>
              <a:gd name="connsiteY1090" fmla="*/ 339551 h 609800"/>
              <a:gd name="connsiteX1091" fmla="*/ 4938500 w 12248682"/>
              <a:gd name="connsiteY1091" fmla="*/ 310678 h 609800"/>
              <a:gd name="connsiteX1092" fmla="*/ 3810129 w 12248682"/>
              <a:gd name="connsiteY1092" fmla="*/ 310678 h 609800"/>
              <a:gd name="connsiteX1093" fmla="*/ 3839002 w 12248682"/>
              <a:gd name="connsiteY1093" fmla="*/ 339551 h 609800"/>
              <a:gd name="connsiteX1094" fmla="*/ 3810129 w 12248682"/>
              <a:gd name="connsiteY1094" fmla="*/ 368425 h 609800"/>
              <a:gd name="connsiteX1095" fmla="*/ 3781255 w 12248682"/>
              <a:gd name="connsiteY1095" fmla="*/ 339551 h 609800"/>
              <a:gd name="connsiteX1096" fmla="*/ 3810129 w 12248682"/>
              <a:gd name="connsiteY1096" fmla="*/ 310678 h 609800"/>
              <a:gd name="connsiteX1097" fmla="*/ 2302939 w 12248682"/>
              <a:gd name="connsiteY1097" fmla="*/ 310678 h 609800"/>
              <a:gd name="connsiteX1098" fmla="*/ 2331813 w 12248682"/>
              <a:gd name="connsiteY1098" fmla="*/ 339551 h 609800"/>
              <a:gd name="connsiteX1099" fmla="*/ 2302939 w 12248682"/>
              <a:gd name="connsiteY1099" fmla="*/ 368425 h 609800"/>
              <a:gd name="connsiteX1100" fmla="*/ 2274067 w 12248682"/>
              <a:gd name="connsiteY1100" fmla="*/ 339551 h 609800"/>
              <a:gd name="connsiteX1101" fmla="*/ 2302939 w 12248682"/>
              <a:gd name="connsiteY1101" fmla="*/ 310678 h 609800"/>
              <a:gd name="connsiteX1102" fmla="*/ 1151470 w 12248682"/>
              <a:gd name="connsiteY1102" fmla="*/ 310678 h 609800"/>
              <a:gd name="connsiteX1103" fmla="*/ 1180343 w 12248682"/>
              <a:gd name="connsiteY1103" fmla="*/ 339551 h 609800"/>
              <a:gd name="connsiteX1104" fmla="*/ 1151470 w 12248682"/>
              <a:gd name="connsiteY1104" fmla="*/ 368425 h 609800"/>
              <a:gd name="connsiteX1105" fmla="*/ 1122596 w 12248682"/>
              <a:gd name="connsiteY1105" fmla="*/ 339551 h 609800"/>
              <a:gd name="connsiteX1106" fmla="*/ 1151470 w 12248682"/>
              <a:gd name="connsiteY1106" fmla="*/ 310678 h 609800"/>
              <a:gd name="connsiteX1107" fmla="*/ 325692 w 12248682"/>
              <a:gd name="connsiteY1107" fmla="*/ 310678 h 609800"/>
              <a:gd name="connsiteX1108" fmla="*/ 354566 w 12248682"/>
              <a:gd name="connsiteY1108" fmla="*/ 339551 h 609800"/>
              <a:gd name="connsiteX1109" fmla="*/ 325692 w 12248682"/>
              <a:gd name="connsiteY1109" fmla="*/ 368425 h 609800"/>
              <a:gd name="connsiteX1110" fmla="*/ 296819 w 12248682"/>
              <a:gd name="connsiteY1110" fmla="*/ 339551 h 609800"/>
              <a:gd name="connsiteX1111" fmla="*/ 325692 w 12248682"/>
              <a:gd name="connsiteY1111" fmla="*/ 310678 h 609800"/>
              <a:gd name="connsiteX1112" fmla="*/ 11383636 w 12248682"/>
              <a:gd name="connsiteY1112" fmla="*/ 304903 h 609800"/>
              <a:gd name="connsiteX1113" fmla="*/ 11418284 w 12248682"/>
              <a:gd name="connsiteY1113" fmla="*/ 339551 h 609800"/>
              <a:gd name="connsiteX1114" fmla="*/ 11383636 w 12248682"/>
              <a:gd name="connsiteY1114" fmla="*/ 374199 h 609800"/>
              <a:gd name="connsiteX1115" fmla="*/ 11348988 w 12248682"/>
              <a:gd name="connsiteY1115" fmla="*/ 339551 h 609800"/>
              <a:gd name="connsiteX1116" fmla="*/ 11383636 w 12248682"/>
              <a:gd name="connsiteY1116" fmla="*/ 304903 h 609800"/>
              <a:gd name="connsiteX1117" fmla="*/ 10811943 w 12248682"/>
              <a:gd name="connsiteY1117" fmla="*/ 304903 h 609800"/>
              <a:gd name="connsiteX1118" fmla="*/ 10846591 w 12248682"/>
              <a:gd name="connsiteY1118" fmla="*/ 339551 h 609800"/>
              <a:gd name="connsiteX1119" fmla="*/ 10811943 w 12248682"/>
              <a:gd name="connsiteY1119" fmla="*/ 374199 h 609800"/>
              <a:gd name="connsiteX1120" fmla="*/ 10777295 w 12248682"/>
              <a:gd name="connsiteY1120" fmla="*/ 339551 h 609800"/>
              <a:gd name="connsiteX1121" fmla="*/ 10811943 w 12248682"/>
              <a:gd name="connsiteY1121" fmla="*/ 304903 h 609800"/>
              <a:gd name="connsiteX1122" fmla="*/ 10232166 w 12248682"/>
              <a:gd name="connsiteY1122" fmla="*/ 304903 h 609800"/>
              <a:gd name="connsiteX1123" fmla="*/ 10266814 w 12248682"/>
              <a:gd name="connsiteY1123" fmla="*/ 339551 h 609800"/>
              <a:gd name="connsiteX1124" fmla="*/ 10232166 w 12248682"/>
              <a:gd name="connsiteY1124" fmla="*/ 374199 h 609800"/>
              <a:gd name="connsiteX1125" fmla="*/ 10197518 w 12248682"/>
              <a:gd name="connsiteY1125" fmla="*/ 339551 h 609800"/>
              <a:gd name="connsiteX1126" fmla="*/ 10232166 w 12248682"/>
              <a:gd name="connsiteY1126" fmla="*/ 304903 h 609800"/>
              <a:gd name="connsiteX1127" fmla="*/ 9681263 w 12248682"/>
              <a:gd name="connsiteY1127" fmla="*/ 304903 h 609800"/>
              <a:gd name="connsiteX1128" fmla="*/ 9715911 w 12248682"/>
              <a:gd name="connsiteY1128" fmla="*/ 339551 h 609800"/>
              <a:gd name="connsiteX1129" fmla="*/ 9681263 w 12248682"/>
              <a:gd name="connsiteY1129" fmla="*/ 374199 h 609800"/>
              <a:gd name="connsiteX1130" fmla="*/ 9646615 w 12248682"/>
              <a:gd name="connsiteY1130" fmla="*/ 339551 h 609800"/>
              <a:gd name="connsiteX1131" fmla="*/ 9681263 w 12248682"/>
              <a:gd name="connsiteY1131" fmla="*/ 304903 h 609800"/>
              <a:gd name="connsiteX1132" fmla="*/ 9112431 w 12248682"/>
              <a:gd name="connsiteY1132" fmla="*/ 304903 h 609800"/>
              <a:gd name="connsiteX1133" fmla="*/ 9147079 w 12248682"/>
              <a:gd name="connsiteY1133" fmla="*/ 339551 h 609800"/>
              <a:gd name="connsiteX1134" fmla="*/ 9112431 w 12248682"/>
              <a:gd name="connsiteY1134" fmla="*/ 374199 h 609800"/>
              <a:gd name="connsiteX1135" fmla="*/ 9077783 w 12248682"/>
              <a:gd name="connsiteY1135" fmla="*/ 339551 h 609800"/>
              <a:gd name="connsiteX1136" fmla="*/ 9112431 w 12248682"/>
              <a:gd name="connsiteY1136" fmla="*/ 304903 h 609800"/>
              <a:gd name="connsiteX1137" fmla="*/ 8561528 w 12248682"/>
              <a:gd name="connsiteY1137" fmla="*/ 304903 h 609800"/>
              <a:gd name="connsiteX1138" fmla="*/ 8596176 w 12248682"/>
              <a:gd name="connsiteY1138" fmla="*/ 339551 h 609800"/>
              <a:gd name="connsiteX1139" fmla="*/ 8561528 w 12248682"/>
              <a:gd name="connsiteY1139" fmla="*/ 374199 h 609800"/>
              <a:gd name="connsiteX1140" fmla="*/ 8526880 w 12248682"/>
              <a:gd name="connsiteY1140" fmla="*/ 339551 h 609800"/>
              <a:gd name="connsiteX1141" fmla="*/ 8561528 w 12248682"/>
              <a:gd name="connsiteY1141" fmla="*/ 304903 h 609800"/>
              <a:gd name="connsiteX1142" fmla="*/ 6778310 w 12248682"/>
              <a:gd name="connsiteY1142" fmla="*/ 304903 h 609800"/>
              <a:gd name="connsiteX1143" fmla="*/ 6812959 w 12248682"/>
              <a:gd name="connsiteY1143" fmla="*/ 339551 h 609800"/>
              <a:gd name="connsiteX1144" fmla="*/ 6778310 w 12248682"/>
              <a:gd name="connsiteY1144" fmla="*/ 374199 h 609800"/>
              <a:gd name="connsiteX1145" fmla="*/ 6743662 w 12248682"/>
              <a:gd name="connsiteY1145" fmla="*/ 339551 h 609800"/>
              <a:gd name="connsiteX1146" fmla="*/ 6778310 w 12248682"/>
              <a:gd name="connsiteY1146" fmla="*/ 304903 h 609800"/>
              <a:gd name="connsiteX1147" fmla="*/ 6206618 w 12248682"/>
              <a:gd name="connsiteY1147" fmla="*/ 304903 h 609800"/>
              <a:gd name="connsiteX1148" fmla="*/ 6241265 w 12248682"/>
              <a:gd name="connsiteY1148" fmla="*/ 339551 h 609800"/>
              <a:gd name="connsiteX1149" fmla="*/ 6206618 w 12248682"/>
              <a:gd name="connsiteY1149" fmla="*/ 374199 h 609800"/>
              <a:gd name="connsiteX1150" fmla="*/ 6171969 w 12248682"/>
              <a:gd name="connsiteY1150" fmla="*/ 339551 h 609800"/>
              <a:gd name="connsiteX1151" fmla="*/ 6206618 w 12248682"/>
              <a:gd name="connsiteY1151" fmla="*/ 304903 h 609800"/>
              <a:gd name="connsiteX1152" fmla="*/ 5626840 w 12248682"/>
              <a:gd name="connsiteY1152" fmla="*/ 304903 h 609800"/>
              <a:gd name="connsiteX1153" fmla="*/ 5661488 w 12248682"/>
              <a:gd name="connsiteY1153" fmla="*/ 339551 h 609800"/>
              <a:gd name="connsiteX1154" fmla="*/ 5626840 w 12248682"/>
              <a:gd name="connsiteY1154" fmla="*/ 374199 h 609800"/>
              <a:gd name="connsiteX1155" fmla="*/ 5592192 w 12248682"/>
              <a:gd name="connsiteY1155" fmla="*/ 339551 h 609800"/>
              <a:gd name="connsiteX1156" fmla="*/ 5626840 w 12248682"/>
              <a:gd name="connsiteY1156" fmla="*/ 304903 h 609800"/>
              <a:gd name="connsiteX1157" fmla="*/ 5075938 w 12248682"/>
              <a:gd name="connsiteY1157" fmla="*/ 304903 h 609800"/>
              <a:gd name="connsiteX1158" fmla="*/ 5110584 w 12248682"/>
              <a:gd name="connsiteY1158" fmla="*/ 339551 h 609800"/>
              <a:gd name="connsiteX1159" fmla="*/ 5075938 w 12248682"/>
              <a:gd name="connsiteY1159" fmla="*/ 374199 h 609800"/>
              <a:gd name="connsiteX1160" fmla="*/ 5041289 w 12248682"/>
              <a:gd name="connsiteY1160" fmla="*/ 339551 h 609800"/>
              <a:gd name="connsiteX1161" fmla="*/ 5075938 w 12248682"/>
              <a:gd name="connsiteY1161" fmla="*/ 304903 h 609800"/>
              <a:gd name="connsiteX1162" fmla="*/ 4499625 w 12248682"/>
              <a:gd name="connsiteY1162" fmla="*/ 304903 h 609800"/>
              <a:gd name="connsiteX1163" fmla="*/ 4534273 w 12248682"/>
              <a:gd name="connsiteY1163" fmla="*/ 339551 h 609800"/>
              <a:gd name="connsiteX1164" fmla="*/ 4499625 w 12248682"/>
              <a:gd name="connsiteY1164" fmla="*/ 374199 h 609800"/>
              <a:gd name="connsiteX1165" fmla="*/ 4464976 w 12248682"/>
              <a:gd name="connsiteY1165" fmla="*/ 339551 h 609800"/>
              <a:gd name="connsiteX1166" fmla="*/ 4499625 w 12248682"/>
              <a:gd name="connsiteY1166" fmla="*/ 304903 h 609800"/>
              <a:gd name="connsiteX1167" fmla="*/ 3948721 w 12248682"/>
              <a:gd name="connsiteY1167" fmla="*/ 304903 h 609800"/>
              <a:gd name="connsiteX1168" fmla="*/ 3983369 w 12248682"/>
              <a:gd name="connsiteY1168" fmla="*/ 339551 h 609800"/>
              <a:gd name="connsiteX1169" fmla="*/ 3948721 w 12248682"/>
              <a:gd name="connsiteY1169" fmla="*/ 374199 h 609800"/>
              <a:gd name="connsiteX1170" fmla="*/ 3914073 w 12248682"/>
              <a:gd name="connsiteY1170" fmla="*/ 339551 h 609800"/>
              <a:gd name="connsiteX1171" fmla="*/ 3948721 w 12248682"/>
              <a:gd name="connsiteY1171" fmla="*/ 304903 h 609800"/>
              <a:gd name="connsiteX1172" fmla="*/ 2165502 w 12248682"/>
              <a:gd name="connsiteY1172" fmla="*/ 304903 h 609800"/>
              <a:gd name="connsiteX1173" fmla="*/ 2200150 w 12248682"/>
              <a:gd name="connsiteY1173" fmla="*/ 339551 h 609800"/>
              <a:gd name="connsiteX1174" fmla="*/ 2165502 w 12248682"/>
              <a:gd name="connsiteY1174" fmla="*/ 374199 h 609800"/>
              <a:gd name="connsiteX1175" fmla="*/ 2130854 w 12248682"/>
              <a:gd name="connsiteY1175" fmla="*/ 339551 h 609800"/>
              <a:gd name="connsiteX1176" fmla="*/ 2165502 w 12248682"/>
              <a:gd name="connsiteY1176" fmla="*/ 304903 h 609800"/>
              <a:gd name="connsiteX1177" fmla="*/ 1593810 w 12248682"/>
              <a:gd name="connsiteY1177" fmla="*/ 304903 h 609800"/>
              <a:gd name="connsiteX1178" fmla="*/ 1628457 w 12248682"/>
              <a:gd name="connsiteY1178" fmla="*/ 339551 h 609800"/>
              <a:gd name="connsiteX1179" fmla="*/ 1593810 w 12248682"/>
              <a:gd name="connsiteY1179" fmla="*/ 374199 h 609800"/>
              <a:gd name="connsiteX1180" fmla="*/ 1559161 w 12248682"/>
              <a:gd name="connsiteY1180" fmla="*/ 339551 h 609800"/>
              <a:gd name="connsiteX1181" fmla="*/ 1593810 w 12248682"/>
              <a:gd name="connsiteY1181" fmla="*/ 304903 h 609800"/>
              <a:gd name="connsiteX1182" fmla="*/ 1014032 w 12248682"/>
              <a:gd name="connsiteY1182" fmla="*/ 304903 h 609800"/>
              <a:gd name="connsiteX1183" fmla="*/ 1048681 w 12248682"/>
              <a:gd name="connsiteY1183" fmla="*/ 339551 h 609800"/>
              <a:gd name="connsiteX1184" fmla="*/ 1014032 w 12248682"/>
              <a:gd name="connsiteY1184" fmla="*/ 374199 h 609800"/>
              <a:gd name="connsiteX1185" fmla="*/ 979384 w 12248682"/>
              <a:gd name="connsiteY1185" fmla="*/ 339551 h 609800"/>
              <a:gd name="connsiteX1186" fmla="*/ 1014032 w 12248682"/>
              <a:gd name="connsiteY1186" fmla="*/ 304903 h 609800"/>
              <a:gd name="connsiteX1187" fmla="*/ 463129 w 12248682"/>
              <a:gd name="connsiteY1187" fmla="*/ 304903 h 609800"/>
              <a:gd name="connsiteX1188" fmla="*/ 497778 w 12248682"/>
              <a:gd name="connsiteY1188" fmla="*/ 339551 h 609800"/>
              <a:gd name="connsiteX1189" fmla="*/ 463129 w 12248682"/>
              <a:gd name="connsiteY1189" fmla="*/ 374199 h 609800"/>
              <a:gd name="connsiteX1190" fmla="*/ 428481 w 12248682"/>
              <a:gd name="connsiteY1190" fmla="*/ 339551 h 609800"/>
              <a:gd name="connsiteX1191" fmla="*/ 463129 w 12248682"/>
              <a:gd name="connsiteY1191" fmla="*/ 304903 h 609800"/>
              <a:gd name="connsiteX1192" fmla="*/ 11245044 w 12248682"/>
              <a:gd name="connsiteY1192" fmla="*/ 299129 h 609800"/>
              <a:gd name="connsiteX1193" fmla="*/ 11285466 w 12248682"/>
              <a:gd name="connsiteY1193" fmla="*/ 339551 h 609800"/>
              <a:gd name="connsiteX1194" fmla="*/ 11245044 w 12248682"/>
              <a:gd name="connsiteY1194" fmla="*/ 379974 h 609800"/>
              <a:gd name="connsiteX1195" fmla="*/ 11204621 w 12248682"/>
              <a:gd name="connsiteY1195" fmla="*/ 339551 h 609800"/>
              <a:gd name="connsiteX1196" fmla="*/ 11245044 w 12248682"/>
              <a:gd name="connsiteY1196" fmla="*/ 299129 h 609800"/>
              <a:gd name="connsiteX1197" fmla="*/ 10970170 w 12248682"/>
              <a:gd name="connsiteY1197" fmla="*/ 299129 h 609800"/>
              <a:gd name="connsiteX1198" fmla="*/ 11010592 w 12248682"/>
              <a:gd name="connsiteY1198" fmla="*/ 339551 h 609800"/>
              <a:gd name="connsiteX1199" fmla="*/ 10970170 w 12248682"/>
              <a:gd name="connsiteY1199" fmla="*/ 379974 h 609800"/>
              <a:gd name="connsiteX1200" fmla="*/ 10929746 w 12248682"/>
              <a:gd name="connsiteY1200" fmla="*/ 339551 h 609800"/>
              <a:gd name="connsiteX1201" fmla="*/ 10970170 w 12248682"/>
              <a:gd name="connsiteY1201" fmla="*/ 299129 h 609800"/>
              <a:gd name="connsiteX1202" fmla="*/ 10094730 w 12248682"/>
              <a:gd name="connsiteY1202" fmla="*/ 299129 h 609800"/>
              <a:gd name="connsiteX1203" fmla="*/ 10135152 w 12248682"/>
              <a:gd name="connsiteY1203" fmla="*/ 339551 h 609800"/>
              <a:gd name="connsiteX1204" fmla="*/ 10094730 w 12248682"/>
              <a:gd name="connsiteY1204" fmla="*/ 379974 h 609800"/>
              <a:gd name="connsiteX1205" fmla="*/ 10054306 w 12248682"/>
              <a:gd name="connsiteY1205" fmla="*/ 339551 h 609800"/>
              <a:gd name="connsiteX1206" fmla="*/ 10094730 w 12248682"/>
              <a:gd name="connsiteY1206" fmla="*/ 299129 h 609800"/>
              <a:gd name="connsiteX1207" fmla="*/ 9818700 w 12248682"/>
              <a:gd name="connsiteY1207" fmla="*/ 299129 h 609800"/>
              <a:gd name="connsiteX1208" fmla="*/ 9859123 w 12248682"/>
              <a:gd name="connsiteY1208" fmla="*/ 340706 h 609800"/>
              <a:gd name="connsiteX1209" fmla="*/ 9818700 w 12248682"/>
              <a:gd name="connsiteY1209" fmla="*/ 381128 h 609800"/>
              <a:gd name="connsiteX1210" fmla="*/ 9778278 w 12248682"/>
              <a:gd name="connsiteY1210" fmla="*/ 339551 h 609800"/>
              <a:gd name="connsiteX1211" fmla="*/ 9818700 w 12248682"/>
              <a:gd name="connsiteY1211" fmla="*/ 299129 h 609800"/>
              <a:gd name="connsiteX1212" fmla="*/ 8974994 w 12248682"/>
              <a:gd name="connsiteY1212" fmla="*/ 299129 h 609800"/>
              <a:gd name="connsiteX1213" fmla="*/ 9015416 w 12248682"/>
              <a:gd name="connsiteY1213" fmla="*/ 339551 h 609800"/>
              <a:gd name="connsiteX1214" fmla="*/ 8974994 w 12248682"/>
              <a:gd name="connsiteY1214" fmla="*/ 379974 h 609800"/>
              <a:gd name="connsiteX1215" fmla="*/ 8934571 w 12248682"/>
              <a:gd name="connsiteY1215" fmla="*/ 339551 h 609800"/>
              <a:gd name="connsiteX1216" fmla="*/ 8974994 w 12248682"/>
              <a:gd name="connsiteY1216" fmla="*/ 299129 h 609800"/>
              <a:gd name="connsiteX1217" fmla="*/ 8698965 w 12248682"/>
              <a:gd name="connsiteY1217" fmla="*/ 299129 h 609800"/>
              <a:gd name="connsiteX1218" fmla="*/ 8739388 w 12248682"/>
              <a:gd name="connsiteY1218" fmla="*/ 339551 h 609800"/>
              <a:gd name="connsiteX1219" fmla="*/ 8698965 w 12248682"/>
              <a:gd name="connsiteY1219" fmla="*/ 379974 h 609800"/>
              <a:gd name="connsiteX1220" fmla="*/ 8658542 w 12248682"/>
              <a:gd name="connsiteY1220" fmla="*/ 339551 h 609800"/>
              <a:gd name="connsiteX1221" fmla="*/ 8698965 w 12248682"/>
              <a:gd name="connsiteY1221" fmla="*/ 299129 h 609800"/>
              <a:gd name="connsiteX1222" fmla="*/ 6639717 w 12248682"/>
              <a:gd name="connsiteY1222" fmla="*/ 299129 h 609800"/>
              <a:gd name="connsiteX1223" fmla="*/ 6680139 w 12248682"/>
              <a:gd name="connsiteY1223" fmla="*/ 339551 h 609800"/>
              <a:gd name="connsiteX1224" fmla="*/ 6639717 w 12248682"/>
              <a:gd name="connsiteY1224" fmla="*/ 379974 h 609800"/>
              <a:gd name="connsiteX1225" fmla="*/ 6599295 w 12248682"/>
              <a:gd name="connsiteY1225" fmla="*/ 339551 h 609800"/>
              <a:gd name="connsiteX1226" fmla="*/ 6639717 w 12248682"/>
              <a:gd name="connsiteY1226" fmla="*/ 299129 h 609800"/>
              <a:gd name="connsiteX1227" fmla="*/ 6364844 w 12248682"/>
              <a:gd name="connsiteY1227" fmla="*/ 299129 h 609800"/>
              <a:gd name="connsiteX1228" fmla="*/ 6405265 w 12248682"/>
              <a:gd name="connsiteY1228" fmla="*/ 339551 h 609800"/>
              <a:gd name="connsiteX1229" fmla="*/ 6364844 w 12248682"/>
              <a:gd name="connsiteY1229" fmla="*/ 379974 h 609800"/>
              <a:gd name="connsiteX1230" fmla="*/ 6324420 w 12248682"/>
              <a:gd name="connsiteY1230" fmla="*/ 339551 h 609800"/>
              <a:gd name="connsiteX1231" fmla="*/ 6364844 w 12248682"/>
              <a:gd name="connsiteY1231" fmla="*/ 299129 h 609800"/>
              <a:gd name="connsiteX1232" fmla="*/ 5489405 w 12248682"/>
              <a:gd name="connsiteY1232" fmla="*/ 299129 h 609800"/>
              <a:gd name="connsiteX1233" fmla="*/ 5529827 w 12248682"/>
              <a:gd name="connsiteY1233" fmla="*/ 339551 h 609800"/>
              <a:gd name="connsiteX1234" fmla="*/ 5489405 w 12248682"/>
              <a:gd name="connsiteY1234" fmla="*/ 379974 h 609800"/>
              <a:gd name="connsiteX1235" fmla="*/ 5448980 w 12248682"/>
              <a:gd name="connsiteY1235" fmla="*/ 339551 h 609800"/>
              <a:gd name="connsiteX1236" fmla="*/ 5489405 w 12248682"/>
              <a:gd name="connsiteY1236" fmla="*/ 299129 h 609800"/>
              <a:gd name="connsiteX1237" fmla="*/ 5213373 w 12248682"/>
              <a:gd name="connsiteY1237" fmla="*/ 299129 h 609800"/>
              <a:gd name="connsiteX1238" fmla="*/ 5253797 w 12248682"/>
              <a:gd name="connsiteY1238" fmla="*/ 339551 h 609800"/>
              <a:gd name="connsiteX1239" fmla="*/ 5213373 w 12248682"/>
              <a:gd name="connsiteY1239" fmla="*/ 379974 h 609800"/>
              <a:gd name="connsiteX1240" fmla="*/ 5172952 w 12248682"/>
              <a:gd name="connsiteY1240" fmla="*/ 339551 h 609800"/>
              <a:gd name="connsiteX1241" fmla="*/ 5213373 w 12248682"/>
              <a:gd name="connsiteY1241" fmla="*/ 299129 h 609800"/>
              <a:gd name="connsiteX1242" fmla="*/ 4361031 w 12248682"/>
              <a:gd name="connsiteY1242" fmla="*/ 299129 h 609800"/>
              <a:gd name="connsiteX1243" fmla="*/ 4401455 w 12248682"/>
              <a:gd name="connsiteY1243" fmla="*/ 339551 h 609800"/>
              <a:gd name="connsiteX1244" fmla="*/ 4361031 w 12248682"/>
              <a:gd name="connsiteY1244" fmla="*/ 379974 h 609800"/>
              <a:gd name="connsiteX1245" fmla="*/ 4320610 w 12248682"/>
              <a:gd name="connsiteY1245" fmla="*/ 339551 h 609800"/>
              <a:gd name="connsiteX1246" fmla="*/ 4361031 w 12248682"/>
              <a:gd name="connsiteY1246" fmla="*/ 299129 h 609800"/>
              <a:gd name="connsiteX1247" fmla="*/ 4086158 w 12248682"/>
              <a:gd name="connsiteY1247" fmla="*/ 299129 h 609800"/>
              <a:gd name="connsiteX1248" fmla="*/ 4126582 w 12248682"/>
              <a:gd name="connsiteY1248" fmla="*/ 339551 h 609800"/>
              <a:gd name="connsiteX1249" fmla="*/ 4086158 w 12248682"/>
              <a:gd name="connsiteY1249" fmla="*/ 379974 h 609800"/>
              <a:gd name="connsiteX1250" fmla="*/ 4045735 w 12248682"/>
              <a:gd name="connsiteY1250" fmla="*/ 339551 h 609800"/>
              <a:gd name="connsiteX1251" fmla="*/ 4086158 w 12248682"/>
              <a:gd name="connsiteY1251" fmla="*/ 299129 h 609800"/>
              <a:gd name="connsiteX1252" fmla="*/ 2026910 w 12248682"/>
              <a:gd name="connsiteY1252" fmla="*/ 299129 h 609800"/>
              <a:gd name="connsiteX1253" fmla="*/ 2067332 w 12248682"/>
              <a:gd name="connsiteY1253" fmla="*/ 339551 h 609800"/>
              <a:gd name="connsiteX1254" fmla="*/ 2026910 w 12248682"/>
              <a:gd name="connsiteY1254" fmla="*/ 379974 h 609800"/>
              <a:gd name="connsiteX1255" fmla="*/ 1986487 w 12248682"/>
              <a:gd name="connsiteY1255" fmla="*/ 339551 h 609800"/>
              <a:gd name="connsiteX1256" fmla="*/ 2026910 w 12248682"/>
              <a:gd name="connsiteY1256" fmla="*/ 299129 h 609800"/>
              <a:gd name="connsiteX1257" fmla="*/ 1752036 w 12248682"/>
              <a:gd name="connsiteY1257" fmla="*/ 299129 h 609800"/>
              <a:gd name="connsiteX1258" fmla="*/ 1792458 w 12248682"/>
              <a:gd name="connsiteY1258" fmla="*/ 339551 h 609800"/>
              <a:gd name="connsiteX1259" fmla="*/ 1752036 w 12248682"/>
              <a:gd name="connsiteY1259" fmla="*/ 379974 h 609800"/>
              <a:gd name="connsiteX1260" fmla="*/ 1711613 w 12248682"/>
              <a:gd name="connsiteY1260" fmla="*/ 339551 h 609800"/>
              <a:gd name="connsiteX1261" fmla="*/ 1752036 w 12248682"/>
              <a:gd name="connsiteY1261" fmla="*/ 299129 h 609800"/>
              <a:gd name="connsiteX1262" fmla="*/ 876596 w 12248682"/>
              <a:gd name="connsiteY1262" fmla="*/ 299129 h 609800"/>
              <a:gd name="connsiteX1263" fmla="*/ 917018 w 12248682"/>
              <a:gd name="connsiteY1263" fmla="*/ 339551 h 609800"/>
              <a:gd name="connsiteX1264" fmla="*/ 876596 w 12248682"/>
              <a:gd name="connsiteY1264" fmla="*/ 379974 h 609800"/>
              <a:gd name="connsiteX1265" fmla="*/ 836172 w 12248682"/>
              <a:gd name="connsiteY1265" fmla="*/ 339551 h 609800"/>
              <a:gd name="connsiteX1266" fmla="*/ 876596 w 12248682"/>
              <a:gd name="connsiteY1266" fmla="*/ 299129 h 609800"/>
              <a:gd name="connsiteX1267" fmla="*/ 600566 w 12248682"/>
              <a:gd name="connsiteY1267" fmla="*/ 299129 h 609800"/>
              <a:gd name="connsiteX1268" fmla="*/ 640989 w 12248682"/>
              <a:gd name="connsiteY1268" fmla="*/ 340706 h 609800"/>
              <a:gd name="connsiteX1269" fmla="*/ 600566 w 12248682"/>
              <a:gd name="connsiteY1269" fmla="*/ 381128 h 609800"/>
              <a:gd name="connsiteX1270" fmla="*/ 560144 w 12248682"/>
              <a:gd name="connsiteY1270" fmla="*/ 339551 h 609800"/>
              <a:gd name="connsiteX1271" fmla="*/ 600566 w 12248682"/>
              <a:gd name="connsiteY1271" fmla="*/ 299129 h 609800"/>
              <a:gd name="connsiteX1272" fmla="*/ 11107606 w 12248682"/>
              <a:gd name="connsiteY1272" fmla="*/ 288734 h 609800"/>
              <a:gd name="connsiteX1273" fmla="*/ 11158424 w 12248682"/>
              <a:gd name="connsiteY1273" fmla="*/ 339551 h 609800"/>
              <a:gd name="connsiteX1274" fmla="*/ 11107606 w 12248682"/>
              <a:gd name="connsiteY1274" fmla="*/ 390368 h 609800"/>
              <a:gd name="connsiteX1275" fmla="*/ 11056789 w 12248682"/>
              <a:gd name="connsiteY1275" fmla="*/ 339551 h 609800"/>
              <a:gd name="connsiteX1276" fmla="*/ 11107606 w 12248682"/>
              <a:gd name="connsiteY1276" fmla="*/ 288734 h 609800"/>
              <a:gd name="connsiteX1277" fmla="*/ 9957292 w 12248682"/>
              <a:gd name="connsiteY1277" fmla="*/ 288734 h 609800"/>
              <a:gd name="connsiteX1278" fmla="*/ 10008109 w 12248682"/>
              <a:gd name="connsiteY1278" fmla="*/ 339551 h 609800"/>
              <a:gd name="connsiteX1279" fmla="*/ 9957292 w 12248682"/>
              <a:gd name="connsiteY1279" fmla="*/ 390368 h 609800"/>
              <a:gd name="connsiteX1280" fmla="*/ 9906475 w 12248682"/>
              <a:gd name="connsiteY1280" fmla="*/ 339551 h 609800"/>
              <a:gd name="connsiteX1281" fmla="*/ 9957292 w 12248682"/>
              <a:gd name="connsiteY1281" fmla="*/ 288734 h 609800"/>
              <a:gd name="connsiteX1282" fmla="*/ 8836402 w 12248682"/>
              <a:gd name="connsiteY1282" fmla="*/ 288734 h 609800"/>
              <a:gd name="connsiteX1283" fmla="*/ 8887219 w 12248682"/>
              <a:gd name="connsiteY1283" fmla="*/ 339551 h 609800"/>
              <a:gd name="connsiteX1284" fmla="*/ 8836402 w 12248682"/>
              <a:gd name="connsiteY1284" fmla="*/ 390368 h 609800"/>
              <a:gd name="connsiteX1285" fmla="*/ 8785585 w 12248682"/>
              <a:gd name="connsiteY1285" fmla="*/ 339551 h 609800"/>
              <a:gd name="connsiteX1286" fmla="*/ 8836402 w 12248682"/>
              <a:gd name="connsiteY1286" fmla="*/ 288734 h 609800"/>
              <a:gd name="connsiteX1287" fmla="*/ 6502281 w 12248682"/>
              <a:gd name="connsiteY1287" fmla="*/ 288734 h 609800"/>
              <a:gd name="connsiteX1288" fmla="*/ 6553098 w 12248682"/>
              <a:gd name="connsiteY1288" fmla="*/ 339551 h 609800"/>
              <a:gd name="connsiteX1289" fmla="*/ 6502281 w 12248682"/>
              <a:gd name="connsiteY1289" fmla="*/ 390368 h 609800"/>
              <a:gd name="connsiteX1290" fmla="*/ 6451462 w 12248682"/>
              <a:gd name="connsiteY1290" fmla="*/ 339551 h 609800"/>
              <a:gd name="connsiteX1291" fmla="*/ 6502281 w 12248682"/>
              <a:gd name="connsiteY1291" fmla="*/ 288734 h 609800"/>
              <a:gd name="connsiteX1292" fmla="*/ 5351966 w 12248682"/>
              <a:gd name="connsiteY1292" fmla="*/ 288734 h 609800"/>
              <a:gd name="connsiteX1293" fmla="*/ 5402784 w 12248682"/>
              <a:gd name="connsiteY1293" fmla="*/ 339551 h 609800"/>
              <a:gd name="connsiteX1294" fmla="*/ 5351966 w 12248682"/>
              <a:gd name="connsiteY1294" fmla="*/ 390368 h 609800"/>
              <a:gd name="connsiteX1295" fmla="*/ 5301149 w 12248682"/>
              <a:gd name="connsiteY1295" fmla="*/ 339551 h 609800"/>
              <a:gd name="connsiteX1296" fmla="*/ 5351966 w 12248682"/>
              <a:gd name="connsiteY1296" fmla="*/ 288734 h 609800"/>
              <a:gd name="connsiteX1297" fmla="*/ 4223596 w 12248682"/>
              <a:gd name="connsiteY1297" fmla="*/ 288734 h 609800"/>
              <a:gd name="connsiteX1298" fmla="*/ 4274414 w 12248682"/>
              <a:gd name="connsiteY1298" fmla="*/ 339551 h 609800"/>
              <a:gd name="connsiteX1299" fmla="*/ 4223596 w 12248682"/>
              <a:gd name="connsiteY1299" fmla="*/ 390368 h 609800"/>
              <a:gd name="connsiteX1300" fmla="*/ 4172779 w 12248682"/>
              <a:gd name="connsiteY1300" fmla="*/ 339551 h 609800"/>
              <a:gd name="connsiteX1301" fmla="*/ 4223596 w 12248682"/>
              <a:gd name="connsiteY1301" fmla="*/ 288734 h 609800"/>
              <a:gd name="connsiteX1302" fmla="*/ 1889473 w 12248682"/>
              <a:gd name="connsiteY1302" fmla="*/ 288734 h 609800"/>
              <a:gd name="connsiteX1303" fmla="*/ 1940290 w 12248682"/>
              <a:gd name="connsiteY1303" fmla="*/ 339551 h 609800"/>
              <a:gd name="connsiteX1304" fmla="*/ 1889473 w 12248682"/>
              <a:gd name="connsiteY1304" fmla="*/ 390368 h 609800"/>
              <a:gd name="connsiteX1305" fmla="*/ 1838656 w 12248682"/>
              <a:gd name="connsiteY1305" fmla="*/ 339551 h 609800"/>
              <a:gd name="connsiteX1306" fmla="*/ 1889473 w 12248682"/>
              <a:gd name="connsiteY1306" fmla="*/ 288734 h 609800"/>
              <a:gd name="connsiteX1307" fmla="*/ 739158 w 12248682"/>
              <a:gd name="connsiteY1307" fmla="*/ 288734 h 609800"/>
              <a:gd name="connsiteX1308" fmla="*/ 789975 w 12248682"/>
              <a:gd name="connsiteY1308" fmla="*/ 339551 h 609800"/>
              <a:gd name="connsiteX1309" fmla="*/ 739158 w 12248682"/>
              <a:gd name="connsiteY1309" fmla="*/ 390368 h 609800"/>
              <a:gd name="connsiteX1310" fmla="*/ 688341 w 12248682"/>
              <a:gd name="connsiteY1310" fmla="*/ 339551 h 609800"/>
              <a:gd name="connsiteX1311" fmla="*/ 739158 w 12248682"/>
              <a:gd name="connsiteY1311" fmla="*/ 288734 h 609800"/>
              <a:gd name="connsiteX1312" fmla="*/ 12227892 w 12248682"/>
              <a:gd name="connsiteY1312" fmla="*/ 175550 h 609800"/>
              <a:gd name="connsiteX1313" fmla="*/ 12248682 w 12248682"/>
              <a:gd name="connsiteY1313" fmla="*/ 196339 h 609800"/>
              <a:gd name="connsiteX1314" fmla="*/ 12227892 w 12248682"/>
              <a:gd name="connsiteY1314" fmla="*/ 217128 h 609800"/>
              <a:gd name="connsiteX1315" fmla="*/ 12207104 w 12248682"/>
              <a:gd name="connsiteY1315" fmla="*/ 196339 h 609800"/>
              <a:gd name="connsiteX1316" fmla="*/ 12227892 w 12248682"/>
              <a:gd name="connsiteY1316" fmla="*/ 175550 h 609800"/>
              <a:gd name="connsiteX1317" fmla="*/ 12091610 w 12248682"/>
              <a:gd name="connsiteY1317" fmla="*/ 175550 h 609800"/>
              <a:gd name="connsiteX1318" fmla="*/ 12112399 w 12248682"/>
              <a:gd name="connsiteY1318" fmla="*/ 196339 h 609800"/>
              <a:gd name="connsiteX1319" fmla="*/ 12091610 w 12248682"/>
              <a:gd name="connsiteY1319" fmla="*/ 217128 h 609800"/>
              <a:gd name="connsiteX1320" fmla="*/ 12070822 w 12248682"/>
              <a:gd name="connsiteY1320" fmla="*/ 196339 h 609800"/>
              <a:gd name="connsiteX1321" fmla="*/ 12091610 w 12248682"/>
              <a:gd name="connsiteY1321" fmla="*/ 175550 h 609800"/>
              <a:gd name="connsiteX1322" fmla="*/ 11956484 w 12248682"/>
              <a:gd name="connsiteY1322" fmla="*/ 175550 h 609800"/>
              <a:gd name="connsiteX1323" fmla="*/ 11977272 w 12248682"/>
              <a:gd name="connsiteY1323" fmla="*/ 196339 h 609800"/>
              <a:gd name="connsiteX1324" fmla="*/ 11956484 w 12248682"/>
              <a:gd name="connsiteY1324" fmla="*/ 217128 h 609800"/>
              <a:gd name="connsiteX1325" fmla="*/ 11935695 w 12248682"/>
              <a:gd name="connsiteY1325" fmla="*/ 196339 h 609800"/>
              <a:gd name="connsiteX1326" fmla="*/ 11956484 w 12248682"/>
              <a:gd name="connsiteY1326" fmla="*/ 175550 h 609800"/>
              <a:gd name="connsiteX1327" fmla="*/ 11821356 w 12248682"/>
              <a:gd name="connsiteY1327" fmla="*/ 175550 h 609800"/>
              <a:gd name="connsiteX1328" fmla="*/ 11842144 w 12248682"/>
              <a:gd name="connsiteY1328" fmla="*/ 196339 h 609800"/>
              <a:gd name="connsiteX1329" fmla="*/ 11821356 w 12248682"/>
              <a:gd name="connsiteY1329" fmla="*/ 217128 h 609800"/>
              <a:gd name="connsiteX1330" fmla="*/ 11800567 w 12248682"/>
              <a:gd name="connsiteY1330" fmla="*/ 196339 h 609800"/>
              <a:gd name="connsiteX1331" fmla="*/ 11821356 w 12248682"/>
              <a:gd name="connsiteY1331" fmla="*/ 175550 h 609800"/>
              <a:gd name="connsiteX1332" fmla="*/ 11685074 w 12248682"/>
              <a:gd name="connsiteY1332" fmla="*/ 175550 h 609800"/>
              <a:gd name="connsiteX1333" fmla="*/ 11705862 w 12248682"/>
              <a:gd name="connsiteY1333" fmla="*/ 196339 h 609800"/>
              <a:gd name="connsiteX1334" fmla="*/ 11685074 w 12248682"/>
              <a:gd name="connsiteY1334" fmla="*/ 217128 h 609800"/>
              <a:gd name="connsiteX1335" fmla="*/ 11664285 w 12248682"/>
              <a:gd name="connsiteY1335" fmla="*/ 196339 h 609800"/>
              <a:gd name="connsiteX1336" fmla="*/ 11685074 w 12248682"/>
              <a:gd name="connsiteY1336" fmla="*/ 175550 h 609800"/>
              <a:gd name="connsiteX1337" fmla="*/ 10736873 w 12248682"/>
              <a:gd name="connsiteY1337" fmla="*/ 175550 h 609800"/>
              <a:gd name="connsiteX1338" fmla="*/ 10757662 w 12248682"/>
              <a:gd name="connsiteY1338" fmla="*/ 196339 h 609800"/>
              <a:gd name="connsiteX1339" fmla="*/ 10736873 w 12248682"/>
              <a:gd name="connsiteY1339" fmla="*/ 217128 h 609800"/>
              <a:gd name="connsiteX1340" fmla="*/ 10716084 w 12248682"/>
              <a:gd name="connsiteY1340" fmla="*/ 196339 h 609800"/>
              <a:gd name="connsiteX1341" fmla="*/ 10736873 w 12248682"/>
              <a:gd name="connsiteY1341" fmla="*/ 175550 h 609800"/>
              <a:gd name="connsiteX1342" fmla="*/ 10601745 w 12248682"/>
              <a:gd name="connsiteY1342" fmla="*/ 175550 h 609800"/>
              <a:gd name="connsiteX1343" fmla="*/ 10622534 w 12248682"/>
              <a:gd name="connsiteY1343" fmla="*/ 196339 h 609800"/>
              <a:gd name="connsiteX1344" fmla="*/ 10601745 w 12248682"/>
              <a:gd name="connsiteY1344" fmla="*/ 217128 h 609800"/>
              <a:gd name="connsiteX1345" fmla="*/ 10580956 w 12248682"/>
              <a:gd name="connsiteY1345" fmla="*/ 196339 h 609800"/>
              <a:gd name="connsiteX1346" fmla="*/ 10601745 w 12248682"/>
              <a:gd name="connsiteY1346" fmla="*/ 175550 h 609800"/>
              <a:gd name="connsiteX1347" fmla="*/ 8027949 w 12248682"/>
              <a:gd name="connsiteY1347" fmla="*/ 175550 h 609800"/>
              <a:gd name="connsiteX1348" fmla="*/ 8048737 w 12248682"/>
              <a:gd name="connsiteY1348" fmla="*/ 196339 h 609800"/>
              <a:gd name="connsiteX1349" fmla="*/ 8027949 w 12248682"/>
              <a:gd name="connsiteY1349" fmla="*/ 217128 h 609800"/>
              <a:gd name="connsiteX1350" fmla="*/ 8007160 w 12248682"/>
              <a:gd name="connsiteY1350" fmla="*/ 196339 h 609800"/>
              <a:gd name="connsiteX1351" fmla="*/ 8027949 w 12248682"/>
              <a:gd name="connsiteY1351" fmla="*/ 175550 h 609800"/>
              <a:gd name="connsiteX1352" fmla="*/ 7892822 w 12248682"/>
              <a:gd name="connsiteY1352" fmla="*/ 175550 h 609800"/>
              <a:gd name="connsiteX1353" fmla="*/ 7913611 w 12248682"/>
              <a:gd name="connsiteY1353" fmla="*/ 196339 h 609800"/>
              <a:gd name="connsiteX1354" fmla="*/ 7892822 w 12248682"/>
              <a:gd name="connsiteY1354" fmla="*/ 217128 h 609800"/>
              <a:gd name="connsiteX1355" fmla="*/ 7872031 w 12248682"/>
              <a:gd name="connsiteY1355" fmla="*/ 196339 h 609800"/>
              <a:gd name="connsiteX1356" fmla="*/ 7892822 w 12248682"/>
              <a:gd name="connsiteY1356" fmla="*/ 175550 h 609800"/>
              <a:gd name="connsiteX1357" fmla="*/ 7757693 w 12248682"/>
              <a:gd name="connsiteY1357" fmla="*/ 175550 h 609800"/>
              <a:gd name="connsiteX1358" fmla="*/ 7778483 w 12248682"/>
              <a:gd name="connsiteY1358" fmla="*/ 196339 h 609800"/>
              <a:gd name="connsiteX1359" fmla="*/ 7757693 w 12248682"/>
              <a:gd name="connsiteY1359" fmla="*/ 217128 h 609800"/>
              <a:gd name="connsiteX1360" fmla="*/ 7736906 w 12248682"/>
              <a:gd name="connsiteY1360" fmla="*/ 196339 h 609800"/>
              <a:gd name="connsiteX1361" fmla="*/ 7757693 w 12248682"/>
              <a:gd name="connsiteY1361" fmla="*/ 175550 h 609800"/>
              <a:gd name="connsiteX1362" fmla="*/ 7622566 w 12248682"/>
              <a:gd name="connsiteY1362" fmla="*/ 175550 h 609800"/>
              <a:gd name="connsiteX1363" fmla="*/ 7643355 w 12248682"/>
              <a:gd name="connsiteY1363" fmla="*/ 196339 h 609800"/>
              <a:gd name="connsiteX1364" fmla="*/ 7622566 w 12248682"/>
              <a:gd name="connsiteY1364" fmla="*/ 217128 h 609800"/>
              <a:gd name="connsiteX1365" fmla="*/ 7601778 w 12248682"/>
              <a:gd name="connsiteY1365" fmla="*/ 196339 h 609800"/>
              <a:gd name="connsiteX1366" fmla="*/ 7622566 w 12248682"/>
              <a:gd name="connsiteY1366" fmla="*/ 175550 h 609800"/>
              <a:gd name="connsiteX1367" fmla="*/ 7486284 w 12248682"/>
              <a:gd name="connsiteY1367" fmla="*/ 175550 h 609800"/>
              <a:gd name="connsiteX1368" fmla="*/ 7507074 w 12248682"/>
              <a:gd name="connsiteY1368" fmla="*/ 196339 h 609800"/>
              <a:gd name="connsiteX1369" fmla="*/ 7486284 w 12248682"/>
              <a:gd name="connsiteY1369" fmla="*/ 217128 h 609800"/>
              <a:gd name="connsiteX1370" fmla="*/ 7465495 w 12248682"/>
              <a:gd name="connsiteY1370" fmla="*/ 196339 h 609800"/>
              <a:gd name="connsiteX1371" fmla="*/ 7486284 w 12248682"/>
              <a:gd name="connsiteY1371" fmla="*/ 175550 h 609800"/>
              <a:gd name="connsiteX1372" fmla="*/ 7351157 w 12248682"/>
              <a:gd name="connsiteY1372" fmla="*/ 175550 h 609800"/>
              <a:gd name="connsiteX1373" fmla="*/ 7371946 w 12248682"/>
              <a:gd name="connsiteY1373" fmla="*/ 196339 h 609800"/>
              <a:gd name="connsiteX1374" fmla="*/ 7351157 w 12248682"/>
              <a:gd name="connsiteY1374" fmla="*/ 217128 h 609800"/>
              <a:gd name="connsiteX1375" fmla="*/ 7330369 w 12248682"/>
              <a:gd name="connsiteY1375" fmla="*/ 196339 h 609800"/>
              <a:gd name="connsiteX1376" fmla="*/ 7351157 w 12248682"/>
              <a:gd name="connsiteY1376" fmla="*/ 175550 h 609800"/>
              <a:gd name="connsiteX1377" fmla="*/ 7216030 w 12248682"/>
              <a:gd name="connsiteY1377" fmla="*/ 175550 h 609800"/>
              <a:gd name="connsiteX1378" fmla="*/ 7236819 w 12248682"/>
              <a:gd name="connsiteY1378" fmla="*/ 196339 h 609800"/>
              <a:gd name="connsiteX1379" fmla="*/ 7216030 w 12248682"/>
              <a:gd name="connsiteY1379" fmla="*/ 217128 h 609800"/>
              <a:gd name="connsiteX1380" fmla="*/ 7195241 w 12248682"/>
              <a:gd name="connsiteY1380" fmla="*/ 196339 h 609800"/>
              <a:gd name="connsiteX1381" fmla="*/ 7216030 w 12248682"/>
              <a:gd name="connsiteY1381" fmla="*/ 175550 h 609800"/>
              <a:gd name="connsiteX1382" fmla="*/ 7079748 w 12248682"/>
              <a:gd name="connsiteY1382" fmla="*/ 175550 h 609800"/>
              <a:gd name="connsiteX1383" fmla="*/ 7100537 w 12248682"/>
              <a:gd name="connsiteY1383" fmla="*/ 196339 h 609800"/>
              <a:gd name="connsiteX1384" fmla="*/ 7079748 w 12248682"/>
              <a:gd name="connsiteY1384" fmla="*/ 217128 h 609800"/>
              <a:gd name="connsiteX1385" fmla="*/ 7058959 w 12248682"/>
              <a:gd name="connsiteY1385" fmla="*/ 196339 h 609800"/>
              <a:gd name="connsiteX1386" fmla="*/ 7079748 w 12248682"/>
              <a:gd name="connsiteY1386" fmla="*/ 175550 h 609800"/>
              <a:gd name="connsiteX1387" fmla="*/ 6131548 w 12248682"/>
              <a:gd name="connsiteY1387" fmla="*/ 175550 h 609800"/>
              <a:gd name="connsiteX1388" fmla="*/ 6152336 w 12248682"/>
              <a:gd name="connsiteY1388" fmla="*/ 196339 h 609800"/>
              <a:gd name="connsiteX1389" fmla="*/ 6131548 w 12248682"/>
              <a:gd name="connsiteY1389" fmla="*/ 217128 h 609800"/>
              <a:gd name="connsiteX1390" fmla="*/ 6110759 w 12248682"/>
              <a:gd name="connsiteY1390" fmla="*/ 196339 h 609800"/>
              <a:gd name="connsiteX1391" fmla="*/ 6131548 w 12248682"/>
              <a:gd name="connsiteY1391" fmla="*/ 175550 h 609800"/>
              <a:gd name="connsiteX1392" fmla="*/ 5996418 w 12248682"/>
              <a:gd name="connsiteY1392" fmla="*/ 175550 h 609800"/>
              <a:gd name="connsiteX1393" fmla="*/ 6017209 w 12248682"/>
              <a:gd name="connsiteY1393" fmla="*/ 196339 h 609800"/>
              <a:gd name="connsiteX1394" fmla="*/ 5996418 w 12248682"/>
              <a:gd name="connsiteY1394" fmla="*/ 217128 h 609800"/>
              <a:gd name="connsiteX1395" fmla="*/ 5975631 w 12248682"/>
              <a:gd name="connsiteY1395" fmla="*/ 196339 h 609800"/>
              <a:gd name="connsiteX1396" fmla="*/ 5996418 w 12248682"/>
              <a:gd name="connsiteY1396" fmla="*/ 175550 h 609800"/>
              <a:gd name="connsiteX1397" fmla="*/ 3415142 w 12248682"/>
              <a:gd name="connsiteY1397" fmla="*/ 175550 h 609800"/>
              <a:gd name="connsiteX1398" fmla="*/ 3435930 w 12248682"/>
              <a:gd name="connsiteY1398" fmla="*/ 196339 h 609800"/>
              <a:gd name="connsiteX1399" fmla="*/ 3415142 w 12248682"/>
              <a:gd name="connsiteY1399" fmla="*/ 217128 h 609800"/>
              <a:gd name="connsiteX1400" fmla="*/ 3394352 w 12248682"/>
              <a:gd name="connsiteY1400" fmla="*/ 196339 h 609800"/>
              <a:gd name="connsiteX1401" fmla="*/ 3415142 w 12248682"/>
              <a:gd name="connsiteY1401" fmla="*/ 175550 h 609800"/>
              <a:gd name="connsiteX1402" fmla="*/ 3280013 w 12248682"/>
              <a:gd name="connsiteY1402" fmla="*/ 175550 h 609800"/>
              <a:gd name="connsiteX1403" fmla="*/ 3300802 w 12248682"/>
              <a:gd name="connsiteY1403" fmla="*/ 196339 h 609800"/>
              <a:gd name="connsiteX1404" fmla="*/ 3280013 w 12248682"/>
              <a:gd name="connsiteY1404" fmla="*/ 217128 h 609800"/>
              <a:gd name="connsiteX1405" fmla="*/ 3259224 w 12248682"/>
              <a:gd name="connsiteY1405" fmla="*/ 196339 h 609800"/>
              <a:gd name="connsiteX1406" fmla="*/ 3280013 w 12248682"/>
              <a:gd name="connsiteY1406" fmla="*/ 175550 h 609800"/>
              <a:gd name="connsiteX1407" fmla="*/ 3144887 w 12248682"/>
              <a:gd name="connsiteY1407" fmla="*/ 175550 h 609800"/>
              <a:gd name="connsiteX1408" fmla="*/ 3165675 w 12248682"/>
              <a:gd name="connsiteY1408" fmla="*/ 196339 h 609800"/>
              <a:gd name="connsiteX1409" fmla="*/ 3144887 w 12248682"/>
              <a:gd name="connsiteY1409" fmla="*/ 217128 h 609800"/>
              <a:gd name="connsiteX1410" fmla="*/ 3124098 w 12248682"/>
              <a:gd name="connsiteY1410" fmla="*/ 196339 h 609800"/>
              <a:gd name="connsiteX1411" fmla="*/ 3144887 w 12248682"/>
              <a:gd name="connsiteY1411" fmla="*/ 175550 h 609800"/>
              <a:gd name="connsiteX1412" fmla="*/ 3009759 w 12248682"/>
              <a:gd name="connsiteY1412" fmla="*/ 175550 h 609800"/>
              <a:gd name="connsiteX1413" fmla="*/ 3030548 w 12248682"/>
              <a:gd name="connsiteY1413" fmla="*/ 196339 h 609800"/>
              <a:gd name="connsiteX1414" fmla="*/ 3009759 w 12248682"/>
              <a:gd name="connsiteY1414" fmla="*/ 217128 h 609800"/>
              <a:gd name="connsiteX1415" fmla="*/ 2988971 w 12248682"/>
              <a:gd name="connsiteY1415" fmla="*/ 196339 h 609800"/>
              <a:gd name="connsiteX1416" fmla="*/ 3009759 w 12248682"/>
              <a:gd name="connsiteY1416" fmla="*/ 175550 h 609800"/>
              <a:gd name="connsiteX1417" fmla="*/ 2873476 w 12248682"/>
              <a:gd name="connsiteY1417" fmla="*/ 175550 h 609800"/>
              <a:gd name="connsiteX1418" fmla="*/ 2894265 w 12248682"/>
              <a:gd name="connsiteY1418" fmla="*/ 196339 h 609800"/>
              <a:gd name="connsiteX1419" fmla="*/ 2873476 w 12248682"/>
              <a:gd name="connsiteY1419" fmla="*/ 217128 h 609800"/>
              <a:gd name="connsiteX1420" fmla="*/ 2852688 w 12248682"/>
              <a:gd name="connsiteY1420" fmla="*/ 196339 h 609800"/>
              <a:gd name="connsiteX1421" fmla="*/ 2873476 w 12248682"/>
              <a:gd name="connsiteY1421" fmla="*/ 175550 h 609800"/>
              <a:gd name="connsiteX1422" fmla="*/ 2738350 w 12248682"/>
              <a:gd name="connsiteY1422" fmla="*/ 175550 h 609800"/>
              <a:gd name="connsiteX1423" fmla="*/ 2759139 w 12248682"/>
              <a:gd name="connsiteY1423" fmla="*/ 196339 h 609800"/>
              <a:gd name="connsiteX1424" fmla="*/ 2738350 w 12248682"/>
              <a:gd name="connsiteY1424" fmla="*/ 217128 h 609800"/>
              <a:gd name="connsiteX1425" fmla="*/ 2717562 w 12248682"/>
              <a:gd name="connsiteY1425" fmla="*/ 196339 h 609800"/>
              <a:gd name="connsiteX1426" fmla="*/ 2738350 w 12248682"/>
              <a:gd name="connsiteY1426" fmla="*/ 175550 h 609800"/>
              <a:gd name="connsiteX1427" fmla="*/ 2603222 w 12248682"/>
              <a:gd name="connsiteY1427" fmla="*/ 175550 h 609800"/>
              <a:gd name="connsiteX1428" fmla="*/ 2624011 w 12248682"/>
              <a:gd name="connsiteY1428" fmla="*/ 196339 h 609800"/>
              <a:gd name="connsiteX1429" fmla="*/ 2603222 w 12248682"/>
              <a:gd name="connsiteY1429" fmla="*/ 217128 h 609800"/>
              <a:gd name="connsiteX1430" fmla="*/ 2582433 w 12248682"/>
              <a:gd name="connsiteY1430" fmla="*/ 196339 h 609800"/>
              <a:gd name="connsiteX1431" fmla="*/ 2603222 w 12248682"/>
              <a:gd name="connsiteY1431" fmla="*/ 175550 h 609800"/>
              <a:gd name="connsiteX1432" fmla="*/ 2466940 w 12248682"/>
              <a:gd name="connsiteY1432" fmla="*/ 175550 h 609800"/>
              <a:gd name="connsiteX1433" fmla="*/ 2487729 w 12248682"/>
              <a:gd name="connsiteY1433" fmla="*/ 196339 h 609800"/>
              <a:gd name="connsiteX1434" fmla="*/ 2466940 w 12248682"/>
              <a:gd name="connsiteY1434" fmla="*/ 217128 h 609800"/>
              <a:gd name="connsiteX1435" fmla="*/ 2446151 w 12248682"/>
              <a:gd name="connsiteY1435" fmla="*/ 196339 h 609800"/>
              <a:gd name="connsiteX1436" fmla="*/ 2466940 w 12248682"/>
              <a:gd name="connsiteY1436" fmla="*/ 175550 h 609800"/>
              <a:gd name="connsiteX1437" fmla="*/ 1518739 w 12248682"/>
              <a:gd name="connsiteY1437" fmla="*/ 175550 h 609800"/>
              <a:gd name="connsiteX1438" fmla="*/ 1539528 w 12248682"/>
              <a:gd name="connsiteY1438" fmla="*/ 196339 h 609800"/>
              <a:gd name="connsiteX1439" fmla="*/ 1518739 w 12248682"/>
              <a:gd name="connsiteY1439" fmla="*/ 217128 h 609800"/>
              <a:gd name="connsiteX1440" fmla="*/ 1497951 w 12248682"/>
              <a:gd name="connsiteY1440" fmla="*/ 196339 h 609800"/>
              <a:gd name="connsiteX1441" fmla="*/ 1518739 w 12248682"/>
              <a:gd name="connsiteY1441" fmla="*/ 175550 h 609800"/>
              <a:gd name="connsiteX1442" fmla="*/ 1383611 w 12248682"/>
              <a:gd name="connsiteY1442" fmla="*/ 175550 h 609800"/>
              <a:gd name="connsiteX1443" fmla="*/ 1404400 w 12248682"/>
              <a:gd name="connsiteY1443" fmla="*/ 196339 h 609800"/>
              <a:gd name="connsiteX1444" fmla="*/ 1383611 w 12248682"/>
              <a:gd name="connsiteY1444" fmla="*/ 217128 h 609800"/>
              <a:gd name="connsiteX1445" fmla="*/ 1362823 w 12248682"/>
              <a:gd name="connsiteY1445" fmla="*/ 196339 h 609800"/>
              <a:gd name="connsiteX1446" fmla="*/ 1383611 w 12248682"/>
              <a:gd name="connsiteY1446" fmla="*/ 175550 h 609800"/>
              <a:gd name="connsiteX1447" fmla="*/ 11549947 w 12248682"/>
              <a:gd name="connsiteY1447" fmla="*/ 172086 h 609800"/>
              <a:gd name="connsiteX1448" fmla="*/ 11573046 w 12248682"/>
              <a:gd name="connsiteY1448" fmla="*/ 195185 h 609800"/>
              <a:gd name="connsiteX1449" fmla="*/ 11549947 w 12248682"/>
              <a:gd name="connsiteY1449" fmla="*/ 218283 h 609800"/>
              <a:gd name="connsiteX1450" fmla="*/ 11526848 w 12248682"/>
              <a:gd name="connsiteY1450" fmla="*/ 195185 h 609800"/>
              <a:gd name="connsiteX1451" fmla="*/ 11549947 w 12248682"/>
              <a:gd name="connsiteY1451" fmla="*/ 172086 h 609800"/>
              <a:gd name="connsiteX1452" fmla="*/ 10466618 w 12248682"/>
              <a:gd name="connsiteY1452" fmla="*/ 172086 h 609800"/>
              <a:gd name="connsiteX1453" fmla="*/ 10489717 w 12248682"/>
              <a:gd name="connsiteY1453" fmla="*/ 195185 h 609800"/>
              <a:gd name="connsiteX1454" fmla="*/ 10466618 w 12248682"/>
              <a:gd name="connsiteY1454" fmla="*/ 218283 h 609800"/>
              <a:gd name="connsiteX1455" fmla="*/ 10443520 w 12248682"/>
              <a:gd name="connsiteY1455" fmla="*/ 195185 h 609800"/>
              <a:gd name="connsiteX1456" fmla="*/ 10466618 w 12248682"/>
              <a:gd name="connsiteY1456" fmla="*/ 172086 h 609800"/>
              <a:gd name="connsiteX1457" fmla="*/ 9244698 w 12248682"/>
              <a:gd name="connsiteY1457" fmla="*/ 172086 h 609800"/>
              <a:gd name="connsiteX1458" fmla="*/ 9270107 w 12248682"/>
              <a:gd name="connsiteY1458" fmla="*/ 194029 h 609800"/>
              <a:gd name="connsiteX1459" fmla="*/ 9249318 w 12248682"/>
              <a:gd name="connsiteY1459" fmla="*/ 219438 h 609800"/>
              <a:gd name="connsiteX1460" fmla="*/ 9223909 w 12248682"/>
              <a:gd name="connsiteY1460" fmla="*/ 197494 h 609800"/>
              <a:gd name="connsiteX1461" fmla="*/ 9244698 w 12248682"/>
              <a:gd name="connsiteY1461" fmla="*/ 172086 h 609800"/>
              <a:gd name="connsiteX1462" fmla="*/ 8164231 w 12248682"/>
              <a:gd name="connsiteY1462" fmla="*/ 172086 h 609800"/>
              <a:gd name="connsiteX1463" fmla="*/ 8187331 w 12248682"/>
              <a:gd name="connsiteY1463" fmla="*/ 195185 h 609800"/>
              <a:gd name="connsiteX1464" fmla="*/ 8164231 w 12248682"/>
              <a:gd name="connsiteY1464" fmla="*/ 218283 h 609800"/>
              <a:gd name="connsiteX1465" fmla="*/ 8141133 w 12248682"/>
              <a:gd name="connsiteY1465" fmla="*/ 195185 h 609800"/>
              <a:gd name="connsiteX1466" fmla="*/ 8164231 w 12248682"/>
              <a:gd name="connsiteY1466" fmla="*/ 172086 h 609800"/>
              <a:gd name="connsiteX1467" fmla="*/ 6944621 w 12248682"/>
              <a:gd name="connsiteY1467" fmla="*/ 172086 h 609800"/>
              <a:gd name="connsiteX1468" fmla="*/ 6967719 w 12248682"/>
              <a:gd name="connsiteY1468" fmla="*/ 195185 h 609800"/>
              <a:gd name="connsiteX1469" fmla="*/ 6944621 w 12248682"/>
              <a:gd name="connsiteY1469" fmla="*/ 218283 h 609800"/>
              <a:gd name="connsiteX1470" fmla="*/ 6921522 w 12248682"/>
              <a:gd name="connsiteY1470" fmla="*/ 195185 h 609800"/>
              <a:gd name="connsiteX1471" fmla="*/ 6944621 w 12248682"/>
              <a:gd name="connsiteY1471" fmla="*/ 172086 h 609800"/>
              <a:gd name="connsiteX1472" fmla="*/ 5861292 w 12248682"/>
              <a:gd name="connsiteY1472" fmla="*/ 172086 h 609800"/>
              <a:gd name="connsiteX1473" fmla="*/ 5884392 w 12248682"/>
              <a:gd name="connsiteY1473" fmla="*/ 195185 h 609800"/>
              <a:gd name="connsiteX1474" fmla="*/ 5861292 w 12248682"/>
              <a:gd name="connsiteY1474" fmla="*/ 218283 h 609800"/>
              <a:gd name="connsiteX1475" fmla="*/ 5838194 w 12248682"/>
              <a:gd name="connsiteY1475" fmla="*/ 195185 h 609800"/>
              <a:gd name="connsiteX1476" fmla="*/ 5861292 w 12248682"/>
              <a:gd name="connsiteY1476" fmla="*/ 172086 h 609800"/>
              <a:gd name="connsiteX1477" fmla="*/ 4639374 w 12248682"/>
              <a:gd name="connsiteY1477" fmla="*/ 172086 h 609800"/>
              <a:gd name="connsiteX1478" fmla="*/ 4664780 w 12248682"/>
              <a:gd name="connsiteY1478" fmla="*/ 192875 h 609800"/>
              <a:gd name="connsiteX1479" fmla="*/ 4643991 w 12248682"/>
              <a:gd name="connsiteY1479" fmla="*/ 218283 h 609800"/>
              <a:gd name="connsiteX1480" fmla="*/ 4618583 w 12248682"/>
              <a:gd name="connsiteY1480" fmla="*/ 197494 h 609800"/>
              <a:gd name="connsiteX1481" fmla="*/ 4639374 w 12248682"/>
              <a:gd name="connsiteY1481" fmla="*/ 172086 h 609800"/>
              <a:gd name="connsiteX1482" fmla="*/ 3551423 w 12248682"/>
              <a:gd name="connsiteY1482" fmla="*/ 172086 h 609800"/>
              <a:gd name="connsiteX1483" fmla="*/ 3574522 w 12248682"/>
              <a:gd name="connsiteY1483" fmla="*/ 195185 h 609800"/>
              <a:gd name="connsiteX1484" fmla="*/ 3551423 w 12248682"/>
              <a:gd name="connsiteY1484" fmla="*/ 218283 h 609800"/>
              <a:gd name="connsiteX1485" fmla="*/ 3528325 w 12248682"/>
              <a:gd name="connsiteY1485" fmla="*/ 195185 h 609800"/>
              <a:gd name="connsiteX1486" fmla="*/ 3551423 w 12248682"/>
              <a:gd name="connsiteY1486" fmla="*/ 172086 h 609800"/>
              <a:gd name="connsiteX1487" fmla="*/ 2331813 w 12248682"/>
              <a:gd name="connsiteY1487" fmla="*/ 172086 h 609800"/>
              <a:gd name="connsiteX1488" fmla="*/ 2354912 w 12248682"/>
              <a:gd name="connsiteY1488" fmla="*/ 195185 h 609800"/>
              <a:gd name="connsiteX1489" fmla="*/ 2331813 w 12248682"/>
              <a:gd name="connsiteY1489" fmla="*/ 218283 h 609800"/>
              <a:gd name="connsiteX1490" fmla="*/ 2308714 w 12248682"/>
              <a:gd name="connsiteY1490" fmla="*/ 195185 h 609800"/>
              <a:gd name="connsiteX1491" fmla="*/ 2331813 w 12248682"/>
              <a:gd name="connsiteY1491" fmla="*/ 172086 h 609800"/>
              <a:gd name="connsiteX1492" fmla="*/ 1248485 w 12248682"/>
              <a:gd name="connsiteY1492" fmla="*/ 172086 h 609800"/>
              <a:gd name="connsiteX1493" fmla="*/ 1271583 w 12248682"/>
              <a:gd name="connsiteY1493" fmla="*/ 195185 h 609800"/>
              <a:gd name="connsiteX1494" fmla="*/ 1248485 w 12248682"/>
              <a:gd name="connsiteY1494" fmla="*/ 218283 h 609800"/>
              <a:gd name="connsiteX1495" fmla="*/ 1225386 w 12248682"/>
              <a:gd name="connsiteY1495" fmla="*/ 195185 h 609800"/>
              <a:gd name="connsiteX1496" fmla="*/ 1248485 w 12248682"/>
              <a:gd name="connsiteY1496" fmla="*/ 172086 h 609800"/>
              <a:gd name="connsiteX1497" fmla="*/ 26564 w 12248682"/>
              <a:gd name="connsiteY1497" fmla="*/ 172086 h 609800"/>
              <a:gd name="connsiteX1498" fmla="*/ 51973 w 12248682"/>
              <a:gd name="connsiteY1498" fmla="*/ 194029 h 609800"/>
              <a:gd name="connsiteX1499" fmla="*/ 31184 w 12248682"/>
              <a:gd name="connsiteY1499" fmla="*/ 219438 h 609800"/>
              <a:gd name="connsiteX1500" fmla="*/ 5776 w 12248682"/>
              <a:gd name="connsiteY1500" fmla="*/ 197494 h 609800"/>
              <a:gd name="connsiteX1501" fmla="*/ 26564 w 12248682"/>
              <a:gd name="connsiteY1501" fmla="*/ 172086 h 609800"/>
              <a:gd name="connsiteX1502" fmla="*/ 11414819 w 12248682"/>
              <a:gd name="connsiteY1502" fmla="*/ 166311 h 609800"/>
              <a:gd name="connsiteX1503" fmla="*/ 11443693 w 12248682"/>
              <a:gd name="connsiteY1503" fmla="*/ 195185 h 609800"/>
              <a:gd name="connsiteX1504" fmla="*/ 11414819 w 12248682"/>
              <a:gd name="connsiteY1504" fmla="*/ 224057 h 609800"/>
              <a:gd name="connsiteX1505" fmla="*/ 11385946 w 12248682"/>
              <a:gd name="connsiteY1505" fmla="*/ 195185 h 609800"/>
              <a:gd name="connsiteX1506" fmla="*/ 11414819 w 12248682"/>
              <a:gd name="connsiteY1506" fmla="*/ 166311 h 609800"/>
              <a:gd name="connsiteX1507" fmla="*/ 10330336 w 12248682"/>
              <a:gd name="connsiteY1507" fmla="*/ 166311 h 609800"/>
              <a:gd name="connsiteX1508" fmla="*/ 10359209 w 12248682"/>
              <a:gd name="connsiteY1508" fmla="*/ 195185 h 609800"/>
              <a:gd name="connsiteX1509" fmla="*/ 10330336 w 12248682"/>
              <a:gd name="connsiteY1509" fmla="*/ 224057 h 609800"/>
              <a:gd name="connsiteX1510" fmla="*/ 10301462 w 12248682"/>
              <a:gd name="connsiteY1510" fmla="*/ 195185 h 609800"/>
              <a:gd name="connsiteX1511" fmla="*/ 10330336 w 12248682"/>
              <a:gd name="connsiteY1511" fmla="*/ 166311 h 609800"/>
              <a:gd name="connsiteX1512" fmla="*/ 9382135 w 12248682"/>
              <a:gd name="connsiteY1512" fmla="*/ 166311 h 609800"/>
              <a:gd name="connsiteX1513" fmla="*/ 9411009 w 12248682"/>
              <a:gd name="connsiteY1513" fmla="*/ 195185 h 609800"/>
              <a:gd name="connsiteX1514" fmla="*/ 9382135 w 12248682"/>
              <a:gd name="connsiteY1514" fmla="*/ 224057 h 609800"/>
              <a:gd name="connsiteX1515" fmla="*/ 9353262 w 12248682"/>
              <a:gd name="connsiteY1515" fmla="*/ 195185 h 609800"/>
              <a:gd name="connsiteX1516" fmla="*/ 9382135 w 12248682"/>
              <a:gd name="connsiteY1516" fmla="*/ 166311 h 609800"/>
              <a:gd name="connsiteX1517" fmla="*/ 9112431 w 12248682"/>
              <a:gd name="connsiteY1517" fmla="*/ 166311 h 609800"/>
              <a:gd name="connsiteX1518" fmla="*/ 9141305 w 12248682"/>
              <a:gd name="connsiteY1518" fmla="*/ 195185 h 609800"/>
              <a:gd name="connsiteX1519" fmla="*/ 9112431 w 12248682"/>
              <a:gd name="connsiteY1519" fmla="*/ 224057 h 609800"/>
              <a:gd name="connsiteX1520" fmla="*/ 9083558 w 12248682"/>
              <a:gd name="connsiteY1520" fmla="*/ 195185 h 609800"/>
              <a:gd name="connsiteX1521" fmla="*/ 9112431 w 12248682"/>
              <a:gd name="connsiteY1521" fmla="*/ 166311 h 609800"/>
              <a:gd name="connsiteX1522" fmla="*/ 8299358 w 12248682"/>
              <a:gd name="connsiteY1522" fmla="*/ 166311 h 609800"/>
              <a:gd name="connsiteX1523" fmla="*/ 8328231 w 12248682"/>
              <a:gd name="connsiteY1523" fmla="*/ 195185 h 609800"/>
              <a:gd name="connsiteX1524" fmla="*/ 8299358 w 12248682"/>
              <a:gd name="connsiteY1524" fmla="*/ 224057 h 609800"/>
              <a:gd name="connsiteX1525" fmla="*/ 8270485 w 12248682"/>
              <a:gd name="connsiteY1525" fmla="*/ 195185 h 609800"/>
              <a:gd name="connsiteX1526" fmla="*/ 8299358 w 12248682"/>
              <a:gd name="connsiteY1526" fmla="*/ 166311 h 609800"/>
              <a:gd name="connsiteX1527" fmla="*/ 6809492 w 12248682"/>
              <a:gd name="connsiteY1527" fmla="*/ 166311 h 609800"/>
              <a:gd name="connsiteX1528" fmla="*/ 6838367 w 12248682"/>
              <a:gd name="connsiteY1528" fmla="*/ 195185 h 609800"/>
              <a:gd name="connsiteX1529" fmla="*/ 6809492 w 12248682"/>
              <a:gd name="connsiteY1529" fmla="*/ 224057 h 609800"/>
              <a:gd name="connsiteX1530" fmla="*/ 6780620 w 12248682"/>
              <a:gd name="connsiteY1530" fmla="*/ 195185 h 609800"/>
              <a:gd name="connsiteX1531" fmla="*/ 6809492 w 12248682"/>
              <a:gd name="connsiteY1531" fmla="*/ 166311 h 609800"/>
              <a:gd name="connsiteX1532" fmla="*/ 5726165 w 12248682"/>
              <a:gd name="connsiteY1532" fmla="*/ 166311 h 609800"/>
              <a:gd name="connsiteX1533" fmla="*/ 5755038 w 12248682"/>
              <a:gd name="connsiteY1533" fmla="*/ 195185 h 609800"/>
              <a:gd name="connsiteX1534" fmla="*/ 5726165 w 12248682"/>
              <a:gd name="connsiteY1534" fmla="*/ 224057 h 609800"/>
              <a:gd name="connsiteX1535" fmla="*/ 5697292 w 12248682"/>
              <a:gd name="connsiteY1535" fmla="*/ 195185 h 609800"/>
              <a:gd name="connsiteX1536" fmla="*/ 5726165 w 12248682"/>
              <a:gd name="connsiteY1536" fmla="*/ 166311 h 609800"/>
              <a:gd name="connsiteX1537" fmla="*/ 4776809 w 12248682"/>
              <a:gd name="connsiteY1537" fmla="*/ 166311 h 609800"/>
              <a:gd name="connsiteX1538" fmla="*/ 4805682 w 12248682"/>
              <a:gd name="connsiteY1538" fmla="*/ 195185 h 609800"/>
              <a:gd name="connsiteX1539" fmla="*/ 4776809 w 12248682"/>
              <a:gd name="connsiteY1539" fmla="*/ 224057 h 609800"/>
              <a:gd name="connsiteX1540" fmla="*/ 4747936 w 12248682"/>
              <a:gd name="connsiteY1540" fmla="*/ 195185 h 609800"/>
              <a:gd name="connsiteX1541" fmla="*/ 4776809 w 12248682"/>
              <a:gd name="connsiteY1541" fmla="*/ 166311 h 609800"/>
              <a:gd name="connsiteX1542" fmla="*/ 4499625 w 12248682"/>
              <a:gd name="connsiteY1542" fmla="*/ 166311 h 609800"/>
              <a:gd name="connsiteX1543" fmla="*/ 4528499 w 12248682"/>
              <a:gd name="connsiteY1543" fmla="*/ 195185 h 609800"/>
              <a:gd name="connsiteX1544" fmla="*/ 4499625 w 12248682"/>
              <a:gd name="connsiteY1544" fmla="*/ 224057 h 609800"/>
              <a:gd name="connsiteX1545" fmla="*/ 4470752 w 12248682"/>
              <a:gd name="connsiteY1545" fmla="*/ 195185 h 609800"/>
              <a:gd name="connsiteX1546" fmla="*/ 4499625 w 12248682"/>
              <a:gd name="connsiteY1546" fmla="*/ 166311 h 609800"/>
              <a:gd name="connsiteX1547" fmla="*/ 3686551 w 12248682"/>
              <a:gd name="connsiteY1547" fmla="*/ 166311 h 609800"/>
              <a:gd name="connsiteX1548" fmla="*/ 3715424 w 12248682"/>
              <a:gd name="connsiteY1548" fmla="*/ 195185 h 609800"/>
              <a:gd name="connsiteX1549" fmla="*/ 3686551 w 12248682"/>
              <a:gd name="connsiteY1549" fmla="*/ 224057 h 609800"/>
              <a:gd name="connsiteX1550" fmla="*/ 3657677 w 12248682"/>
              <a:gd name="connsiteY1550" fmla="*/ 195185 h 609800"/>
              <a:gd name="connsiteX1551" fmla="*/ 3686551 w 12248682"/>
              <a:gd name="connsiteY1551" fmla="*/ 166311 h 609800"/>
              <a:gd name="connsiteX1552" fmla="*/ 2196685 w 12248682"/>
              <a:gd name="connsiteY1552" fmla="*/ 166311 h 609800"/>
              <a:gd name="connsiteX1553" fmla="*/ 2225559 w 12248682"/>
              <a:gd name="connsiteY1553" fmla="*/ 195185 h 609800"/>
              <a:gd name="connsiteX1554" fmla="*/ 2196685 w 12248682"/>
              <a:gd name="connsiteY1554" fmla="*/ 224057 h 609800"/>
              <a:gd name="connsiteX1555" fmla="*/ 2167813 w 12248682"/>
              <a:gd name="connsiteY1555" fmla="*/ 195185 h 609800"/>
              <a:gd name="connsiteX1556" fmla="*/ 2196685 w 12248682"/>
              <a:gd name="connsiteY1556" fmla="*/ 166311 h 609800"/>
              <a:gd name="connsiteX1557" fmla="*/ 1112202 w 12248682"/>
              <a:gd name="connsiteY1557" fmla="*/ 166311 h 609800"/>
              <a:gd name="connsiteX1558" fmla="*/ 1141075 w 12248682"/>
              <a:gd name="connsiteY1558" fmla="*/ 195185 h 609800"/>
              <a:gd name="connsiteX1559" fmla="*/ 1112202 w 12248682"/>
              <a:gd name="connsiteY1559" fmla="*/ 224057 h 609800"/>
              <a:gd name="connsiteX1560" fmla="*/ 1083328 w 12248682"/>
              <a:gd name="connsiteY1560" fmla="*/ 195185 h 609800"/>
              <a:gd name="connsiteX1561" fmla="*/ 1112202 w 12248682"/>
              <a:gd name="connsiteY1561" fmla="*/ 166311 h 609800"/>
              <a:gd name="connsiteX1562" fmla="*/ 164001 w 12248682"/>
              <a:gd name="connsiteY1562" fmla="*/ 166311 h 609800"/>
              <a:gd name="connsiteX1563" fmla="*/ 192875 w 12248682"/>
              <a:gd name="connsiteY1563" fmla="*/ 195185 h 609800"/>
              <a:gd name="connsiteX1564" fmla="*/ 164001 w 12248682"/>
              <a:gd name="connsiteY1564" fmla="*/ 224057 h 609800"/>
              <a:gd name="connsiteX1565" fmla="*/ 135128 w 12248682"/>
              <a:gd name="connsiteY1565" fmla="*/ 195185 h 609800"/>
              <a:gd name="connsiteX1566" fmla="*/ 164001 w 12248682"/>
              <a:gd name="connsiteY1566" fmla="*/ 166311 h 609800"/>
              <a:gd name="connsiteX1567" fmla="*/ 11279692 w 12248682"/>
              <a:gd name="connsiteY1567" fmla="*/ 160537 h 609800"/>
              <a:gd name="connsiteX1568" fmla="*/ 11314340 w 12248682"/>
              <a:gd name="connsiteY1568" fmla="*/ 195185 h 609800"/>
              <a:gd name="connsiteX1569" fmla="*/ 11279692 w 12248682"/>
              <a:gd name="connsiteY1569" fmla="*/ 229833 h 609800"/>
              <a:gd name="connsiteX1570" fmla="*/ 11245044 w 12248682"/>
              <a:gd name="connsiteY1570" fmla="*/ 195185 h 609800"/>
              <a:gd name="connsiteX1571" fmla="*/ 11279692 w 12248682"/>
              <a:gd name="connsiteY1571" fmla="*/ 160537 h 609800"/>
              <a:gd name="connsiteX1572" fmla="*/ 10195208 w 12248682"/>
              <a:gd name="connsiteY1572" fmla="*/ 160537 h 609800"/>
              <a:gd name="connsiteX1573" fmla="*/ 10229856 w 12248682"/>
              <a:gd name="connsiteY1573" fmla="*/ 195185 h 609800"/>
              <a:gd name="connsiteX1574" fmla="*/ 10195208 w 12248682"/>
              <a:gd name="connsiteY1574" fmla="*/ 229833 h 609800"/>
              <a:gd name="connsiteX1575" fmla="*/ 10160560 w 12248682"/>
              <a:gd name="connsiteY1575" fmla="*/ 195185 h 609800"/>
              <a:gd name="connsiteX1576" fmla="*/ 10195208 w 12248682"/>
              <a:gd name="connsiteY1576" fmla="*/ 160537 h 609800"/>
              <a:gd name="connsiteX1577" fmla="*/ 9518417 w 12248682"/>
              <a:gd name="connsiteY1577" fmla="*/ 160537 h 609800"/>
              <a:gd name="connsiteX1578" fmla="*/ 9553065 w 12248682"/>
              <a:gd name="connsiteY1578" fmla="*/ 195185 h 609800"/>
              <a:gd name="connsiteX1579" fmla="*/ 9518417 w 12248682"/>
              <a:gd name="connsiteY1579" fmla="*/ 229833 h 609800"/>
              <a:gd name="connsiteX1580" fmla="*/ 9483769 w 12248682"/>
              <a:gd name="connsiteY1580" fmla="*/ 195185 h 609800"/>
              <a:gd name="connsiteX1581" fmla="*/ 9518417 w 12248682"/>
              <a:gd name="connsiteY1581" fmla="*/ 160537 h 609800"/>
              <a:gd name="connsiteX1582" fmla="*/ 8977304 w 12248682"/>
              <a:gd name="connsiteY1582" fmla="*/ 160537 h 609800"/>
              <a:gd name="connsiteX1583" fmla="*/ 9011952 w 12248682"/>
              <a:gd name="connsiteY1583" fmla="*/ 195185 h 609800"/>
              <a:gd name="connsiteX1584" fmla="*/ 8977304 w 12248682"/>
              <a:gd name="connsiteY1584" fmla="*/ 229833 h 609800"/>
              <a:gd name="connsiteX1585" fmla="*/ 8942656 w 12248682"/>
              <a:gd name="connsiteY1585" fmla="*/ 195185 h 609800"/>
              <a:gd name="connsiteX1586" fmla="*/ 8977304 w 12248682"/>
              <a:gd name="connsiteY1586" fmla="*/ 160537 h 609800"/>
              <a:gd name="connsiteX1587" fmla="*/ 8434485 w 12248682"/>
              <a:gd name="connsiteY1587" fmla="*/ 160537 h 609800"/>
              <a:gd name="connsiteX1588" fmla="*/ 8469133 w 12248682"/>
              <a:gd name="connsiteY1588" fmla="*/ 195185 h 609800"/>
              <a:gd name="connsiteX1589" fmla="*/ 8434485 w 12248682"/>
              <a:gd name="connsiteY1589" fmla="*/ 229833 h 609800"/>
              <a:gd name="connsiteX1590" fmla="*/ 8399837 w 12248682"/>
              <a:gd name="connsiteY1590" fmla="*/ 195185 h 609800"/>
              <a:gd name="connsiteX1591" fmla="*/ 8434485 w 12248682"/>
              <a:gd name="connsiteY1591" fmla="*/ 160537 h 609800"/>
              <a:gd name="connsiteX1592" fmla="*/ 6674366 w 12248682"/>
              <a:gd name="connsiteY1592" fmla="*/ 160537 h 609800"/>
              <a:gd name="connsiteX1593" fmla="*/ 6709014 w 12248682"/>
              <a:gd name="connsiteY1593" fmla="*/ 195185 h 609800"/>
              <a:gd name="connsiteX1594" fmla="*/ 6674366 w 12248682"/>
              <a:gd name="connsiteY1594" fmla="*/ 229833 h 609800"/>
              <a:gd name="connsiteX1595" fmla="*/ 6639717 w 12248682"/>
              <a:gd name="connsiteY1595" fmla="*/ 195185 h 609800"/>
              <a:gd name="connsiteX1596" fmla="*/ 6674366 w 12248682"/>
              <a:gd name="connsiteY1596" fmla="*/ 160537 h 609800"/>
              <a:gd name="connsiteX1597" fmla="*/ 5589882 w 12248682"/>
              <a:gd name="connsiteY1597" fmla="*/ 160537 h 609800"/>
              <a:gd name="connsiteX1598" fmla="*/ 5624531 w 12248682"/>
              <a:gd name="connsiteY1598" fmla="*/ 195185 h 609800"/>
              <a:gd name="connsiteX1599" fmla="*/ 5589882 w 12248682"/>
              <a:gd name="connsiteY1599" fmla="*/ 229833 h 609800"/>
              <a:gd name="connsiteX1600" fmla="*/ 5555234 w 12248682"/>
              <a:gd name="connsiteY1600" fmla="*/ 195185 h 609800"/>
              <a:gd name="connsiteX1601" fmla="*/ 5589882 w 12248682"/>
              <a:gd name="connsiteY1601" fmla="*/ 160537 h 609800"/>
              <a:gd name="connsiteX1602" fmla="*/ 4913091 w 12248682"/>
              <a:gd name="connsiteY1602" fmla="*/ 160537 h 609800"/>
              <a:gd name="connsiteX1603" fmla="*/ 4947739 w 12248682"/>
              <a:gd name="connsiteY1603" fmla="*/ 195185 h 609800"/>
              <a:gd name="connsiteX1604" fmla="*/ 4913091 w 12248682"/>
              <a:gd name="connsiteY1604" fmla="*/ 229833 h 609800"/>
              <a:gd name="connsiteX1605" fmla="*/ 4878443 w 12248682"/>
              <a:gd name="connsiteY1605" fmla="*/ 195185 h 609800"/>
              <a:gd name="connsiteX1606" fmla="*/ 4913091 w 12248682"/>
              <a:gd name="connsiteY1606" fmla="*/ 160537 h 609800"/>
              <a:gd name="connsiteX1607" fmla="*/ 4364499 w 12248682"/>
              <a:gd name="connsiteY1607" fmla="*/ 160537 h 609800"/>
              <a:gd name="connsiteX1608" fmla="*/ 4399146 w 12248682"/>
              <a:gd name="connsiteY1608" fmla="*/ 195185 h 609800"/>
              <a:gd name="connsiteX1609" fmla="*/ 4364499 w 12248682"/>
              <a:gd name="connsiteY1609" fmla="*/ 229833 h 609800"/>
              <a:gd name="connsiteX1610" fmla="*/ 4329850 w 12248682"/>
              <a:gd name="connsiteY1610" fmla="*/ 195185 h 609800"/>
              <a:gd name="connsiteX1611" fmla="*/ 4364499 w 12248682"/>
              <a:gd name="connsiteY1611" fmla="*/ 160537 h 609800"/>
              <a:gd name="connsiteX1612" fmla="*/ 3821678 w 12248682"/>
              <a:gd name="connsiteY1612" fmla="*/ 160537 h 609800"/>
              <a:gd name="connsiteX1613" fmla="*/ 3856326 w 12248682"/>
              <a:gd name="connsiteY1613" fmla="*/ 195185 h 609800"/>
              <a:gd name="connsiteX1614" fmla="*/ 3821678 w 12248682"/>
              <a:gd name="connsiteY1614" fmla="*/ 229833 h 609800"/>
              <a:gd name="connsiteX1615" fmla="*/ 3787030 w 12248682"/>
              <a:gd name="connsiteY1615" fmla="*/ 195185 h 609800"/>
              <a:gd name="connsiteX1616" fmla="*/ 3821678 w 12248682"/>
              <a:gd name="connsiteY1616" fmla="*/ 160537 h 609800"/>
              <a:gd name="connsiteX1617" fmla="*/ 2061558 w 12248682"/>
              <a:gd name="connsiteY1617" fmla="*/ 160537 h 609800"/>
              <a:gd name="connsiteX1618" fmla="*/ 2096206 w 12248682"/>
              <a:gd name="connsiteY1618" fmla="*/ 195185 h 609800"/>
              <a:gd name="connsiteX1619" fmla="*/ 2061558 w 12248682"/>
              <a:gd name="connsiteY1619" fmla="*/ 229833 h 609800"/>
              <a:gd name="connsiteX1620" fmla="*/ 2026910 w 12248682"/>
              <a:gd name="connsiteY1620" fmla="*/ 195185 h 609800"/>
              <a:gd name="connsiteX1621" fmla="*/ 2061558 w 12248682"/>
              <a:gd name="connsiteY1621" fmla="*/ 160537 h 609800"/>
              <a:gd name="connsiteX1622" fmla="*/ 977075 w 12248682"/>
              <a:gd name="connsiteY1622" fmla="*/ 160537 h 609800"/>
              <a:gd name="connsiteX1623" fmla="*/ 1011723 w 12248682"/>
              <a:gd name="connsiteY1623" fmla="*/ 195185 h 609800"/>
              <a:gd name="connsiteX1624" fmla="*/ 977075 w 12248682"/>
              <a:gd name="connsiteY1624" fmla="*/ 229833 h 609800"/>
              <a:gd name="connsiteX1625" fmla="*/ 942427 w 12248682"/>
              <a:gd name="connsiteY1625" fmla="*/ 195185 h 609800"/>
              <a:gd name="connsiteX1626" fmla="*/ 977075 w 12248682"/>
              <a:gd name="connsiteY1626" fmla="*/ 160537 h 609800"/>
              <a:gd name="connsiteX1627" fmla="*/ 300283 w 12248682"/>
              <a:gd name="connsiteY1627" fmla="*/ 160537 h 609800"/>
              <a:gd name="connsiteX1628" fmla="*/ 334931 w 12248682"/>
              <a:gd name="connsiteY1628" fmla="*/ 195185 h 609800"/>
              <a:gd name="connsiteX1629" fmla="*/ 300283 w 12248682"/>
              <a:gd name="connsiteY1629" fmla="*/ 229833 h 609800"/>
              <a:gd name="connsiteX1630" fmla="*/ 265635 w 12248682"/>
              <a:gd name="connsiteY1630" fmla="*/ 195185 h 609800"/>
              <a:gd name="connsiteX1631" fmla="*/ 300283 w 12248682"/>
              <a:gd name="connsiteY1631" fmla="*/ 160537 h 609800"/>
              <a:gd name="connsiteX1632" fmla="*/ 11143410 w 12248682"/>
              <a:gd name="connsiteY1632" fmla="*/ 154761 h 609800"/>
              <a:gd name="connsiteX1633" fmla="*/ 11183832 w 12248682"/>
              <a:gd name="connsiteY1633" fmla="*/ 195185 h 609800"/>
              <a:gd name="connsiteX1634" fmla="*/ 11143410 w 12248682"/>
              <a:gd name="connsiteY1634" fmla="*/ 235607 h 609800"/>
              <a:gd name="connsiteX1635" fmla="*/ 11102987 w 12248682"/>
              <a:gd name="connsiteY1635" fmla="*/ 195185 h 609800"/>
              <a:gd name="connsiteX1636" fmla="*/ 11143410 w 12248682"/>
              <a:gd name="connsiteY1636" fmla="*/ 154761 h 609800"/>
              <a:gd name="connsiteX1637" fmla="*/ 10873155 w 12248682"/>
              <a:gd name="connsiteY1637" fmla="*/ 154761 h 609800"/>
              <a:gd name="connsiteX1638" fmla="*/ 10913577 w 12248682"/>
              <a:gd name="connsiteY1638" fmla="*/ 195185 h 609800"/>
              <a:gd name="connsiteX1639" fmla="*/ 10873155 w 12248682"/>
              <a:gd name="connsiteY1639" fmla="*/ 235607 h 609800"/>
              <a:gd name="connsiteX1640" fmla="*/ 10832732 w 12248682"/>
              <a:gd name="connsiteY1640" fmla="*/ 195185 h 609800"/>
              <a:gd name="connsiteX1641" fmla="*/ 10873155 w 12248682"/>
              <a:gd name="connsiteY1641" fmla="*/ 154761 h 609800"/>
              <a:gd name="connsiteX1642" fmla="*/ 10060082 w 12248682"/>
              <a:gd name="connsiteY1642" fmla="*/ 154761 h 609800"/>
              <a:gd name="connsiteX1643" fmla="*/ 10100504 w 12248682"/>
              <a:gd name="connsiteY1643" fmla="*/ 195185 h 609800"/>
              <a:gd name="connsiteX1644" fmla="*/ 10060082 w 12248682"/>
              <a:gd name="connsiteY1644" fmla="*/ 235607 h 609800"/>
              <a:gd name="connsiteX1645" fmla="*/ 10019658 w 12248682"/>
              <a:gd name="connsiteY1645" fmla="*/ 195185 h 609800"/>
              <a:gd name="connsiteX1646" fmla="*/ 10060082 w 12248682"/>
              <a:gd name="connsiteY1646" fmla="*/ 154761 h 609800"/>
              <a:gd name="connsiteX1647" fmla="*/ 9653545 w 12248682"/>
              <a:gd name="connsiteY1647" fmla="*/ 154761 h 609800"/>
              <a:gd name="connsiteX1648" fmla="*/ 9693967 w 12248682"/>
              <a:gd name="connsiteY1648" fmla="*/ 195185 h 609800"/>
              <a:gd name="connsiteX1649" fmla="*/ 9653545 w 12248682"/>
              <a:gd name="connsiteY1649" fmla="*/ 235607 h 609800"/>
              <a:gd name="connsiteX1650" fmla="*/ 9613122 w 12248682"/>
              <a:gd name="connsiteY1650" fmla="*/ 195185 h 609800"/>
              <a:gd name="connsiteX1651" fmla="*/ 9653545 w 12248682"/>
              <a:gd name="connsiteY1651" fmla="*/ 154761 h 609800"/>
              <a:gd name="connsiteX1652" fmla="*/ 8841022 w 12248682"/>
              <a:gd name="connsiteY1652" fmla="*/ 154761 h 609800"/>
              <a:gd name="connsiteX1653" fmla="*/ 8881444 w 12248682"/>
              <a:gd name="connsiteY1653" fmla="*/ 195185 h 609800"/>
              <a:gd name="connsiteX1654" fmla="*/ 8841022 w 12248682"/>
              <a:gd name="connsiteY1654" fmla="*/ 235607 h 609800"/>
              <a:gd name="connsiteX1655" fmla="*/ 8800599 w 12248682"/>
              <a:gd name="connsiteY1655" fmla="*/ 195185 h 609800"/>
              <a:gd name="connsiteX1656" fmla="*/ 8841022 w 12248682"/>
              <a:gd name="connsiteY1656" fmla="*/ 154761 h 609800"/>
              <a:gd name="connsiteX1657" fmla="*/ 8570767 w 12248682"/>
              <a:gd name="connsiteY1657" fmla="*/ 154761 h 609800"/>
              <a:gd name="connsiteX1658" fmla="*/ 8611190 w 12248682"/>
              <a:gd name="connsiteY1658" fmla="*/ 195185 h 609800"/>
              <a:gd name="connsiteX1659" fmla="*/ 8570767 w 12248682"/>
              <a:gd name="connsiteY1659" fmla="*/ 235607 h 609800"/>
              <a:gd name="connsiteX1660" fmla="*/ 8530344 w 12248682"/>
              <a:gd name="connsiteY1660" fmla="*/ 195185 h 609800"/>
              <a:gd name="connsiteX1661" fmla="*/ 8570767 w 12248682"/>
              <a:gd name="connsiteY1661" fmla="*/ 154761 h 609800"/>
              <a:gd name="connsiteX1662" fmla="*/ 6538083 w 12248682"/>
              <a:gd name="connsiteY1662" fmla="*/ 154761 h 609800"/>
              <a:gd name="connsiteX1663" fmla="*/ 6578507 w 12248682"/>
              <a:gd name="connsiteY1663" fmla="*/ 195185 h 609800"/>
              <a:gd name="connsiteX1664" fmla="*/ 6538083 w 12248682"/>
              <a:gd name="connsiteY1664" fmla="*/ 235607 h 609800"/>
              <a:gd name="connsiteX1665" fmla="*/ 6497661 w 12248682"/>
              <a:gd name="connsiteY1665" fmla="*/ 195185 h 609800"/>
              <a:gd name="connsiteX1666" fmla="*/ 6538083 w 12248682"/>
              <a:gd name="connsiteY1666" fmla="*/ 154761 h 609800"/>
              <a:gd name="connsiteX1667" fmla="*/ 6267830 w 12248682"/>
              <a:gd name="connsiteY1667" fmla="*/ 154761 h 609800"/>
              <a:gd name="connsiteX1668" fmla="*/ 6308251 w 12248682"/>
              <a:gd name="connsiteY1668" fmla="*/ 195185 h 609800"/>
              <a:gd name="connsiteX1669" fmla="*/ 6267830 w 12248682"/>
              <a:gd name="connsiteY1669" fmla="*/ 235607 h 609800"/>
              <a:gd name="connsiteX1670" fmla="*/ 6227406 w 12248682"/>
              <a:gd name="connsiteY1670" fmla="*/ 195185 h 609800"/>
              <a:gd name="connsiteX1671" fmla="*/ 6267830 w 12248682"/>
              <a:gd name="connsiteY1671" fmla="*/ 154761 h 609800"/>
              <a:gd name="connsiteX1672" fmla="*/ 5454756 w 12248682"/>
              <a:gd name="connsiteY1672" fmla="*/ 154761 h 609800"/>
              <a:gd name="connsiteX1673" fmla="*/ 5495178 w 12248682"/>
              <a:gd name="connsiteY1673" fmla="*/ 195185 h 609800"/>
              <a:gd name="connsiteX1674" fmla="*/ 5454756 w 12248682"/>
              <a:gd name="connsiteY1674" fmla="*/ 235607 h 609800"/>
              <a:gd name="connsiteX1675" fmla="*/ 5414332 w 12248682"/>
              <a:gd name="connsiteY1675" fmla="*/ 195185 h 609800"/>
              <a:gd name="connsiteX1676" fmla="*/ 5454756 w 12248682"/>
              <a:gd name="connsiteY1676" fmla="*/ 154761 h 609800"/>
              <a:gd name="connsiteX1677" fmla="*/ 5048218 w 12248682"/>
              <a:gd name="connsiteY1677" fmla="*/ 154761 h 609800"/>
              <a:gd name="connsiteX1678" fmla="*/ 5088641 w 12248682"/>
              <a:gd name="connsiteY1678" fmla="*/ 195185 h 609800"/>
              <a:gd name="connsiteX1679" fmla="*/ 5048218 w 12248682"/>
              <a:gd name="connsiteY1679" fmla="*/ 235607 h 609800"/>
              <a:gd name="connsiteX1680" fmla="*/ 5007796 w 12248682"/>
              <a:gd name="connsiteY1680" fmla="*/ 195185 h 609800"/>
              <a:gd name="connsiteX1681" fmla="*/ 5048218 w 12248682"/>
              <a:gd name="connsiteY1681" fmla="*/ 154761 h 609800"/>
              <a:gd name="connsiteX1682" fmla="*/ 4228217 w 12248682"/>
              <a:gd name="connsiteY1682" fmla="*/ 154761 h 609800"/>
              <a:gd name="connsiteX1683" fmla="*/ 4268637 w 12248682"/>
              <a:gd name="connsiteY1683" fmla="*/ 195185 h 609800"/>
              <a:gd name="connsiteX1684" fmla="*/ 4228217 w 12248682"/>
              <a:gd name="connsiteY1684" fmla="*/ 235607 h 609800"/>
              <a:gd name="connsiteX1685" fmla="*/ 4187792 w 12248682"/>
              <a:gd name="connsiteY1685" fmla="*/ 195185 h 609800"/>
              <a:gd name="connsiteX1686" fmla="*/ 4228217 w 12248682"/>
              <a:gd name="connsiteY1686" fmla="*/ 154761 h 609800"/>
              <a:gd name="connsiteX1687" fmla="*/ 3957960 w 12248682"/>
              <a:gd name="connsiteY1687" fmla="*/ 154761 h 609800"/>
              <a:gd name="connsiteX1688" fmla="*/ 3998382 w 12248682"/>
              <a:gd name="connsiteY1688" fmla="*/ 195185 h 609800"/>
              <a:gd name="connsiteX1689" fmla="*/ 3957960 w 12248682"/>
              <a:gd name="connsiteY1689" fmla="*/ 235607 h 609800"/>
              <a:gd name="connsiteX1690" fmla="*/ 3917537 w 12248682"/>
              <a:gd name="connsiteY1690" fmla="*/ 195185 h 609800"/>
              <a:gd name="connsiteX1691" fmla="*/ 3957960 w 12248682"/>
              <a:gd name="connsiteY1691" fmla="*/ 154761 h 609800"/>
              <a:gd name="connsiteX1692" fmla="*/ 1925276 w 12248682"/>
              <a:gd name="connsiteY1692" fmla="*/ 154761 h 609800"/>
              <a:gd name="connsiteX1693" fmla="*/ 1965698 w 12248682"/>
              <a:gd name="connsiteY1693" fmla="*/ 195185 h 609800"/>
              <a:gd name="connsiteX1694" fmla="*/ 1925276 w 12248682"/>
              <a:gd name="connsiteY1694" fmla="*/ 235607 h 609800"/>
              <a:gd name="connsiteX1695" fmla="*/ 1884853 w 12248682"/>
              <a:gd name="connsiteY1695" fmla="*/ 195185 h 609800"/>
              <a:gd name="connsiteX1696" fmla="*/ 1925276 w 12248682"/>
              <a:gd name="connsiteY1696" fmla="*/ 154761 h 609800"/>
              <a:gd name="connsiteX1697" fmla="*/ 1655022 w 12248682"/>
              <a:gd name="connsiteY1697" fmla="*/ 154761 h 609800"/>
              <a:gd name="connsiteX1698" fmla="*/ 1695444 w 12248682"/>
              <a:gd name="connsiteY1698" fmla="*/ 195185 h 609800"/>
              <a:gd name="connsiteX1699" fmla="*/ 1655022 w 12248682"/>
              <a:gd name="connsiteY1699" fmla="*/ 235607 h 609800"/>
              <a:gd name="connsiteX1700" fmla="*/ 1614598 w 12248682"/>
              <a:gd name="connsiteY1700" fmla="*/ 195185 h 609800"/>
              <a:gd name="connsiteX1701" fmla="*/ 1655022 w 12248682"/>
              <a:gd name="connsiteY1701" fmla="*/ 154761 h 609800"/>
              <a:gd name="connsiteX1702" fmla="*/ 841948 w 12248682"/>
              <a:gd name="connsiteY1702" fmla="*/ 154761 h 609800"/>
              <a:gd name="connsiteX1703" fmla="*/ 882370 w 12248682"/>
              <a:gd name="connsiteY1703" fmla="*/ 195185 h 609800"/>
              <a:gd name="connsiteX1704" fmla="*/ 841948 w 12248682"/>
              <a:gd name="connsiteY1704" fmla="*/ 235607 h 609800"/>
              <a:gd name="connsiteX1705" fmla="*/ 801525 w 12248682"/>
              <a:gd name="connsiteY1705" fmla="*/ 195185 h 609800"/>
              <a:gd name="connsiteX1706" fmla="*/ 841948 w 12248682"/>
              <a:gd name="connsiteY1706" fmla="*/ 154761 h 609800"/>
              <a:gd name="connsiteX1707" fmla="*/ 435411 w 12248682"/>
              <a:gd name="connsiteY1707" fmla="*/ 154761 h 609800"/>
              <a:gd name="connsiteX1708" fmla="*/ 475833 w 12248682"/>
              <a:gd name="connsiteY1708" fmla="*/ 195185 h 609800"/>
              <a:gd name="connsiteX1709" fmla="*/ 435411 w 12248682"/>
              <a:gd name="connsiteY1709" fmla="*/ 235607 h 609800"/>
              <a:gd name="connsiteX1710" fmla="*/ 394988 w 12248682"/>
              <a:gd name="connsiteY1710" fmla="*/ 195185 h 609800"/>
              <a:gd name="connsiteX1711" fmla="*/ 435411 w 12248682"/>
              <a:gd name="connsiteY1711" fmla="*/ 154761 h 609800"/>
              <a:gd name="connsiteX1712" fmla="*/ 11008282 w 12248682"/>
              <a:gd name="connsiteY1712" fmla="*/ 144368 h 609800"/>
              <a:gd name="connsiteX1713" fmla="*/ 11059099 w 12248682"/>
              <a:gd name="connsiteY1713" fmla="*/ 195185 h 609800"/>
              <a:gd name="connsiteX1714" fmla="*/ 11008282 w 12248682"/>
              <a:gd name="connsiteY1714" fmla="*/ 246002 h 609800"/>
              <a:gd name="connsiteX1715" fmla="*/ 10957465 w 12248682"/>
              <a:gd name="connsiteY1715" fmla="*/ 195185 h 609800"/>
              <a:gd name="connsiteX1716" fmla="*/ 11008282 w 12248682"/>
              <a:gd name="connsiteY1716" fmla="*/ 144368 h 609800"/>
              <a:gd name="connsiteX1717" fmla="*/ 9924954 w 12248682"/>
              <a:gd name="connsiteY1717" fmla="*/ 144368 h 609800"/>
              <a:gd name="connsiteX1718" fmla="*/ 9975771 w 12248682"/>
              <a:gd name="connsiteY1718" fmla="*/ 195185 h 609800"/>
              <a:gd name="connsiteX1719" fmla="*/ 9924954 w 12248682"/>
              <a:gd name="connsiteY1719" fmla="*/ 246002 h 609800"/>
              <a:gd name="connsiteX1720" fmla="*/ 9874137 w 12248682"/>
              <a:gd name="connsiteY1720" fmla="*/ 195185 h 609800"/>
              <a:gd name="connsiteX1721" fmla="*/ 9924954 w 12248682"/>
              <a:gd name="connsiteY1721" fmla="*/ 144368 h 609800"/>
              <a:gd name="connsiteX1722" fmla="*/ 9788672 w 12248682"/>
              <a:gd name="connsiteY1722" fmla="*/ 144368 h 609800"/>
              <a:gd name="connsiteX1723" fmla="*/ 9839489 w 12248682"/>
              <a:gd name="connsiteY1723" fmla="*/ 195185 h 609800"/>
              <a:gd name="connsiteX1724" fmla="*/ 9788672 w 12248682"/>
              <a:gd name="connsiteY1724" fmla="*/ 246002 h 609800"/>
              <a:gd name="connsiteX1725" fmla="*/ 9737854 w 12248682"/>
              <a:gd name="connsiteY1725" fmla="*/ 195185 h 609800"/>
              <a:gd name="connsiteX1726" fmla="*/ 9788672 w 12248682"/>
              <a:gd name="connsiteY1726" fmla="*/ 144368 h 609800"/>
              <a:gd name="connsiteX1727" fmla="*/ 8705894 w 12248682"/>
              <a:gd name="connsiteY1727" fmla="*/ 144368 h 609800"/>
              <a:gd name="connsiteX1728" fmla="*/ 8756711 w 12248682"/>
              <a:gd name="connsiteY1728" fmla="*/ 195185 h 609800"/>
              <a:gd name="connsiteX1729" fmla="*/ 8705894 w 12248682"/>
              <a:gd name="connsiteY1729" fmla="*/ 246002 h 609800"/>
              <a:gd name="connsiteX1730" fmla="*/ 8655077 w 12248682"/>
              <a:gd name="connsiteY1730" fmla="*/ 195185 h 609800"/>
              <a:gd name="connsiteX1731" fmla="*/ 8705894 w 12248682"/>
              <a:gd name="connsiteY1731" fmla="*/ 144368 h 609800"/>
              <a:gd name="connsiteX1732" fmla="*/ 6402956 w 12248682"/>
              <a:gd name="connsiteY1732" fmla="*/ 144368 h 609800"/>
              <a:gd name="connsiteX1733" fmla="*/ 6453773 w 12248682"/>
              <a:gd name="connsiteY1733" fmla="*/ 195185 h 609800"/>
              <a:gd name="connsiteX1734" fmla="*/ 6402956 w 12248682"/>
              <a:gd name="connsiteY1734" fmla="*/ 246002 h 609800"/>
              <a:gd name="connsiteX1735" fmla="*/ 6352139 w 12248682"/>
              <a:gd name="connsiteY1735" fmla="*/ 195185 h 609800"/>
              <a:gd name="connsiteX1736" fmla="*/ 6402956 w 12248682"/>
              <a:gd name="connsiteY1736" fmla="*/ 144368 h 609800"/>
              <a:gd name="connsiteX1737" fmla="*/ 5319628 w 12248682"/>
              <a:gd name="connsiteY1737" fmla="*/ 144368 h 609800"/>
              <a:gd name="connsiteX1738" fmla="*/ 5370444 w 12248682"/>
              <a:gd name="connsiteY1738" fmla="*/ 195185 h 609800"/>
              <a:gd name="connsiteX1739" fmla="*/ 5319628 w 12248682"/>
              <a:gd name="connsiteY1739" fmla="*/ 246002 h 609800"/>
              <a:gd name="connsiteX1740" fmla="*/ 5268810 w 12248682"/>
              <a:gd name="connsiteY1740" fmla="*/ 195185 h 609800"/>
              <a:gd name="connsiteX1741" fmla="*/ 5319628 w 12248682"/>
              <a:gd name="connsiteY1741" fmla="*/ 144368 h 609800"/>
              <a:gd name="connsiteX1742" fmla="*/ 5183346 w 12248682"/>
              <a:gd name="connsiteY1742" fmla="*/ 144368 h 609800"/>
              <a:gd name="connsiteX1743" fmla="*/ 5234162 w 12248682"/>
              <a:gd name="connsiteY1743" fmla="*/ 195185 h 609800"/>
              <a:gd name="connsiteX1744" fmla="*/ 5183346 w 12248682"/>
              <a:gd name="connsiteY1744" fmla="*/ 246002 h 609800"/>
              <a:gd name="connsiteX1745" fmla="*/ 5132528 w 12248682"/>
              <a:gd name="connsiteY1745" fmla="*/ 195185 h 609800"/>
              <a:gd name="connsiteX1746" fmla="*/ 5183346 w 12248682"/>
              <a:gd name="connsiteY1746" fmla="*/ 144368 h 609800"/>
              <a:gd name="connsiteX1747" fmla="*/ 4093087 w 12248682"/>
              <a:gd name="connsiteY1747" fmla="*/ 144368 h 609800"/>
              <a:gd name="connsiteX1748" fmla="*/ 4143904 w 12248682"/>
              <a:gd name="connsiteY1748" fmla="*/ 195185 h 609800"/>
              <a:gd name="connsiteX1749" fmla="*/ 4093087 w 12248682"/>
              <a:gd name="connsiteY1749" fmla="*/ 246002 h 609800"/>
              <a:gd name="connsiteX1750" fmla="*/ 4042270 w 12248682"/>
              <a:gd name="connsiteY1750" fmla="*/ 195185 h 609800"/>
              <a:gd name="connsiteX1751" fmla="*/ 4093087 w 12248682"/>
              <a:gd name="connsiteY1751" fmla="*/ 144368 h 609800"/>
              <a:gd name="connsiteX1752" fmla="*/ 1790148 w 12248682"/>
              <a:gd name="connsiteY1752" fmla="*/ 144368 h 609800"/>
              <a:gd name="connsiteX1753" fmla="*/ 1840965 w 12248682"/>
              <a:gd name="connsiteY1753" fmla="*/ 195185 h 609800"/>
              <a:gd name="connsiteX1754" fmla="*/ 1790148 w 12248682"/>
              <a:gd name="connsiteY1754" fmla="*/ 246002 h 609800"/>
              <a:gd name="connsiteX1755" fmla="*/ 1739331 w 12248682"/>
              <a:gd name="connsiteY1755" fmla="*/ 195185 h 609800"/>
              <a:gd name="connsiteX1756" fmla="*/ 1790148 w 12248682"/>
              <a:gd name="connsiteY1756" fmla="*/ 144368 h 609800"/>
              <a:gd name="connsiteX1757" fmla="*/ 706820 w 12248682"/>
              <a:gd name="connsiteY1757" fmla="*/ 144368 h 609800"/>
              <a:gd name="connsiteX1758" fmla="*/ 757637 w 12248682"/>
              <a:gd name="connsiteY1758" fmla="*/ 195185 h 609800"/>
              <a:gd name="connsiteX1759" fmla="*/ 706820 w 12248682"/>
              <a:gd name="connsiteY1759" fmla="*/ 246002 h 609800"/>
              <a:gd name="connsiteX1760" fmla="*/ 656003 w 12248682"/>
              <a:gd name="connsiteY1760" fmla="*/ 195185 h 609800"/>
              <a:gd name="connsiteX1761" fmla="*/ 706820 w 12248682"/>
              <a:gd name="connsiteY1761" fmla="*/ 144368 h 609800"/>
              <a:gd name="connsiteX1762" fmla="*/ 570538 w 12248682"/>
              <a:gd name="connsiteY1762" fmla="*/ 144368 h 609800"/>
              <a:gd name="connsiteX1763" fmla="*/ 621355 w 12248682"/>
              <a:gd name="connsiteY1763" fmla="*/ 195185 h 609800"/>
              <a:gd name="connsiteX1764" fmla="*/ 570538 w 12248682"/>
              <a:gd name="connsiteY1764" fmla="*/ 246002 h 609800"/>
              <a:gd name="connsiteX1765" fmla="*/ 519721 w 12248682"/>
              <a:gd name="connsiteY1765" fmla="*/ 195185 h 609800"/>
              <a:gd name="connsiteX1766" fmla="*/ 570538 w 12248682"/>
              <a:gd name="connsiteY1766" fmla="*/ 144368 h 609800"/>
              <a:gd name="connsiteX1767" fmla="*/ 12180541 w 12248682"/>
              <a:gd name="connsiteY1767" fmla="*/ 31184 h 609800"/>
              <a:gd name="connsiteX1768" fmla="*/ 12201330 w 12248682"/>
              <a:gd name="connsiteY1768" fmla="*/ 51973 h 609800"/>
              <a:gd name="connsiteX1769" fmla="*/ 12180541 w 12248682"/>
              <a:gd name="connsiteY1769" fmla="*/ 72762 h 609800"/>
              <a:gd name="connsiteX1770" fmla="*/ 12159752 w 12248682"/>
              <a:gd name="connsiteY1770" fmla="*/ 51973 h 609800"/>
              <a:gd name="connsiteX1771" fmla="*/ 12180541 w 12248682"/>
              <a:gd name="connsiteY1771" fmla="*/ 31184 h 609800"/>
              <a:gd name="connsiteX1772" fmla="*/ 12040793 w 12248682"/>
              <a:gd name="connsiteY1772" fmla="*/ 31184 h 609800"/>
              <a:gd name="connsiteX1773" fmla="*/ 12061582 w 12248682"/>
              <a:gd name="connsiteY1773" fmla="*/ 51973 h 609800"/>
              <a:gd name="connsiteX1774" fmla="*/ 12040793 w 12248682"/>
              <a:gd name="connsiteY1774" fmla="*/ 72762 h 609800"/>
              <a:gd name="connsiteX1775" fmla="*/ 12020004 w 12248682"/>
              <a:gd name="connsiteY1775" fmla="*/ 51973 h 609800"/>
              <a:gd name="connsiteX1776" fmla="*/ 12040793 w 12248682"/>
              <a:gd name="connsiteY1776" fmla="*/ 31184 h 609800"/>
              <a:gd name="connsiteX1777" fmla="*/ 11901047 w 12248682"/>
              <a:gd name="connsiteY1777" fmla="*/ 31184 h 609800"/>
              <a:gd name="connsiteX1778" fmla="*/ 11921836 w 12248682"/>
              <a:gd name="connsiteY1778" fmla="*/ 51973 h 609800"/>
              <a:gd name="connsiteX1779" fmla="*/ 11901047 w 12248682"/>
              <a:gd name="connsiteY1779" fmla="*/ 72762 h 609800"/>
              <a:gd name="connsiteX1780" fmla="*/ 11880258 w 12248682"/>
              <a:gd name="connsiteY1780" fmla="*/ 51973 h 609800"/>
              <a:gd name="connsiteX1781" fmla="*/ 11901047 w 12248682"/>
              <a:gd name="connsiteY1781" fmla="*/ 31184 h 609800"/>
              <a:gd name="connsiteX1782" fmla="*/ 11761299 w 12248682"/>
              <a:gd name="connsiteY1782" fmla="*/ 31184 h 609800"/>
              <a:gd name="connsiteX1783" fmla="*/ 11782088 w 12248682"/>
              <a:gd name="connsiteY1783" fmla="*/ 51973 h 609800"/>
              <a:gd name="connsiteX1784" fmla="*/ 11761299 w 12248682"/>
              <a:gd name="connsiteY1784" fmla="*/ 72762 h 609800"/>
              <a:gd name="connsiteX1785" fmla="*/ 11740510 w 12248682"/>
              <a:gd name="connsiteY1785" fmla="*/ 51973 h 609800"/>
              <a:gd name="connsiteX1786" fmla="*/ 11761299 w 12248682"/>
              <a:gd name="connsiteY1786" fmla="*/ 31184 h 609800"/>
              <a:gd name="connsiteX1787" fmla="*/ 11621553 w 12248682"/>
              <a:gd name="connsiteY1787" fmla="*/ 31184 h 609800"/>
              <a:gd name="connsiteX1788" fmla="*/ 11642342 w 12248682"/>
              <a:gd name="connsiteY1788" fmla="*/ 51973 h 609800"/>
              <a:gd name="connsiteX1789" fmla="*/ 11621553 w 12248682"/>
              <a:gd name="connsiteY1789" fmla="*/ 72762 h 609800"/>
              <a:gd name="connsiteX1790" fmla="*/ 11600764 w 12248682"/>
              <a:gd name="connsiteY1790" fmla="*/ 51973 h 609800"/>
              <a:gd name="connsiteX1791" fmla="*/ 11621553 w 12248682"/>
              <a:gd name="connsiteY1791" fmla="*/ 31184 h 609800"/>
              <a:gd name="connsiteX1792" fmla="*/ 11481805 w 12248682"/>
              <a:gd name="connsiteY1792" fmla="*/ 31184 h 609800"/>
              <a:gd name="connsiteX1793" fmla="*/ 11502594 w 12248682"/>
              <a:gd name="connsiteY1793" fmla="*/ 51973 h 609800"/>
              <a:gd name="connsiteX1794" fmla="*/ 11481805 w 12248682"/>
              <a:gd name="connsiteY1794" fmla="*/ 72762 h 609800"/>
              <a:gd name="connsiteX1795" fmla="*/ 11461016 w 12248682"/>
              <a:gd name="connsiteY1795" fmla="*/ 51973 h 609800"/>
              <a:gd name="connsiteX1796" fmla="*/ 11481805 w 12248682"/>
              <a:gd name="connsiteY1796" fmla="*/ 31184 h 609800"/>
              <a:gd name="connsiteX1797" fmla="*/ 10644478 w 12248682"/>
              <a:gd name="connsiteY1797" fmla="*/ 31184 h 609800"/>
              <a:gd name="connsiteX1798" fmla="*/ 10665267 w 12248682"/>
              <a:gd name="connsiteY1798" fmla="*/ 51973 h 609800"/>
              <a:gd name="connsiteX1799" fmla="*/ 10644478 w 12248682"/>
              <a:gd name="connsiteY1799" fmla="*/ 72762 h 609800"/>
              <a:gd name="connsiteX1800" fmla="*/ 10623690 w 12248682"/>
              <a:gd name="connsiteY1800" fmla="*/ 51973 h 609800"/>
              <a:gd name="connsiteX1801" fmla="*/ 10644478 w 12248682"/>
              <a:gd name="connsiteY1801" fmla="*/ 31184 h 609800"/>
              <a:gd name="connsiteX1802" fmla="*/ 10504731 w 12248682"/>
              <a:gd name="connsiteY1802" fmla="*/ 31184 h 609800"/>
              <a:gd name="connsiteX1803" fmla="*/ 10525520 w 12248682"/>
              <a:gd name="connsiteY1803" fmla="*/ 51973 h 609800"/>
              <a:gd name="connsiteX1804" fmla="*/ 10504731 w 12248682"/>
              <a:gd name="connsiteY1804" fmla="*/ 72762 h 609800"/>
              <a:gd name="connsiteX1805" fmla="*/ 10483942 w 12248682"/>
              <a:gd name="connsiteY1805" fmla="*/ 51973 h 609800"/>
              <a:gd name="connsiteX1806" fmla="*/ 10504731 w 12248682"/>
              <a:gd name="connsiteY1806" fmla="*/ 31184 h 609800"/>
              <a:gd name="connsiteX1807" fmla="*/ 10364984 w 12248682"/>
              <a:gd name="connsiteY1807" fmla="*/ 31184 h 609800"/>
              <a:gd name="connsiteX1808" fmla="*/ 10385773 w 12248682"/>
              <a:gd name="connsiteY1808" fmla="*/ 51973 h 609800"/>
              <a:gd name="connsiteX1809" fmla="*/ 10364984 w 12248682"/>
              <a:gd name="connsiteY1809" fmla="*/ 72762 h 609800"/>
              <a:gd name="connsiteX1810" fmla="*/ 10344196 w 12248682"/>
              <a:gd name="connsiteY1810" fmla="*/ 51973 h 609800"/>
              <a:gd name="connsiteX1811" fmla="*/ 10364984 w 12248682"/>
              <a:gd name="connsiteY1811" fmla="*/ 31184 h 609800"/>
              <a:gd name="connsiteX1812" fmla="*/ 7854709 w 12248682"/>
              <a:gd name="connsiteY1812" fmla="*/ 31184 h 609800"/>
              <a:gd name="connsiteX1813" fmla="*/ 7875498 w 12248682"/>
              <a:gd name="connsiteY1813" fmla="*/ 51973 h 609800"/>
              <a:gd name="connsiteX1814" fmla="*/ 7854709 w 12248682"/>
              <a:gd name="connsiteY1814" fmla="*/ 72762 h 609800"/>
              <a:gd name="connsiteX1815" fmla="*/ 7833921 w 12248682"/>
              <a:gd name="connsiteY1815" fmla="*/ 51973 h 609800"/>
              <a:gd name="connsiteX1816" fmla="*/ 7854709 w 12248682"/>
              <a:gd name="connsiteY1816" fmla="*/ 31184 h 609800"/>
              <a:gd name="connsiteX1817" fmla="*/ 7714960 w 12248682"/>
              <a:gd name="connsiteY1817" fmla="*/ 31184 h 609800"/>
              <a:gd name="connsiteX1818" fmla="*/ 7735749 w 12248682"/>
              <a:gd name="connsiteY1818" fmla="*/ 51973 h 609800"/>
              <a:gd name="connsiteX1819" fmla="*/ 7714960 w 12248682"/>
              <a:gd name="connsiteY1819" fmla="*/ 72762 h 609800"/>
              <a:gd name="connsiteX1820" fmla="*/ 7694172 w 12248682"/>
              <a:gd name="connsiteY1820" fmla="*/ 51973 h 609800"/>
              <a:gd name="connsiteX1821" fmla="*/ 7714960 w 12248682"/>
              <a:gd name="connsiteY1821" fmla="*/ 31184 h 609800"/>
              <a:gd name="connsiteX1822" fmla="*/ 7575214 w 12248682"/>
              <a:gd name="connsiteY1822" fmla="*/ 31184 h 609800"/>
              <a:gd name="connsiteX1823" fmla="*/ 7596004 w 12248682"/>
              <a:gd name="connsiteY1823" fmla="*/ 51973 h 609800"/>
              <a:gd name="connsiteX1824" fmla="*/ 7575214 w 12248682"/>
              <a:gd name="connsiteY1824" fmla="*/ 72762 h 609800"/>
              <a:gd name="connsiteX1825" fmla="*/ 7554427 w 12248682"/>
              <a:gd name="connsiteY1825" fmla="*/ 51973 h 609800"/>
              <a:gd name="connsiteX1826" fmla="*/ 7575214 w 12248682"/>
              <a:gd name="connsiteY1826" fmla="*/ 31184 h 609800"/>
              <a:gd name="connsiteX1827" fmla="*/ 7435467 w 12248682"/>
              <a:gd name="connsiteY1827" fmla="*/ 31184 h 609800"/>
              <a:gd name="connsiteX1828" fmla="*/ 7456257 w 12248682"/>
              <a:gd name="connsiteY1828" fmla="*/ 51973 h 609800"/>
              <a:gd name="connsiteX1829" fmla="*/ 7435467 w 12248682"/>
              <a:gd name="connsiteY1829" fmla="*/ 72762 h 609800"/>
              <a:gd name="connsiteX1830" fmla="*/ 7414678 w 12248682"/>
              <a:gd name="connsiteY1830" fmla="*/ 51973 h 609800"/>
              <a:gd name="connsiteX1831" fmla="*/ 7435467 w 12248682"/>
              <a:gd name="connsiteY1831" fmla="*/ 31184 h 609800"/>
              <a:gd name="connsiteX1832" fmla="*/ 7295720 w 12248682"/>
              <a:gd name="connsiteY1832" fmla="*/ 31184 h 609800"/>
              <a:gd name="connsiteX1833" fmla="*/ 7316509 w 12248682"/>
              <a:gd name="connsiteY1833" fmla="*/ 51973 h 609800"/>
              <a:gd name="connsiteX1834" fmla="*/ 7295720 w 12248682"/>
              <a:gd name="connsiteY1834" fmla="*/ 72762 h 609800"/>
              <a:gd name="connsiteX1835" fmla="*/ 7274932 w 12248682"/>
              <a:gd name="connsiteY1835" fmla="*/ 51973 h 609800"/>
              <a:gd name="connsiteX1836" fmla="*/ 7295720 w 12248682"/>
              <a:gd name="connsiteY1836" fmla="*/ 31184 h 609800"/>
              <a:gd name="connsiteX1837" fmla="*/ 7155974 w 12248682"/>
              <a:gd name="connsiteY1837" fmla="*/ 31184 h 609800"/>
              <a:gd name="connsiteX1838" fmla="*/ 7176762 w 12248682"/>
              <a:gd name="connsiteY1838" fmla="*/ 51973 h 609800"/>
              <a:gd name="connsiteX1839" fmla="*/ 7155974 w 12248682"/>
              <a:gd name="connsiteY1839" fmla="*/ 72762 h 609800"/>
              <a:gd name="connsiteX1840" fmla="*/ 7135183 w 12248682"/>
              <a:gd name="connsiteY1840" fmla="*/ 51973 h 609800"/>
              <a:gd name="connsiteX1841" fmla="*/ 7155974 w 12248682"/>
              <a:gd name="connsiteY1841" fmla="*/ 31184 h 609800"/>
              <a:gd name="connsiteX1842" fmla="*/ 7016227 w 12248682"/>
              <a:gd name="connsiteY1842" fmla="*/ 31184 h 609800"/>
              <a:gd name="connsiteX1843" fmla="*/ 7037016 w 12248682"/>
              <a:gd name="connsiteY1843" fmla="*/ 51973 h 609800"/>
              <a:gd name="connsiteX1844" fmla="*/ 7016227 w 12248682"/>
              <a:gd name="connsiteY1844" fmla="*/ 72762 h 609800"/>
              <a:gd name="connsiteX1845" fmla="*/ 6995438 w 12248682"/>
              <a:gd name="connsiteY1845" fmla="*/ 51973 h 609800"/>
              <a:gd name="connsiteX1846" fmla="*/ 7016227 w 12248682"/>
              <a:gd name="connsiteY1846" fmla="*/ 31184 h 609800"/>
              <a:gd name="connsiteX1847" fmla="*/ 6877634 w 12248682"/>
              <a:gd name="connsiteY1847" fmla="*/ 31184 h 609800"/>
              <a:gd name="connsiteX1848" fmla="*/ 6898424 w 12248682"/>
              <a:gd name="connsiteY1848" fmla="*/ 51973 h 609800"/>
              <a:gd name="connsiteX1849" fmla="*/ 6877634 w 12248682"/>
              <a:gd name="connsiteY1849" fmla="*/ 72762 h 609800"/>
              <a:gd name="connsiteX1850" fmla="*/ 6856845 w 12248682"/>
              <a:gd name="connsiteY1850" fmla="*/ 51973 h 609800"/>
              <a:gd name="connsiteX1851" fmla="*/ 6877634 w 12248682"/>
              <a:gd name="connsiteY1851" fmla="*/ 31184 h 609800"/>
              <a:gd name="connsiteX1852" fmla="*/ 6039151 w 12248682"/>
              <a:gd name="connsiteY1852" fmla="*/ 31184 h 609800"/>
              <a:gd name="connsiteX1853" fmla="*/ 6059942 w 12248682"/>
              <a:gd name="connsiteY1853" fmla="*/ 51973 h 609800"/>
              <a:gd name="connsiteX1854" fmla="*/ 6039151 w 12248682"/>
              <a:gd name="connsiteY1854" fmla="*/ 72762 h 609800"/>
              <a:gd name="connsiteX1855" fmla="*/ 6018363 w 12248682"/>
              <a:gd name="connsiteY1855" fmla="*/ 51973 h 609800"/>
              <a:gd name="connsiteX1856" fmla="*/ 6039151 w 12248682"/>
              <a:gd name="connsiteY1856" fmla="*/ 31184 h 609800"/>
              <a:gd name="connsiteX1857" fmla="*/ 5899406 w 12248682"/>
              <a:gd name="connsiteY1857" fmla="*/ 31184 h 609800"/>
              <a:gd name="connsiteX1858" fmla="*/ 5920193 w 12248682"/>
              <a:gd name="connsiteY1858" fmla="*/ 51973 h 609800"/>
              <a:gd name="connsiteX1859" fmla="*/ 5899406 w 12248682"/>
              <a:gd name="connsiteY1859" fmla="*/ 72762 h 609800"/>
              <a:gd name="connsiteX1860" fmla="*/ 5878616 w 12248682"/>
              <a:gd name="connsiteY1860" fmla="*/ 51973 h 609800"/>
              <a:gd name="connsiteX1861" fmla="*/ 5899406 w 12248682"/>
              <a:gd name="connsiteY1861" fmla="*/ 31184 h 609800"/>
              <a:gd name="connsiteX1862" fmla="*/ 5759658 w 12248682"/>
              <a:gd name="connsiteY1862" fmla="*/ 31184 h 609800"/>
              <a:gd name="connsiteX1863" fmla="*/ 5780448 w 12248682"/>
              <a:gd name="connsiteY1863" fmla="*/ 51973 h 609800"/>
              <a:gd name="connsiteX1864" fmla="*/ 5759658 w 12248682"/>
              <a:gd name="connsiteY1864" fmla="*/ 72762 h 609800"/>
              <a:gd name="connsiteX1865" fmla="*/ 5738869 w 12248682"/>
              <a:gd name="connsiteY1865" fmla="*/ 51973 h 609800"/>
              <a:gd name="connsiteX1866" fmla="*/ 5759658 w 12248682"/>
              <a:gd name="connsiteY1866" fmla="*/ 31184 h 609800"/>
              <a:gd name="connsiteX1867" fmla="*/ 3241901 w 12248682"/>
              <a:gd name="connsiteY1867" fmla="*/ 31184 h 609800"/>
              <a:gd name="connsiteX1868" fmla="*/ 3262690 w 12248682"/>
              <a:gd name="connsiteY1868" fmla="*/ 51973 h 609800"/>
              <a:gd name="connsiteX1869" fmla="*/ 3241901 w 12248682"/>
              <a:gd name="connsiteY1869" fmla="*/ 72762 h 609800"/>
              <a:gd name="connsiteX1870" fmla="*/ 3221112 w 12248682"/>
              <a:gd name="connsiteY1870" fmla="*/ 51973 h 609800"/>
              <a:gd name="connsiteX1871" fmla="*/ 3241901 w 12248682"/>
              <a:gd name="connsiteY1871" fmla="*/ 31184 h 609800"/>
              <a:gd name="connsiteX1872" fmla="*/ 3102153 w 12248682"/>
              <a:gd name="connsiteY1872" fmla="*/ 31184 h 609800"/>
              <a:gd name="connsiteX1873" fmla="*/ 3122942 w 12248682"/>
              <a:gd name="connsiteY1873" fmla="*/ 51973 h 609800"/>
              <a:gd name="connsiteX1874" fmla="*/ 3102153 w 12248682"/>
              <a:gd name="connsiteY1874" fmla="*/ 72762 h 609800"/>
              <a:gd name="connsiteX1875" fmla="*/ 3081365 w 12248682"/>
              <a:gd name="connsiteY1875" fmla="*/ 51973 h 609800"/>
              <a:gd name="connsiteX1876" fmla="*/ 3102153 w 12248682"/>
              <a:gd name="connsiteY1876" fmla="*/ 31184 h 609800"/>
              <a:gd name="connsiteX1877" fmla="*/ 2962407 w 12248682"/>
              <a:gd name="connsiteY1877" fmla="*/ 31184 h 609800"/>
              <a:gd name="connsiteX1878" fmla="*/ 2983196 w 12248682"/>
              <a:gd name="connsiteY1878" fmla="*/ 51973 h 609800"/>
              <a:gd name="connsiteX1879" fmla="*/ 2962407 w 12248682"/>
              <a:gd name="connsiteY1879" fmla="*/ 72762 h 609800"/>
              <a:gd name="connsiteX1880" fmla="*/ 2941618 w 12248682"/>
              <a:gd name="connsiteY1880" fmla="*/ 51973 h 609800"/>
              <a:gd name="connsiteX1881" fmla="*/ 2962407 w 12248682"/>
              <a:gd name="connsiteY1881" fmla="*/ 31184 h 609800"/>
              <a:gd name="connsiteX1882" fmla="*/ 2822659 w 12248682"/>
              <a:gd name="connsiteY1882" fmla="*/ 31184 h 609800"/>
              <a:gd name="connsiteX1883" fmla="*/ 2843448 w 12248682"/>
              <a:gd name="connsiteY1883" fmla="*/ 51973 h 609800"/>
              <a:gd name="connsiteX1884" fmla="*/ 2822659 w 12248682"/>
              <a:gd name="connsiteY1884" fmla="*/ 72762 h 609800"/>
              <a:gd name="connsiteX1885" fmla="*/ 2801871 w 12248682"/>
              <a:gd name="connsiteY1885" fmla="*/ 51973 h 609800"/>
              <a:gd name="connsiteX1886" fmla="*/ 2822659 w 12248682"/>
              <a:gd name="connsiteY1886" fmla="*/ 31184 h 609800"/>
              <a:gd name="connsiteX1887" fmla="*/ 2682913 w 12248682"/>
              <a:gd name="connsiteY1887" fmla="*/ 31184 h 609800"/>
              <a:gd name="connsiteX1888" fmla="*/ 2703702 w 12248682"/>
              <a:gd name="connsiteY1888" fmla="*/ 51973 h 609800"/>
              <a:gd name="connsiteX1889" fmla="*/ 2682913 w 12248682"/>
              <a:gd name="connsiteY1889" fmla="*/ 72762 h 609800"/>
              <a:gd name="connsiteX1890" fmla="*/ 2662124 w 12248682"/>
              <a:gd name="connsiteY1890" fmla="*/ 51973 h 609800"/>
              <a:gd name="connsiteX1891" fmla="*/ 2682913 w 12248682"/>
              <a:gd name="connsiteY1891" fmla="*/ 31184 h 609800"/>
              <a:gd name="connsiteX1892" fmla="*/ 2543167 w 12248682"/>
              <a:gd name="connsiteY1892" fmla="*/ 31184 h 609800"/>
              <a:gd name="connsiteX1893" fmla="*/ 2563954 w 12248682"/>
              <a:gd name="connsiteY1893" fmla="*/ 51973 h 609800"/>
              <a:gd name="connsiteX1894" fmla="*/ 2543167 w 12248682"/>
              <a:gd name="connsiteY1894" fmla="*/ 72762 h 609800"/>
              <a:gd name="connsiteX1895" fmla="*/ 2522376 w 12248682"/>
              <a:gd name="connsiteY1895" fmla="*/ 51973 h 609800"/>
              <a:gd name="connsiteX1896" fmla="*/ 2543167 w 12248682"/>
              <a:gd name="connsiteY1896" fmla="*/ 31184 h 609800"/>
              <a:gd name="connsiteX1897" fmla="*/ 2403419 w 12248682"/>
              <a:gd name="connsiteY1897" fmla="*/ 31184 h 609800"/>
              <a:gd name="connsiteX1898" fmla="*/ 2424209 w 12248682"/>
              <a:gd name="connsiteY1898" fmla="*/ 51973 h 609800"/>
              <a:gd name="connsiteX1899" fmla="*/ 2403419 w 12248682"/>
              <a:gd name="connsiteY1899" fmla="*/ 72762 h 609800"/>
              <a:gd name="connsiteX1900" fmla="*/ 2382630 w 12248682"/>
              <a:gd name="connsiteY1900" fmla="*/ 51973 h 609800"/>
              <a:gd name="connsiteX1901" fmla="*/ 2403419 w 12248682"/>
              <a:gd name="connsiteY1901" fmla="*/ 31184 h 609800"/>
              <a:gd name="connsiteX1902" fmla="*/ 2263671 w 12248682"/>
              <a:gd name="connsiteY1902" fmla="*/ 31184 h 609800"/>
              <a:gd name="connsiteX1903" fmla="*/ 2284460 w 12248682"/>
              <a:gd name="connsiteY1903" fmla="*/ 51973 h 609800"/>
              <a:gd name="connsiteX1904" fmla="*/ 2263671 w 12248682"/>
              <a:gd name="connsiteY1904" fmla="*/ 72762 h 609800"/>
              <a:gd name="connsiteX1905" fmla="*/ 2242883 w 12248682"/>
              <a:gd name="connsiteY1905" fmla="*/ 51973 h 609800"/>
              <a:gd name="connsiteX1906" fmla="*/ 2263671 w 12248682"/>
              <a:gd name="connsiteY1906" fmla="*/ 31184 h 609800"/>
              <a:gd name="connsiteX1907" fmla="*/ 1426344 w 12248682"/>
              <a:gd name="connsiteY1907" fmla="*/ 31184 h 609800"/>
              <a:gd name="connsiteX1908" fmla="*/ 1447133 w 12248682"/>
              <a:gd name="connsiteY1908" fmla="*/ 51973 h 609800"/>
              <a:gd name="connsiteX1909" fmla="*/ 1426344 w 12248682"/>
              <a:gd name="connsiteY1909" fmla="*/ 72762 h 609800"/>
              <a:gd name="connsiteX1910" fmla="*/ 1405556 w 12248682"/>
              <a:gd name="connsiteY1910" fmla="*/ 51973 h 609800"/>
              <a:gd name="connsiteX1911" fmla="*/ 1426344 w 12248682"/>
              <a:gd name="connsiteY1911" fmla="*/ 31184 h 609800"/>
              <a:gd name="connsiteX1912" fmla="*/ 1286597 w 12248682"/>
              <a:gd name="connsiteY1912" fmla="*/ 31184 h 609800"/>
              <a:gd name="connsiteX1913" fmla="*/ 1307386 w 12248682"/>
              <a:gd name="connsiteY1913" fmla="*/ 51973 h 609800"/>
              <a:gd name="connsiteX1914" fmla="*/ 1286597 w 12248682"/>
              <a:gd name="connsiteY1914" fmla="*/ 72762 h 609800"/>
              <a:gd name="connsiteX1915" fmla="*/ 1265808 w 12248682"/>
              <a:gd name="connsiteY1915" fmla="*/ 51973 h 609800"/>
              <a:gd name="connsiteX1916" fmla="*/ 1286597 w 12248682"/>
              <a:gd name="connsiteY1916" fmla="*/ 31184 h 609800"/>
              <a:gd name="connsiteX1917" fmla="*/ 1146851 w 12248682"/>
              <a:gd name="connsiteY1917" fmla="*/ 31184 h 609800"/>
              <a:gd name="connsiteX1918" fmla="*/ 1167639 w 12248682"/>
              <a:gd name="connsiteY1918" fmla="*/ 51973 h 609800"/>
              <a:gd name="connsiteX1919" fmla="*/ 1146851 w 12248682"/>
              <a:gd name="connsiteY1919" fmla="*/ 72762 h 609800"/>
              <a:gd name="connsiteX1920" fmla="*/ 1126062 w 12248682"/>
              <a:gd name="connsiteY1920" fmla="*/ 51973 h 609800"/>
              <a:gd name="connsiteX1921" fmla="*/ 1146851 w 12248682"/>
              <a:gd name="connsiteY1921" fmla="*/ 31184 h 609800"/>
              <a:gd name="connsiteX1922" fmla="*/ 11343213 w 12248682"/>
              <a:gd name="connsiteY1922" fmla="*/ 27719 h 609800"/>
              <a:gd name="connsiteX1923" fmla="*/ 11366312 w 12248682"/>
              <a:gd name="connsiteY1923" fmla="*/ 50817 h 609800"/>
              <a:gd name="connsiteX1924" fmla="*/ 11343213 w 12248682"/>
              <a:gd name="connsiteY1924" fmla="*/ 73916 h 609800"/>
              <a:gd name="connsiteX1925" fmla="*/ 11320114 w 12248682"/>
              <a:gd name="connsiteY1925" fmla="*/ 50817 h 609800"/>
              <a:gd name="connsiteX1926" fmla="*/ 11343213 w 12248682"/>
              <a:gd name="connsiteY1926" fmla="*/ 27719 h 609800"/>
              <a:gd name="connsiteX1927" fmla="*/ 10225237 w 12248682"/>
              <a:gd name="connsiteY1927" fmla="*/ 27719 h 609800"/>
              <a:gd name="connsiteX1928" fmla="*/ 10248335 w 12248682"/>
              <a:gd name="connsiteY1928" fmla="*/ 50817 h 609800"/>
              <a:gd name="connsiteX1929" fmla="*/ 10225237 w 12248682"/>
              <a:gd name="connsiteY1929" fmla="*/ 73916 h 609800"/>
              <a:gd name="connsiteX1930" fmla="*/ 10202138 w 12248682"/>
              <a:gd name="connsiteY1930" fmla="*/ 50817 h 609800"/>
              <a:gd name="connsiteX1931" fmla="*/ 10225237 w 12248682"/>
              <a:gd name="connsiteY1931" fmla="*/ 27719 h 609800"/>
              <a:gd name="connsiteX1932" fmla="*/ 9112431 w 12248682"/>
              <a:gd name="connsiteY1932" fmla="*/ 27719 h 609800"/>
              <a:gd name="connsiteX1933" fmla="*/ 9135530 w 12248682"/>
              <a:gd name="connsiteY1933" fmla="*/ 50817 h 609800"/>
              <a:gd name="connsiteX1934" fmla="*/ 9112431 w 12248682"/>
              <a:gd name="connsiteY1934" fmla="*/ 73916 h 609800"/>
              <a:gd name="connsiteX1935" fmla="*/ 9089332 w 12248682"/>
              <a:gd name="connsiteY1935" fmla="*/ 50817 h 609800"/>
              <a:gd name="connsiteX1936" fmla="*/ 9112431 w 12248682"/>
              <a:gd name="connsiteY1936" fmla="*/ 27719 h 609800"/>
              <a:gd name="connsiteX1937" fmla="*/ 7994456 w 12248682"/>
              <a:gd name="connsiteY1937" fmla="*/ 27719 h 609800"/>
              <a:gd name="connsiteX1938" fmla="*/ 8017555 w 12248682"/>
              <a:gd name="connsiteY1938" fmla="*/ 50817 h 609800"/>
              <a:gd name="connsiteX1939" fmla="*/ 7994456 w 12248682"/>
              <a:gd name="connsiteY1939" fmla="*/ 73916 h 609800"/>
              <a:gd name="connsiteX1940" fmla="*/ 7971356 w 12248682"/>
              <a:gd name="connsiteY1940" fmla="*/ 50817 h 609800"/>
              <a:gd name="connsiteX1941" fmla="*/ 7994456 w 12248682"/>
              <a:gd name="connsiteY1941" fmla="*/ 27719 h 609800"/>
              <a:gd name="connsiteX1942" fmla="*/ 6737887 w 12248682"/>
              <a:gd name="connsiteY1942" fmla="*/ 27719 h 609800"/>
              <a:gd name="connsiteX1943" fmla="*/ 6760986 w 12248682"/>
              <a:gd name="connsiteY1943" fmla="*/ 50817 h 609800"/>
              <a:gd name="connsiteX1944" fmla="*/ 6737887 w 12248682"/>
              <a:gd name="connsiteY1944" fmla="*/ 73916 h 609800"/>
              <a:gd name="connsiteX1945" fmla="*/ 6714789 w 12248682"/>
              <a:gd name="connsiteY1945" fmla="*/ 50817 h 609800"/>
              <a:gd name="connsiteX1946" fmla="*/ 6737887 w 12248682"/>
              <a:gd name="connsiteY1946" fmla="*/ 27719 h 609800"/>
              <a:gd name="connsiteX1947" fmla="*/ 5619912 w 12248682"/>
              <a:gd name="connsiteY1947" fmla="*/ 27719 h 609800"/>
              <a:gd name="connsiteX1948" fmla="*/ 5643008 w 12248682"/>
              <a:gd name="connsiteY1948" fmla="*/ 50817 h 609800"/>
              <a:gd name="connsiteX1949" fmla="*/ 5619912 w 12248682"/>
              <a:gd name="connsiteY1949" fmla="*/ 73916 h 609800"/>
              <a:gd name="connsiteX1950" fmla="*/ 5596812 w 12248682"/>
              <a:gd name="connsiteY1950" fmla="*/ 50817 h 609800"/>
              <a:gd name="connsiteX1951" fmla="*/ 5619912 w 12248682"/>
              <a:gd name="connsiteY1951" fmla="*/ 27719 h 609800"/>
              <a:gd name="connsiteX1952" fmla="*/ 4499625 w 12248682"/>
              <a:gd name="connsiteY1952" fmla="*/ 27719 h 609800"/>
              <a:gd name="connsiteX1953" fmla="*/ 4522722 w 12248682"/>
              <a:gd name="connsiteY1953" fmla="*/ 50817 h 609800"/>
              <a:gd name="connsiteX1954" fmla="*/ 4499625 w 12248682"/>
              <a:gd name="connsiteY1954" fmla="*/ 73916 h 609800"/>
              <a:gd name="connsiteX1955" fmla="*/ 4476525 w 12248682"/>
              <a:gd name="connsiteY1955" fmla="*/ 50817 h 609800"/>
              <a:gd name="connsiteX1956" fmla="*/ 4499625 w 12248682"/>
              <a:gd name="connsiteY1956" fmla="*/ 27719 h 609800"/>
              <a:gd name="connsiteX1957" fmla="*/ 3381648 w 12248682"/>
              <a:gd name="connsiteY1957" fmla="*/ 27719 h 609800"/>
              <a:gd name="connsiteX1958" fmla="*/ 3404746 w 12248682"/>
              <a:gd name="connsiteY1958" fmla="*/ 50817 h 609800"/>
              <a:gd name="connsiteX1959" fmla="*/ 3381648 w 12248682"/>
              <a:gd name="connsiteY1959" fmla="*/ 73916 h 609800"/>
              <a:gd name="connsiteX1960" fmla="*/ 3358549 w 12248682"/>
              <a:gd name="connsiteY1960" fmla="*/ 50817 h 609800"/>
              <a:gd name="connsiteX1961" fmla="*/ 3381648 w 12248682"/>
              <a:gd name="connsiteY1961" fmla="*/ 27719 h 609800"/>
              <a:gd name="connsiteX1962" fmla="*/ 2125079 w 12248682"/>
              <a:gd name="connsiteY1962" fmla="*/ 27719 h 609800"/>
              <a:gd name="connsiteX1963" fmla="*/ 2148178 w 12248682"/>
              <a:gd name="connsiteY1963" fmla="*/ 50817 h 609800"/>
              <a:gd name="connsiteX1964" fmla="*/ 2125079 w 12248682"/>
              <a:gd name="connsiteY1964" fmla="*/ 73916 h 609800"/>
              <a:gd name="connsiteX1965" fmla="*/ 2101980 w 12248682"/>
              <a:gd name="connsiteY1965" fmla="*/ 50817 h 609800"/>
              <a:gd name="connsiteX1966" fmla="*/ 2125079 w 12248682"/>
              <a:gd name="connsiteY1966" fmla="*/ 27719 h 609800"/>
              <a:gd name="connsiteX1967" fmla="*/ 1007103 w 12248682"/>
              <a:gd name="connsiteY1967" fmla="*/ 27719 h 609800"/>
              <a:gd name="connsiteX1968" fmla="*/ 1030201 w 12248682"/>
              <a:gd name="connsiteY1968" fmla="*/ 50817 h 609800"/>
              <a:gd name="connsiteX1969" fmla="*/ 1007103 w 12248682"/>
              <a:gd name="connsiteY1969" fmla="*/ 73916 h 609800"/>
              <a:gd name="connsiteX1970" fmla="*/ 984004 w 12248682"/>
              <a:gd name="connsiteY1970" fmla="*/ 50817 h 609800"/>
              <a:gd name="connsiteX1971" fmla="*/ 1007103 w 12248682"/>
              <a:gd name="connsiteY1971" fmla="*/ 27719 h 609800"/>
              <a:gd name="connsiteX1972" fmla="*/ 11203466 w 12248682"/>
              <a:gd name="connsiteY1972" fmla="*/ 21945 h 609800"/>
              <a:gd name="connsiteX1973" fmla="*/ 11232339 w 12248682"/>
              <a:gd name="connsiteY1973" fmla="*/ 50817 h 609800"/>
              <a:gd name="connsiteX1974" fmla="*/ 11203466 w 12248682"/>
              <a:gd name="connsiteY1974" fmla="*/ 79691 h 609800"/>
              <a:gd name="connsiteX1975" fmla="*/ 11174593 w 12248682"/>
              <a:gd name="connsiteY1975" fmla="*/ 50817 h 609800"/>
              <a:gd name="connsiteX1976" fmla="*/ 11203466 w 12248682"/>
              <a:gd name="connsiteY1976" fmla="*/ 21945 h 609800"/>
              <a:gd name="connsiteX1977" fmla="*/ 10085490 w 12248682"/>
              <a:gd name="connsiteY1977" fmla="*/ 21945 h 609800"/>
              <a:gd name="connsiteX1978" fmla="*/ 10114363 w 12248682"/>
              <a:gd name="connsiteY1978" fmla="*/ 51973 h 609800"/>
              <a:gd name="connsiteX1979" fmla="*/ 10085490 w 12248682"/>
              <a:gd name="connsiteY1979" fmla="*/ 80846 h 609800"/>
              <a:gd name="connsiteX1980" fmla="*/ 10056616 w 12248682"/>
              <a:gd name="connsiteY1980" fmla="*/ 50817 h 609800"/>
              <a:gd name="connsiteX1981" fmla="*/ 10085490 w 12248682"/>
              <a:gd name="connsiteY1981" fmla="*/ 21945 h 609800"/>
              <a:gd name="connsiteX1982" fmla="*/ 9247008 w 12248682"/>
              <a:gd name="connsiteY1982" fmla="*/ 21945 h 609800"/>
              <a:gd name="connsiteX1983" fmla="*/ 9275881 w 12248682"/>
              <a:gd name="connsiteY1983" fmla="*/ 50817 h 609800"/>
              <a:gd name="connsiteX1984" fmla="*/ 9247008 w 12248682"/>
              <a:gd name="connsiteY1984" fmla="*/ 80846 h 609800"/>
              <a:gd name="connsiteX1985" fmla="*/ 9218134 w 12248682"/>
              <a:gd name="connsiteY1985" fmla="*/ 50817 h 609800"/>
              <a:gd name="connsiteX1986" fmla="*/ 9247008 w 12248682"/>
              <a:gd name="connsiteY1986" fmla="*/ 21945 h 609800"/>
              <a:gd name="connsiteX1987" fmla="*/ 8972685 w 12248682"/>
              <a:gd name="connsiteY1987" fmla="*/ 21945 h 609800"/>
              <a:gd name="connsiteX1988" fmla="*/ 9001557 w 12248682"/>
              <a:gd name="connsiteY1988" fmla="*/ 50817 h 609800"/>
              <a:gd name="connsiteX1989" fmla="*/ 8972685 w 12248682"/>
              <a:gd name="connsiteY1989" fmla="*/ 79691 h 609800"/>
              <a:gd name="connsiteX1990" fmla="*/ 8943811 w 12248682"/>
              <a:gd name="connsiteY1990" fmla="*/ 50817 h 609800"/>
              <a:gd name="connsiteX1991" fmla="*/ 8972685 w 12248682"/>
              <a:gd name="connsiteY1991" fmla="*/ 21945 h 609800"/>
              <a:gd name="connsiteX1992" fmla="*/ 8134203 w 12248682"/>
              <a:gd name="connsiteY1992" fmla="*/ 21945 h 609800"/>
              <a:gd name="connsiteX1993" fmla="*/ 8163075 w 12248682"/>
              <a:gd name="connsiteY1993" fmla="*/ 50817 h 609800"/>
              <a:gd name="connsiteX1994" fmla="*/ 8134203 w 12248682"/>
              <a:gd name="connsiteY1994" fmla="*/ 79691 h 609800"/>
              <a:gd name="connsiteX1995" fmla="*/ 8105330 w 12248682"/>
              <a:gd name="connsiteY1995" fmla="*/ 50817 h 609800"/>
              <a:gd name="connsiteX1996" fmla="*/ 8134203 w 12248682"/>
              <a:gd name="connsiteY1996" fmla="*/ 21945 h 609800"/>
              <a:gd name="connsiteX1997" fmla="*/ 6598140 w 12248682"/>
              <a:gd name="connsiteY1997" fmla="*/ 21945 h 609800"/>
              <a:gd name="connsiteX1998" fmla="*/ 6627013 w 12248682"/>
              <a:gd name="connsiteY1998" fmla="*/ 50817 h 609800"/>
              <a:gd name="connsiteX1999" fmla="*/ 6598140 w 12248682"/>
              <a:gd name="connsiteY1999" fmla="*/ 79691 h 609800"/>
              <a:gd name="connsiteX2000" fmla="*/ 6569267 w 12248682"/>
              <a:gd name="connsiteY2000" fmla="*/ 50817 h 609800"/>
              <a:gd name="connsiteX2001" fmla="*/ 6598140 w 12248682"/>
              <a:gd name="connsiteY2001" fmla="*/ 21945 h 609800"/>
              <a:gd name="connsiteX2002" fmla="*/ 5480165 w 12248682"/>
              <a:gd name="connsiteY2002" fmla="*/ 21945 h 609800"/>
              <a:gd name="connsiteX2003" fmla="*/ 5509037 w 12248682"/>
              <a:gd name="connsiteY2003" fmla="*/ 50817 h 609800"/>
              <a:gd name="connsiteX2004" fmla="*/ 5480165 w 12248682"/>
              <a:gd name="connsiteY2004" fmla="*/ 79691 h 609800"/>
              <a:gd name="connsiteX2005" fmla="*/ 5451289 w 12248682"/>
              <a:gd name="connsiteY2005" fmla="*/ 50817 h 609800"/>
              <a:gd name="connsiteX2006" fmla="*/ 5480165 w 12248682"/>
              <a:gd name="connsiteY2006" fmla="*/ 21945 h 609800"/>
              <a:gd name="connsiteX2007" fmla="*/ 4641682 w 12248682"/>
              <a:gd name="connsiteY2007" fmla="*/ 21945 h 609800"/>
              <a:gd name="connsiteX2008" fmla="*/ 4670555 w 12248682"/>
              <a:gd name="connsiteY2008" fmla="*/ 50817 h 609800"/>
              <a:gd name="connsiteX2009" fmla="*/ 4641682 w 12248682"/>
              <a:gd name="connsiteY2009" fmla="*/ 79691 h 609800"/>
              <a:gd name="connsiteX2010" fmla="*/ 4612809 w 12248682"/>
              <a:gd name="connsiteY2010" fmla="*/ 50817 h 609800"/>
              <a:gd name="connsiteX2011" fmla="*/ 4641682 w 12248682"/>
              <a:gd name="connsiteY2011" fmla="*/ 21945 h 609800"/>
              <a:gd name="connsiteX2012" fmla="*/ 4359878 w 12248682"/>
              <a:gd name="connsiteY2012" fmla="*/ 21945 h 609800"/>
              <a:gd name="connsiteX2013" fmla="*/ 4388751 w 12248682"/>
              <a:gd name="connsiteY2013" fmla="*/ 50817 h 609800"/>
              <a:gd name="connsiteX2014" fmla="*/ 4359878 w 12248682"/>
              <a:gd name="connsiteY2014" fmla="*/ 79691 h 609800"/>
              <a:gd name="connsiteX2015" fmla="*/ 4331004 w 12248682"/>
              <a:gd name="connsiteY2015" fmla="*/ 50817 h 609800"/>
              <a:gd name="connsiteX2016" fmla="*/ 4359878 w 12248682"/>
              <a:gd name="connsiteY2016" fmla="*/ 21945 h 609800"/>
              <a:gd name="connsiteX2017" fmla="*/ 3521396 w 12248682"/>
              <a:gd name="connsiteY2017" fmla="*/ 21945 h 609800"/>
              <a:gd name="connsiteX2018" fmla="*/ 3550268 w 12248682"/>
              <a:gd name="connsiteY2018" fmla="*/ 50817 h 609800"/>
              <a:gd name="connsiteX2019" fmla="*/ 3521396 w 12248682"/>
              <a:gd name="connsiteY2019" fmla="*/ 79691 h 609800"/>
              <a:gd name="connsiteX2020" fmla="*/ 3492521 w 12248682"/>
              <a:gd name="connsiteY2020" fmla="*/ 50817 h 609800"/>
              <a:gd name="connsiteX2021" fmla="*/ 3521396 w 12248682"/>
              <a:gd name="connsiteY2021" fmla="*/ 21945 h 609800"/>
              <a:gd name="connsiteX2022" fmla="*/ 1985333 w 12248682"/>
              <a:gd name="connsiteY2022" fmla="*/ 21945 h 609800"/>
              <a:gd name="connsiteX2023" fmla="*/ 2014205 w 12248682"/>
              <a:gd name="connsiteY2023" fmla="*/ 50817 h 609800"/>
              <a:gd name="connsiteX2024" fmla="*/ 1985333 w 12248682"/>
              <a:gd name="connsiteY2024" fmla="*/ 79691 h 609800"/>
              <a:gd name="connsiteX2025" fmla="*/ 1956459 w 12248682"/>
              <a:gd name="connsiteY2025" fmla="*/ 50817 h 609800"/>
              <a:gd name="connsiteX2026" fmla="*/ 1985333 w 12248682"/>
              <a:gd name="connsiteY2026" fmla="*/ 21945 h 609800"/>
              <a:gd name="connsiteX2027" fmla="*/ 867356 w 12248682"/>
              <a:gd name="connsiteY2027" fmla="*/ 21945 h 609800"/>
              <a:gd name="connsiteX2028" fmla="*/ 896229 w 12248682"/>
              <a:gd name="connsiteY2028" fmla="*/ 51973 h 609800"/>
              <a:gd name="connsiteX2029" fmla="*/ 867356 w 12248682"/>
              <a:gd name="connsiteY2029" fmla="*/ 80846 h 609800"/>
              <a:gd name="connsiteX2030" fmla="*/ 838482 w 12248682"/>
              <a:gd name="connsiteY2030" fmla="*/ 50817 h 609800"/>
              <a:gd name="connsiteX2031" fmla="*/ 867356 w 12248682"/>
              <a:gd name="connsiteY2031" fmla="*/ 21945 h 609800"/>
              <a:gd name="connsiteX2032" fmla="*/ 28874 w 12248682"/>
              <a:gd name="connsiteY2032" fmla="*/ 21945 h 609800"/>
              <a:gd name="connsiteX2033" fmla="*/ 57747 w 12248682"/>
              <a:gd name="connsiteY2033" fmla="*/ 50817 h 609800"/>
              <a:gd name="connsiteX2034" fmla="*/ 28874 w 12248682"/>
              <a:gd name="connsiteY2034" fmla="*/ 80846 h 609800"/>
              <a:gd name="connsiteX2035" fmla="*/ 0 w 12248682"/>
              <a:gd name="connsiteY2035" fmla="*/ 50817 h 609800"/>
              <a:gd name="connsiteX2036" fmla="*/ 28874 w 12248682"/>
              <a:gd name="connsiteY2036" fmla="*/ 21945 h 609800"/>
              <a:gd name="connsiteX2037" fmla="*/ 11063719 w 12248682"/>
              <a:gd name="connsiteY2037" fmla="*/ 16169 h 609800"/>
              <a:gd name="connsiteX2038" fmla="*/ 11098367 w 12248682"/>
              <a:gd name="connsiteY2038" fmla="*/ 50817 h 609800"/>
              <a:gd name="connsiteX2039" fmla="*/ 11063719 w 12248682"/>
              <a:gd name="connsiteY2039" fmla="*/ 85465 h 609800"/>
              <a:gd name="connsiteX2040" fmla="*/ 11029071 w 12248682"/>
              <a:gd name="connsiteY2040" fmla="*/ 50817 h 609800"/>
              <a:gd name="connsiteX2041" fmla="*/ 11063719 w 12248682"/>
              <a:gd name="connsiteY2041" fmla="*/ 16169 h 609800"/>
              <a:gd name="connsiteX2042" fmla="*/ 9945743 w 12248682"/>
              <a:gd name="connsiteY2042" fmla="*/ 16169 h 609800"/>
              <a:gd name="connsiteX2043" fmla="*/ 9980391 w 12248682"/>
              <a:gd name="connsiteY2043" fmla="*/ 50817 h 609800"/>
              <a:gd name="connsiteX2044" fmla="*/ 9945743 w 12248682"/>
              <a:gd name="connsiteY2044" fmla="*/ 85465 h 609800"/>
              <a:gd name="connsiteX2045" fmla="*/ 9911094 w 12248682"/>
              <a:gd name="connsiteY2045" fmla="*/ 50817 h 609800"/>
              <a:gd name="connsiteX2046" fmla="*/ 9945743 w 12248682"/>
              <a:gd name="connsiteY2046" fmla="*/ 16169 h 609800"/>
              <a:gd name="connsiteX2047" fmla="*/ 9386754 w 12248682"/>
              <a:gd name="connsiteY2047" fmla="*/ 16169 h 609800"/>
              <a:gd name="connsiteX2048" fmla="*/ 9421402 w 12248682"/>
              <a:gd name="connsiteY2048" fmla="*/ 50817 h 609800"/>
              <a:gd name="connsiteX2049" fmla="*/ 9386754 w 12248682"/>
              <a:gd name="connsiteY2049" fmla="*/ 85465 h 609800"/>
              <a:gd name="connsiteX2050" fmla="*/ 9352106 w 12248682"/>
              <a:gd name="connsiteY2050" fmla="*/ 50817 h 609800"/>
              <a:gd name="connsiteX2051" fmla="*/ 9386754 w 12248682"/>
              <a:gd name="connsiteY2051" fmla="*/ 16169 h 609800"/>
              <a:gd name="connsiteX2052" fmla="*/ 8832937 w 12248682"/>
              <a:gd name="connsiteY2052" fmla="*/ 16169 h 609800"/>
              <a:gd name="connsiteX2053" fmla="*/ 8867585 w 12248682"/>
              <a:gd name="connsiteY2053" fmla="*/ 50817 h 609800"/>
              <a:gd name="connsiteX2054" fmla="*/ 8832937 w 12248682"/>
              <a:gd name="connsiteY2054" fmla="*/ 85465 h 609800"/>
              <a:gd name="connsiteX2055" fmla="*/ 8798289 w 12248682"/>
              <a:gd name="connsiteY2055" fmla="*/ 50817 h 609800"/>
              <a:gd name="connsiteX2056" fmla="*/ 8832937 w 12248682"/>
              <a:gd name="connsiteY2056" fmla="*/ 16169 h 609800"/>
              <a:gd name="connsiteX2057" fmla="*/ 8273949 w 12248682"/>
              <a:gd name="connsiteY2057" fmla="*/ 16169 h 609800"/>
              <a:gd name="connsiteX2058" fmla="*/ 8308598 w 12248682"/>
              <a:gd name="connsiteY2058" fmla="*/ 50817 h 609800"/>
              <a:gd name="connsiteX2059" fmla="*/ 8273949 w 12248682"/>
              <a:gd name="connsiteY2059" fmla="*/ 85465 h 609800"/>
              <a:gd name="connsiteX2060" fmla="*/ 8239301 w 12248682"/>
              <a:gd name="connsiteY2060" fmla="*/ 50817 h 609800"/>
              <a:gd name="connsiteX2061" fmla="*/ 8273949 w 12248682"/>
              <a:gd name="connsiteY2061" fmla="*/ 16169 h 609800"/>
              <a:gd name="connsiteX2062" fmla="*/ 6458393 w 12248682"/>
              <a:gd name="connsiteY2062" fmla="*/ 16169 h 609800"/>
              <a:gd name="connsiteX2063" fmla="*/ 6493041 w 12248682"/>
              <a:gd name="connsiteY2063" fmla="*/ 50817 h 609800"/>
              <a:gd name="connsiteX2064" fmla="*/ 6458393 w 12248682"/>
              <a:gd name="connsiteY2064" fmla="*/ 85465 h 609800"/>
              <a:gd name="connsiteX2065" fmla="*/ 6423745 w 12248682"/>
              <a:gd name="connsiteY2065" fmla="*/ 50817 h 609800"/>
              <a:gd name="connsiteX2066" fmla="*/ 6458393 w 12248682"/>
              <a:gd name="connsiteY2066" fmla="*/ 16169 h 609800"/>
              <a:gd name="connsiteX2067" fmla="*/ 5340416 w 12248682"/>
              <a:gd name="connsiteY2067" fmla="*/ 16169 h 609800"/>
              <a:gd name="connsiteX2068" fmla="*/ 5375064 w 12248682"/>
              <a:gd name="connsiteY2068" fmla="*/ 50817 h 609800"/>
              <a:gd name="connsiteX2069" fmla="*/ 5340416 w 12248682"/>
              <a:gd name="connsiteY2069" fmla="*/ 85465 h 609800"/>
              <a:gd name="connsiteX2070" fmla="*/ 5305769 w 12248682"/>
              <a:gd name="connsiteY2070" fmla="*/ 50817 h 609800"/>
              <a:gd name="connsiteX2071" fmla="*/ 5340416 w 12248682"/>
              <a:gd name="connsiteY2071" fmla="*/ 16169 h 609800"/>
              <a:gd name="connsiteX2072" fmla="*/ 4781429 w 12248682"/>
              <a:gd name="connsiteY2072" fmla="*/ 16169 h 609800"/>
              <a:gd name="connsiteX2073" fmla="*/ 4816075 w 12248682"/>
              <a:gd name="connsiteY2073" fmla="*/ 50817 h 609800"/>
              <a:gd name="connsiteX2074" fmla="*/ 4781429 w 12248682"/>
              <a:gd name="connsiteY2074" fmla="*/ 85465 h 609800"/>
              <a:gd name="connsiteX2075" fmla="*/ 4746781 w 12248682"/>
              <a:gd name="connsiteY2075" fmla="*/ 50817 h 609800"/>
              <a:gd name="connsiteX2076" fmla="*/ 4781429 w 12248682"/>
              <a:gd name="connsiteY2076" fmla="*/ 16169 h 609800"/>
              <a:gd name="connsiteX2077" fmla="*/ 4220129 w 12248682"/>
              <a:gd name="connsiteY2077" fmla="*/ 16169 h 609800"/>
              <a:gd name="connsiteX2078" fmla="*/ 4254779 w 12248682"/>
              <a:gd name="connsiteY2078" fmla="*/ 50817 h 609800"/>
              <a:gd name="connsiteX2079" fmla="*/ 4220129 w 12248682"/>
              <a:gd name="connsiteY2079" fmla="*/ 85465 h 609800"/>
              <a:gd name="connsiteX2080" fmla="*/ 4185482 w 12248682"/>
              <a:gd name="connsiteY2080" fmla="*/ 50817 h 609800"/>
              <a:gd name="connsiteX2081" fmla="*/ 4220129 w 12248682"/>
              <a:gd name="connsiteY2081" fmla="*/ 16169 h 609800"/>
              <a:gd name="connsiteX2082" fmla="*/ 3661142 w 12248682"/>
              <a:gd name="connsiteY2082" fmla="*/ 16169 h 609800"/>
              <a:gd name="connsiteX2083" fmla="*/ 3695791 w 12248682"/>
              <a:gd name="connsiteY2083" fmla="*/ 50817 h 609800"/>
              <a:gd name="connsiteX2084" fmla="*/ 3661142 w 12248682"/>
              <a:gd name="connsiteY2084" fmla="*/ 85465 h 609800"/>
              <a:gd name="connsiteX2085" fmla="*/ 3626494 w 12248682"/>
              <a:gd name="connsiteY2085" fmla="*/ 50817 h 609800"/>
              <a:gd name="connsiteX2086" fmla="*/ 3661142 w 12248682"/>
              <a:gd name="connsiteY2086" fmla="*/ 16169 h 609800"/>
              <a:gd name="connsiteX2087" fmla="*/ 1845585 w 12248682"/>
              <a:gd name="connsiteY2087" fmla="*/ 16169 h 609800"/>
              <a:gd name="connsiteX2088" fmla="*/ 1880233 w 12248682"/>
              <a:gd name="connsiteY2088" fmla="*/ 50817 h 609800"/>
              <a:gd name="connsiteX2089" fmla="*/ 1845585 w 12248682"/>
              <a:gd name="connsiteY2089" fmla="*/ 85465 h 609800"/>
              <a:gd name="connsiteX2090" fmla="*/ 1810937 w 12248682"/>
              <a:gd name="connsiteY2090" fmla="*/ 50817 h 609800"/>
              <a:gd name="connsiteX2091" fmla="*/ 1845585 w 12248682"/>
              <a:gd name="connsiteY2091" fmla="*/ 16169 h 609800"/>
              <a:gd name="connsiteX2092" fmla="*/ 727609 w 12248682"/>
              <a:gd name="connsiteY2092" fmla="*/ 16169 h 609800"/>
              <a:gd name="connsiteX2093" fmla="*/ 762257 w 12248682"/>
              <a:gd name="connsiteY2093" fmla="*/ 50817 h 609800"/>
              <a:gd name="connsiteX2094" fmla="*/ 727609 w 12248682"/>
              <a:gd name="connsiteY2094" fmla="*/ 85465 h 609800"/>
              <a:gd name="connsiteX2095" fmla="*/ 692961 w 12248682"/>
              <a:gd name="connsiteY2095" fmla="*/ 50817 h 609800"/>
              <a:gd name="connsiteX2096" fmla="*/ 727609 w 12248682"/>
              <a:gd name="connsiteY2096" fmla="*/ 16169 h 609800"/>
              <a:gd name="connsiteX2097" fmla="*/ 168621 w 12248682"/>
              <a:gd name="connsiteY2097" fmla="*/ 16169 h 609800"/>
              <a:gd name="connsiteX2098" fmla="*/ 203269 w 12248682"/>
              <a:gd name="connsiteY2098" fmla="*/ 50817 h 609800"/>
              <a:gd name="connsiteX2099" fmla="*/ 168621 w 12248682"/>
              <a:gd name="connsiteY2099" fmla="*/ 85465 h 609800"/>
              <a:gd name="connsiteX2100" fmla="*/ 133973 w 12248682"/>
              <a:gd name="connsiteY2100" fmla="*/ 50817 h 609800"/>
              <a:gd name="connsiteX2101" fmla="*/ 168621 w 12248682"/>
              <a:gd name="connsiteY2101" fmla="*/ 16169 h 609800"/>
              <a:gd name="connsiteX2102" fmla="*/ 10923972 w 12248682"/>
              <a:gd name="connsiteY2102" fmla="*/ 10395 h 609800"/>
              <a:gd name="connsiteX2103" fmla="*/ 10964394 w 12248682"/>
              <a:gd name="connsiteY2103" fmla="*/ 50817 h 609800"/>
              <a:gd name="connsiteX2104" fmla="*/ 10923972 w 12248682"/>
              <a:gd name="connsiteY2104" fmla="*/ 91241 h 609800"/>
              <a:gd name="connsiteX2105" fmla="*/ 10883549 w 12248682"/>
              <a:gd name="connsiteY2105" fmla="*/ 50817 h 609800"/>
              <a:gd name="connsiteX2106" fmla="*/ 10923972 w 12248682"/>
              <a:gd name="connsiteY2106" fmla="*/ 10395 h 609800"/>
              <a:gd name="connsiteX2107" fmla="*/ 9805996 w 12248682"/>
              <a:gd name="connsiteY2107" fmla="*/ 10395 h 609800"/>
              <a:gd name="connsiteX2108" fmla="*/ 9846418 w 12248682"/>
              <a:gd name="connsiteY2108" fmla="*/ 51973 h 609800"/>
              <a:gd name="connsiteX2109" fmla="*/ 9805996 w 12248682"/>
              <a:gd name="connsiteY2109" fmla="*/ 92395 h 609800"/>
              <a:gd name="connsiteX2110" fmla="*/ 9765573 w 12248682"/>
              <a:gd name="connsiteY2110" fmla="*/ 50817 h 609800"/>
              <a:gd name="connsiteX2111" fmla="*/ 9805996 w 12248682"/>
              <a:gd name="connsiteY2111" fmla="*/ 10395 h 609800"/>
              <a:gd name="connsiteX2112" fmla="*/ 9526502 w 12248682"/>
              <a:gd name="connsiteY2112" fmla="*/ 10395 h 609800"/>
              <a:gd name="connsiteX2113" fmla="*/ 9566924 w 12248682"/>
              <a:gd name="connsiteY2113" fmla="*/ 51973 h 609800"/>
              <a:gd name="connsiteX2114" fmla="*/ 9526502 w 12248682"/>
              <a:gd name="connsiteY2114" fmla="*/ 92395 h 609800"/>
              <a:gd name="connsiteX2115" fmla="*/ 9486079 w 12248682"/>
              <a:gd name="connsiteY2115" fmla="*/ 50817 h 609800"/>
              <a:gd name="connsiteX2116" fmla="*/ 9526502 w 12248682"/>
              <a:gd name="connsiteY2116" fmla="*/ 10395 h 609800"/>
              <a:gd name="connsiteX2117" fmla="*/ 8693190 w 12248682"/>
              <a:gd name="connsiteY2117" fmla="*/ 10395 h 609800"/>
              <a:gd name="connsiteX2118" fmla="*/ 8733613 w 12248682"/>
              <a:gd name="connsiteY2118" fmla="*/ 50817 h 609800"/>
              <a:gd name="connsiteX2119" fmla="*/ 8693190 w 12248682"/>
              <a:gd name="connsiteY2119" fmla="*/ 91241 h 609800"/>
              <a:gd name="connsiteX2120" fmla="*/ 8652767 w 12248682"/>
              <a:gd name="connsiteY2120" fmla="*/ 50817 h 609800"/>
              <a:gd name="connsiteX2121" fmla="*/ 8693190 w 12248682"/>
              <a:gd name="connsiteY2121" fmla="*/ 10395 h 609800"/>
              <a:gd name="connsiteX2122" fmla="*/ 8413696 w 12248682"/>
              <a:gd name="connsiteY2122" fmla="*/ 10395 h 609800"/>
              <a:gd name="connsiteX2123" fmla="*/ 8454118 w 12248682"/>
              <a:gd name="connsiteY2123" fmla="*/ 50817 h 609800"/>
              <a:gd name="connsiteX2124" fmla="*/ 8413696 w 12248682"/>
              <a:gd name="connsiteY2124" fmla="*/ 91241 h 609800"/>
              <a:gd name="connsiteX2125" fmla="*/ 8373274 w 12248682"/>
              <a:gd name="connsiteY2125" fmla="*/ 50817 h 609800"/>
              <a:gd name="connsiteX2126" fmla="*/ 8413696 w 12248682"/>
              <a:gd name="connsiteY2126" fmla="*/ 10395 h 609800"/>
              <a:gd name="connsiteX2127" fmla="*/ 6318647 w 12248682"/>
              <a:gd name="connsiteY2127" fmla="*/ 10395 h 609800"/>
              <a:gd name="connsiteX2128" fmla="*/ 6359068 w 12248682"/>
              <a:gd name="connsiteY2128" fmla="*/ 50817 h 609800"/>
              <a:gd name="connsiteX2129" fmla="*/ 6318647 w 12248682"/>
              <a:gd name="connsiteY2129" fmla="*/ 91241 h 609800"/>
              <a:gd name="connsiteX2130" fmla="*/ 6278223 w 12248682"/>
              <a:gd name="connsiteY2130" fmla="*/ 50817 h 609800"/>
              <a:gd name="connsiteX2131" fmla="*/ 6318647 w 12248682"/>
              <a:gd name="connsiteY2131" fmla="*/ 10395 h 609800"/>
              <a:gd name="connsiteX2132" fmla="*/ 5200670 w 12248682"/>
              <a:gd name="connsiteY2132" fmla="*/ 10395 h 609800"/>
              <a:gd name="connsiteX2133" fmla="*/ 5241093 w 12248682"/>
              <a:gd name="connsiteY2133" fmla="*/ 50817 h 609800"/>
              <a:gd name="connsiteX2134" fmla="*/ 5200670 w 12248682"/>
              <a:gd name="connsiteY2134" fmla="*/ 91241 h 609800"/>
              <a:gd name="connsiteX2135" fmla="*/ 5160247 w 12248682"/>
              <a:gd name="connsiteY2135" fmla="*/ 50817 h 609800"/>
              <a:gd name="connsiteX2136" fmla="*/ 5200670 w 12248682"/>
              <a:gd name="connsiteY2136" fmla="*/ 10395 h 609800"/>
              <a:gd name="connsiteX2137" fmla="*/ 4921176 w 12248682"/>
              <a:gd name="connsiteY2137" fmla="*/ 10395 h 609800"/>
              <a:gd name="connsiteX2138" fmla="*/ 4961598 w 12248682"/>
              <a:gd name="connsiteY2138" fmla="*/ 50817 h 609800"/>
              <a:gd name="connsiteX2139" fmla="*/ 4921176 w 12248682"/>
              <a:gd name="connsiteY2139" fmla="*/ 91241 h 609800"/>
              <a:gd name="connsiteX2140" fmla="*/ 4880752 w 12248682"/>
              <a:gd name="connsiteY2140" fmla="*/ 50817 h 609800"/>
              <a:gd name="connsiteX2141" fmla="*/ 4921176 w 12248682"/>
              <a:gd name="connsiteY2141" fmla="*/ 10395 h 609800"/>
              <a:gd name="connsiteX2142" fmla="*/ 4080383 w 12248682"/>
              <a:gd name="connsiteY2142" fmla="*/ 10395 h 609800"/>
              <a:gd name="connsiteX2143" fmla="*/ 4120806 w 12248682"/>
              <a:gd name="connsiteY2143" fmla="*/ 50817 h 609800"/>
              <a:gd name="connsiteX2144" fmla="*/ 4080383 w 12248682"/>
              <a:gd name="connsiteY2144" fmla="*/ 91241 h 609800"/>
              <a:gd name="connsiteX2145" fmla="*/ 4039961 w 12248682"/>
              <a:gd name="connsiteY2145" fmla="*/ 50817 h 609800"/>
              <a:gd name="connsiteX2146" fmla="*/ 4080383 w 12248682"/>
              <a:gd name="connsiteY2146" fmla="*/ 10395 h 609800"/>
              <a:gd name="connsiteX2147" fmla="*/ 3800889 w 12248682"/>
              <a:gd name="connsiteY2147" fmla="*/ 10395 h 609800"/>
              <a:gd name="connsiteX2148" fmla="*/ 3841311 w 12248682"/>
              <a:gd name="connsiteY2148" fmla="*/ 50817 h 609800"/>
              <a:gd name="connsiteX2149" fmla="*/ 3800889 w 12248682"/>
              <a:gd name="connsiteY2149" fmla="*/ 91241 h 609800"/>
              <a:gd name="connsiteX2150" fmla="*/ 3760466 w 12248682"/>
              <a:gd name="connsiteY2150" fmla="*/ 50817 h 609800"/>
              <a:gd name="connsiteX2151" fmla="*/ 3800889 w 12248682"/>
              <a:gd name="connsiteY2151" fmla="*/ 10395 h 609800"/>
              <a:gd name="connsiteX2152" fmla="*/ 1705839 w 12248682"/>
              <a:gd name="connsiteY2152" fmla="*/ 10395 h 609800"/>
              <a:gd name="connsiteX2153" fmla="*/ 1746261 w 12248682"/>
              <a:gd name="connsiteY2153" fmla="*/ 50817 h 609800"/>
              <a:gd name="connsiteX2154" fmla="*/ 1705839 w 12248682"/>
              <a:gd name="connsiteY2154" fmla="*/ 91241 h 609800"/>
              <a:gd name="connsiteX2155" fmla="*/ 1665415 w 12248682"/>
              <a:gd name="connsiteY2155" fmla="*/ 50817 h 609800"/>
              <a:gd name="connsiteX2156" fmla="*/ 1705839 w 12248682"/>
              <a:gd name="connsiteY2156" fmla="*/ 10395 h 609800"/>
              <a:gd name="connsiteX2157" fmla="*/ 587862 w 12248682"/>
              <a:gd name="connsiteY2157" fmla="*/ 10395 h 609800"/>
              <a:gd name="connsiteX2158" fmla="*/ 628284 w 12248682"/>
              <a:gd name="connsiteY2158" fmla="*/ 51973 h 609800"/>
              <a:gd name="connsiteX2159" fmla="*/ 587862 w 12248682"/>
              <a:gd name="connsiteY2159" fmla="*/ 92395 h 609800"/>
              <a:gd name="connsiteX2160" fmla="*/ 547439 w 12248682"/>
              <a:gd name="connsiteY2160" fmla="*/ 50817 h 609800"/>
              <a:gd name="connsiteX2161" fmla="*/ 587862 w 12248682"/>
              <a:gd name="connsiteY2161" fmla="*/ 10395 h 609800"/>
              <a:gd name="connsiteX2162" fmla="*/ 308368 w 12248682"/>
              <a:gd name="connsiteY2162" fmla="*/ 10395 h 609800"/>
              <a:gd name="connsiteX2163" fmla="*/ 348790 w 12248682"/>
              <a:gd name="connsiteY2163" fmla="*/ 51973 h 609800"/>
              <a:gd name="connsiteX2164" fmla="*/ 308368 w 12248682"/>
              <a:gd name="connsiteY2164" fmla="*/ 92395 h 609800"/>
              <a:gd name="connsiteX2165" fmla="*/ 267945 w 12248682"/>
              <a:gd name="connsiteY2165" fmla="*/ 50817 h 609800"/>
              <a:gd name="connsiteX2166" fmla="*/ 308368 w 12248682"/>
              <a:gd name="connsiteY2166" fmla="*/ 10395 h 609800"/>
              <a:gd name="connsiteX2167" fmla="*/ 10784225 w 12248682"/>
              <a:gd name="connsiteY2167" fmla="*/ 0 h 609800"/>
              <a:gd name="connsiteX2168" fmla="*/ 10835042 w 12248682"/>
              <a:gd name="connsiteY2168" fmla="*/ 50817 h 609800"/>
              <a:gd name="connsiteX2169" fmla="*/ 10784225 w 12248682"/>
              <a:gd name="connsiteY2169" fmla="*/ 101634 h 609800"/>
              <a:gd name="connsiteX2170" fmla="*/ 10733408 w 12248682"/>
              <a:gd name="connsiteY2170" fmla="*/ 50817 h 609800"/>
              <a:gd name="connsiteX2171" fmla="*/ 10784225 w 12248682"/>
              <a:gd name="connsiteY2171" fmla="*/ 0 h 609800"/>
              <a:gd name="connsiteX2172" fmla="*/ 9666248 w 12248682"/>
              <a:gd name="connsiteY2172" fmla="*/ 0 h 609800"/>
              <a:gd name="connsiteX2173" fmla="*/ 9717066 w 12248682"/>
              <a:gd name="connsiteY2173" fmla="*/ 50817 h 609800"/>
              <a:gd name="connsiteX2174" fmla="*/ 9666248 w 12248682"/>
              <a:gd name="connsiteY2174" fmla="*/ 101634 h 609800"/>
              <a:gd name="connsiteX2175" fmla="*/ 9615431 w 12248682"/>
              <a:gd name="connsiteY2175" fmla="*/ 50817 h 609800"/>
              <a:gd name="connsiteX2176" fmla="*/ 9666248 w 12248682"/>
              <a:gd name="connsiteY2176" fmla="*/ 0 h 609800"/>
              <a:gd name="connsiteX2177" fmla="*/ 8553443 w 12248682"/>
              <a:gd name="connsiteY2177" fmla="*/ 0 h 609800"/>
              <a:gd name="connsiteX2178" fmla="*/ 8604260 w 12248682"/>
              <a:gd name="connsiteY2178" fmla="*/ 50817 h 609800"/>
              <a:gd name="connsiteX2179" fmla="*/ 8553443 w 12248682"/>
              <a:gd name="connsiteY2179" fmla="*/ 101634 h 609800"/>
              <a:gd name="connsiteX2180" fmla="*/ 8502626 w 12248682"/>
              <a:gd name="connsiteY2180" fmla="*/ 50817 h 609800"/>
              <a:gd name="connsiteX2181" fmla="*/ 8553443 w 12248682"/>
              <a:gd name="connsiteY2181" fmla="*/ 0 h 609800"/>
              <a:gd name="connsiteX2182" fmla="*/ 6178898 w 12248682"/>
              <a:gd name="connsiteY2182" fmla="*/ 0 h 609800"/>
              <a:gd name="connsiteX2183" fmla="*/ 6229715 w 12248682"/>
              <a:gd name="connsiteY2183" fmla="*/ 50817 h 609800"/>
              <a:gd name="connsiteX2184" fmla="*/ 6178898 w 12248682"/>
              <a:gd name="connsiteY2184" fmla="*/ 101634 h 609800"/>
              <a:gd name="connsiteX2185" fmla="*/ 6128081 w 12248682"/>
              <a:gd name="connsiteY2185" fmla="*/ 50817 h 609800"/>
              <a:gd name="connsiteX2186" fmla="*/ 6178898 w 12248682"/>
              <a:gd name="connsiteY2186" fmla="*/ 0 h 609800"/>
              <a:gd name="connsiteX2187" fmla="*/ 5060922 w 12248682"/>
              <a:gd name="connsiteY2187" fmla="*/ 0 h 609800"/>
              <a:gd name="connsiteX2188" fmla="*/ 5111740 w 12248682"/>
              <a:gd name="connsiteY2188" fmla="*/ 50817 h 609800"/>
              <a:gd name="connsiteX2189" fmla="*/ 5060922 w 12248682"/>
              <a:gd name="connsiteY2189" fmla="*/ 101634 h 609800"/>
              <a:gd name="connsiteX2190" fmla="*/ 5010105 w 12248682"/>
              <a:gd name="connsiteY2190" fmla="*/ 50817 h 609800"/>
              <a:gd name="connsiteX2191" fmla="*/ 5060922 w 12248682"/>
              <a:gd name="connsiteY2191" fmla="*/ 0 h 609800"/>
              <a:gd name="connsiteX2192" fmla="*/ 3940636 w 12248682"/>
              <a:gd name="connsiteY2192" fmla="*/ 0 h 609800"/>
              <a:gd name="connsiteX2193" fmla="*/ 3991453 w 12248682"/>
              <a:gd name="connsiteY2193" fmla="*/ 50817 h 609800"/>
              <a:gd name="connsiteX2194" fmla="*/ 3940636 w 12248682"/>
              <a:gd name="connsiteY2194" fmla="*/ 101634 h 609800"/>
              <a:gd name="connsiteX2195" fmla="*/ 3889819 w 12248682"/>
              <a:gd name="connsiteY2195" fmla="*/ 50817 h 609800"/>
              <a:gd name="connsiteX2196" fmla="*/ 3940636 w 12248682"/>
              <a:gd name="connsiteY2196" fmla="*/ 0 h 609800"/>
              <a:gd name="connsiteX2197" fmla="*/ 1566091 w 12248682"/>
              <a:gd name="connsiteY2197" fmla="*/ 0 h 609800"/>
              <a:gd name="connsiteX2198" fmla="*/ 1616908 w 12248682"/>
              <a:gd name="connsiteY2198" fmla="*/ 50817 h 609800"/>
              <a:gd name="connsiteX2199" fmla="*/ 1566091 w 12248682"/>
              <a:gd name="connsiteY2199" fmla="*/ 101634 h 609800"/>
              <a:gd name="connsiteX2200" fmla="*/ 1515274 w 12248682"/>
              <a:gd name="connsiteY2200" fmla="*/ 50817 h 609800"/>
              <a:gd name="connsiteX2201" fmla="*/ 1566091 w 12248682"/>
              <a:gd name="connsiteY2201" fmla="*/ 0 h 609800"/>
              <a:gd name="connsiteX2202" fmla="*/ 448115 w 12248682"/>
              <a:gd name="connsiteY2202" fmla="*/ 0 h 609800"/>
              <a:gd name="connsiteX2203" fmla="*/ 498932 w 12248682"/>
              <a:gd name="connsiteY2203" fmla="*/ 50817 h 609800"/>
              <a:gd name="connsiteX2204" fmla="*/ 448115 w 12248682"/>
              <a:gd name="connsiteY2204" fmla="*/ 101634 h 609800"/>
              <a:gd name="connsiteX2205" fmla="*/ 397298 w 12248682"/>
              <a:gd name="connsiteY2205" fmla="*/ 50817 h 609800"/>
              <a:gd name="connsiteX2206" fmla="*/ 448115 w 12248682"/>
              <a:gd name="connsiteY2206" fmla="*/ 0 h 6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</a:cxnLst>
            <a:rect l="l" t="t" r="r" b="b"/>
            <a:pathLst>
              <a:path w="12248682" h="609800">
                <a:moveTo>
                  <a:pt x="12227892" y="608651"/>
                </a:moveTo>
                <a:lnTo>
                  <a:pt x="12230601" y="609800"/>
                </a:lnTo>
                <a:lnTo>
                  <a:pt x="12225102" y="609800"/>
                </a:lnTo>
                <a:close/>
                <a:moveTo>
                  <a:pt x="12091610" y="608651"/>
                </a:moveTo>
                <a:lnTo>
                  <a:pt x="12094400" y="609800"/>
                </a:lnTo>
                <a:lnTo>
                  <a:pt x="12088820" y="609800"/>
                </a:lnTo>
                <a:close/>
                <a:moveTo>
                  <a:pt x="11956484" y="608651"/>
                </a:moveTo>
                <a:lnTo>
                  <a:pt x="11959274" y="609800"/>
                </a:lnTo>
                <a:lnTo>
                  <a:pt x="11953693" y="609800"/>
                </a:lnTo>
                <a:close/>
                <a:moveTo>
                  <a:pt x="11821356" y="608651"/>
                </a:moveTo>
                <a:lnTo>
                  <a:pt x="11824146" y="609800"/>
                </a:lnTo>
                <a:lnTo>
                  <a:pt x="11818565" y="609800"/>
                </a:lnTo>
                <a:close/>
                <a:moveTo>
                  <a:pt x="11685074" y="608651"/>
                </a:moveTo>
                <a:lnTo>
                  <a:pt x="11687864" y="609800"/>
                </a:lnTo>
                <a:lnTo>
                  <a:pt x="11682283" y="609800"/>
                </a:lnTo>
                <a:close/>
                <a:moveTo>
                  <a:pt x="10736873" y="608651"/>
                </a:moveTo>
                <a:lnTo>
                  <a:pt x="10739663" y="609800"/>
                </a:lnTo>
                <a:lnTo>
                  <a:pt x="10734082" y="609800"/>
                </a:lnTo>
                <a:close/>
                <a:moveTo>
                  <a:pt x="10601745" y="608651"/>
                </a:moveTo>
                <a:lnTo>
                  <a:pt x="10604536" y="609800"/>
                </a:lnTo>
                <a:lnTo>
                  <a:pt x="10598955" y="609800"/>
                </a:lnTo>
                <a:close/>
                <a:moveTo>
                  <a:pt x="8027949" y="608651"/>
                </a:moveTo>
                <a:lnTo>
                  <a:pt x="8030740" y="609800"/>
                </a:lnTo>
                <a:lnTo>
                  <a:pt x="8025159" y="609800"/>
                </a:lnTo>
                <a:close/>
                <a:moveTo>
                  <a:pt x="7892822" y="608651"/>
                </a:moveTo>
                <a:lnTo>
                  <a:pt x="7895613" y="609800"/>
                </a:lnTo>
                <a:lnTo>
                  <a:pt x="7890031" y="609800"/>
                </a:lnTo>
                <a:close/>
                <a:moveTo>
                  <a:pt x="7757693" y="608651"/>
                </a:moveTo>
                <a:lnTo>
                  <a:pt x="7760484" y="609800"/>
                </a:lnTo>
                <a:lnTo>
                  <a:pt x="7754903" y="609800"/>
                </a:lnTo>
                <a:close/>
                <a:moveTo>
                  <a:pt x="7622566" y="608651"/>
                </a:moveTo>
                <a:lnTo>
                  <a:pt x="7625275" y="609800"/>
                </a:lnTo>
                <a:lnTo>
                  <a:pt x="7619776" y="609800"/>
                </a:lnTo>
                <a:close/>
                <a:moveTo>
                  <a:pt x="7486284" y="608651"/>
                </a:moveTo>
                <a:lnTo>
                  <a:pt x="7489075" y="609800"/>
                </a:lnTo>
                <a:lnTo>
                  <a:pt x="7483494" y="609800"/>
                </a:lnTo>
                <a:close/>
                <a:moveTo>
                  <a:pt x="7351157" y="608651"/>
                </a:moveTo>
                <a:lnTo>
                  <a:pt x="7353948" y="609800"/>
                </a:lnTo>
                <a:lnTo>
                  <a:pt x="7348367" y="609800"/>
                </a:lnTo>
                <a:close/>
                <a:moveTo>
                  <a:pt x="7216030" y="608651"/>
                </a:moveTo>
                <a:lnTo>
                  <a:pt x="7218821" y="609800"/>
                </a:lnTo>
                <a:lnTo>
                  <a:pt x="7213240" y="609800"/>
                </a:lnTo>
                <a:close/>
                <a:moveTo>
                  <a:pt x="7079748" y="608651"/>
                </a:moveTo>
                <a:lnTo>
                  <a:pt x="7082539" y="609800"/>
                </a:lnTo>
                <a:lnTo>
                  <a:pt x="7076958" y="609800"/>
                </a:lnTo>
                <a:close/>
                <a:moveTo>
                  <a:pt x="6131548" y="608651"/>
                </a:moveTo>
                <a:lnTo>
                  <a:pt x="6134339" y="609800"/>
                </a:lnTo>
                <a:lnTo>
                  <a:pt x="6128758" y="609800"/>
                </a:lnTo>
                <a:close/>
                <a:moveTo>
                  <a:pt x="5996418" y="608651"/>
                </a:moveTo>
                <a:lnTo>
                  <a:pt x="5999209" y="609800"/>
                </a:lnTo>
                <a:lnTo>
                  <a:pt x="5993628" y="609800"/>
                </a:lnTo>
                <a:close/>
                <a:moveTo>
                  <a:pt x="3415142" y="608651"/>
                </a:moveTo>
                <a:lnTo>
                  <a:pt x="3417933" y="609800"/>
                </a:lnTo>
                <a:lnTo>
                  <a:pt x="3412352" y="609800"/>
                </a:lnTo>
                <a:close/>
                <a:moveTo>
                  <a:pt x="3280013" y="608651"/>
                </a:moveTo>
                <a:lnTo>
                  <a:pt x="3282804" y="609800"/>
                </a:lnTo>
                <a:lnTo>
                  <a:pt x="3277223" y="609800"/>
                </a:lnTo>
                <a:close/>
                <a:moveTo>
                  <a:pt x="3144887" y="608651"/>
                </a:moveTo>
                <a:lnTo>
                  <a:pt x="3147678" y="609800"/>
                </a:lnTo>
                <a:lnTo>
                  <a:pt x="3142097" y="609800"/>
                </a:lnTo>
                <a:close/>
                <a:moveTo>
                  <a:pt x="3009759" y="608651"/>
                </a:moveTo>
                <a:lnTo>
                  <a:pt x="3012468" y="609800"/>
                </a:lnTo>
                <a:lnTo>
                  <a:pt x="3006969" y="609800"/>
                </a:lnTo>
                <a:close/>
                <a:moveTo>
                  <a:pt x="2873476" y="608651"/>
                </a:moveTo>
                <a:lnTo>
                  <a:pt x="2876267" y="609800"/>
                </a:lnTo>
                <a:lnTo>
                  <a:pt x="2870686" y="609800"/>
                </a:lnTo>
                <a:close/>
                <a:moveTo>
                  <a:pt x="2738350" y="608651"/>
                </a:moveTo>
                <a:lnTo>
                  <a:pt x="2741141" y="609800"/>
                </a:lnTo>
                <a:lnTo>
                  <a:pt x="2735560" y="609800"/>
                </a:lnTo>
                <a:close/>
                <a:moveTo>
                  <a:pt x="2603222" y="608651"/>
                </a:moveTo>
                <a:lnTo>
                  <a:pt x="2606013" y="609800"/>
                </a:lnTo>
                <a:lnTo>
                  <a:pt x="2600432" y="609800"/>
                </a:lnTo>
                <a:close/>
                <a:moveTo>
                  <a:pt x="2466940" y="608651"/>
                </a:moveTo>
                <a:lnTo>
                  <a:pt x="2469731" y="609800"/>
                </a:lnTo>
                <a:lnTo>
                  <a:pt x="2464150" y="609800"/>
                </a:lnTo>
                <a:close/>
                <a:moveTo>
                  <a:pt x="1518739" y="608651"/>
                </a:moveTo>
                <a:lnTo>
                  <a:pt x="1521530" y="609800"/>
                </a:lnTo>
                <a:lnTo>
                  <a:pt x="1515949" y="609800"/>
                </a:lnTo>
                <a:close/>
                <a:moveTo>
                  <a:pt x="1383611" y="608651"/>
                </a:moveTo>
                <a:lnTo>
                  <a:pt x="1386402" y="609800"/>
                </a:lnTo>
                <a:lnTo>
                  <a:pt x="1380821" y="609800"/>
                </a:lnTo>
                <a:close/>
                <a:moveTo>
                  <a:pt x="11549947" y="606341"/>
                </a:moveTo>
                <a:lnTo>
                  <a:pt x="11558263" y="609800"/>
                </a:lnTo>
                <a:lnTo>
                  <a:pt x="11541630" y="609800"/>
                </a:lnTo>
                <a:close/>
                <a:moveTo>
                  <a:pt x="10466618" y="606341"/>
                </a:moveTo>
                <a:lnTo>
                  <a:pt x="10474935" y="609800"/>
                </a:lnTo>
                <a:lnTo>
                  <a:pt x="10458302" y="609800"/>
                </a:lnTo>
                <a:close/>
                <a:moveTo>
                  <a:pt x="9244698" y="606341"/>
                </a:moveTo>
                <a:lnTo>
                  <a:pt x="9256325" y="609800"/>
                </a:lnTo>
                <a:lnTo>
                  <a:pt x="9238257" y="609800"/>
                </a:lnTo>
                <a:close/>
                <a:moveTo>
                  <a:pt x="8164231" y="606341"/>
                </a:moveTo>
                <a:lnTo>
                  <a:pt x="8172548" y="609800"/>
                </a:lnTo>
                <a:lnTo>
                  <a:pt x="8155915" y="609800"/>
                </a:lnTo>
                <a:close/>
                <a:moveTo>
                  <a:pt x="6944621" y="606341"/>
                </a:moveTo>
                <a:lnTo>
                  <a:pt x="6952937" y="609800"/>
                </a:lnTo>
                <a:lnTo>
                  <a:pt x="6936304" y="609800"/>
                </a:lnTo>
                <a:close/>
                <a:moveTo>
                  <a:pt x="5861292" y="606341"/>
                </a:moveTo>
                <a:lnTo>
                  <a:pt x="5869609" y="609800"/>
                </a:lnTo>
                <a:lnTo>
                  <a:pt x="5852976" y="609800"/>
                </a:lnTo>
                <a:close/>
                <a:moveTo>
                  <a:pt x="4639374" y="606341"/>
                </a:moveTo>
                <a:lnTo>
                  <a:pt x="4651000" y="609800"/>
                </a:lnTo>
                <a:lnTo>
                  <a:pt x="4632932" y="609800"/>
                </a:lnTo>
                <a:close/>
                <a:moveTo>
                  <a:pt x="3551423" y="606341"/>
                </a:moveTo>
                <a:lnTo>
                  <a:pt x="3559740" y="609800"/>
                </a:lnTo>
                <a:lnTo>
                  <a:pt x="3543107" y="609800"/>
                </a:lnTo>
                <a:close/>
                <a:moveTo>
                  <a:pt x="2331813" y="606341"/>
                </a:moveTo>
                <a:lnTo>
                  <a:pt x="2340130" y="609800"/>
                </a:lnTo>
                <a:lnTo>
                  <a:pt x="2323497" y="609800"/>
                </a:lnTo>
                <a:close/>
                <a:moveTo>
                  <a:pt x="1248485" y="606341"/>
                </a:moveTo>
                <a:lnTo>
                  <a:pt x="1256801" y="609800"/>
                </a:lnTo>
                <a:lnTo>
                  <a:pt x="1240169" y="609800"/>
                </a:lnTo>
                <a:close/>
                <a:moveTo>
                  <a:pt x="26564" y="606341"/>
                </a:moveTo>
                <a:lnTo>
                  <a:pt x="38192" y="609800"/>
                </a:lnTo>
                <a:lnTo>
                  <a:pt x="20123" y="609800"/>
                </a:lnTo>
                <a:close/>
                <a:moveTo>
                  <a:pt x="11414819" y="600566"/>
                </a:moveTo>
                <a:cubicBezTo>
                  <a:pt x="11422904" y="600566"/>
                  <a:pt x="11430122" y="603742"/>
                  <a:pt x="11435319" y="608940"/>
                </a:cubicBezTo>
                <a:lnTo>
                  <a:pt x="11435671" y="609800"/>
                </a:lnTo>
                <a:lnTo>
                  <a:pt x="11393968" y="609800"/>
                </a:lnTo>
                <a:lnTo>
                  <a:pt x="11394319" y="608940"/>
                </a:lnTo>
                <a:cubicBezTo>
                  <a:pt x="11399516" y="603742"/>
                  <a:pt x="11406734" y="600566"/>
                  <a:pt x="11414819" y="600566"/>
                </a:cubicBezTo>
                <a:close/>
                <a:moveTo>
                  <a:pt x="10330336" y="600566"/>
                </a:moveTo>
                <a:cubicBezTo>
                  <a:pt x="10338420" y="600566"/>
                  <a:pt x="10345639" y="603742"/>
                  <a:pt x="10350836" y="608940"/>
                </a:cubicBezTo>
                <a:lnTo>
                  <a:pt x="10351187" y="609800"/>
                </a:lnTo>
                <a:lnTo>
                  <a:pt x="10309484" y="609800"/>
                </a:lnTo>
                <a:lnTo>
                  <a:pt x="10309836" y="608940"/>
                </a:lnTo>
                <a:cubicBezTo>
                  <a:pt x="10315033" y="603742"/>
                  <a:pt x="10322251" y="600566"/>
                  <a:pt x="10330336" y="600566"/>
                </a:cubicBezTo>
                <a:close/>
                <a:moveTo>
                  <a:pt x="9382135" y="600566"/>
                </a:moveTo>
                <a:cubicBezTo>
                  <a:pt x="9390220" y="600566"/>
                  <a:pt x="9397438" y="603742"/>
                  <a:pt x="9402635" y="608940"/>
                </a:cubicBezTo>
                <a:lnTo>
                  <a:pt x="9402987" y="609800"/>
                </a:lnTo>
                <a:lnTo>
                  <a:pt x="9361284" y="609800"/>
                </a:lnTo>
                <a:lnTo>
                  <a:pt x="9361635" y="608940"/>
                </a:lnTo>
                <a:cubicBezTo>
                  <a:pt x="9366832" y="603742"/>
                  <a:pt x="9374051" y="600566"/>
                  <a:pt x="9382135" y="600566"/>
                </a:cubicBezTo>
                <a:close/>
                <a:moveTo>
                  <a:pt x="9112431" y="600566"/>
                </a:moveTo>
                <a:cubicBezTo>
                  <a:pt x="9120516" y="600566"/>
                  <a:pt x="9127734" y="603742"/>
                  <a:pt x="9132931" y="608940"/>
                </a:cubicBezTo>
                <a:lnTo>
                  <a:pt x="9133283" y="609800"/>
                </a:lnTo>
                <a:lnTo>
                  <a:pt x="9091580" y="609800"/>
                </a:lnTo>
                <a:lnTo>
                  <a:pt x="9091931" y="608940"/>
                </a:lnTo>
                <a:cubicBezTo>
                  <a:pt x="9097128" y="603742"/>
                  <a:pt x="9104347" y="600566"/>
                  <a:pt x="9112431" y="600566"/>
                </a:cubicBezTo>
                <a:close/>
                <a:moveTo>
                  <a:pt x="8299358" y="600566"/>
                </a:moveTo>
                <a:cubicBezTo>
                  <a:pt x="8307442" y="600566"/>
                  <a:pt x="8314660" y="603742"/>
                  <a:pt x="8319858" y="608940"/>
                </a:cubicBezTo>
                <a:lnTo>
                  <a:pt x="8320209" y="609800"/>
                </a:lnTo>
                <a:lnTo>
                  <a:pt x="8278507" y="609800"/>
                </a:lnTo>
                <a:lnTo>
                  <a:pt x="8278858" y="608940"/>
                </a:lnTo>
                <a:cubicBezTo>
                  <a:pt x="8284055" y="603742"/>
                  <a:pt x="8291274" y="600566"/>
                  <a:pt x="8299358" y="600566"/>
                </a:cubicBezTo>
                <a:close/>
                <a:moveTo>
                  <a:pt x="6809492" y="600566"/>
                </a:moveTo>
                <a:cubicBezTo>
                  <a:pt x="6817577" y="600566"/>
                  <a:pt x="6824796" y="603742"/>
                  <a:pt x="6829993" y="608940"/>
                </a:cubicBezTo>
                <a:lnTo>
                  <a:pt x="6830345" y="609800"/>
                </a:lnTo>
                <a:lnTo>
                  <a:pt x="6788642" y="609800"/>
                </a:lnTo>
                <a:lnTo>
                  <a:pt x="6788993" y="608940"/>
                </a:lnTo>
                <a:cubicBezTo>
                  <a:pt x="6794190" y="603742"/>
                  <a:pt x="6801408" y="600566"/>
                  <a:pt x="6809492" y="600566"/>
                </a:cubicBezTo>
                <a:close/>
                <a:moveTo>
                  <a:pt x="5726165" y="600566"/>
                </a:moveTo>
                <a:cubicBezTo>
                  <a:pt x="5733672" y="600566"/>
                  <a:pt x="5740890" y="603742"/>
                  <a:pt x="5746232" y="608940"/>
                </a:cubicBezTo>
                <a:lnTo>
                  <a:pt x="5746601" y="609800"/>
                </a:lnTo>
                <a:lnTo>
                  <a:pt x="5705314" y="609800"/>
                </a:lnTo>
                <a:lnTo>
                  <a:pt x="5705666" y="608940"/>
                </a:lnTo>
                <a:cubicBezTo>
                  <a:pt x="5710863" y="603742"/>
                  <a:pt x="5718081" y="600566"/>
                  <a:pt x="5726165" y="600566"/>
                </a:cubicBezTo>
                <a:close/>
                <a:moveTo>
                  <a:pt x="4776809" y="600566"/>
                </a:moveTo>
                <a:cubicBezTo>
                  <a:pt x="4784894" y="600566"/>
                  <a:pt x="4792112" y="603742"/>
                  <a:pt x="4797309" y="608940"/>
                </a:cubicBezTo>
                <a:lnTo>
                  <a:pt x="4797661" y="609800"/>
                </a:lnTo>
                <a:lnTo>
                  <a:pt x="4755958" y="609800"/>
                </a:lnTo>
                <a:lnTo>
                  <a:pt x="4756310" y="608940"/>
                </a:lnTo>
                <a:cubicBezTo>
                  <a:pt x="4761507" y="603742"/>
                  <a:pt x="4768725" y="600566"/>
                  <a:pt x="4776809" y="600566"/>
                </a:cubicBezTo>
                <a:close/>
                <a:moveTo>
                  <a:pt x="4499625" y="600566"/>
                </a:moveTo>
                <a:cubicBezTo>
                  <a:pt x="4507709" y="600566"/>
                  <a:pt x="4514928" y="603742"/>
                  <a:pt x="4520126" y="608940"/>
                </a:cubicBezTo>
                <a:lnTo>
                  <a:pt x="4520477" y="609800"/>
                </a:lnTo>
                <a:lnTo>
                  <a:pt x="4478774" y="609800"/>
                </a:lnTo>
                <a:lnTo>
                  <a:pt x="4479126" y="608940"/>
                </a:lnTo>
                <a:cubicBezTo>
                  <a:pt x="4484323" y="603742"/>
                  <a:pt x="4491541" y="600566"/>
                  <a:pt x="4499625" y="600566"/>
                </a:cubicBezTo>
                <a:close/>
                <a:moveTo>
                  <a:pt x="3686551" y="600566"/>
                </a:moveTo>
                <a:cubicBezTo>
                  <a:pt x="3694635" y="600566"/>
                  <a:pt x="3701854" y="603742"/>
                  <a:pt x="3707051" y="608940"/>
                </a:cubicBezTo>
                <a:lnTo>
                  <a:pt x="3707402" y="609800"/>
                </a:lnTo>
                <a:lnTo>
                  <a:pt x="3665699" y="609800"/>
                </a:lnTo>
                <a:lnTo>
                  <a:pt x="3666051" y="608940"/>
                </a:lnTo>
                <a:cubicBezTo>
                  <a:pt x="3671248" y="603742"/>
                  <a:pt x="3678466" y="600566"/>
                  <a:pt x="3686551" y="600566"/>
                </a:cubicBezTo>
                <a:close/>
                <a:moveTo>
                  <a:pt x="2196685" y="600566"/>
                </a:moveTo>
                <a:cubicBezTo>
                  <a:pt x="2204770" y="600566"/>
                  <a:pt x="2211988" y="603742"/>
                  <a:pt x="2217186" y="608940"/>
                </a:cubicBezTo>
                <a:lnTo>
                  <a:pt x="2217537" y="609800"/>
                </a:lnTo>
                <a:lnTo>
                  <a:pt x="2175835" y="609800"/>
                </a:lnTo>
                <a:lnTo>
                  <a:pt x="2176186" y="608940"/>
                </a:lnTo>
                <a:cubicBezTo>
                  <a:pt x="2181383" y="603742"/>
                  <a:pt x="2188601" y="600566"/>
                  <a:pt x="2196685" y="600566"/>
                </a:cubicBezTo>
                <a:close/>
                <a:moveTo>
                  <a:pt x="1112202" y="600566"/>
                </a:moveTo>
                <a:cubicBezTo>
                  <a:pt x="1120287" y="600566"/>
                  <a:pt x="1127505" y="603742"/>
                  <a:pt x="1132702" y="608940"/>
                </a:cubicBezTo>
                <a:lnTo>
                  <a:pt x="1133053" y="609800"/>
                </a:lnTo>
                <a:lnTo>
                  <a:pt x="1091351" y="609800"/>
                </a:lnTo>
                <a:lnTo>
                  <a:pt x="1091702" y="608940"/>
                </a:lnTo>
                <a:cubicBezTo>
                  <a:pt x="1096899" y="603742"/>
                  <a:pt x="1104118" y="600566"/>
                  <a:pt x="1112202" y="600566"/>
                </a:cubicBezTo>
                <a:close/>
                <a:moveTo>
                  <a:pt x="164001" y="600566"/>
                </a:moveTo>
                <a:cubicBezTo>
                  <a:pt x="172086" y="600566"/>
                  <a:pt x="179304" y="603742"/>
                  <a:pt x="184502" y="608940"/>
                </a:cubicBezTo>
                <a:lnTo>
                  <a:pt x="184853" y="609800"/>
                </a:lnTo>
                <a:lnTo>
                  <a:pt x="143150" y="609800"/>
                </a:lnTo>
                <a:lnTo>
                  <a:pt x="143501" y="608940"/>
                </a:lnTo>
                <a:cubicBezTo>
                  <a:pt x="148698" y="603742"/>
                  <a:pt x="155917" y="600566"/>
                  <a:pt x="164001" y="600566"/>
                </a:cubicBezTo>
                <a:close/>
                <a:moveTo>
                  <a:pt x="11279692" y="594792"/>
                </a:moveTo>
                <a:cubicBezTo>
                  <a:pt x="11288931" y="594792"/>
                  <a:pt x="11297593" y="598835"/>
                  <a:pt x="11303946" y="605187"/>
                </a:cubicBezTo>
                <a:lnTo>
                  <a:pt x="11305923" y="609800"/>
                </a:lnTo>
                <a:lnTo>
                  <a:pt x="11253110" y="609800"/>
                </a:lnTo>
                <a:lnTo>
                  <a:pt x="11255005" y="605187"/>
                </a:lnTo>
                <a:cubicBezTo>
                  <a:pt x="11261213" y="598835"/>
                  <a:pt x="11269875" y="594792"/>
                  <a:pt x="11279692" y="594792"/>
                </a:cubicBezTo>
                <a:close/>
                <a:moveTo>
                  <a:pt x="10195208" y="594792"/>
                </a:moveTo>
                <a:cubicBezTo>
                  <a:pt x="10205025" y="594792"/>
                  <a:pt x="10213687" y="598835"/>
                  <a:pt x="10219895" y="605187"/>
                </a:cubicBezTo>
                <a:lnTo>
                  <a:pt x="10221790" y="609800"/>
                </a:lnTo>
                <a:lnTo>
                  <a:pt x="10168627" y="609800"/>
                </a:lnTo>
                <a:lnTo>
                  <a:pt x="10170522" y="605187"/>
                </a:lnTo>
                <a:cubicBezTo>
                  <a:pt x="10176730" y="598835"/>
                  <a:pt x="10185392" y="594792"/>
                  <a:pt x="10195208" y="594792"/>
                </a:cubicBezTo>
                <a:close/>
                <a:moveTo>
                  <a:pt x="9518417" y="594792"/>
                </a:moveTo>
                <a:cubicBezTo>
                  <a:pt x="9527657" y="594792"/>
                  <a:pt x="9536319" y="598835"/>
                  <a:pt x="9542671" y="605187"/>
                </a:cubicBezTo>
                <a:lnTo>
                  <a:pt x="9544648" y="609800"/>
                </a:lnTo>
                <a:lnTo>
                  <a:pt x="9491836" y="609800"/>
                </a:lnTo>
                <a:lnTo>
                  <a:pt x="9493731" y="605187"/>
                </a:lnTo>
                <a:cubicBezTo>
                  <a:pt x="9499938" y="598835"/>
                  <a:pt x="9508600" y="594792"/>
                  <a:pt x="9518417" y="594792"/>
                </a:cubicBezTo>
                <a:close/>
                <a:moveTo>
                  <a:pt x="8977304" y="594792"/>
                </a:moveTo>
                <a:cubicBezTo>
                  <a:pt x="8986543" y="594792"/>
                  <a:pt x="8995205" y="598835"/>
                  <a:pt x="9001558" y="605187"/>
                </a:cubicBezTo>
                <a:lnTo>
                  <a:pt x="9003535" y="609800"/>
                </a:lnTo>
                <a:lnTo>
                  <a:pt x="8950722" y="609800"/>
                </a:lnTo>
                <a:lnTo>
                  <a:pt x="8952617" y="605187"/>
                </a:lnTo>
                <a:cubicBezTo>
                  <a:pt x="8958825" y="598835"/>
                  <a:pt x="8967487" y="594792"/>
                  <a:pt x="8977304" y="594792"/>
                </a:cubicBezTo>
                <a:close/>
                <a:moveTo>
                  <a:pt x="8434485" y="594792"/>
                </a:moveTo>
                <a:cubicBezTo>
                  <a:pt x="8444302" y="594792"/>
                  <a:pt x="8452964" y="598835"/>
                  <a:pt x="8459172" y="605187"/>
                </a:cubicBezTo>
                <a:lnTo>
                  <a:pt x="8461066" y="609800"/>
                </a:lnTo>
                <a:lnTo>
                  <a:pt x="8407903" y="609800"/>
                </a:lnTo>
                <a:lnTo>
                  <a:pt x="8409798" y="605187"/>
                </a:lnTo>
                <a:cubicBezTo>
                  <a:pt x="8416006" y="598835"/>
                  <a:pt x="8424668" y="594792"/>
                  <a:pt x="8434485" y="594792"/>
                </a:cubicBezTo>
                <a:close/>
                <a:moveTo>
                  <a:pt x="6674366" y="594792"/>
                </a:moveTo>
                <a:cubicBezTo>
                  <a:pt x="6683606" y="594792"/>
                  <a:pt x="6692268" y="598835"/>
                  <a:pt x="6698620" y="605187"/>
                </a:cubicBezTo>
                <a:lnTo>
                  <a:pt x="6700597" y="609800"/>
                </a:lnTo>
                <a:lnTo>
                  <a:pt x="6647784" y="609800"/>
                </a:lnTo>
                <a:lnTo>
                  <a:pt x="6649679" y="605187"/>
                </a:lnTo>
                <a:cubicBezTo>
                  <a:pt x="6655887" y="598835"/>
                  <a:pt x="6664549" y="594792"/>
                  <a:pt x="6674366" y="594792"/>
                </a:cubicBezTo>
                <a:close/>
                <a:moveTo>
                  <a:pt x="5589882" y="594792"/>
                </a:moveTo>
                <a:cubicBezTo>
                  <a:pt x="5599699" y="594792"/>
                  <a:pt x="5608362" y="598835"/>
                  <a:pt x="5614570" y="605187"/>
                </a:cubicBezTo>
                <a:lnTo>
                  <a:pt x="5616465" y="609800"/>
                </a:lnTo>
                <a:lnTo>
                  <a:pt x="5563301" y="609800"/>
                </a:lnTo>
                <a:lnTo>
                  <a:pt x="5565196" y="605187"/>
                </a:lnTo>
                <a:cubicBezTo>
                  <a:pt x="5571404" y="598835"/>
                  <a:pt x="5580066" y="594792"/>
                  <a:pt x="5589882" y="594792"/>
                </a:cubicBezTo>
                <a:close/>
                <a:moveTo>
                  <a:pt x="4913091" y="594792"/>
                </a:moveTo>
                <a:cubicBezTo>
                  <a:pt x="4922330" y="594792"/>
                  <a:pt x="4930992" y="598835"/>
                  <a:pt x="4937345" y="605187"/>
                </a:cubicBezTo>
                <a:lnTo>
                  <a:pt x="4939322" y="609800"/>
                </a:lnTo>
                <a:lnTo>
                  <a:pt x="4886510" y="609800"/>
                </a:lnTo>
                <a:lnTo>
                  <a:pt x="4888405" y="605187"/>
                </a:lnTo>
                <a:cubicBezTo>
                  <a:pt x="4894613" y="598835"/>
                  <a:pt x="4903275" y="594792"/>
                  <a:pt x="4913091" y="594792"/>
                </a:cubicBezTo>
                <a:close/>
                <a:moveTo>
                  <a:pt x="4364499" y="594792"/>
                </a:moveTo>
                <a:cubicBezTo>
                  <a:pt x="4373738" y="594792"/>
                  <a:pt x="4382400" y="598835"/>
                  <a:pt x="4388752" y="605187"/>
                </a:cubicBezTo>
                <a:lnTo>
                  <a:pt x="4390729" y="609800"/>
                </a:lnTo>
                <a:lnTo>
                  <a:pt x="4337917" y="609800"/>
                </a:lnTo>
                <a:lnTo>
                  <a:pt x="4339811" y="605187"/>
                </a:lnTo>
                <a:cubicBezTo>
                  <a:pt x="4346019" y="598835"/>
                  <a:pt x="4354681" y="594792"/>
                  <a:pt x="4364499" y="594792"/>
                </a:cubicBezTo>
                <a:close/>
                <a:moveTo>
                  <a:pt x="3821678" y="594792"/>
                </a:moveTo>
                <a:cubicBezTo>
                  <a:pt x="3831495" y="594792"/>
                  <a:pt x="3840157" y="598835"/>
                  <a:pt x="3846365" y="605187"/>
                </a:cubicBezTo>
                <a:lnTo>
                  <a:pt x="3848260" y="609800"/>
                </a:lnTo>
                <a:lnTo>
                  <a:pt x="3795097" y="609800"/>
                </a:lnTo>
                <a:lnTo>
                  <a:pt x="3796992" y="605187"/>
                </a:lnTo>
                <a:cubicBezTo>
                  <a:pt x="3803200" y="598835"/>
                  <a:pt x="3811862" y="594792"/>
                  <a:pt x="3821678" y="594792"/>
                </a:cubicBezTo>
                <a:close/>
                <a:moveTo>
                  <a:pt x="2061558" y="594792"/>
                </a:moveTo>
                <a:cubicBezTo>
                  <a:pt x="2070798" y="594792"/>
                  <a:pt x="2079460" y="598835"/>
                  <a:pt x="2085812" y="605187"/>
                </a:cubicBezTo>
                <a:lnTo>
                  <a:pt x="2087789" y="609800"/>
                </a:lnTo>
                <a:lnTo>
                  <a:pt x="2034977" y="609800"/>
                </a:lnTo>
                <a:lnTo>
                  <a:pt x="2036871" y="605187"/>
                </a:lnTo>
                <a:cubicBezTo>
                  <a:pt x="2043079" y="598835"/>
                  <a:pt x="2051741" y="594792"/>
                  <a:pt x="2061558" y="594792"/>
                </a:cubicBezTo>
                <a:close/>
                <a:moveTo>
                  <a:pt x="977075" y="594792"/>
                </a:moveTo>
                <a:cubicBezTo>
                  <a:pt x="986892" y="594792"/>
                  <a:pt x="995554" y="598835"/>
                  <a:pt x="1001762" y="605187"/>
                </a:cubicBezTo>
                <a:lnTo>
                  <a:pt x="1003657" y="609800"/>
                </a:lnTo>
                <a:lnTo>
                  <a:pt x="950494" y="609800"/>
                </a:lnTo>
                <a:lnTo>
                  <a:pt x="952388" y="605187"/>
                </a:lnTo>
                <a:cubicBezTo>
                  <a:pt x="958596" y="598835"/>
                  <a:pt x="967258" y="594792"/>
                  <a:pt x="977075" y="594792"/>
                </a:cubicBezTo>
                <a:close/>
                <a:moveTo>
                  <a:pt x="300283" y="594792"/>
                </a:moveTo>
                <a:cubicBezTo>
                  <a:pt x="309523" y="594792"/>
                  <a:pt x="318185" y="598835"/>
                  <a:pt x="324537" y="605187"/>
                </a:cubicBezTo>
                <a:lnTo>
                  <a:pt x="326514" y="609800"/>
                </a:lnTo>
                <a:lnTo>
                  <a:pt x="273702" y="609800"/>
                </a:lnTo>
                <a:lnTo>
                  <a:pt x="275597" y="605187"/>
                </a:lnTo>
                <a:cubicBezTo>
                  <a:pt x="281805" y="598835"/>
                  <a:pt x="290467" y="594792"/>
                  <a:pt x="300283" y="594792"/>
                </a:cubicBezTo>
                <a:close/>
                <a:moveTo>
                  <a:pt x="11143410" y="589016"/>
                </a:moveTo>
                <a:cubicBezTo>
                  <a:pt x="11154959" y="589016"/>
                  <a:pt x="11165065" y="593636"/>
                  <a:pt x="11172283" y="600999"/>
                </a:cubicBezTo>
                <a:lnTo>
                  <a:pt x="11175857" y="609800"/>
                </a:lnTo>
                <a:lnTo>
                  <a:pt x="11111262" y="609800"/>
                </a:lnTo>
                <a:lnTo>
                  <a:pt x="11114970" y="600999"/>
                </a:lnTo>
                <a:cubicBezTo>
                  <a:pt x="11122332" y="593636"/>
                  <a:pt x="11132438" y="589016"/>
                  <a:pt x="11143410" y="589016"/>
                </a:cubicBezTo>
                <a:close/>
                <a:moveTo>
                  <a:pt x="10873155" y="589016"/>
                </a:moveTo>
                <a:cubicBezTo>
                  <a:pt x="10884126" y="589016"/>
                  <a:pt x="10894232" y="593636"/>
                  <a:pt x="10901595" y="600999"/>
                </a:cubicBezTo>
                <a:lnTo>
                  <a:pt x="10905303" y="609800"/>
                </a:lnTo>
                <a:lnTo>
                  <a:pt x="10841006" y="609800"/>
                </a:lnTo>
                <a:lnTo>
                  <a:pt x="10844715" y="600999"/>
                </a:lnTo>
                <a:cubicBezTo>
                  <a:pt x="10852077" y="593636"/>
                  <a:pt x="10862183" y="589016"/>
                  <a:pt x="10873155" y="589016"/>
                </a:cubicBezTo>
                <a:close/>
                <a:moveTo>
                  <a:pt x="10060082" y="589016"/>
                </a:moveTo>
                <a:cubicBezTo>
                  <a:pt x="10071053" y="589016"/>
                  <a:pt x="10081159" y="593636"/>
                  <a:pt x="10088522" y="600999"/>
                </a:cubicBezTo>
                <a:lnTo>
                  <a:pt x="10092230" y="609800"/>
                </a:lnTo>
                <a:lnTo>
                  <a:pt x="10027932" y="609800"/>
                </a:lnTo>
                <a:lnTo>
                  <a:pt x="10031640" y="600999"/>
                </a:lnTo>
                <a:cubicBezTo>
                  <a:pt x="10039003" y="593636"/>
                  <a:pt x="10049109" y="589016"/>
                  <a:pt x="10060082" y="589016"/>
                </a:cubicBezTo>
                <a:close/>
                <a:moveTo>
                  <a:pt x="9653545" y="589016"/>
                </a:moveTo>
                <a:cubicBezTo>
                  <a:pt x="9664516" y="589016"/>
                  <a:pt x="9674622" y="593636"/>
                  <a:pt x="9681985" y="600999"/>
                </a:cubicBezTo>
                <a:lnTo>
                  <a:pt x="9685693" y="609800"/>
                </a:lnTo>
                <a:lnTo>
                  <a:pt x="9621396" y="609800"/>
                </a:lnTo>
                <a:lnTo>
                  <a:pt x="9625104" y="600999"/>
                </a:lnTo>
                <a:cubicBezTo>
                  <a:pt x="9632467" y="593636"/>
                  <a:pt x="9642573" y="589016"/>
                  <a:pt x="9653545" y="589016"/>
                </a:cubicBezTo>
                <a:close/>
                <a:moveTo>
                  <a:pt x="8841022" y="589016"/>
                </a:moveTo>
                <a:cubicBezTo>
                  <a:pt x="8852572" y="589016"/>
                  <a:pt x="8862677" y="593636"/>
                  <a:pt x="8869895" y="600999"/>
                </a:cubicBezTo>
                <a:lnTo>
                  <a:pt x="8873469" y="609800"/>
                </a:lnTo>
                <a:lnTo>
                  <a:pt x="8808873" y="609800"/>
                </a:lnTo>
                <a:lnTo>
                  <a:pt x="8812582" y="600999"/>
                </a:lnTo>
                <a:cubicBezTo>
                  <a:pt x="8819944" y="593636"/>
                  <a:pt x="8830050" y="589016"/>
                  <a:pt x="8841022" y="589016"/>
                </a:cubicBezTo>
                <a:close/>
                <a:moveTo>
                  <a:pt x="8570767" y="589016"/>
                </a:moveTo>
                <a:cubicBezTo>
                  <a:pt x="8581739" y="589016"/>
                  <a:pt x="8591845" y="593636"/>
                  <a:pt x="8599207" y="600999"/>
                </a:cubicBezTo>
                <a:lnTo>
                  <a:pt x="8602916" y="609800"/>
                </a:lnTo>
                <a:lnTo>
                  <a:pt x="8538618" y="609800"/>
                </a:lnTo>
                <a:lnTo>
                  <a:pt x="8542327" y="600999"/>
                </a:lnTo>
                <a:cubicBezTo>
                  <a:pt x="8549689" y="593636"/>
                  <a:pt x="8559795" y="589016"/>
                  <a:pt x="8570767" y="589016"/>
                </a:cubicBezTo>
                <a:close/>
                <a:moveTo>
                  <a:pt x="6538083" y="589016"/>
                </a:moveTo>
                <a:cubicBezTo>
                  <a:pt x="6549633" y="589016"/>
                  <a:pt x="6559739" y="593636"/>
                  <a:pt x="6566958" y="600999"/>
                </a:cubicBezTo>
                <a:lnTo>
                  <a:pt x="6570532" y="609800"/>
                </a:lnTo>
                <a:lnTo>
                  <a:pt x="6505935" y="609800"/>
                </a:lnTo>
                <a:lnTo>
                  <a:pt x="6509643" y="600999"/>
                </a:lnTo>
                <a:cubicBezTo>
                  <a:pt x="6517006" y="593636"/>
                  <a:pt x="6527111" y="589016"/>
                  <a:pt x="6538083" y="589016"/>
                </a:cubicBezTo>
                <a:close/>
                <a:moveTo>
                  <a:pt x="6267830" y="589016"/>
                </a:moveTo>
                <a:cubicBezTo>
                  <a:pt x="6278801" y="589016"/>
                  <a:pt x="6288907" y="593636"/>
                  <a:pt x="6296269" y="600999"/>
                </a:cubicBezTo>
                <a:lnTo>
                  <a:pt x="6299977" y="609800"/>
                </a:lnTo>
                <a:lnTo>
                  <a:pt x="6235681" y="609800"/>
                </a:lnTo>
                <a:lnTo>
                  <a:pt x="6239389" y="600999"/>
                </a:lnTo>
                <a:cubicBezTo>
                  <a:pt x="6246752" y="593636"/>
                  <a:pt x="6256858" y="589016"/>
                  <a:pt x="6267830" y="589016"/>
                </a:cubicBezTo>
                <a:close/>
                <a:moveTo>
                  <a:pt x="5454756" y="589016"/>
                </a:moveTo>
                <a:cubicBezTo>
                  <a:pt x="5465727" y="589016"/>
                  <a:pt x="5475833" y="593636"/>
                  <a:pt x="5483196" y="600999"/>
                </a:cubicBezTo>
                <a:lnTo>
                  <a:pt x="5486904" y="609800"/>
                </a:lnTo>
                <a:lnTo>
                  <a:pt x="5422607" y="609800"/>
                </a:lnTo>
                <a:lnTo>
                  <a:pt x="5426315" y="600999"/>
                </a:lnTo>
                <a:cubicBezTo>
                  <a:pt x="5433678" y="593636"/>
                  <a:pt x="5443784" y="589016"/>
                  <a:pt x="5454756" y="589016"/>
                </a:cubicBezTo>
                <a:close/>
                <a:moveTo>
                  <a:pt x="5048218" y="589016"/>
                </a:moveTo>
                <a:cubicBezTo>
                  <a:pt x="5059190" y="589016"/>
                  <a:pt x="5069296" y="593636"/>
                  <a:pt x="5076659" y="600999"/>
                </a:cubicBezTo>
                <a:lnTo>
                  <a:pt x="5080367" y="609800"/>
                </a:lnTo>
                <a:lnTo>
                  <a:pt x="5016070" y="609800"/>
                </a:lnTo>
                <a:lnTo>
                  <a:pt x="5019778" y="600999"/>
                </a:lnTo>
                <a:cubicBezTo>
                  <a:pt x="5027141" y="593636"/>
                  <a:pt x="5037246" y="589016"/>
                  <a:pt x="5048218" y="589016"/>
                </a:cubicBezTo>
                <a:close/>
                <a:moveTo>
                  <a:pt x="4228217" y="589016"/>
                </a:moveTo>
                <a:cubicBezTo>
                  <a:pt x="4239766" y="589016"/>
                  <a:pt x="4249871" y="593636"/>
                  <a:pt x="4257089" y="600999"/>
                </a:cubicBezTo>
                <a:lnTo>
                  <a:pt x="4260663" y="609800"/>
                </a:lnTo>
                <a:lnTo>
                  <a:pt x="4196067" y="609800"/>
                </a:lnTo>
                <a:lnTo>
                  <a:pt x="4199775" y="600999"/>
                </a:lnTo>
                <a:cubicBezTo>
                  <a:pt x="4207138" y="593636"/>
                  <a:pt x="4217244" y="589016"/>
                  <a:pt x="4228217" y="589016"/>
                </a:cubicBezTo>
                <a:close/>
                <a:moveTo>
                  <a:pt x="3957960" y="589016"/>
                </a:moveTo>
                <a:cubicBezTo>
                  <a:pt x="3968932" y="589016"/>
                  <a:pt x="3979038" y="593636"/>
                  <a:pt x="3986400" y="600999"/>
                </a:cubicBezTo>
                <a:lnTo>
                  <a:pt x="3990108" y="609800"/>
                </a:lnTo>
                <a:lnTo>
                  <a:pt x="3925812" y="609800"/>
                </a:lnTo>
                <a:lnTo>
                  <a:pt x="3929520" y="600999"/>
                </a:lnTo>
                <a:cubicBezTo>
                  <a:pt x="3936883" y="593636"/>
                  <a:pt x="3946988" y="589016"/>
                  <a:pt x="3957960" y="589016"/>
                </a:cubicBezTo>
                <a:close/>
                <a:moveTo>
                  <a:pt x="1925276" y="589016"/>
                </a:moveTo>
                <a:cubicBezTo>
                  <a:pt x="1936826" y="589016"/>
                  <a:pt x="1946931" y="593636"/>
                  <a:pt x="1954149" y="600999"/>
                </a:cubicBezTo>
                <a:lnTo>
                  <a:pt x="1957723" y="609800"/>
                </a:lnTo>
                <a:lnTo>
                  <a:pt x="1893128" y="609800"/>
                </a:lnTo>
                <a:lnTo>
                  <a:pt x="1896836" y="600999"/>
                </a:lnTo>
                <a:cubicBezTo>
                  <a:pt x="1904199" y="593636"/>
                  <a:pt x="1914304" y="589016"/>
                  <a:pt x="1925276" y="589016"/>
                </a:cubicBezTo>
                <a:close/>
                <a:moveTo>
                  <a:pt x="1655022" y="589016"/>
                </a:moveTo>
                <a:cubicBezTo>
                  <a:pt x="1665994" y="589016"/>
                  <a:pt x="1676099" y="593636"/>
                  <a:pt x="1683462" y="600999"/>
                </a:cubicBezTo>
                <a:lnTo>
                  <a:pt x="1687170" y="609800"/>
                </a:lnTo>
                <a:lnTo>
                  <a:pt x="1622873" y="609800"/>
                </a:lnTo>
                <a:lnTo>
                  <a:pt x="1626581" y="600999"/>
                </a:lnTo>
                <a:cubicBezTo>
                  <a:pt x="1633944" y="593636"/>
                  <a:pt x="1644050" y="589016"/>
                  <a:pt x="1655022" y="589016"/>
                </a:cubicBezTo>
                <a:close/>
                <a:moveTo>
                  <a:pt x="841948" y="589016"/>
                </a:moveTo>
                <a:cubicBezTo>
                  <a:pt x="852920" y="589016"/>
                  <a:pt x="863025" y="593636"/>
                  <a:pt x="870388" y="600999"/>
                </a:cubicBezTo>
                <a:lnTo>
                  <a:pt x="874096" y="609800"/>
                </a:lnTo>
                <a:lnTo>
                  <a:pt x="809800" y="609800"/>
                </a:lnTo>
                <a:lnTo>
                  <a:pt x="813508" y="600999"/>
                </a:lnTo>
                <a:cubicBezTo>
                  <a:pt x="820871" y="593636"/>
                  <a:pt x="830976" y="589016"/>
                  <a:pt x="841948" y="589016"/>
                </a:cubicBezTo>
                <a:close/>
                <a:moveTo>
                  <a:pt x="435411" y="589016"/>
                </a:moveTo>
                <a:cubicBezTo>
                  <a:pt x="446383" y="589016"/>
                  <a:pt x="456488" y="593636"/>
                  <a:pt x="463851" y="600999"/>
                </a:cubicBezTo>
                <a:lnTo>
                  <a:pt x="467559" y="609800"/>
                </a:lnTo>
                <a:lnTo>
                  <a:pt x="403263" y="609800"/>
                </a:lnTo>
                <a:lnTo>
                  <a:pt x="406971" y="600999"/>
                </a:lnTo>
                <a:cubicBezTo>
                  <a:pt x="414333" y="593636"/>
                  <a:pt x="424439" y="589016"/>
                  <a:pt x="435411" y="589016"/>
                </a:cubicBezTo>
                <a:close/>
                <a:moveTo>
                  <a:pt x="11008282" y="577467"/>
                </a:moveTo>
                <a:cubicBezTo>
                  <a:pt x="11022141" y="577467"/>
                  <a:pt x="11034845" y="583242"/>
                  <a:pt x="11044085" y="592481"/>
                </a:cubicBezTo>
                <a:lnTo>
                  <a:pt x="11051348" y="609800"/>
                </a:lnTo>
                <a:lnTo>
                  <a:pt x="10964993" y="609800"/>
                </a:lnTo>
                <a:lnTo>
                  <a:pt x="10972046" y="592481"/>
                </a:lnTo>
                <a:cubicBezTo>
                  <a:pt x="10981141" y="583242"/>
                  <a:pt x="10993845" y="577467"/>
                  <a:pt x="11008282" y="577467"/>
                </a:cubicBezTo>
                <a:close/>
                <a:moveTo>
                  <a:pt x="9924954" y="577467"/>
                </a:moveTo>
                <a:cubicBezTo>
                  <a:pt x="9938813" y="577467"/>
                  <a:pt x="9951517" y="583242"/>
                  <a:pt x="9960757" y="592481"/>
                </a:cubicBezTo>
                <a:lnTo>
                  <a:pt x="9968020" y="609800"/>
                </a:lnTo>
                <a:lnTo>
                  <a:pt x="9881665" y="609800"/>
                </a:lnTo>
                <a:lnTo>
                  <a:pt x="9888718" y="592481"/>
                </a:lnTo>
                <a:cubicBezTo>
                  <a:pt x="9897813" y="583242"/>
                  <a:pt x="9910518" y="577467"/>
                  <a:pt x="9924954" y="577467"/>
                </a:cubicBezTo>
                <a:close/>
                <a:moveTo>
                  <a:pt x="9788672" y="577467"/>
                </a:moveTo>
                <a:cubicBezTo>
                  <a:pt x="9803109" y="577467"/>
                  <a:pt x="9815813" y="583531"/>
                  <a:pt x="9824908" y="593059"/>
                </a:cubicBezTo>
                <a:lnTo>
                  <a:pt x="9831618" y="609800"/>
                </a:lnTo>
                <a:lnTo>
                  <a:pt x="9745864" y="609800"/>
                </a:lnTo>
                <a:lnTo>
                  <a:pt x="9752868" y="592626"/>
                </a:lnTo>
                <a:cubicBezTo>
                  <a:pt x="9762108" y="583242"/>
                  <a:pt x="9774813" y="577467"/>
                  <a:pt x="9788672" y="577467"/>
                </a:cubicBezTo>
                <a:close/>
                <a:moveTo>
                  <a:pt x="8705894" y="577467"/>
                </a:moveTo>
                <a:cubicBezTo>
                  <a:pt x="8719753" y="577467"/>
                  <a:pt x="8732458" y="583242"/>
                  <a:pt x="8741697" y="592481"/>
                </a:cubicBezTo>
                <a:lnTo>
                  <a:pt x="8748960" y="609800"/>
                </a:lnTo>
                <a:lnTo>
                  <a:pt x="8662605" y="609800"/>
                </a:lnTo>
                <a:lnTo>
                  <a:pt x="8669658" y="592481"/>
                </a:lnTo>
                <a:cubicBezTo>
                  <a:pt x="8678753" y="583242"/>
                  <a:pt x="8691458" y="577467"/>
                  <a:pt x="8705894" y="577467"/>
                </a:cubicBezTo>
                <a:close/>
                <a:moveTo>
                  <a:pt x="6402956" y="577467"/>
                </a:moveTo>
                <a:cubicBezTo>
                  <a:pt x="6417393" y="577467"/>
                  <a:pt x="6430097" y="583242"/>
                  <a:pt x="6439192" y="592481"/>
                </a:cubicBezTo>
                <a:lnTo>
                  <a:pt x="6446246" y="609800"/>
                </a:lnTo>
                <a:lnTo>
                  <a:pt x="6359667" y="609800"/>
                </a:lnTo>
                <a:lnTo>
                  <a:pt x="6366721" y="592481"/>
                </a:lnTo>
                <a:cubicBezTo>
                  <a:pt x="6375816" y="583242"/>
                  <a:pt x="6388520" y="577467"/>
                  <a:pt x="6402956" y="577467"/>
                </a:cubicBezTo>
                <a:close/>
                <a:moveTo>
                  <a:pt x="5319628" y="577467"/>
                </a:moveTo>
                <a:cubicBezTo>
                  <a:pt x="5333487" y="577467"/>
                  <a:pt x="5346192" y="583242"/>
                  <a:pt x="5355431" y="592481"/>
                </a:cubicBezTo>
                <a:lnTo>
                  <a:pt x="5362693" y="609800"/>
                </a:lnTo>
                <a:lnTo>
                  <a:pt x="5276339" y="609800"/>
                </a:lnTo>
                <a:lnTo>
                  <a:pt x="5283392" y="592481"/>
                </a:lnTo>
                <a:cubicBezTo>
                  <a:pt x="5292488" y="583242"/>
                  <a:pt x="5305192" y="577467"/>
                  <a:pt x="5319628" y="577467"/>
                </a:cubicBezTo>
                <a:close/>
                <a:moveTo>
                  <a:pt x="5183346" y="577467"/>
                </a:moveTo>
                <a:cubicBezTo>
                  <a:pt x="5197783" y="577467"/>
                  <a:pt x="5210487" y="583242"/>
                  <a:pt x="5219582" y="592481"/>
                </a:cubicBezTo>
                <a:lnTo>
                  <a:pt x="5226635" y="609800"/>
                </a:lnTo>
                <a:lnTo>
                  <a:pt x="5140056" y="609800"/>
                </a:lnTo>
                <a:lnTo>
                  <a:pt x="5147110" y="592481"/>
                </a:lnTo>
                <a:cubicBezTo>
                  <a:pt x="5156205" y="583242"/>
                  <a:pt x="5168909" y="577467"/>
                  <a:pt x="5183346" y="577467"/>
                </a:cubicBezTo>
                <a:close/>
                <a:moveTo>
                  <a:pt x="4093087" y="577467"/>
                </a:moveTo>
                <a:cubicBezTo>
                  <a:pt x="4106947" y="577467"/>
                  <a:pt x="4119651" y="583242"/>
                  <a:pt x="4128890" y="592481"/>
                </a:cubicBezTo>
                <a:lnTo>
                  <a:pt x="4136153" y="609800"/>
                </a:lnTo>
                <a:lnTo>
                  <a:pt x="4049798" y="609800"/>
                </a:lnTo>
                <a:lnTo>
                  <a:pt x="4056851" y="592481"/>
                </a:lnTo>
                <a:cubicBezTo>
                  <a:pt x="4065947" y="583242"/>
                  <a:pt x="4078651" y="577467"/>
                  <a:pt x="4093087" y="577467"/>
                </a:cubicBezTo>
                <a:close/>
                <a:moveTo>
                  <a:pt x="1790148" y="577467"/>
                </a:moveTo>
                <a:cubicBezTo>
                  <a:pt x="1804008" y="577467"/>
                  <a:pt x="1816712" y="583242"/>
                  <a:pt x="1825951" y="592481"/>
                </a:cubicBezTo>
                <a:lnTo>
                  <a:pt x="1833214" y="609800"/>
                </a:lnTo>
                <a:lnTo>
                  <a:pt x="1746859" y="609800"/>
                </a:lnTo>
                <a:lnTo>
                  <a:pt x="1753912" y="592481"/>
                </a:lnTo>
                <a:cubicBezTo>
                  <a:pt x="1763007" y="583242"/>
                  <a:pt x="1775712" y="577467"/>
                  <a:pt x="1790148" y="577467"/>
                </a:cubicBezTo>
                <a:close/>
                <a:moveTo>
                  <a:pt x="706820" y="577467"/>
                </a:moveTo>
                <a:cubicBezTo>
                  <a:pt x="720679" y="577467"/>
                  <a:pt x="733383" y="583242"/>
                  <a:pt x="742623" y="592481"/>
                </a:cubicBezTo>
                <a:lnTo>
                  <a:pt x="749886" y="609800"/>
                </a:lnTo>
                <a:lnTo>
                  <a:pt x="663531" y="609800"/>
                </a:lnTo>
                <a:lnTo>
                  <a:pt x="670584" y="592481"/>
                </a:lnTo>
                <a:cubicBezTo>
                  <a:pt x="679679" y="583242"/>
                  <a:pt x="692384" y="577467"/>
                  <a:pt x="706820" y="577467"/>
                </a:cubicBezTo>
                <a:close/>
                <a:moveTo>
                  <a:pt x="570538" y="577467"/>
                </a:moveTo>
                <a:cubicBezTo>
                  <a:pt x="584975" y="577467"/>
                  <a:pt x="597679" y="583531"/>
                  <a:pt x="606775" y="593059"/>
                </a:cubicBezTo>
                <a:lnTo>
                  <a:pt x="613484" y="609800"/>
                </a:lnTo>
                <a:lnTo>
                  <a:pt x="527731" y="609800"/>
                </a:lnTo>
                <a:lnTo>
                  <a:pt x="534735" y="592626"/>
                </a:lnTo>
                <a:cubicBezTo>
                  <a:pt x="543974" y="583242"/>
                  <a:pt x="556679" y="577467"/>
                  <a:pt x="570538" y="577467"/>
                </a:cubicBezTo>
                <a:close/>
                <a:moveTo>
                  <a:pt x="12180541" y="464284"/>
                </a:moveTo>
                <a:cubicBezTo>
                  <a:pt x="12192090" y="464284"/>
                  <a:pt x="12201330" y="473523"/>
                  <a:pt x="12201330" y="485072"/>
                </a:cubicBezTo>
                <a:cubicBezTo>
                  <a:pt x="12201330" y="496622"/>
                  <a:pt x="12192090" y="505861"/>
                  <a:pt x="12180541" y="505861"/>
                </a:cubicBezTo>
                <a:cubicBezTo>
                  <a:pt x="12168992" y="505861"/>
                  <a:pt x="12159752" y="496622"/>
                  <a:pt x="12159752" y="485072"/>
                </a:cubicBezTo>
                <a:cubicBezTo>
                  <a:pt x="12159752" y="473523"/>
                  <a:pt x="12168992" y="464284"/>
                  <a:pt x="12180541" y="464284"/>
                </a:cubicBezTo>
                <a:close/>
                <a:moveTo>
                  <a:pt x="12040793" y="464284"/>
                </a:moveTo>
                <a:cubicBezTo>
                  <a:pt x="12052342" y="464284"/>
                  <a:pt x="12061582" y="473523"/>
                  <a:pt x="12061582" y="485072"/>
                </a:cubicBezTo>
                <a:cubicBezTo>
                  <a:pt x="12061582" y="496622"/>
                  <a:pt x="12052342" y="505861"/>
                  <a:pt x="12040793" y="505861"/>
                </a:cubicBezTo>
                <a:cubicBezTo>
                  <a:pt x="12029244" y="505861"/>
                  <a:pt x="12020004" y="496622"/>
                  <a:pt x="12020004" y="485072"/>
                </a:cubicBezTo>
                <a:cubicBezTo>
                  <a:pt x="12020004" y="473523"/>
                  <a:pt x="12029244" y="464284"/>
                  <a:pt x="12040793" y="464284"/>
                </a:cubicBezTo>
                <a:close/>
                <a:moveTo>
                  <a:pt x="11901047" y="464284"/>
                </a:moveTo>
                <a:cubicBezTo>
                  <a:pt x="11912596" y="464284"/>
                  <a:pt x="11921836" y="473523"/>
                  <a:pt x="11921836" y="485072"/>
                </a:cubicBezTo>
                <a:cubicBezTo>
                  <a:pt x="11921836" y="496622"/>
                  <a:pt x="11912596" y="505861"/>
                  <a:pt x="11901047" y="505861"/>
                </a:cubicBezTo>
                <a:cubicBezTo>
                  <a:pt x="11889498" y="505861"/>
                  <a:pt x="11880258" y="496622"/>
                  <a:pt x="11880258" y="485072"/>
                </a:cubicBezTo>
                <a:cubicBezTo>
                  <a:pt x="11880258" y="473523"/>
                  <a:pt x="11889498" y="464284"/>
                  <a:pt x="11901047" y="464284"/>
                </a:cubicBezTo>
                <a:close/>
                <a:moveTo>
                  <a:pt x="11761299" y="464284"/>
                </a:moveTo>
                <a:cubicBezTo>
                  <a:pt x="11772848" y="464284"/>
                  <a:pt x="11782088" y="473523"/>
                  <a:pt x="11782088" y="485072"/>
                </a:cubicBezTo>
                <a:cubicBezTo>
                  <a:pt x="11782088" y="496622"/>
                  <a:pt x="11772848" y="505861"/>
                  <a:pt x="11761299" y="505861"/>
                </a:cubicBezTo>
                <a:cubicBezTo>
                  <a:pt x="11749750" y="505861"/>
                  <a:pt x="11740510" y="496622"/>
                  <a:pt x="11740510" y="485072"/>
                </a:cubicBezTo>
                <a:cubicBezTo>
                  <a:pt x="11740510" y="473523"/>
                  <a:pt x="11749750" y="464284"/>
                  <a:pt x="11761299" y="464284"/>
                </a:cubicBezTo>
                <a:close/>
                <a:moveTo>
                  <a:pt x="11621553" y="464284"/>
                </a:moveTo>
                <a:cubicBezTo>
                  <a:pt x="11633102" y="464284"/>
                  <a:pt x="11642342" y="473523"/>
                  <a:pt x="11642342" y="485072"/>
                </a:cubicBezTo>
                <a:cubicBezTo>
                  <a:pt x="11642342" y="496622"/>
                  <a:pt x="11633102" y="505861"/>
                  <a:pt x="11621553" y="505861"/>
                </a:cubicBezTo>
                <a:cubicBezTo>
                  <a:pt x="11610003" y="505861"/>
                  <a:pt x="11600764" y="496622"/>
                  <a:pt x="11600764" y="485072"/>
                </a:cubicBezTo>
                <a:cubicBezTo>
                  <a:pt x="11600764" y="473523"/>
                  <a:pt x="11610003" y="464284"/>
                  <a:pt x="11621553" y="464284"/>
                </a:cubicBezTo>
                <a:close/>
                <a:moveTo>
                  <a:pt x="11481805" y="464284"/>
                </a:moveTo>
                <a:cubicBezTo>
                  <a:pt x="11493354" y="464284"/>
                  <a:pt x="11502594" y="473523"/>
                  <a:pt x="11502594" y="485072"/>
                </a:cubicBezTo>
                <a:cubicBezTo>
                  <a:pt x="11502594" y="496622"/>
                  <a:pt x="11493354" y="505861"/>
                  <a:pt x="11481805" y="505861"/>
                </a:cubicBezTo>
                <a:cubicBezTo>
                  <a:pt x="11470256" y="505861"/>
                  <a:pt x="11461016" y="496622"/>
                  <a:pt x="11461016" y="485072"/>
                </a:cubicBezTo>
                <a:cubicBezTo>
                  <a:pt x="11461016" y="473523"/>
                  <a:pt x="11470256" y="464284"/>
                  <a:pt x="11481805" y="464284"/>
                </a:cubicBezTo>
                <a:close/>
                <a:moveTo>
                  <a:pt x="10644478" y="464284"/>
                </a:moveTo>
                <a:cubicBezTo>
                  <a:pt x="10656028" y="464284"/>
                  <a:pt x="10665267" y="473523"/>
                  <a:pt x="10665267" y="485072"/>
                </a:cubicBezTo>
                <a:cubicBezTo>
                  <a:pt x="10665267" y="496622"/>
                  <a:pt x="10656028" y="505861"/>
                  <a:pt x="10644478" y="505861"/>
                </a:cubicBezTo>
                <a:cubicBezTo>
                  <a:pt x="10632929" y="505861"/>
                  <a:pt x="10623690" y="496622"/>
                  <a:pt x="10623690" y="485072"/>
                </a:cubicBezTo>
                <a:cubicBezTo>
                  <a:pt x="10623690" y="473523"/>
                  <a:pt x="10632929" y="464284"/>
                  <a:pt x="10644478" y="464284"/>
                </a:cubicBezTo>
                <a:close/>
                <a:moveTo>
                  <a:pt x="10504731" y="464284"/>
                </a:moveTo>
                <a:cubicBezTo>
                  <a:pt x="10516280" y="464284"/>
                  <a:pt x="10525520" y="473523"/>
                  <a:pt x="10525520" y="485072"/>
                </a:cubicBezTo>
                <a:cubicBezTo>
                  <a:pt x="10525520" y="496622"/>
                  <a:pt x="10516280" y="505861"/>
                  <a:pt x="10504731" y="505861"/>
                </a:cubicBezTo>
                <a:cubicBezTo>
                  <a:pt x="10493181" y="505861"/>
                  <a:pt x="10483942" y="496622"/>
                  <a:pt x="10483942" y="485072"/>
                </a:cubicBezTo>
                <a:cubicBezTo>
                  <a:pt x="10483942" y="473523"/>
                  <a:pt x="10493181" y="464284"/>
                  <a:pt x="10504731" y="464284"/>
                </a:cubicBezTo>
                <a:close/>
                <a:moveTo>
                  <a:pt x="10364984" y="464284"/>
                </a:moveTo>
                <a:cubicBezTo>
                  <a:pt x="10376534" y="464284"/>
                  <a:pt x="10385773" y="473523"/>
                  <a:pt x="10385773" y="485072"/>
                </a:cubicBezTo>
                <a:cubicBezTo>
                  <a:pt x="10385773" y="496622"/>
                  <a:pt x="10376534" y="505861"/>
                  <a:pt x="10364984" y="505861"/>
                </a:cubicBezTo>
                <a:cubicBezTo>
                  <a:pt x="10353435" y="505861"/>
                  <a:pt x="10344196" y="496622"/>
                  <a:pt x="10344196" y="485072"/>
                </a:cubicBezTo>
                <a:cubicBezTo>
                  <a:pt x="10344196" y="473523"/>
                  <a:pt x="10353435" y="464284"/>
                  <a:pt x="10364984" y="464284"/>
                </a:cubicBezTo>
                <a:close/>
                <a:moveTo>
                  <a:pt x="7854709" y="464284"/>
                </a:moveTo>
                <a:cubicBezTo>
                  <a:pt x="7866258" y="464284"/>
                  <a:pt x="7875498" y="473523"/>
                  <a:pt x="7875498" y="485072"/>
                </a:cubicBezTo>
                <a:cubicBezTo>
                  <a:pt x="7875498" y="496622"/>
                  <a:pt x="7866258" y="505861"/>
                  <a:pt x="7854709" y="505861"/>
                </a:cubicBezTo>
                <a:cubicBezTo>
                  <a:pt x="7843160" y="505861"/>
                  <a:pt x="7833921" y="496622"/>
                  <a:pt x="7833921" y="485072"/>
                </a:cubicBezTo>
                <a:cubicBezTo>
                  <a:pt x="7833921" y="473523"/>
                  <a:pt x="7843160" y="464284"/>
                  <a:pt x="7854709" y="464284"/>
                </a:cubicBezTo>
                <a:close/>
                <a:moveTo>
                  <a:pt x="7714960" y="464284"/>
                </a:moveTo>
                <a:cubicBezTo>
                  <a:pt x="7726511" y="464284"/>
                  <a:pt x="7735749" y="473523"/>
                  <a:pt x="7735749" y="485072"/>
                </a:cubicBezTo>
                <a:cubicBezTo>
                  <a:pt x="7735749" y="496622"/>
                  <a:pt x="7726511" y="505861"/>
                  <a:pt x="7714960" y="505861"/>
                </a:cubicBezTo>
                <a:cubicBezTo>
                  <a:pt x="7703411" y="505861"/>
                  <a:pt x="7694172" y="496622"/>
                  <a:pt x="7694172" y="485072"/>
                </a:cubicBezTo>
                <a:cubicBezTo>
                  <a:pt x="7694172" y="473523"/>
                  <a:pt x="7703411" y="464284"/>
                  <a:pt x="7714960" y="464284"/>
                </a:cubicBezTo>
                <a:close/>
                <a:moveTo>
                  <a:pt x="7575214" y="464284"/>
                </a:moveTo>
                <a:cubicBezTo>
                  <a:pt x="7586765" y="464284"/>
                  <a:pt x="7596004" y="473523"/>
                  <a:pt x="7596004" y="485072"/>
                </a:cubicBezTo>
                <a:cubicBezTo>
                  <a:pt x="7596004" y="496622"/>
                  <a:pt x="7586765" y="505861"/>
                  <a:pt x="7575214" y="505861"/>
                </a:cubicBezTo>
                <a:cubicBezTo>
                  <a:pt x="7563665" y="505861"/>
                  <a:pt x="7554427" y="496622"/>
                  <a:pt x="7554427" y="485072"/>
                </a:cubicBezTo>
                <a:cubicBezTo>
                  <a:pt x="7554427" y="473523"/>
                  <a:pt x="7563665" y="464284"/>
                  <a:pt x="7575214" y="464284"/>
                </a:cubicBezTo>
                <a:close/>
                <a:moveTo>
                  <a:pt x="7435467" y="464284"/>
                </a:moveTo>
                <a:cubicBezTo>
                  <a:pt x="7447016" y="464284"/>
                  <a:pt x="7456257" y="473523"/>
                  <a:pt x="7456257" y="485072"/>
                </a:cubicBezTo>
                <a:cubicBezTo>
                  <a:pt x="7456257" y="496622"/>
                  <a:pt x="7447016" y="505861"/>
                  <a:pt x="7435467" y="505861"/>
                </a:cubicBezTo>
                <a:cubicBezTo>
                  <a:pt x="7423918" y="505861"/>
                  <a:pt x="7414678" y="496622"/>
                  <a:pt x="7414678" y="485072"/>
                </a:cubicBezTo>
                <a:cubicBezTo>
                  <a:pt x="7414678" y="473523"/>
                  <a:pt x="7423918" y="464284"/>
                  <a:pt x="7435467" y="464284"/>
                </a:cubicBezTo>
                <a:close/>
                <a:moveTo>
                  <a:pt x="7295720" y="464284"/>
                </a:moveTo>
                <a:cubicBezTo>
                  <a:pt x="7307271" y="464284"/>
                  <a:pt x="7316509" y="473523"/>
                  <a:pt x="7316509" y="485072"/>
                </a:cubicBezTo>
                <a:cubicBezTo>
                  <a:pt x="7316509" y="496622"/>
                  <a:pt x="7307271" y="505861"/>
                  <a:pt x="7295720" y="505861"/>
                </a:cubicBezTo>
                <a:cubicBezTo>
                  <a:pt x="7284172" y="505861"/>
                  <a:pt x="7274932" y="496622"/>
                  <a:pt x="7274932" y="485072"/>
                </a:cubicBezTo>
                <a:cubicBezTo>
                  <a:pt x="7274932" y="473523"/>
                  <a:pt x="7284172" y="464284"/>
                  <a:pt x="7295720" y="464284"/>
                </a:cubicBezTo>
                <a:close/>
                <a:moveTo>
                  <a:pt x="7155974" y="464284"/>
                </a:moveTo>
                <a:cubicBezTo>
                  <a:pt x="7167522" y="464284"/>
                  <a:pt x="7176762" y="473523"/>
                  <a:pt x="7176762" y="485072"/>
                </a:cubicBezTo>
                <a:cubicBezTo>
                  <a:pt x="7176762" y="496622"/>
                  <a:pt x="7167522" y="505861"/>
                  <a:pt x="7155974" y="505861"/>
                </a:cubicBezTo>
                <a:cubicBezTo>
                  <a:pt x="7144423" y="505861"/>
                  <a:pt x="7135183" y="496622"/>
                  <a:pt x="7135183" y="485072"/>
                </a:cubicBezTo>
                <a:cubicBezTo>
                  <a:pt x="7135183" y="473523"/>
                  <a:pt x="7144423" y="464284"/>
                  <a:pt x="7155974" y="464284"/>
                </a:cubicBezTo>
                <a:close/>
                <a:moveTo>
                  <a:pt x="7016227" y="464284"/>
                </a:moveTo>
                <a:cubicBezTo>
                  <a:pt x="7027776" y="464284"/>
                  <a:pt x="7037016" y="473523"/>
                  <a:pt x="7037016" y="485072"/>
                </a:cubicBezTo>
                <a:cubicBezTo>
                  <a:pt x="7037016" y="496622"/>
                  <a:pt x="7027776" y="505861"/>
                  <a:pt x="7016227" y="505861"/>
                </a:cubicBezTo>
                <a:cubicBezTo>
                  <a:pt x="7004678" y="505861"/>
                  <a:pt x="6995438" y="496622"/>
                  <a:pt x="6995438" y="485072"/>
                </a:cubicBezTo>
                <a:cubicBezTo>
                  <a:pt x="6995438" y="473523"/>
                  <a:pt x="7004678" y="464284"/>
                  <a:pt x="7016227" y="464284"/>
                </a:cubicBezTo>
                <a:close/>
                <a:moveTo>
                  <a:pt x="6877634" y="464284"/>
                </a:moveTo>
                <a:cubicBezTo>
                  <a:pt x="6888028" y="464284"/>
                  <a:pt x="6898424" y="473523"/>
                  <a:pt x="6898424" y="485072"/>
                </a:cubicBezTo>
                <a:cubicBezTo>
                  <a:pt x="6898424" y="496622"/>
                  <a:pt x="6889184" y="505861"/>
                  <a:pt x="6877634" y="505861"/>
                </a:cubicBezTo>
                <a:cubicBezTo>
                  <a:pt x="6866085" y="505861"/>
                  <a:pt x="6856845" y="496622"/>
                  <a:pt x="6856845" y="485072"/>
                </a:cubicBezTo>
                <a:cubicBezTo>
                  <a:pt x="6856845" y="473523"/>
                  <a:pt x="6866085" y="464284"/>
                  <a:pt x="6877634" y="464284"/>
                </a:cubicBezTo>
                <a:close/>
                <a:moveTo>
                  <a:pt x="6039151" y="464284"/>
                </a:moveTo>
                <a:cubicBezTo>
                  <a:pt x="6050702" y="464284"/>
                  <a:pt x="6059942" y="473523"/>
                  <a:pt x="6059942" y="485072"/>
                </a:cubicBezTo>
                <a:cubicBezTo>
                  <a:pt x="6059942" y="496622"/>
                  <a:pt x="6050702" y="505861"/>
                  <a:pt x="6039151" y="505861"/>
                </a:cubicBezTo>
                <a:cubicBezTo>
                  <a:pt x="6027603" y="505861"/>
                  <a:pt x="6018363" y="496622"/>
                  <a:pt x="6018363" y="485072"/>
                </a:cubicBezTo>
                <a:cubicBezTo>
                  <a:pt x="6018363" y="473523"/>
                  <a:pt x="6027603" y="464284"/>
                  <a:pt x="6039151" y="464284"/>
                </a:cubicBezTo>
                <a:close/>
                <a:moveTo>
                  <a:pt x="5899406" y="464284"/>
                </a:moveTo>
                <a:cubicBezTo>
                  <a:pt x="5910953" y="464284"/>
                  <a:pt x="5920193" y="473523"/>
                  <a:pt x="5920193" y="485072"/>
                </a:cubicBezTo>
                <a:cubicBezTo>
                  <a:pt x="5920193" y="496622"/>
                  <a:pt x="5910953" y="505861"/>
                  <a:pt x="5899406" y="505861"/>
                </a:cubicBezTo>
                <a:cubicBezTo>
                  <a:pt x="5887855" y="505861"/>
                  <a:pt x="5878616" y="496622"/>
                  <a:pt x="5878616" y="485072"/>
                </a:cubicBezTo>
                <a:cubicBezTo>
                  <a:pt x="5878616" y="473523"/>
                  <a:pt x="5887855" y="464284"/>
                  <a:pt x="5899406" y="464284"/>
                </a:cubicBezTo>
                <a:close/>
                <a:moveTo>
                  <a:pt x="5759658" y="464284"/>
                </a:moveTo>
                <a:cubicBezTo>
                  <a:pt x="5771207" y="464284"/>
                  <a:pt x="5780448" y="473523"/>
                  <a:pt x="5780448" y="485072"/>
                </a:cubicBezTo>
                <a:cubicBezTo>
                  <a:pt x="5780448" y="496622"/>
                  <a:pt x="5771207" y="505861"/>
                  <a:pt x="5759658" y="505861"/>
                </a:cubicBezTo>
                <a:cubicBezTo>
                  <a:pt x="5748109" y="505861"/>
                  <a:pt x="5738869" y="496622"/>
                  <a:pt x="5738869" y="485072"/>
                </a:cubicBezTo>
                <a:cubicBezTo>
                  <a:pt x="5738869" y="473523"/>
                  <a:pt x="5748109" y="464284"/>
                  <a:pt x="5759658" y="464284"/>
                </a:cubicBezTo>
                <a:close/>
                <a:moveTo>
                  <a:pt x="3241901" y="464284"/>
                </a:moveTo>
                <a:cubicBezTo>
                  <a:pt x="3253450" y="464284"/>
                  <a:pt x="3262690" y="473523"/>
                  <a:pt x="3262690" y="485072"/>
                </a:cubicBezTo>
                <a:cubicBezTo>
                  <a:pt x="3262690" y="496622"/>
                  <a:pt x="3253450" y="505861"/>
                  <a:pt x="3241901" y="505861"/>
                </a:cubicBezTo>
                <a:cubicBezTo>
                  <a:pt x="3230352" y="505861"/>
                  <a:pt x="3221112" y="496622"/>
                  <a:pt x="3221112" y="485072"/>
                </a:cubicBezTo>
                <a:cubicBezTo>
                  <a:pt x="3221112" y="473523"/>
                  <a:pt x="3230352" y="464284"/>
                  <a:pt x="3241901" y="464284"/>
                </a:cubicBezTo>
                <a:close/>
                <a:moveTo>
                  <a:pt x="3102153" y="464284"/>
                </a:moveTo>
                <a:cubicBezTo>
                  <a:pt x="3113703" y="464284"/>
                  <a:pt x="3122942" y="473523"/>
                  <a:pt x="3122942" y="485072"/>
                </a:cubicBezTo>
                <a:cubicBezTo>
                  <a:pt x="3122942" y="496622"/>
                  <a:pt x="3113703" y="505861"/>
                  <a:pt x="3102153" y="505861"/>
                </a:cubicBezTo>
                <a:cubicBezTo>
                  <a:pt x="3090605" y="505861"/>
                  <a:pt x="3081365" y="496622"/>
                  <a:pt x="3081365" y="485072"/>
                </a:cubicBezTo>
                <a:cubicBezTo>
                  <a:pt x="3081365" y="473523"/>
                  <a:pt x="3090605" y="464284"/>
                  <a:pt x="3102153" y="464284"/>
                </a:cubicBezTo>
                <a:close/>
                <a:moveTo>
                  <a:pt x="2962407" y="464284"/>
                </a:moveTo>
                <a:cubicBezTo>
                  <a:pt x="2973956" y="464284"/>
                  <a:pt x="2983196" y="473523"/>
                  <a:pt x="2983196" y="485072"/>
                </a:cubicBezTo>
                <a:cubicBezTo>
                  <a:pt x="2983196" y="496622"/>
                  <a:pt x="2973956" y="505861"/>
                  <a:pt x="2962407" y="505861"/>
                </a:cubicBezTo>
                <a:cubicBezTo>
                  <a:pt x="2950858" y="505861"/>
                  <a:pt x="2941618" y="496622"/>
                  <a:pt x="2941618" y="485072"/>
                </a:cubicBezTo>
                <a:cubicBezTo>
                  <a:pt x="2941618" y="473523"/>
                  <a:pt x="2950858" y="464284"/>
                  <a:pt x="2962407" y="464284"/>
                </a:cubicBezTo>
                <a:close/>
                <a:moveTo>
                  <a:pt x="2822659" y="464284"/>
                </a:moveTo>
                <a:cubicBezTo>
                  <a:pt x="2834209" y="464284"/>
                  <a:pt x="2843448" y="473523"/>
                  <a:pt x="2843448" y="485072"/>
                </a:cubicBezTo>
                <a:cubicBezTo>
                  <a:pt x="2843448" y="496622"/>
                  <a:pt x="2834209" y="505861"/>
                  <a:pt x="2822659" y="505861"/>
                </a:cubicBezTo>
                <a:cubicBezTo>
                  <a:pt x="2811110" y="505861"/>
                  <a:pt x="2801871" y="496622"/>
                  <a:pt x="2801871" y="485072"/>
                </a:cubicBezTo>
                <a:cubicBezTo>
                  <a:pt x="2801871" y="473523"/>
                  <a:pt x="2811110" y="464284"/>
                  <a:pt x="2822659" y="464284"/>
                </a:cubicBezTo>
                <a:close/>
                <a:moveTo>
                  <a:pt x="2682913" y="464284"/>
                </a:moveTo>
                <a:cubicBezTo>
                  <a:pt x="2694462" y="464284"/>
                  <a:pt x="2703702" y="473523"/>
                  <a:pt x="2703702" y="485072"/>
                </a:cubicBezTo>
                <a:cubicBezTo>
                  <a:pt x="2703702" y="496622"/>
                  <a:pt x="2694462" y="505861"/>
                  <a:pt x="2682913" y="505861"/>
                </a:cubicBezTo>
                <a:cubicBezTo>
                  <a:pt x="2671365" y="505861"/>
                  <a:pt x="2662124" y="496622"/>
                  <a:pt x="2662124" y="485072"/>
                </a:cubicBezTo>
                <a:cubicBezTo>
                  <a:pt x="2662124" y="473523"/>
                  <a:pt x="2671365" y="464284"/>
                  <a:pt x="2682913" y="464284"/>
                </a:cubicBezTo>
                <a:close/>
                <a:moveTo>
                  <a:pt x="2543167" y="464284"/>
                </a:moveTo>
                <a:cubicBezTo>
                  <a:pt x="2554715" y="464284"/>
                  <a:pt x="2563954" y="473523"/>
                  <a:pt x="2563954" y="485072"/>
                </a:cubicBezTo>
                <a:cubicBezTo>
                  <a:pt x="2563954" y="496622"/>
                  <a:pt x="2554715" y="505861"/>
                  <a:pt x="2543167" y="505861"/>
                </a:cubicBezTo>
                <a:cubicBezTo>
                  <a:pt x="2531616" y="505861"/>
                  <a:pt x="2522376" y="496622"/>
                  <a:pt x="2522376" y="485072"/>
                </a:cubicBezTo>
                <a:cubicBezTo>
                  <a:pt x="2522376" y="473523"/>
                  <a:pt x="2531616" y="464284"/>
                  <a:pt x="2543167" y="464284"/>
                </a:cubicBezTo>
                <a:close/>
                <a:moveTo>
                  <a:pt x="2403419" y="464284"/>
                </a:moveTo>
                <a:cubicBezTo>
                  <a:pt x="2414969" y="464284"/>
                  <a:pt x="2424209" y="473523"/>
                  <a:pt x="2424209" y="485072"/>
                </a:cubicBezTo>
                <a:cubicBezTo>
                  <a:pt x="2424209" y="496622"/>
                  <a:pt x="2414969" y="505861"/>
                  <a:pt x="2403419" y="505861"/>
                </a:cubicBezTo>
                <a:cubicBezTo>
                  <a:pt x="2391869" y="505861"/>
                  <a:pt x="2382630" y="496622"/>
                  <a:pt x="2382630" y="485072"/>
                </a:cubicBezTo>
                <a:cubicBezTo>
                  <a:pt x="2382630" y="473523"/>
                  <a:pt x="2391869" y="464284"/>
                  <a:pt x="2403419" y="464284"/>
                </a:cubicBezTo>
                <a:close/>
                <a:moveTo>
                  <a:pt x="2263671" y="464284"/>
                </a:moveTo>
                <a:cubicBezTo>
                  <a:pt x="2275221" y="464284"/>
                  <a:pt x="2284460" y="473523"/>
                  <a:pt x="2284460" y="485072"/>
                </a:cubicBezTo>
                <a:cubicBezTo>
                  <a:pt x="2284460" y="496622"/>
                  <a:pt x="2275221" y="505861"/>
                  <a:pt x="2263671" y="505861"/>
                </a:cubicBezTo>
                <a:cubicBezTo>
                  <a:pt x="2252122" y="505861"/>
                  <a:pt x="2242883" y="496622"/>
                  <a:pt x="2242883" y="485072"/>
                </a:cubicBezTo>
                <a:cubicBezTo>
                  <a:pt x="2242883" y="473523"/>
                  <a:pt x="2252122" y="464284"/>
                  <a:pt x="2263671" y="464284"/>
                </a:cubicBezTo>
                <a:close/>
                <a:moveTo>
                  <a:pt x="1426344" y="464284"/>
                </a:moveTo>
                <a:cubicBezTo>
                  <a:pt x="1437894" y="464284"/>
                  <a:pt x="1447133" y="473523"/>
                  <a:pt x="1447133" y="485072"/>
                </a:cubicBezTo>
                <a:cubicBezTo>
                  <a:pt x="1447133" y="496622"/>
                  <a:pt x="1437894" y="505861"/>
                  <a:pt x="1426344" y="505861"/>
                </a:cubicBezTo>
                <a:cubicBezTo>
                  <a:pt x="1414795" y="505861"/>
                  <a:pt x="1405556" y="496622"/>
                  <a:pt x="1405556" y="485072"/>
                </a:cubicBezTo>
                <a:cubicBezTo>
                  <a:pt x="1405556" y="473523"/>
                  <a:pt x="1414795" y="464284"/>
                  <a:pt x="1426344" y="464284"/>
                </a:cubicBezTo>
                <a:close/>
                <a:moveTo>
                  <a:pt x="1286597" y="464284"/>
                </a:moveTo>
                <a:cubicBezTo>
                  <a:pt x="1298146" y="464284"/>
                  <a:pt x="1307386" y="473523"/>
                  <a:pt x="1307386" y="485072"/>
                </a:cubicBezTo>
                <a:cubicBezTo>
                  <a:pt x="1307386" y="496622"/>
                  <a:pt x="1298146" y="505861"/>
                  <a:pt x="1286597" y="505861"/>
                </a:cubicBezTo>
                <a:cubicBezTo>
                  <a:pt x="1275048" y="505861"/>
                  <a:pt x="1265808" y="496622"/>
                  <a:pt x="1265808" y="485072"/>
                </a:cubicBezTo>
                <a:cubicBezTo>
                  <a:pt x="1265808" y="473523"/>
                  <a:pt x="1275048" y="464284"/>
                  <a:pt x="1286597" y="464284"/>
                </a:cubicBezTo>
                <a:close/>
                <a:moveTo>
                  <a:pt x="1146851" y="464284"/>
                </a:moveTo>
                <a:cubicBezTo>
                  <a:pt x="1158400" y="464284"/>
                  <a:pt x="1167639" y="473523"/>
                  <a:pt x="1167639" y="485072"/>
                </a:cubicBezTo>
                <a:cubicBezTo>
                  <a:pt x="1167639" y="496622"/>
                  <a:pt x="1158400" y="505861"/>
                  <a:pt x="1146851" y="505861"/>
                </a:cubicBezTo>
                <a:cubicBezTo>
                  <a:pt x="1135301" y="505861"/>
                  <a:pt x="1126062" y="496622"/>
                  <a:pt x="1126062" y="485072"/>
                </a:cubicBezTo>
                <a:cubicBezTo>
                  <a:pt x="1126062" y="473523"/>
                  <a:pt x="1135301" y="464284"/>
                  <a:pt x="1146851" y="464284"/>
                </a:cubicBezTo>
                <a:close/>
                <a:moveTo>
                  <a:pt x="11343213" y="461974"/>
                </a:moveTo>
                <a:cubicBezTo>
                  <a:pt x="11355918" y="461974"/>
                  <a:pt x="11366312" y="472369"/>
                  <a:pt x="11366312" y="485072"/>
                </a:cubicBezTo>
                <a:cubicBezTo>
                  <a:pt x="11366312" y="497777"/>
                  <a:pt x="11355918" y="508171"/>
                  <a:pt x="11343213" y="508171"/>
                </a:cubicBezTo>
                <a:cubicBezTo>
                  <a:pt x="11330509" y="508171"/>
                  <a:pt x="11320114" y="497777"/>
                  <a:pt x="11320114" y="485072"/>
                </a:cubicBezTo>
                <a:cubicBezTo>
                  <a:pt x="11320114" y="472369"/>
                  <a:pt x="11330509" y="461974"/>
                  <a:pt x="11343213" y="461974"/>
                </a:cubicBezTo>
                <a:close/>
                <a:moveTo>
                  <a:pt x="10225237" y="461974"/>
                </a:moveTo>
                <a:cubicBezTo>
                  <a:pt x="10237942" y="461974"/>
                  <a:pt x="10248335" y="472369"/>
                  <a:pt x="10248335" y="485072"/>
                </a:cubicBezTo>
                <a:cubicBezTo>
                  <a:pt x="10248335" y="497777"/>
                  <a:pt x="10237942" y="508171"/>
                  <a:pt x="10225237" y="508171"/>
                </a:cubicBezTo>
                <a:cubicBezTo>
                  <a:pt x="10212533" y="508171"/>
                  <a:pt x="10202138" y="497777"/>
                  <a:pt x="10202138" y="485072"/>
                </a:cubicBezTo>
                <a:cubicBezTo>
                  <a:pt x="10202138" y="472369"/>
                  <a:pt x="10212533" y="461974"/>
                  <a:pt x="10225237" y="461974"/>
                </a:cubicBezTo>
                <a:close/>
                <a:moveTo>
                  <a:pt x="9112431" y="461974"/>
                </a:moveTo>
                <a:cubicBezTo>
                  <a:pt x="9125136" y="461974"/>
                  <a:pt x="9135530" y="472369"/>
                  <a:pt x="9135530" y="485072"/>
                </a:cubicBezTo>
                <a:cubicBezTo>
                  <a:pt x="9135530" y="497777"/>
                  <a:pt x="9125136" y="508171"/>
                  <a:pt x="9112431" y="508171"/>
                </a:cubicBezTo>
                <a:cubicBezTo>
                  <a:pt x="9099727" y="508171"/>
                  <a:pt x="9089332" y="497777"/>
                  <a:pt x="9089332" y="485072"/>
                </a:cubicBezTo>
                <a:cubicBezTo>
                  <a:pt x="9089332" y="472369"/>
                  <a:pt x="9099727" y="461974"/>
                  <a:pt x="9112431" y="461974"/>
                </a:cubicBezTo>
                <a:close/>
                <a:moveTo>
                  <a:pt x="7994456" y="461974"/>
                </a:moveTo>
                <a:cubicBezTo>
                  <a:pt x="8007160" y="461974"/>
                  <a:pt x="8017555" y="472369"/>
                  <a:pt x="8017555" y="485072"/>
                </a:cubicBezTo>
                <a:cubicBezTo>
                  <a:pt x="8017555" y="497777"/>
                  <a:pt x="8007160" y="508171"/>
                  <a:pt x="7994456" y="508171"/>
                </a:cubicBezTo>
                <a:cubicBezTo>
                  <a:pt x="7981752" y="508171"/>
                  <a:pt x="7971356" y="497777"/>
                  <a:pt x="7971356" y="485072"/>
                </a:cubicBezTo>
                <a:cubicBezTo>
                  <a:pt x="7971356" y="472369"/>
                  <a:pt x="7981752" y="461974"/>
                  <a:pt x="7994456" y="461974"/>
                </a:cubicBezTo>
                <a:close/>
                <a:moveTo>
                  <a:pt x="6737887" y="461974"/>
                </a:moveTo>
                <a:cubicBezTo>
                  <a:pt x="6750591" y="461974"/>
                  <a:pt x="6760986" y="472369"/>
                  <a:pt x="6760986" y="485072"/>
                </a:cubicBezTo>
                <a:cubicBezTo>
                  <a:pt x="6760986" y="497777"/>
                  <a:pt x="6750591" y="508171"/>
                  <a:pt x="6737887" y="508171"/>
                </a:cubicBezTo>
                <a:cubicBezTo>
                  <a:pt x="6725183" y="508171"/>
                  <a:pt x="6714789" y="497777"/>
                  <a:pt x="6714789" y="485072"/>
                </a:cubicBezTo>
                <a:cubicBezTo>
                  <a:pt x="6714789" y="472369"/>
                  <a:pt x="6725183" y="461974"/>
                  <a:pt x="6737887" y="461974"/>
                </a:cubicBezTo>
                <a:close/>
                <a:moveTo>
                  <a:pt x="5619912" y="461974"/>
                </a:moveTo>
                <a:cubicBezTo>
                  <a:pt x="5632617" y="461974"/>
                  <a:pt x="5643008" y="472369"/>
                  <a:pt x="5643008" y="485072"/>
                </a:cubicBezTo>
                <a:cubicBezTo>
                  <a:pt x="5643008" y="497777"/>
                  <a:pt x="5632617" y="508171"/>
                  <a:pt x="5619912" y="508171"/>
                </a:cubicBezTo>
                <a:cubicBezTo>
                  <a:pt x="5607207" y="508171"/>
                  <a:pt x="5596812" y="497777"/>
                  <a:pt x="5596812" y="485072"/>
                </a:cubicBezTo>
                <a:cubicBezTo>
                  <a:pt x="5596812" y="472369"/>
                  <a:pt x="5607207" y="461974"/>
                  <a:pt x="5619912" y="461974"/>
                </a:cubicBezTo>
                <a:close/>
                <a:moveTo>
                  <a:pt x="4499625" y="461974"/>
                </a:moveTo>
                <a:cubicBezTo>
                  <a:pt x="4512330" y="461974"/>
                  <a:pt x="4522722" y="472369"/>
                  <a:pt x="4522722" y="485072"/>
                </a:cubicBezTo>
                <a:cubicBezTo>
                  <a:pt x="4522722" y="497777"/>
                  <a:pt x="4512330" y="508171"/>
                  <a:pt x="4499625" y="508171"/>
                </a:cubicBezTo>
                <a:cubicBezTo>
                  <a:pt x="4486920" y="508171"/>
                  <a:pt x="4476525" y="497777"/>
                  <a:pt x="4476525" y="485072"/>
                </a:cubicBezTo>
                <a:cubicBezTo>
                  <a:pt x="4476525" y="472369"/>
                  <a:pt x="4486920" y="461974"/>
                  <a:pt x="4499625" y="461974"/>
                </a:cubicBezTo>
                <a:close/>
                <a:moveTo>
                  <a:pt x="3381648" y="461974"/>
                </a:moveTo>
                <a:cubicBezTo>
                  <a:pt x="3394352" y="461974"/>
                  <a:pt x="3404746" y="472369"/>
                  <a:pt x="3404746" y="485072"/>
                </a:cubicBezTo>
                <a:cubicBezTo>
                  <a:pt x="3404746" y="497777"/>
                  <a:pt x="3394352" y="508171"/>
                  <a:pt x="3381648" y="508171"/>
                </a:cubicBezTo>
                <a:cubicBezTo>
                  <a:pt x="3368944" y="508171"/>
                  <a:pt x="3358549" y="497777"/>
                  <a:pt x="3358549" y="485072"/>
                </a:cubicBezTo>
                <a:cubicBezTo>
                  <a:pt x="3358549" y="472369"/>
                  <a:pt x="3368944" y="461974"/>
                  <a:pt x="3381648" y="461974"/>
                </a:cubicBezTo>
                <a:close/>
                <a:moveTo>
                  <a:pt x="2125079" y="461974"/>
                </a:moveTo>
                <a:cubicBezTo>
                  <a:pt x="2137784" y="461974"/>
                  <a:pt x="2148178" y="472369"/>
                  <a:pt x="2148178" y="485072"/>
                </a:cubicBezTo>
                <a:cubicBezTo>
                  <a:pt x="2148178" y="497777"/>
                  <a:pt x="2137784" y="508171"/>
                  <a:pt x="2125079" y="508171"/>
                </a:cubicBezTo>
                <a:cubicBezTo>
                  <a:pt x="2112376" y="508171"/>
                  <a:pt x="2101980" y="497777"/>
                  <a:pt x="2101980" y="485072"/>
                </a:cubicBezTo>
                <a:cubicBezTo>
                  <a:pt x="2101980" y="472369"/>
                  <a:pt x="2112376" y="461974"/>
                  <a:pt x="2125079" y="461974"/>
                </a:cubicBezTo>
                <a:close/>
                <a:moveTo>
                  <a:pt x="1007103" y="461974"/>
                </a:moveTo>
                <a:cubicBezTo>
                  <a:pt x="1019808" y="461974"/>
                  <a:pt x="1030201" y="472369"/>
                  <a:pt x="1030201" y="485072"/>
                </a:cubicBezTo>
                <a:cubicBezTo>
                  <a:pt x="1030201" y="497777"/>
                  <a:pt x="1019808" y="508171"/>
                  <a:pt x="1007103" y="508171"/>
                </a:cubicBezTo>
                <a:cubicBezTo>
                  <a:pt x="994399" y="508171"/>
                  <a:pt x="984004" y="497777"/>
                  <a:pt x="984004" y="485072"/>
                </a:cubicBezTo>
                <a:cubicBezTo>
                  <a:pt x="984004" y="472369"/>
                  <a:pt x="994399" y="461974"/>
                  <a:pt x="1007103" y="461974"/>
                </a:cubicBezTo>
                <a:close/>
                <a:moveTo>
                  <a:pt x="11203466" y="456200"/>
                </a:moveTo>
                <a:cubicBezTo>
                  <a:pt x="11218480" y="456200"/>
                  <a:pt x="11232339" y="468903"/>
                  <a:pt x="11232339" y="485072"/>
                </a:cubicBezTo>
                <a:cubicBezTo>
                  <a:pt x="11232339" y="501241"/>
                  <a:pt x="11219636" y="513946"/>
                  <a:pt x="11203466" y="513946"/>
                </a:cubicBezTo>
                <a:cubicBezTo>
                  <a:pt x="11187298" y="513946"/>
                  <a:pt x="11174593" y="501241"/>
                  <a:pt x="11174593" y="485072"/>
                </a:cubicBezTo>
                <a:cubicBezTo>
                  <a:pt x="11174593" y="468903"/>
                  <a:pt x="11187298" y="456200"/>
                  <a:pt x="11203466" y="456200"/>
                </a:cubicBezTo>
                <a:close/>
                <a:moveTo>
                  <a:pt x="10085490" y="456200"/>
                </a:moveTo>
                <a:cubicBezTo>
                  <a:pt x="10101659" y="456200"/>
                  <a:pt x="10114363" y="468903"/>
                  <a:pt x="10114363" y="485072"/>
                </a:cubicBezTo>
                <a:cubicBezTo>
                  <a:pt x="10114363" y="501241"/>
                  <a:pt x="10101659" y="513946"/>
                  <a:pt x="10085490" y="513946"/>
                </a:cubicBezTo>
                <a:cubicBezTo>
                  <a:pt x="10069321" y="513946"/>
                  <a:pt x="10056616" y="501241"/>
                  <a:pt x="10056616" y="485072"/>
                </a:cubicBezTo>
                <a:cubicBezTo>
                  <a:pt x="10056616" y="468903"/>
                  <a:pt x="10069321" y="456200"/>
                  <a:pt x="10085490" y="456200"/>
                </a:cubicBezTo>
                <a:close/>
                <a:moveTo>
                  <a:pt x="9247008" y="456200"/>
                </a:moveTo>
                <a:cubicBezTo>
                  <a:pt x="9263177" y="456200"/>
                  <a:pt x="9275881" y="468903"/>
                  <a:pt x="9275881" y="485072"/>
                </a:cubicBezTo>
                <a:cubicBezTo>
                  <a:pt x="9275881" y="501241"/>
                  <a:pt x="9263177" y="513946"/>
                  <a:pt x="9247008" y="513946"/>
                </a:cubicBezTo>
                <a:cubicBezTo>
                  <a:pt x="9230839" y="513946"/>
                  <a:pt x="9218134" y="501241"/>
                  <a:pt x="9218134" y="485072"/>
                </a:cubicBezTo>
                <a:cubicBezTo>
                  <a:pt x="9218134" y="468903"/>
                  <a:pt x="9230839" y="456200"/>
                  <a:pt x="9247008" y="456200"/>
                </a:cubicBezTo>
                <a:close/>
                <a:moveTo>
                  <a:pt x="8972685" y="456200"/>
                </a:moveTo>
                <a:cubicBezTo>
                  <a:pt x="8988854" y="456200"/>
                  <a:pt x="9001557" y="468903"/>
                  <a:pt x="9001557" y="485072"/>
                </a:cubicBezTo>
                <a:cubicBezTo>
                  <a:pt x="9001557" y="501241"/>
                  <a:pt x="8988854" y="513946"/>
                  <a:pt x="8972685" y="513946"/>
                </a:cubicBezTo>
                <a:cubicBezTo>
                  <a:pt x="8956515" y="513946"/>
                  <a:pt x="8943811" y="501241"/>
                  <a:pt x="8943811" y="485072"/>
                </a:cubicBezTo>
                <a:cubicBezTo>
                  <a:pt x="8943811" y="468903"/>
                  <a:pt x="8956515" y="456200"/>
                  <a:pt x="8972685" y="456200"/>
                </a:cubicBezTo>
                <a:close/>
                <a:moveTo>
                  <a:pt x="8134203" y="456200"/>
                </a:moveTo>
                <a:cubicBezTo>
                  <a:pt x="8150373" y="456200"/>
                  <a:pt x="8163075" y="468903"/>
                  <a:pt x="8163075" y="485072"/>
                </a:cubicBezTo>
                <a:cubicBezTo>
                  <a:pt x="8163075" y="501241"/>
                  <a:pt x="8150373" y="513946"/>
                  <a:pt x="8134203" y="513946"/>
                </a:cubicBezTo>
                <a:cubicBezTo>
                  <a:pt x="8118034" y="513946"/>
                  <a:pt x="8105330" y="501241"/>
                  <a:pt x="8105330" y="485072"/>
                </a:cubicBezTo>
                <a:cubicBezTo>
                  <a:pt x="8105330" y="468903"/>
                  <a:pt x="8118034" y="456200"/>
                  <a:pt x="8134203" y="456200"/>
                </a:cubicBezTo>
                <a:close/>
                <a:moveTo>
                  <a:pt x="6598140" y="456200"/>
                </a:moveTo>
                <a:cubicBezTo>
                  <a:pt x="6613155" y="456200"/>
                  <a:pt x="6627013" y="468903"/>
                  <a:pt x="6627013" y="485072"/>
                </a:cubicBezTo>
                <a:cubicBezTo>
                  <a:pt x="6627013" y="501241"/>
                  <a:pt x="6614309" y="513946"/>
                  <a:pt x="6598140" y="513946"/>
                </a:cubicBezTo>
                <a:cubicBezTo>
                  <a:pt x="6581971" y="513946"/>
                  <a:pt x="6569267" y="501241"/>
                  <a:pt x="6569267" y="485072"/>
                </a:cubicBezTo>
                <a:cubicBezTo>
                  <a:pt x="6569267" y="468903"/>
                  <a:pt x="6581971" y="456200"/>
                  <a:pt x="6598140" y="456200"/>
                </a:cubicBezTo>
                <a:close/>
                <a:moveTo>
                  <a:pt x="5480165" y="456200"/>
                </a:moveTo>
                <a:cubicBezTo>
                  <a:pt x="5496333" y="456200"/>
                  <a:pt x="5509037" y="468903"/>
                  <a:pt x="5509037" y="485072"/>
                </a:cubicBezTo>
                <a:cubicBezTo>
                  <a:pt x="5509037" y="501241"/>
                  <a:pt x="5496333" y="513946"/>
                  <a:pt x="5480165" y="513946"/>
                </a:cubicBezTo>
                <a:cubicBezTo>
                  <a:pt x="5463996" y="513946"/>
                  <a:pt x="5451289" y="501241"/>
                  <a:pt x="5451289" y="485072"/>
                </a:cubicBezTo>
                <a:cubicBezTo>
                  <a:pt x="5451289" y="468903"/>
                  <a:pt x="5463996" y="456200"/>
                  <a:pt x="5480165" y="456200"/>
                </a:cubicBezTo>
                <a:close/>
                <a:moveTo>
                  <a:pt x="4641682" y="456200"/>
                </a:moveTo>
                <a:cubicBezTo>
                  <a:pt x="4657851" y="456200"/>
                  <a:pt x="4670555" y="468903"/>
                  <a:pt x="4670555" y="485072"/>
                </a:cubicBezTo>
                <a:cubicBezTo>
                  <a:pt x="4670555" y="501241"/>
                  <a:pt x="4657851" y="513946"/>
                  <a:pt x="4641682" y="513946"/>
                </a:cubicBezTo>
                <a:cubicBezTo>
                  <a:pt x="4625513" y="513946"/>
                  <a:pt x="4612809" y="501241"/>
                  <a:pt x="4612809" y="485072"/>
                </a:cubicBezTo>
                <a:cubicBezTo>
                  <a:pt x="4612809" y="468903"/>
                  <a:pt x="4625513" y="456200"/>
                  <a:pt x="4641682" y="456200"/>
                </a:cubicBezTo>
                <a:close/>
                <a:moveTo>
                  <a:pt x="4359878" y="456200"/>
                </a:moveTo>
                <a:cubicBezTo>
                  <a:pt x="4376046" y="456200"/>
                  <a:pt x="4388751" y="468903"/>
                  <a:pt x="4388751" y="485072"/>
                </a:cubicBezTo>
                <a:cubicBezTo>
                  <a:pt x="4388751" y="501241"/>
                  <a:pt x="4376046" y="513946"/>
                  <a:pt x="4359878" y="513946"/>
                </a:cubicBezTo>
                <a:cubicBezTo>
                  <a:pt x="4343709" y="513946"/>
                  <a:pt x="4331004" y="501241"/>
                  <a:pt x="4331004" y="485072"/>
                </a:cubicBezTo>
                <a:cubicBezTo>
                  <a:pt x="4331004" y="468903"/>
                  <a:pt x="4343709" y="456200"/>
                  <a:pt x="4359878" y="456200"/>
                </a:cubicBezTo>
                <a:close/>
                <a:moveTo>
                  <a:pt x="3521396" y="456200"/>
                </a:moveTo>
                <a:cubicBezTo>
                  <a:pt x="3537564" y="456200"/>
                  <a:pt x="3550268" y="468903"/>
                  <a:pt x="3550268" y="485072"/>
                </a:cubicBezTo>
                <a:cubicBezTo>
                  <a:pt x="3550268" y="501241"/>
                  <a:pt x="3537564" y="513946"/>
                  <a:pt x="3521396" y="513946"/>
                </a:cubicBezTo>
                <a:cubicBezTo>
                  <a:pt x="3505226" y="513946"/>
                  <a:pt x="3492521" y="501241"/>
                  <a:pt x="3492521" y="485072"/>
                </a:cubicBezTo>
                <a:cubicBezTo>
                  <a:pt x="3492521" y="468903"/>
                  <a:pt x="3505226" y="456200"/>
                  <a:pt x="3521396" y="456200"/>
                </a:cubicBezTo>
                <a:close/>
                <a:moveTo>
                  <a:pt x="1985333" y="456200"/>
                </a:moveTo>
                <a:cubicBezTo>
                  <a:pt x="2000346" y="456200"/>
                  <a:pt x="2014205" y="468903"/>
                  <a:pt x="2014205" y="485072"/>
                </a:cubicBezTo>
                <a:cubicBezTo>
                  <a:pt x="2014205" y="501241"/>
                  <a:pt x="2001502" y="513946"/>
                  <a:pt x="1985333" y="513946"/>
                </a:cubicBezTo>
                <a:cubicBezTo>
                  <a:pt x="1969164" y="513946"/>
                  <a:pt x="1956459" y="501241"/>
                  <a:pt x="1956459" y="485072"/>
                </a:cubicBezTo>
                <a:cubicBezTo>
                  <a:pt x="1956459" y="468903"/>
                  <a:pt x="1969164" y="456200"/>
                  <a:pt x="1985333" y="456200"/>
                </a:cubicBezTo>
                <a:close/>
                <a:moveTo>
                  <a:pt x="867356" y="456200"/>
                </a:moveTo>
                <a:cubicBezTo>
                  <a:pt x="883525" y="456200"/>
                  <a:pt x="896229" y="468903"/>
                  <a:pt x="896229" y="485072"/>
                </a:cubicBezTo>
                <a:cubicBezTo>
                  <a:pt x="896229" y="501241"/>
                  <a:pt x="883525" y="513946"/>
                  <a:pt x="867356" y="513946"/>
                </a:cubicBezTo>
                <a:cubicBezTo>
                  <a:pt x="851187" y="513946"/>
                  <a:pt x="838482" y="501241"/>
                  <a:pt x="838482" y="485072"/>
                </a:cubicBezTo>
                <a:cubicBezTo>
                  <a:pt x="838482" y="468903"/>
                  <a:pt x="851187" y="456200"/>
                  <a:pt x="867356" y="456200"/>
                </a:cubicBezTo>
                <a:close/>
                <a:moveTo>
                  <a:pt x="28874" y="456200"/>
                </a:moveTo>
                <a:cubicBezTo>
                  <a:pt x="45043" y="456200"/>
                  <a:pt x="57747" y="468903"/>
                  <a:pt x="57747" y="485072"/>
                </a:cubicBezTo>
                <a:cubicBezTo>
                  <a:pt x="57747" y="501241"/>
                  <a:pt x="45043" y="513946"/>
                  <a:pt x="28874" y="513946"/>
                </a:cubicBezTo>
                <a:cubicBezTo>
                  <a:pt x="12705" y="513946"/>
                  <a:pt x="0" y="501241"/>
                  <a:pt x="0" y="485072"/>
                </a:cubicBezTo>
                <a:cubicBezTo>
                  <a:pt x="0" y="468903"/>
                  <a:pt x="12705" y="456200"/>
                  <a:pt x="28874" y="456200"/>
                </a:cubicBezTo>
                <a:close/>
                <a:moveTo>
                  <a:pt x="11063719" y="449270"/>
                </a:moveTo>
                <a:cubicBezTo>
                  <a:pt x="11082198" y="449270"/>
                  <a:pt x="11098367" y="465439"/>
                  <a:pt x="11098367" y="483918"/>
                </a:cubicBezTo>
                <a:cubicBezTo>
                  <a:pt x="11098367" y="502397"/>
                  <a:pt x="11083353" y="518566"/>
                  <a:pt x="11063719" y="518566"/>
                </a:cubicBezTo>
                <a:cubicBezTo>
                  <a:pt x="11045240" y="518566"/>
                  <a:pt x="11029071" y="502397"/>
                  <a:pt x="11029071" y="483918"/>
                </a:cubicBezTo>
                <a:cubicBezTo>
                  <a:pt x="11029071" y="465439"/>
                  <a:pt x="11044086" y="449270"/>
                  <a:pt x="11063719" y="449270"/>
                </a:cubicBezTo>
                <a:close/>
                <a:moveTo>
                  <a:pt x="9945743" y="449270"/>
                </a:moveTo>
                <a:cubicBezTo>
                  <a:pt x="9965377" y="449270"/>
                  <a:pt x="9980391" y="465439"/>
                  <a:pt x="9980391" y="483918"/>
                </a:cubicBezTo>
                <a:cubicBezTo>
                  <a:pt x="9980391" y="502397"/>
                  <a:pt x="9964222" y="518566"/>
                  <a:pt x="9945743" y="518566"/>
                </a:cubicBezTo>
                <a:cubicBezTo>
                  <a:pt x="9927264" y="518566"/>
                  <a:pt x="9911094" y="502397"/>
                  <a:pt x="9911094" y="483918"/>
                </a:cubicBezTo>
                <a:cubicBezTo>
                  <a:pt x="9911094" y="465439"/>
                  <a:pt x="9926109" y="449270"/>
                  <a:pt x="9945743" y="449270"/>
                </a:cubicBezTo>
                <a:close/>
                <a:moveTo>
                  <a:pt x="9386754" y="449270"/>
                </a:moveTo>
                <a:cubicBezTo>
                  <a:pt x="9406389" y="449270"/>
                  <a:pt x="9421402" y="465439"/>
                  <a:pt x="9421402" y="483918"/>
                </a:cubicBezTo>
                <a:cubicBezTo>
                  <a:pt x="9421402" y="502397"/>
                  <a:pt x="9405233" y="518566"/>
                  <a:pt x="9386754" y="518566"/>
                </a:cubicBezTo>
                <a:cubicBezTo>
                  <a:pt x="9368275" y="518566"/>
                  <a:pt x="9352106" y="502397"/>
                  <a:pt x="9352106" y="483918"/>
                </a:cubicBezTo>
                <a:cubicBezTo>
                  <a:pt x="9352106" y="465439"/>
                  <a:pt x="9367121" y="449270"/>
                  <a:pt x="9386754" y="449270"/>
                </a:cubicBezTo>
                <a:close/>
                <a:moveTo>
                  <a:pt x="8832937" y="449270"/>
                </a:moveTo>
                <a:cubicBezTo>
                  <a:pt x="8852571" y="449270"/>
                  <a:pt x="8867585" y="465439"/>
                  <a:pt x="8867585" y="483918"/>
                </a:cubicBezTo>
                <a:cubicBezTo>
                  <a:pt x="8867585" y="502397"/>
                  <a:pt x="8852571" y="518566"/>
                  <a:pt x="8832937" y="518566"/>
                </a:cubicBezTo>
                <a:cubicBezTo>
                  <a:pt x="8814458" y="518566"/>
                  <a:pt x="8798289" y="502397"/>
                  <a:pt x="8798289" y="483918"/>
                </a:cubicBezTo>
                <a:cubicBezTo>
                  <a:pt x="8798289" y="465439"/>
                  <a:pt x="8813304" y="449270"/>
                  <a:pt x="8832937" y="449270"/>
                </a:cubicBezTo>
                <a:close/>
                <a:moveTo>
                  <a:pt x="8273949" y="449270"/>
                </a:moveTo>
                <a:cubicBezTo>
                  <a:pt x="8293584" y="449270"/>
                  <a:pt x="8308598" y="465439"/>
                  <a:pt x="8308598" y="483918"/>
                </a:cubicBezTo>
                <a:cubicBezTo>
                  <a:pt x="8308598" y="502397"/>
                  <a:pt x="8293584" y="518566"/>
                  <a:pt x="8273949" y="518566"/>
                </a:cubicBezTo>
                <a:cubicBezTo>
                  <a:pt x="8255471" y="518566"/>
                  <a:pt x="8239301" y="502397"/>
                  <a:pt x="8239301" y="483918"/>
                </a:cubicBezTo>
                <a:cubicBezTo>
                  <a:pt x="8239301" y="465439"/>
                  <a:pt x="8254316" y="449270"/>
                  <a:pt x="8273949" y="449270"/>
                </a:cubicBezTo>
                <a:close/>
                <a:moveTo>
                  <a:pt x="6458393" y="449270"/>
                </a:moveTo>
                <a:cubicBezTo>
                  <a:pt x="6476871" y="449270"/>
                  <a:pt x="6493041" y="465439"/>
                  <a:pt x="6493041" y="483918"/>
                </a:cubicBezTo>
                <a:cubicBezTo>
                  <a:pt x="6493041" y="502397"/>
                  <a:pt x="6476871" y="518566"/>
                  <a:pt x="6458393" y="518566"/>
                </a:cubicBezTo>
                <a:cubicBezTo>
                  <a:pt x="6439914" y="518566"/>
                  <a:pt x="6423745" y="502397"/>
                  <a:pt x="6423745" y="483918"/>
                </a:cubicBezTo>
                <a:cubicBezTo>
                  <a:pt x="6423745" y="465439"/>
                  <a:pt x="6438760" y="449270"/>
                  <a:pt x="6458393" y="449270"/>
                </a:cubicBezTo>
                <a:close/>
                <a:moveTo>
                  <a:pt x="5340416" y="449270"/>
                </a:moveTo>
                <a:cubicBezTo>
                  <a:pt x="5360051" y="449270"/>
                  <a:pt x="5375064" y="465439"/>
                  <a:pt x="5375064" y="483918"/>
                </a:cubicBezTo>
                <a:cubicBezTo>
                  <a:pt x="5375064" y="502397"/>
                  <a:pt x="5358895" y="518566"/>
                  <a:pt x="5340416" y="518566"/>
                </a:cubicBezTo>
                <a:cubicBezTo>
                  <a:pt x="5321939" y="518566"/>
                  <a:pt x="5305769" y="502397"/>
                  <a:pt x="5305769" y="483918"/>
                </a:cubicBezTo>
                <a:cubicBezTo>
                  <a:pt x="5305769" y="465439"/>
                  <a:pt x="5320783" y="449270"/>
                  <a:pt x="5340416" y="449270"/>
                </a:cubicBezTo>
                <a:close/>
                <a:moveTo>
                  <a:pt x="4781429" y="449270"/>
                </a:moveTo>
                <a:cubicBezTo>
                  <a:pt x="4801062" y="449270"/>
                  <a:pt x="4816075" y="465439"/>
                  <a:pt x="4816075" y="483918"/>
                </a:cubicBezTo>
                <a:cubicBezTo>
                  <a:pt x="4816075" y="502397"/>
                  <a:pt x="4799906" y="518566"/>
                  <a:pt x="4781429" y="518566"/>
                </a:cubicBezTo>
                <a:cubicBezTo>
                  <a:pt x="4762949" y="518566"/>
                  <a:pt x="4746781" y="502397"/>
                  <a:pt x="4746781" y="483918"/>
                </a:cubicBezTo>
                <a:cubicBezTo>
                  <a:pt x="4746781" y="465439"/>
                  <a:pt x="4761794" y="449270"/>
                  <a:pt x="4781429" y="449270"/>
                </a:cubicBezTo>
                <a:close/>
                <a:moveTo>
                  <a:pt x="4220129" y="449270"/>
                </a:moveTo>
                <a:cubicBezTo>
                  <a:pt x="4239764" y="449270"/>
                  <a:pt x="4254779" y="465439"/>
                  <a:pt x="4254779" y="483918"/>
                </a:cubicBezTo>
                <a:cubicBezTo>
                  <a:pt x="4254779" y="502397"/>
                  <a:pt x="4239764" y="518566"/>
                  <a:pt x="4220129" y="518566"/>
                </a:cubicBezTo>
                <a:cubicBezTo>
                  <a:pt x="4201651" y="518566"/>
                  <a:pt x="4185482" y="502397"/>
                  <a:pt x="4185482" y="483918"/>
                </a:cubicBezTo>
                <a:cubicBezTo>
                  <a:pt x="4185482" y="465439"/>
                  <a:pt x="4200498" y="449270"/>
                  <a:pt x="4220129" y="449270"/>
                </a:cubicBezTo>
                <a:close/>
                <a:moveTo>
                  <a:pt x="3661142" y="449270"/>
                </a:moveTo>
                <a:cubicBezTo>
                  <a:pt x="3680776" y="449270"/>
                  <a:pt x="3695791" y="465439"/>
                  <a:pt x="3695791" y="483918"/>
                </a:cubicBezTo>
                <a:cubicBezTo>
                  <a:pt x="3695791" y="502397"/>
                  <a:pt x="3680776" y="518566"/>
                  <a:pt x="3661142" y="518566"/>
                </a:cubicBezTo>
                <a:cubicBezTo>
                  <a:pt x="3642663" y="518566"/>
                  <a:pt x="3626494" y="502397"/>
                  <a:pt x="3626494" y="483918"/>
                </a:cubicBezTo>
                <a:cubicBezTo>
                  <a:pt x="3626494" y="465439"/>
                  <a:pt x="3641508" y="449270"/>
                  <a:pt x="3661142" y="449270"/>
                </a:cubicBezTo>
                <a:close/>
                <a:moveTo>
                  <a:pt x="1845585" y="449270"/>
                </a:moveTo>
                <a:cubicBezTo>
                  <a:pt x="1864064" y="449270"/>
                  <a:pt x="1880233" y="465439"/>
                  <a:pt x="1880233" y="483918"/>
                </a:cubicBezTo>
                <a:cubicBezTo>
                  <a:pt x="1880233" y="502397"/>
                  <a:pt x="1865220" y="518566"/>
                  <a:pt x="1845585" y="518566"/>
                </a:cubicBezTo>
                <a:cubicBezTo>
                  <a:pt x="1827106" y="518566"/>
                  <a:pt x="1810937" y="502397"/>
                  <a:pt x="1810937" y="483918"/>
                </a:cubicBezTo>
                <a:cubicBezTo>
                  <a:pt x="1810937" y="465439"/>
                  <a:pt x="1825952" y="449270"/>
                  <a:pt x="1845585" y="449270"/>
                </a:cubicBezTo>
                <a:close/>
                <a:moveTo>
                  <a:pt x="727609" y="449270"/>
                </a:moveTo>
                <a:cubicBezTo>
                  <a:pt x="747243" y="449270"/>
                  <a:pt x="762257" y="465439"/>
                  <a:pt x="762257" y="483918"/>
                </a:cubicBezTo>
                <a:cubicBezTo>
                  <a:pt x="762257" y="502397"/>
                  <a:pt x="746088" y="518566"/>
                  <a:pt x="727609" y="518566"/>
                </a:cubicBezTo>
                <a:cubicBezTo>
                  <a:pt x="709130" y="518566"/>
                  <a:pt x="692961" y="502397"/>
                  <a:pt x="692961" y="483918"/>
                </a:cubicBezTo>
                <a:cubicBezTo>
                  <a:pt x="692961" y="465439"/>
                  <a:pt x="707976" y="449270"/>
                  <a:pt x="727609" y="449270"/>
                </a:cubicBezTo>
                <a:close/>
                <a:moveTo>
                  <a:pt x="168621" y="449270"/>
                </a:moveTo>
                <a:cubicBezTo>
                  <a:pt x="188255" y="449270"/>
                  <a:pt x="203269" y="465439"/>
                  <a:pt x="203269" y="483918"/>
                </a:cubicBezTo>
                <a:cubicBezTo>
                  <a:pt x="203269" y="502397"/>
                  <a:pt x="187100" y="518566"/>
                  <a:pt x="168621" y="518566"/>
                </a:cubicBezTo>
                <a:cubicBezTo>
                  <a:pt x="150142" y="518566"/>
                  <a:pt x="133973" y="502397"/>
                  <a:pt x="133973" y="483918"/>
                </a:cubicBezTo>
                <a:cubicBezTo>
                  <a:pt x="133973" y="465439"/>
                  <a:pt x="148988" y="449270"/>
                  <a:pt x="168621" y="449270"/>
                </a:cubicBezTo>
                <a:close/>
                <a:moveTo>
                  <a:pt x="10923972" y="443495"/>
                </a:moveTo>
                <a:cubicBezTo>
                  <a:pt x="10945916" y="443495"/>
                  <a:pt x="10964394" y="461974"/>
                  <a:pt x="10964394" y="483918"/>
                </a:cubicBezTo>
                <a:cubicBezTo>
                  <a:pt x="10964394" y="505861"/>
                  <a:pt x="10945916" y="524340"/>
                  <a:pt x="10923972" y="524340"/>
                </a:cubicBezTo>
                <a:cubicBezTo>
                  <a:pt x="10902028" y="524340"/>
                  <a:pt x="10883549" y="505861"/>
                  <a:pt x="10883549" y="483918"/>
                </a:cubicBezTo>
                <a:cubicBezTo>
                  <a:pt x="10883549" y="461974"/>
                  <a:pt x="10902028" y="443495"/>
                  <a:pt x="10923972" y="443495"/>
                </a:cubicBezTo>
                <a:close/>
                <a:moveTo>
                  <a:pt x="9805996" y="443495"/>
                </a:moveTo>
                <a:cubicBezTo>
                  <a:pt x="9827939" y="443495"/>
                  <a:pt x="9846418" y="461974"/>
                  <a:pt x="9846418" y="483918"/>
                </a:cubicBezTo>
                <a:cubicBezTo>
                  <a:pt x="9846418" y="505861"/>
                  <a:pt x="9827939" y="524340"/>
                  <a:pt x="9805996" y="524340"/>
                </a:cubicBezTo>
                <a:cubicBezTo>
                  <a:pt x="9784052" y="524340"/>
                  <a:pt x="9765573" y="505861"/>
                  <a:pt x="9765573" y="483918"/>
                </a:cubicBezTo>
                <a:cubicBezTo>
                  <a:pt x="9765573" y="461974"/>
                  <a:pt x="9784052" y="443495"/>
                  <a:pt x="9805996" y="443495"/>
                </a:cubicBezTo>
                <a:close/>
                <a:moveTo>
                  <a:pt x="9526502" y="443495"/>
                </a:moveTo>
                <a:cubicBezTo>
                  <a:pt x="9548445" y="443495"/>
                  <a:pt x="9566924" y="461974"/>
                  <a:pt x="9566924" y="483918"/>
                </a:cubicBezTo>
                <a:cubicBezTo>
                  <a:pt x="9566924" y="505861"/>
                  <a:pt x="9548445" y="524340"/>
                  <a:pt x="9526502" y="524340"/>
                </a:cubicBezTo>
                <a:cubicBezTo>
                  <a:pt x="9504558" y="524340"/>
                  <a:pt x="9486079" y="505861"/>
                  <a:pt x="9486079" y="483918"/>
                </a:cubicBezTo>
                <a:cubicBezTo>
                  <a:pt x="9486079" y="461974"/>
                  <a:pt x="9504558" y="443495"/>
                  <a:pt x="9526502" y="443495"/>
                </a:cubicBezTo>
                <a:close/>
                <a:moveTo>
                  <a:pt x="8693190" y="443495"/>
                </a:moveTo>
                <a:cubicBezTo>
                  <a:pt x="8715134" y="443495"/>
                  <a:pt x="8733613" y="461974"/>
                  <a:pt x="8733613" y="483918"/>
                </a:cubicBezTo>
                <a:cubicBezTo>
                  <a:pt x="8733613" y="505861"/>
                  <a:pt x="8715134" y="524340"/>
                  <a:pt x="8693190" y="524340"/>
                </a:cubicBezTo>
                <a:cubicBezTo>
                  <a:pt x="8671246" y="524340"/>
                  <a:pt x="8652767" y="505861"/>
                  <a:pt x="8652767" y="483918"/>
                </a:cubicBezTo>
                <a:cubicBezTo>
                  <a:pt x="8652767" y="461974"/>
                  <a:pt x="8671246" y="443495"/>
                  <a:pt x="8693190" y="443495"/>
                </a:cubicBezTo>
                <a:close/>
                <a:moveTo>
                  <a:pt x="8413696" y="443495"/>
                </a:moveTo>
                <a:cubicBezTo>
                  <a:pt x="8435640" y="443495"/>
                  <a:pt x="8454118" y="461974"/>
                  <a:pt x="8454118" y="483918"/>
                </a:cubicBezTo>
                <a:cubicBezTo>
                  <a:pt x="8454118" y="505861"/>
                  <a:pt x="8435640" y="524340"/>
                  <a:pt x="8413696" y="524340"/>
                </a:cubicBezTo>
                <a:cubicBezTo>
                  <a:pt x="8391752" y="524340"/>
                  <a:pt x="8373274" y="505861"/>
                  <a:pt x="8373274" y="483918"/>
                </a:cubicBezTo>
                <a:cubicBezTo>
                  <a:pt x="8373274" y="461974"/>
                  <a:pt x="8391752" y="443495"/>
                  <a:pt x="8413696" y="443495"/>
                </a:cubicBezTo>
                <a:close/>
                <a:moveTo>
                  <a:pt x="6318647" y="443495"/>
                </a:moveTo>
                <a:cubicBezTo>
                  <a:pt x="6340589" y="443495"/>
                  <a:pt x="6359068" y="461974"/>
                  <a:pt x="6359068" y="483918"/>
                </a:cubicBezTo>
                <a:cubicBezTo>
                  <a:pt x="6359068" y="505861"/>
                  <a:pt x="6340589" y="524340"/>
                  <a:pt x="6318647" y="524340"/>
                </a:cubicBezTo>
                <a:cubicBezTo>
                  <a:pt x="6296702" y="524340"/>
                  <a:pt x="6278223" y="505861"/>
                  <a:pt x="6278223" y="483918"/>
                </a:cubicBezTo>
                <a:cubicBezTo>
                  <a:pt x="6278223" y="461974"/>
                  <a:pt x="6296702" y="443495"/>
                  <a:pt x="6318647" y="443495"/>
                </a:cubicBezTo>
                <a:close/>
                <a:moveTo>
                  <a:pt x="5200670" y="443495"/>
                </a:moveTo>
                <a:cubicBezTo>
                  <a:pt x="5222613" y="443495"/>
                  <a:pt x="5241093" y="461974"/>
                  <a:pt x="5241093" y="483918"/>
                </a:cubicBezTo>
                <a:cubicBezTo>
                  <a:pt x="5241093" y="505861"/>
                  <a:pt x="5222613" y="524340"/>
                  <a:pt x="5200670" y="524340"/>
                </a:cubicBezTo>
                <a:cubicBezTo>
                  <a:pt x="5178725" y="524340"/>
                  <a:pt x="5160247" y="505861"/>
                  <a:pt x="5160247" y="483918"/>
                </a:cubicBezTo>
                <a:cubicBezTo>
                  <a:pt x="5160247" y="461974"/>
                  <a:pt x="5178725" y="443495"/>
                  <a:pt x="5200670" y="443495"/>
                </a:cubicBezTo>
                <a:close/>
                <a:moveTo>
                  <a:pt x="4921176" y="443495"/>
                </a:moveTo>
                <a:cubicBezTo>
                  <a:pt x="4944275" y="443495"/>
                  <a:pt x="4961598" y="461974"/>
                  <a:pt x="4961598" y="483918"/>
                </a:cubicBezTo>
                <a:cubicBezTo>
                  <a:pt x="4961598" y="505861"/>
                  <a:pt x="4943120" y="524340"/>
                  <a:pt x="4921176" y="524340"/>
                </a:cubicBezTo>
                <a:cubicBezTo>
                  <a:pt x="4899233" y="524340"/>
                  <a:pt x="4880752" y="505861"/>
                  <a:pt x="4880752" y="483918"/>
                </a:cubicBezTo>
                <a:cubicBezTo>
                  <a:pt x="4880752" y="461974"/>
                  <a:pt x="4899233" y="443495"/>
                  <a:pt x="4921176" y="443495"/>
                </a:cubicBezTo>
                <a:close/>
                <a:moveTo>
                  <a:pt x="4080383" y="443495"/>
                </a:moveTo>
                <a:cubicBezTo>
                  <a:pt x="4102326" y="443495"/>
                  <a:pt x="4120806" y="461974"/>
                  <a:pt x="4120806" y="483918"/>
                </a:cubicBezTo>
                <a:cubicBezTo>
                  <a:pt x="4120806" y="505861"/>
                  <a:pt x="4102326" y="524340"/>
                  <a:pt x="4080383" y="524340"/>
                </a:cubicBezTo>
                <a:cubicBezTo>
                  <a:pt x="4058439" y="524340"/>
                  <a:pt x="4039961" y="505861"/>
                  <a:pt x="4039961" y="483918"/>
                </a:cubicBezTo>
                <a:cubicBezTo>
                  <a:pt x="4039961" y="461974"/>
                  <a:pt x="4058439" y="443495"/>
                  <a:pt x="4080383" y="443495"/>
                </a:cubicBezTo>
                <a:close/>
                <a:moveTo>
                  <a:pt x="3800889" y="443495"/>
                </a:moveTo>
                <a:cubicBezTo>
                  <a:pt x="3822833" y="443495"/>
                  <a:pt x="3841311" y="461974"/>
                  <a:pt x="3841311" y="483918"/>
                </a:cubicBezTo>
                <a:cubicBezTo>
                  <a:pt x="3841311" y="505861"/>
                  <a:pt x="3822833" y="524340"/>
                  <a:pt x="3800889" y="524340"/>
                </a:cubicBezTo>
                <a:cubicBezTo>
                  <a:pt x="3778945" y="524340"/>
                  <a:pt x="3760466" y="505861"/>
                  <a:pt x="3760466" y="483918"/>
                </a:cubicBezTo>
                <a:cubicBezTo>
                  <a:pt x="3760466" y="461974"/>
                  <a:pt x="3778945" y="443495"/>
                  <a:pt x="3800889" y="443495"/>
                </a:cubicBezTo>
                <a:close/>
                <a:moveTo>
                  <a:pt x="1705839" y="443495"/>
                </a:moveTo>
                <a:cubicBezTo>
                  <a:pt x="1727782" y="443495"/>
                  <a:pt x="1746261" y="461974"/>
                  <a:pt x="1746261" y="483918"/>
                </a:cubicBezTo>
                <a:cubicBezTo>
                  <a:pt x="1746261" y="505861"/>
                  <a:pt x="1727782" y="524340"/>
                  <a:pt x="1705839" y="524340"/>
                </a:cubicBezTo>
                <a:cubicBezTo>
                  <a:pt x="1683894" y="524340"/>
                  <a:pt x="1665415" y="505861"/>
                  <a:pt x="1665415" y="483918"/>
                </a:cubicBezTo>
                <a:cubicBezTo>
                  <a:pt x="1665415" y="461974"/>
                  <a:pt x="1683894" y="443495"/>
                  <a:pt x="1705839" y="443495"/>
                </a:cubicBezTo>
                <a:close/>
                <a:moveTo>
                  <a:pt x="587862" y="443495"/>
                </a:moveTo>
                <a:cubicBezTo>
                  <a:pt x="609806" y="443495"/>
                  <a:pt x="628284" y="461974"/>
                  <a:pt x="628284" y="483918"/>
                </a:cubicBezTo>
                <a:cubicBezTo>
                  <a:pt x="628284" y="505861"/>
                  <a:pt x="609806" y="524340"/>
                  <a:pt x="587862" y="524340"/>
                </a:cubicBezTo>
                <a:cubicBezTo>
                  <a:pt x="565918" y="524340"/>
                  <a:pt x="547439" y="505861"/>
                  <a:pt x="547439" y="483918"/>
                </a:cubicBezTo>
                <a:cubicBezTo>
                  <a:pt x="547439" y="461974"/>
                  <a:pt x="565918" y="443495"/>
                  <a:pt x="587862" y="443495"/>
                </a:cubicBezTo>
                <a:close/>
                <a:moveTo>
                  <a:pt x="308368" y="443495"/>
                </a:moveTo>
                <a:cubicBezTo>
                  <a:pt x="330311" y="443495"/>
                  <a:pt x="348790" y="461974"/>
                  <a:pt x="348790" y="483918"/>
                </a:cubicBezTo>
                <a:cubicBezTo>
                  <a:pt x="348790" y="505861"/>
                  <a:pt x="330311" y="524340"/>
                  <a:pt x="308368" y="524340"/>
                </a:cubicBezTo>
                <a:cubicBezTo>
                  <a:pt x="286424" y="524340"/>
                  <a:pt x="267945" y="505861"/>
                  <a:pt x="267945" y="483918"/>
                </a:cubicBezTo>
                <a:cubicBezTo>
                  <a:pt x="267945" y="461974"/>
                  <a:pt x="286424" y="443495"/>
                  <a:pt x="308368" y="443495"/>
                </a:cubicBezTo>
                <a:close/>
                <a:moveTo>
                  <a:pt x="10784225" y="433101"/>
                </a:moveTo>
                <a:cubicBezTo>
                  <a:pt x="10811943" y="433101"/>
                  <a:pt x="10835042" y="456200"/>
                  <a:pt x="10835042" y="483918"/>
                </a:cubicBezTo>
                <a:cubicBezTo>
                  <a:pt x="10835042" y="511636"/>
                  <a:pt x="10811943" y="534735"/>
                  <a:pt x="10784225" y="534735"/>
                </a:cubicBezTo>
                <a:cubicBezTo>
                  <a:pt x="10756506" y="534735"/>
                  <a:pt x="10733408" y="511636"/>
                  <a:pt x="10733408" y="483918"/>
                </a:cubicBezTo>
                <a:cubicBezTo>
                  <a:pt x="10733408" y="456200"/>
                  <a:pt x="10755352" y="433101"/>
                  <a:pt x="10784225" y="433101"/>
                </a:cubicBezTo>
                <a:close/>
                <a:moveTo>
                  <a:pt x="9666248" y="433101"/>
                </a:moveTo>
                <a:cubicBezTo>
                  <a:pt x="9695122" y="433101"/>
                  <a:pt x="9717066" y="456200"/>
                  <a:pt x="9717066" y="483918"/>
                </a:cubicBezTo>
                <a:cubicBezTo>
                  <a:pt x="9717066" y="511636"/>
                  <a:pt x="9695122" y="534735"/>
                  <a:pt x="9666248" y="534735"/>
                </a:cubicBezTo>
                <a:cubicBezTo>
                  <a:pt x="9638530" y="534735"/>
                  <a:pt x="9615431" y="511636"/>
                  <a:pt x="9615431" y="483918"/>
                </a:cubicBezTo>
                <a:cubicBezTo>
                  <a:pt x="9615431" y="456200"/>
                  <a:pt x="9637376" y="433101"/>
                  <a:pt x="9666248" y="433101"/>
                </a:cubicBezTo>
                <a:close/>
                <a:moveTo>
                  <a:pt x="8553443" y="433101"/>
                </a:moveTo>
                <a:cubicBezTo>
                  <a:pt x="8582317" y="433101"/>
                  <a:pt x="8604260" y="456200"/>
                  <a:pt x="8604260" y="483918"/>
                </a:cubicBezTo>
                <a:cubicBezTo>
                  <a:pt x="8604260" y="511636"/>
                  <a:pt x="8582317" y="534735"/>
                  <a:pt x="8553443" y="534735"/>
                </a:cubicBezTo>
                <a:cubicBezTo>
                  <a:pt x="8525724" y="534735"/>
                  <a:pt x="8502626" y="511636"/>
                  <a:pt x="8502626" y="483918"/>
                </a:cubicBezTo>
                <a:cubicBezTo>
                  <a:pt x="8502626" y="456200"/>
                  <a:pt x="8524570" y="433101"/>
                  <a:pt x="8553443" y="433101"/>
                </a:cubicBezTo>
                <a:close/>
                <a:moveTo>
                  <a:pt x="6178898" y="433101"/>
                </a:moveTo>
                <a:cubicBezTo>
                  <a:pt x="6206618" y="433101"/>
                  <a:pt x="6229715" y="456200"/>
                  <a:pt x="6229715" y="483918"/>
                </a:cubicBezTo>
                <a:cubicBezTo>
                  <a:pt x="6229715" y="511636"/>
                  <a:pt x="6206618" y="534735"/>
                  <a:pt x="6178898" y="534735"/>
                </a:cubicBezTo>
                <a:cubicBezTo>
                  <a:pt x="6151180" y="534735"/>
                  <a:pt x="6128081" y="511636"/>
                  <a:pt x="6128081" y="483918"/>
                </a:cubicBezTo>
                <a:cubicBezTo>
                  <a:pt x="6128081" y="456200"/>
                  <a:pt x="6150025" y="433101"/>
                  <a:pt x="6178898" y="433101"/>
                </a:cubicBezTo>
                <a:close/>
                <a:moveTo>
                  <a:pt x="5060922" y="433101"/>
                </a:moveTo>
                <a:cubicBezTo>
                  <a:pt x="5089795" y="433101"/>
                  <a:pt x="5111740" y="456200"/>
                  <a:pt x="5111740" y="483918"/>
                </a:cubicBezTo>
                <a:cubicBezTo>
                  <a:pt x="5111740" y="511636"/>
                  <a:pt x="5088641" y="534735"/>
                  <a:pt x="5060922" y="534735"/>
                </a:cubicBezTo>
                <a:cubicBezTo>
                  <a:pt x="5033205" y="534735"/>
                  <a:pt x="5010105" y="511636"/>
                  <a:pt x="5010105" y="483918"/>
                </a:cubicBezTo>
                <a:cubicBezTo>
                  <a:pt x="5010105" y="456200"/>
                  <a:pt x="5032050" y="433101"/>
                  <a:pt x="5060922" y="433101"/>
                </a:cubicBezTo>
                <a:close/>
                <a:moveTo>
                  <a:pt x="3940636" y="433101"/>
                </a:moveTo>
                <a:cubicBezTo>
                  <a:pt x="3969510" y="433101"/>
                  <a:pt x="3991453" y="456200"/>
                  <a:pt x="3991453" y="483918"/>
                </a:cubicBezTo>
                <a:cubicBezTo>
                  <a:pt x="3991453" y="511636"/>
                  <a:pt x="3969510" y="534735"/>
                  <a:pt x="3940636" y="534735"/>
                </a:cubicBezTo>
                <a:cubicBezTo>
                  <a:pt x="3912917" y="534735"/>
                  <a:pt x="3889819" y="511636"/>
                  <a:pt x="3889819" y="483918"/>
                </a:cubicBezTo>
                <a:cubicBezTo>
                  <a:pt x="3889819" y="456200"/>
                  <a:pt x="3911763" y="433101"/>
                  <a:pt x="3940636" y="433101"/>
                </a:cubicBezTo>
                <a:close/>
                <a:moveTo>
                  <a:pt x="1566091" y="433101"/>
                </a:moveTo>
                <a:cubicBezTo>
                  <a:pt x="1593810" y="433101"/>
                  <a:pt x="1616908" y="456200"/>
                  <a:pt x="1616908" y="483918"/>
                </a:cubicBezTo>
                <a:cubicBezTo>
                  <a:pt x="1616908" y="511636"/>
                  <a:pt x="1593810" y="534735"/>
                  <a:pt x="1566091" y="534735"/>
                </a:cubicBezTo>
                <a:cubicBezTo>
                  <a:pt x="1538373" y="534735"/>
                  <a:pt x="1515274" y="511636"/>
                  <a:pt x="1515274" y="483918"/>
                </a:cubicBezTo>
                <a:cubicBezTo>
                  <a:pt x="1515274" y="456200"/>
                  <a:pt x="1537218" y="433101"/>
                  <a:pt x="1566091" y="433101"/>
                </a:cubicBezTo>
                <a:close/>
                <a:moveTo>
                  <a:pt x="448115" y="433101"/>
                </a:moveTo>
                <a:cubicBezTo>
                  <a:pt x="476989" y="433101"/>
                  <a:pt x="498932" y="456200"/>
                  <a:pt x="498932" y="483918"/>
                </a:cubicBezTo>
                <a:cubicBezTo>
                  <a:pt x="498932" y="511636"/>
                  <a:pt x="476989" y="534735"/>
                  <a:pt x="448115" y="534735"/>
                </a:cubicBezTo>
                <a:cubicBezTo>
                  <a:pt x="420396" y="534735"/>
                  <a:pt x="397298" y="511636"/>
                  <a:pt x="397298" y="483918"/>
                </a:cubicBezTo>
                <a:cubicBezTo>
                  <a:pt x="397298" y="456200"/>
                  <a:pt x="419242" y="433101"/>
                  <a:pt x="448115" y="433101"/>
                </a:cubicBezTo>
                <a:close/>
                <a:moveTo>
                  <a:pt x="12210569" y="319917"/>
                </a:moveTo>
                <a:cubicBezTo>
                  <a:pt x="12220963" y="319917"/>
                  <a:pt x="12231358" y="329157"/>
                  <a:pt x="12231358" y="340706"/>
                </a:cubicBezTo>
                <a:cubicBezTo>
                  <a:pt x="12231358" y="352256"/>
                  <a:pt x="12222118" y="361495"/>
                  <a:pt x="12210569" y="361495"/>
                </a:cubicBezTo>
                <a:cubicBezTo>
                  <a:pt x="12199020" y="361495"/>
                  <a:pt x="12189780" y="352256"/>
                  <a:pt x="12189780" y="340706"/>
                </a:cubicBezTo>
                <a:cubicBezTo>
                  <a:pt x="12189780" y="329157"/>
                  <a:pt x="12199020" y="319917"/>
                  <a:pt x="12210569" y="319917"/>
                </a:cubicBezTo>
                <a:close/>
                <a:moveTo>
                  <a:pt x="12071977" y="319917"/>
                </a:moveTo>
                <a:cubicBezTo>
                  <a:pt x="12083526" y="319917"/>
                  <a:pt x="12092766" y="329157"/>
                  <a:pt x="12092766" y="340706"/>
                </a:cubicBezTo>
                <a:cubicBezTo>
                  <a:pt x="12092766" y="352256"/>
                  <a:pt x="12083526" y="361495"/>
                  <a:pt x="12071977" y="361495"/>
                </a:cubicBezTo>
                <a:cubicBezTo>
                  <a:pt x="12060428" y="361495"/>
                  <a:pt x="12051188" y="352256"/>
                  <a:pt x="12051188" y="340706"/>
                </a:cubicBezTo>
                <a:cubicBezTo>
                  <a:pt x="12051188" y="329157"/>
                  <a:pt x="12060428" y="319917"/>
                  <a:pt x="12071977" y="319917"/>
                </a:cubicBezTo>
                <a:close/>
                <a:moveTo>
                  <a:pt x="11934539" y="319917"/>
                </a:moveTo>
                <a:cubicBezTo>
                  <a:pt x="11946088" y="319917"/>
                  <a:pt x="11955328" y="329157"/>
                  <a:pt x="11955328" y="340706"/>
                </a:cubicBezTo>
                <a:cubicBezTo>
                  <a:pt x="11955328" y="352256"/>
                  <a:pt x="11946088" y="361495"/>
                  <a:pt x="11934539" y="361495"/>
                </a:cubicBezTo>
                <a:cubicBezTo>
                  <a:pt x="11922990" y="361495"/>
                  <a:pt x="11913750" y="352256"/>
                  <a:pt x="11913750" y="340706"/>
                </a:cubicBezTo>
                <a:cubicBezTo>
                  <a:pt x="11913750" y="329157"/>
                  <a:pt x="11922990" y="319917"/>
                  <a:pt x="11934539" y="319917"/>
                </a:cubicBezTo>
                <a:close/>
                <a:moveTo>
                  <a:pt x="11797103" y="319917"/>
                </a:moveTo>
                <a:cubicBezTo>
                  <a:pt x="11808652" y="319917"/>
                  <a:pt x="11817892" y="329157"/>
                  <a:pt x="11817892" y="340706"/>
                </a:cubicBezTo>
                <a:cubicBezTo>
                  <a:pt x="11817892" y="352256"/>
                  <a:pt x="11808652" y="361495"/>
                  <a:pt x="11797103" y="361495"/>
                </a:cubicBezTo>
                <a:cubicBezTo>
                  <a:pt x="11785553" y="361495"/>
                  <a:pt x="11776314" y="352256"/>
                  <a:pt x="11776314" y="340706"/>
                </a:cubicBezTo>
                <a:cubicBezTo>
                  <a:pt x="11776314" y="329157"/>
                  <a:pt x="11785553" y="319917"/>
                  <a:pt x="11797103" y="319917"/>
                </a:cubicBezTo>
                <a:close/>
                <a:moveTo>
                  <a:pt x="10645633" y="319917"/>
                </a:moveTo>
                <a:cubicBezTo>
                  <a:pt x="10657182" y="319917"/>
                  <a:pt x="10666422" y="329157"/>
                  <a:pt x="10666422" y="340706"/>
                </a:cubicBezTo>
                <a:cubicBezTo>
                  <a:pt x="10666422" y="352256"/>
                  <a:pt x="10657182" y="361495"/>
                  <a:pt x="10645633" y="361495"/>
                </a:cubicBezTo>
                <a:cubicBezTo>
                  <a:pt x="10634083" y="361495"/>
                  <a:pt x="10624844" y="352256"/>
                  <a:pt x="10624844" y="340706"/>
                </a:cubicBezTo>
                <a:cubicBezTo>
                  <a:pt x="10624844" y="329157"/>
                  <a:pt x="10634083" y="319917"/>
                  <a:pt x="10645633" y="319917"/>
                </a:cubicBezTo>
                <a:close/>
                <a:moveTo>
                  <a:pt x="9247008" y="319917"/>
                </a:moveTo>
                <a:cubicBezTo>
                  <a:pt x="9258557" y="319917"/>
                  <a:pt x="9267797" y="329157"/>
                  <a:pt x="9267797" y="340706"/>
                </a:cubicBezTo>
                <a:cubicBezTo>
                  <a:pt x="9267797" y="352256"/>
                  <a:pt x="9258557" y="361495"/>
                  <a:pt x="9247008" y="361495"/>
                </a:cubicBezTo>
                <a:cubicBezTo>
                  <a:pt x="9235459" y="361495"/>
                  <a:pt x="9226219" y="352256"/>
                  <a:pt x="9226219" y="340706"/>
                </a:cubicBezTo>
                <a:cubicBezTo>
                  <a:pt x="9226219" y="329157"/>
                  <a:pt x="9235459" y="319917"/>
                  <a:pt x="9247008" y="319917"/>
                </a:cubicBezTo>
                <a:close/>
                <a:moveTo>
                  <a:pt x="8148062" y="319917"/>
                </a:moveTo>
                <a:cubicBezTo>
                  <a:pt x="8158457" y="319917"/>
                  <a:pt x="8168851" y="329157"/>
                  <a:pt x="8168851" y="340706"/>
                </a:cubicBezTo>
                <a:cubicBezTo>
                  <a:pt x="8168851" y="352256"/>
                  <a:pt x="8159611" y="361495"/>
                  <a:pt x="8148062" y="361495"/>
                </a:cubicBezTo>
                <a:cubicBezTo>
                  <a:pt x="8136513" y="361495"/>
                  <a:pt x="8127274" y="352256"/>
                  <a:pt x="8127274" y="340706"/>
                </a:cubicBezTo>
                <a:cubicBezTo>
                  <a:pt x="8127274" y="329157"/>
                  <a:pt x="8136513" y="319917"/>
                  <a:pt x="8148062" y="319917"/>
                </a:cubicBezTo>
                <a:close/>
                <a:moveTo>
                  <a:pt x="8009471" y="319917"/>
                </a:moveTo>
                <a:cubicBezTo>
                  <a:pt x="8021020" y="319917"/>
                  <a:pt x="8030259" y="329157"/>
                  <a:pt x="8030259" y="340706"/>
                </a:cubicBezTo>
                <a:cubicBezTo>
                  <a:pt x="8030259" y="352256"/>
                  <a:pt x="8021020" y="361495"/>
                  <a:pt x="8009471" y="361495"/>
                </a:cubicBezTo>
                <a:cubicBezTo>
                  <a:pt x="7997920" y="361495"/>
                  <a:pt x="7988682" y="352256"/>
                  <a:pt x="7988682" y="340706"/>
                </a:cubicBezTo>
                <a:cubicBezTo>
                  <a:pt x="7988682" y="329157"/>
                  <a:pt x="7997920" y="319917"/>
                  <a:pt x="8009471" y="319917"/>
                </a:cubicBezTo>
                <a:close/>
                <a:moveTo>
                  <a:pt x="7872031" y="319917"/>
                </a:moveTo>
                <a:cubicBezTo>
                  <a:pt x="7883582" y="319917"/>
                  <a:pt x="7892822" y="329157"/>
                  <a:pt x="7892822" y="340706"/>
                </a:cubicBezTo>
                <a:cubicBezTo>
                  <a:pt x="7892822" y="352256"/>
                  <a:pt x="7883582" y="361495"/>
                  <a:pt x="7872031" y="361495"/>
                </a:cubicBezTo>
                <a:cubicBezTo>
                  <a:pt x="7860484" y="361495"/>
                  <a:pt x="7851244" y="352256"/>
                  <a:pt x="7851244" y="340706"/>
                </a:cubicBezTo>
                <a:cubicBezTo>
                  <a:pt x="7851244" y="329157"/>
                  <a:pt x="7860484" y="319917"/>
                  <a:pt x="7872031" y="319917"/>
                </a:cubicBezTo>
                <a:close/>
                <a:moveTo>
                  <a:pt x="7713807" y="319917"/>
                </a:moveTo>
                <a:cubicBezTo>
                  <a:pt x="7725356" y="319917"/>
                  <a:pt x="7734596" y="329157"/>
                  <a:pt x="7734596" y="340706"/>
                </a:cubicBezTo>
                <a:cubicBezTo>
                  <a:pt x="7734596" y="352256"/>
                  <a:pt x="7725356" y="361495"/>
                  <a:pt x="7713807" y="361495"/>
                </a:cubicBezTo>
                <a:cubicBezTo>
                  <a:pt x="7702258" y="361495"/>
                  <a:pt x="7693019" y="352256"/>
                  <a:pt x="7693019" y="340706"/>
                </a:cubicBezTo>
                <a:cubicBezTo>
                  <a:pt x="7693019" y="329157"/>
                  <a:pt x="7702258" y="319917"/>
                  <a:pt x="7713807" y="319917"/>
                </a:cubicBezTo>
                <a:close/>
                <a:moveTo>
                  <a:pt x="7605244" y="319917"/>
                </a:moveTo>
                <a:cubicBezTo>
                  <a:pt x="7616793" y="319917"/>
                  <a:pt x="7626031" y="329157"/>
                  <a:pt x="7626031" y="340706"/>
                </a:cubicBezTo>
                <a:cubicBezTo>
                  <a:pt x="7626031" y="352256"/>
                  <a:pt x="7616793" y="361495"/>
                  <a:pt x="7605244" y="361495"/>
                </a:cubicBezTo>
                <a:cubicBezTo>
                  <a:pt x="7593693" y="361495"/>
                  <a:pt x="7584454" y="352256"/>
                  <a:pt x="7584454" y="340706"/>
                </a:cubicBezTo>
                <a:cubicBezTo>
                  <a:pt x="7584454" y="329157"/>
                  <a:pt x="7593693" y="319917"/>
                  <a:pt x="7605244" y="319917"/>
                </a:cubicBezTo>
                <a:close/>
                <a:moveTo>
                  <a:pt x="7466651" y="319917"/>
                </a:moveTo>
                <a:cubicBezTo>
                  <a:pt x="7478200" y="319917"/>
                  <a:pt x="7487439" y="329157"/>
                  <a:pt x="7487439" y="340706"/>
                </a:cubicBezTo>
                <a:cubicBezTo>
                  <a:pt x="7487439" y="352256"/>
                  <a:pt x="7478200" y="361495"/>
                  <a:pt x="7466651" y="361495"/>
                </a:cubicBezTo>
                <a:cubicBezTo>
                  <a:pt x="7455102" y="361495"/>
                  <a:pt x="7445863" y="352256"/>
                  <a:pt x="7445863" y="340706"/>
                </a:cubicBezTo>
                <a:cubicBezTo>
                  <a:pt x="7445863" y="329157"/>
                  <a:pt x="7455102" y="319917"/>
                  <a:pt x="7466651" y="319917"/>
                </a:cubicBezTo>
                <a:close/>
                <a:moveTo>
                  <a:pt x="7329213" y="319917"/>
                </a:moveTo>
                <a:cubicBezTo>
                  <a:pt x="7340762" y="319917"/>
                  <a:pt x="7350002" y="329157"/>
                  <a:pt x="7350002" y="340706"/>
                </a:cubicBezTo>
                <a:cubicBezTo>
                  <a:pt x="7350002" y="352256"/>
                  <a:pt x="7340762" y="361495"/>
                  <a:pt x="7329213" y="361495"/>
                </a:cubicBezTo>
                <a:cubicBezTo>
                  <a:pt x="7317664" y="361495"/>
                  <a:pt x="7308425" y="352256"/>
                  <a:pt x="7308425" y="340706"/>
                </a:cubicBezTo>
                <a:cubicBezTo>
                  <a:pt x="7308425" y="329157"/>
                  <a:pt x="7317664" y="319917"/>
                  <a:pt x="7329213" y="319917"/>
                </a:cubicBezTo>
                <a:close/>
                <a:moveTo>
                  <a:pt x="7191777" y="319917"/>
                </a:moveTo>
                <a:cubicBezTo>
                  <a:pt x="7203326" y="319917"/>
                  <a:pt x="7212566" y="329157"/>
                  <a:pt x="7212566" y="340706"/>
                </a:cubicBezTo>
                <a:cubicBezTo>
                  <a:pt x="7212566" y="352256"/>
                  <a:pt x="7203326" y="361495"/>
                  <a:pt x="7191777" y="361495"/>
                </a:cubicBezTo>
                <a:cubicBezTo>
                  <a:pt x="7180226" y="361495"/>
                  <a:pt x="7170987" y="352256"/>
                  <a:pt x="7170987" y="340706"/>
                </a:cubicBezTo>
                <a:cubicBezTo>
                  <a:pt x="7170987" y="329157"/>
                  <a:pt x="7180226" y="319917"/>
                  <a:pt x="7191777" y="319917"/>
                </a:cubicBezTo>
                <a:close/>
                <a:moveTo>
                  <a:pt x="6040307" y="319917"/>
                </a:moveTo>
                <a:cubicBezTo>
                  <a:pt x="6051855" y="319917"/>
                  <a:pt x="6061095" y="329157"/>
                  <a:pt x="6061095" y="340706"/>
                </a:cubicBezTo>
                <a:cubicBezTo>
                  <a:pt x="6061095" y="352256"/>
                  <a:pt x="6051855" y="361495"/>
                  <a:pt x="6040307" y="361495"/>
                </a:cubicBezTo>
                <a:cubicBezTo>
                  <a:pt x="6028758" y="361495"/>
                  <a:pt x="6019518" y="352256"/>
                  <a:pt x="6019518" y="340706"/>
                </a:cubicBezTo>
                <a:cubicBezTo>
                  <a:pt x="6019518" y="329157"/>
                  <a:pt x="6028758" y="319917"/>
                  <a:pt x="6040307" y="319917"/>
                </a:cubicBezTo>
                <a:close/>
                <a:moveTo>
                  <a:pt x="4641682" y="319917"/>
                </a:moveTo>
                <a:cubicBezTo>
                  <a:pt x="4653231" y="319917"/>
                  <a:pt x="4662472" y="329157"/>
                  <a:pt x="4662472" y="340706"/>
                </a:cubicBezTo>
                <a:cubicBezTo>
                  <a:pt x="4662472" y="352256"/>
                  <a:pt x="4653231" y="361495"/>
                  <a:pt x="4641682" y="361495"/>
                </a:cubicBezTo>
                <a:cubicBezTo>
                  <a:pt x="4630133" y="361495"/>
                  <a:pt x="4620893" y="352256"/>
                  <a:pt x="4620893" y="340706"/>
                </a:cubicBezTo>
                <a:cubicBezTo>
                  <a:pt x="4620893" y="329157"/>
                  <a:pt x="4630133" y="319917"/>
                  <a:pt x="4641682" y="319917"/>
                </a:cubicBezTo>
                <a:close/>
                <a:moveTo>
                  <a:pt x="3535254" y="319917"/>
                </a:moveTo>
                <a:cubicBezTo>
                  <a:pt x="3545648" y="319917"/>
                  <a:pt x="3556043" y="329157"/>
                  <a:pt x="3556043" y="340706"/>
                </a:cubicBezTo>
                <a:cubicBezTo>
                  <a:pt x="3556043" y="352256"/>
                  <a:pt x="3546804" y="361495"/>
                  <a:pt x="3535254" y="361495"/>
                </a:cubicBezTo>
                <a:cubicBezTo>
                  <a:pt x="3523705" y="361495"/>
                  <a:pt x="3514466" y="352256"/>
                  <a:pt x="3514466" y="340706"/>
                </a:cubicBezTo>
                <a:cubicBezTo>
                  <a:pt x="3514466" y="329157"/>
                  <a:pt x="3523705" y="319917"/>
                  <a:pt x="3535254" y="319917"/>
                </a:cubicBezTo>
                <a:close/>
                <a:moveTo>
                  <a:pt x="3396662" y="319917"/>
                </a:moveTo>
                <a:cubicBezTo>
                  <a:pt x="3408212" y="319917"/>
                  <a:pt x="3417451" y="329157"/>
                  <a:pt x="3417451" y="340706"/>
                </a:cubicBezTo>
                <a:cubicBezTo>
                  <a:pt x="3417451" y="352256"/>
                  <a:pt x="3408212" y="361495"/>
                  <a:pt x="3396662" y="361495"/>
                </a:cubicBezTo>
                <a:cubicBezTo>
                  <a:pt x="3385113" y="361495"/>
                  <a:pt x="3375874" y="352256"/>
                  <a:pt x="3375874" y="340706"/>
                </a:cubicBezTo>
                <a:cubicBezTo>
                  <a:pt x="3375874" y="329157"/>
                  <a:pt x="3385113" y="319917"/>
                  <a:pt x="3396662" y="319917"/>
                </a:cubicBezTo>
                <a:close/>
                <a:moveTo>
                  <a:pt x="3259224" y="319917"/>
                </a:moveTo>
                <a:cubicBezTo>
                  <a:pt x="3270774" y="319917"/>
                  <a:pt x="3280013" y="329157"/>
                  <a:pt x="3280013" y="340706"/>
                </a:cubicBezTo>
                <a:cubicBezTo>
                  <a:pt x="3280013" y="352256"/>
                  <a:pt x="3270774" y="361495"/>
                  <a:pt x="3259224" y="361495"/>
                </a:cubicBezTo>
                <a:cubicBezTo>
                  <a:pt x="3247675" y="361495"/>
                  <a:pt x="3238436" y="352256"/>
                  <a:pt x="3238436" y="340706"/>
                </a:cubicBezTo>
                <a:cubicBezTo>
                  <a:pt x="3238436" y="329157"/>
                  <a:pt x="3247675" y="319917"/>
                  <a:pt x="3259224" y="319917"/>
                </a:cubicBezTo>
                <a:close/>
                <a:moveTo>
                  <a:pt x="3100999" y="319917"/>
                </a:moveTo>
                <a:cubicBezTo>
                  <a:pt x="3112549" y="319917"/>
                  <a:pt x="3121789" y="329157"/>
                  <a:pt x="3121789" y="340706"/>
                </a:cubicBezTo>
                <a:cubicBezTo>
                  <a:pt x="3121789" y="352256"/>
                  <a:pt x="3112549" y="361495"/>
                  <a:pt x="3100999" y="361495"/>
                </a:cubicBezTo>
                <a:cubicBezTo>
                  <a:pt x="3089450" y="361495"/>
                  <a:pt x="3080212" y="352256"/>
                  <a:pt x="3080212" y="340706"/>
                </a:cubicBezTo>
                <a:cubicBezTo>
                  <a:pt x="3080212" y="329157"/>
                  <a:pt x="3089450" y="319917"/>
                  <a:pt x="3100999" y="319917"/>
                </a:cubicBezTo>
                <a:close/>
                <a:moveTo>
                  <a:pt x="2992435" y="319917"/>
                </a:moveTo>
                <a:cubicBezTo>
                  <a:pt x="3002829" y="319917"/>
                  <a:pt x="3013224" y="329157"/>
                  <a:pt x="3013224" y="340706"/>
                </a:cubicBezTo>
                <a:cubicBezTo>
                  <a:pt x="3013224" y="352256"/>
                  <a:pt x="3003985" y="361495"/>
                  <a:pt x="2992435" y="361495"/>
                </a:cubicBezTo>
                <a:cubicBezTo>
                  <a:pt x="2980886" y="361495"/>
                  <a:pt x="2971647" y="352256"/>
                  <a:pt x="2971647" y="340706"/>
                </a:cubicBezTo>
                <a:cubicBezTo>
                  <a:pt x="2971647" y="329157"/>
                  <a:pt x="2980886" y="319917"/>
                  <a:pt x="2992435" y="319917"/>
                </a:cubicBezTo>
                <a:close/>
                <a:moveTo>
                  <a:pt x="2853843" y="319917"/>
                </a:moveTo>
                <a:cubicBezTo>
                  <a:pt x="2865393" y="319917"/>
                  <a:pt x="2874633" y="329157"/>
                  <a:pt x="2874633" y="340706"/>
                </a:cubicBezTo>
                <a:cubicBezTo>
                  <a:pt x="2874633" y="352256"/>
                  <a:pt x="2865393" y="361495"/>
                  <a:pt x="2853843" y="361495"/>
                </a:cubicBezTo>
                <a:cubicBezTo>
                  <a:pt x="2842294" y="361495"/>
                  <a:pt x="2833056" y="352256"/>
                  <a:pt x="2833056" y="340706"/>
                </a:cubicBezTo>
                <a:cubicBezTo>
                  <a:pt x="2833056" y="329157"/>
                  <a:pt x="2842294" y="319917"/>
                  <a:pt x="2853843" y="319917"/>
                </a:cubicBezTo>
                <a:close/>
                <a:moveTo>
                  <a:pt x="2716405" y="319917"/>
                </a:moveTo>
                <a:cubicBezTo>
                  <a:pt x="2727955" y="319917"/>
                  <a:pt x="2737195" y="329157"/>
                  <a:pt x="2737195" y="340706"/>
                </a:cubicBezTo>
                <a:cubicBezTo>
                  <a:pt x="2737195" y="352256"/>
                  <a:pt x="2727955" y="361495"/>
                  <a:pt x="2716405" y="361495"/>
                </a:cubicBezTo>
                <a:cubicBezTo>
                  <a:pt x="2704856" y="361495"/>
                  <a:pt x="2695618" y="352256"/>
                  <a:pt x="2695618" y="340706"/>
                </a:cubicBezTo>
                <a:cubicBezTo>
                  <a:pt x="2695618" y="329157"/>
                  <a:pt x="2704856" y="319917"/>
                  <a:pt x="2716405" y="319917"/>
                </a:cubicBezTo>
                <a:close/>
                <a:moveTo>
                  <a:pt x="2578969" y="319917"/>
                </a:moveTo>
                <a:cubicBezTo>
                  <a:pt x="2590518" y="319917"/>
                  <a:pt x="2599758" y="329157"/>
                  <a:pt x="2599758" y="340706"/>
                </a:cubicBezTo>
                <a:cubicBezTo>
                  <a:pt x="2599758" y="352256"/>
                  <a:pt x="2590518" y="361495"/>
                  <a:pt x="2578969" y="361495"/>
                </a:cubicBezTo>
                <a:cubicBezTo>
                  <a:pt x="2567420" y="361495"/>
                  <a:pt x="2558180" y="352256"/>
                  <a:pt x="2558180" y="340706"/>
                </a:cubicBezTo>
                <a:cubicBezTo>
                  <a:pt x="2558180" y="329157"/>
                  <a:pt x="2567420" y="319917"/>
                  <a:pt x="2578969" y="319917"/>
                </a:cubicBezTo>
                <a:close/>
                <a:moveTo>
                  <a:pt x="1427499" y="319917"/>
                </a:moveTo>
                <a:cubicBezTo>
                  <a:pt x="1439048" y="319917"/>
                  <a:pt x="1448288" y="329157"/>
                  <a:pt x="1448288" y="340706"/>
                </a:cubicBezTo>
                <a:cubicBezTo>
                  <a:pt x="1448288" y="352256"/>
                  <a:pt x="1439048" y="361495"/>
                  <a:pt x="1427499" y="361495"/>
                </a:cubicBezTo>
                <a:cubicBezTo>
                  <a:pt x="1415950" y="361495"/>
                  <a:pt x="1406710" y="352256"/>
                  <a:pt x="1406710" y="340706"/>
                </a:cubicBezTo>
                <a:cubicBezTo>
                  <a:pt x="1406710" y="329157"/>
                  <a:pt x="1415950" y="319917"/>
                  <a:pt x="1427499" y="319917"/>
                </a:cubicBezTo>
                <a:close/>
                <a:moveTo>
                  <a:pt x="28874" y="319917"/>
                </a:moveTo>
                <a:cubicBezTo>
                  <a:pt x="40424" y="319917"/>
                  <a:pt x="49663" y="329157"/>
                  <a:pt x="49663" y="340706"/>
                </a:cubicBezTo>
                <a:cubicBezTo>
                  <a:pt x="49663" y="352256"/>
                  <a:pt x="40424" y="361495"/>
                  <a:pt x="28874" y="361495"/>
                </a:cubicBezTo>
                <a:cubicBezTo>
                  <a:pt x="17325" y="361495"/>
                  <a:pt x="8085" y="352256"/>
                  <a:pt x="8085" y="340706"/>
                </a:cubicBezTo>
                <a:cubicBezTo>
                  <a:pt x="8085" y="329157"/>
                  <a:pt x="17325" y="319917"/>
                  <a:pt x="28874" y="319917"/>
                </a:cubicBezTo>
                <a:close/>
                <a:moveTo>
                  <a:pt x="11658510" y="316452"/>
                </a:moveTo>
                <a:cubicBezTo>
                  <a:pt x="11671214" y="316452"/>
                  <a:pt x="11681609" y="326847"/>
                  <a:pt x="11681609" y="339551"/>
                </a:cubicBezTo>
                <a:cubicBezTo>
                  <a:pt x="11681609" y="352256"/>
                  <a:pt x="11671214" y="362649"/>
                  <a:pt x="11658510" y="362649"/>
                </a:cubicBezTo>
                <a:cubicBezTo>
                  <a:pt x="11645806" y="362649"/>
                  <a:pt x="11635412" y="352256"/>
                  <a:pt x="11635412" y="339551"/>
                </a:cubicBezTo>
                <a:cubicBezTo>
                  <a:pt x="11635412" y="326847"/>
                  <a:pt x="11645806" y="316452"/>
                  <a:pt x="11658510" y="316452"/>
                </a:cubicBezTo>
                <a:close/>
                <a:moveTo>
                  <a:pt x="10508196" y="316452"/>
                </a:moveTo>
                <a:cubicBezTo>
                  <a:pt x="10520900" y="316452"/>
                  <a:pt x="10531295" y="326847"/>
                  <a:pt x="10531295" y="339551"/>
                </a:cubicBezTo>
                <a:cubicBezTo>
                  <a:pt x="10531295" y="352256"/>
                  <a:pt x="10520900" y="362649"/>
                  <a:pt x="10508196" y="362649"/>
                </a:cubicBezTo>
                <a:cubicBezTo>
                  <a:pt x="10495491" y="362649"/>
                  <a:pt x="10485098" y="352256"/>
                  <a:pt x="10485098" y="339551"/>
                </a:cubicBezTo>
                <a:cubicBezTo>
                  <a:pt x="10485098" y="326847"/>
                  <a:pt x="10495491" y="316452"/>
                  <a:pt x="10508196" y="316452"/>
                </a:cubicBezTo>
                <a:close/>
                <a:moveTo>
                  <a:pt x="9405233" y="316452"/>
                </a:moveTo>
                <a:cubicBezTo>
                  <a:pt x="9417938" y="316452"/>
                  <a:pt x="9428332" y="326847"/>
                  <a:pt x="9428332" y="339551"/>
                </a:cubicBezTo>
                <a:cubicBezTo>
                  <a:pt x="9428332" y="352256"/>
                  <a:pt x="9417938" y="362649"/>
                  <a:pt x="9405233" y="362649"/>
                </a:cubicBezTo>
                <a:cubicBezTo>
                  <a:pt x="9392530" y="362649"/>
                  <a:pt x="9382135" y="352256"/>
                  <a:pt x="9382135" y="339551"/>
                </a:cubicBezTo>
                <a:cubicBezTo>
                  <a:pt x="9382135" y="326847"/>
                  <a:pt x="9392530" y="316452"/>
                  <a:pt x="9405233" y="316452"/>
                </a:cubicBezTo>
                <a:close/>
                <a:moveTo>
                  <a:pt x="8285498" y="316452"/>
                </a:moveTo>
                <a:cubicBezTo>
                  <a:pt x="8298204" y="316452"/>
                  <a:pt x="8308598" y="326847"/>
                  <a:pt x="8308598" y="339551"/>
                </a:cubicBezTo>
                <a:cubicBezTo>
                  <a:pt x="8308598" y="352256"/>
                  <a:pt x="8298204" y="362649"/>
                  <a:pt x="8285498" y="362649"/>
                </a:cubicBezTo>
                <a:cubicBezTo>
                  <a:pt x="8272794" y="362649"/>
                  <a:pt x="8262401" y="352256"/>
                  <a:pt x="8262401" y="339551"/>
                </a:cubicBezTo>
                <a:cubicBezTo>
                  <a:pt x="8262401" y="326847"/>
                  <a:pt x="8272794" y="316452"/>
                  <a:pt x="8285498" y="316452"/>
                </a:cubicBezTo>
                <a:close/>
                <a:moveTo>
                  <a:pt x="7053184" y="316452"/>
                </a:moveTo>
                <a:cubicBezTo>
                  <a:pt x="7067044" y="316452"/>
                  <a:pt x="7076283" y="326847"/>
                  <a:pt x="7076283" y="339551"/>
                </a:cubicBezTo>
                <a:cubicBezTo>
                  <a:pt x="7076283" y="352256"/>
                  <a:pt x="7065888" y="362649"/>
                  <a:pt x="7053184" y="362649"/>
                </a:cubicBezTo>
                <a:cubicBezTo>
                  <a:pt x="7040480" y="362649"/>
                  <a:pt x="7030086" y="352256"/>
                  <a:pt x="7030086" y="339551"/>
                </a:cubicBezTo>
                <a:cubicBezTo>
                  <a:pt x="7030086" y="326847"/>
                  <a:pt x="7040480" y="316452"/>
                  <a:pt x="7053184" y="316452"/>
                </a:cubicBezTo>
                <a:close/>
                <a:moveTo>
                  <a:pt x="5902869" y="316452"/>
                </a:moveTo>
                <a:cubicBezTo>
                  <a:pt x="5915573" y="316452"/>
                  <a:pt x="5925969" y="326847"/>
                  <a:pt x="5925969" y="339551"/>
                </a:cubicBezTo>
                <a:cubicBezTo>
                  <a:pt x="5925969" y="352256"/>
                  <a:pt x="5915573" y="362649"/>
                  <a:pt x="5902869" y="362649"/>
                </a:cubicBezTo>
                <a:cubicBezTo>
                  <a:pt x="5890165" y="362649"/>
                  <a:pt x="5879771" y="352256"/>
                  <a:pt x="5879771" y="339551"/>
                </a:cubicBezTo>
                <a:cubicBezTo>
                  <a:pt x="5879771" y="326847"/>
                  <a:pt x="5890165" y="316452"/>
                  <a:pt x="5902869" y="316452"/>
                </a:cubicBezTo>
                <a:close/>
                <a:moveTo>
                  <a:pt x="4799906" y="316452"/>
                </a:moveTo>
                <a:cubicBezTo>
                  <a:pt x="4812611" y="316452"/>
                  <a:pt x="4823006" y="326847"/>
                  <a:pt x="4823006" y="339551"/>
                </a:cubicBezTo>
                <a:cubicBezTo>
                  <a:pt x="4823006" y="352256"/>
                  <a:pt x="4812611" y="362649"/>
                  <a:pt x="4799906" y="362649"/>
                </a:cubicBezTo>
                <a:cubicBezTo>
                  <a:pt x="4787205" y="362649"/>
                  <a:pt x="4776809" y="352256"/>
                  <a:pt x="4776809" y="339551"/>
                </a:cubicBezTo>
                <a:cubicBezTo>
                  <a:pt x="4776809" y="326847"/>
                  <a:pt x="4787205" y="316452"/>
                  <a:pt x="4799906" y="316452"/>
                </a:cubicBezTo>
                <a:close/>
                <a:moveTo>
                  <a:pt x="3672691" y="316452"/>
                </a:moveTo>
                <a:cubicBezTo>
                  <a:pt x="3685396" y="316452"/>
                  <a:pt x="3695791" y="326847"/>
                  <a:pt x="3695791" y="339551"/>
                </a:cubicBezTo>
                <a:cubicBezTo>
                  <a:pt x="3695791" y="352256"/>
                  <a:pt x="3685396" y="362649"/>
                  <a:pt x="3672691" y="362649"/>
                </a:cubicBezTo>
                <a:cubicBezTo>
                  <a:pt x="3659987" y="362649"/>
                  <a:pt x="3649592" y="352256"/>
                  <a:pt x="3649592" y="339551"/>
                </a:cubicBezTo>
                <a:cubicBezTo>
                  <a:pt x="3649592" y="326847"/>
                  <a:pt x="3659987" y="316452"/>
                  <a:pt x="3672691" y="316452"/>
                </a:cubicBezTo>
                <a:close/>
                <a:moveTo>
                  <a:pt x="2440377" y="316452"/>
                </a:moveTo>
                <a:cubicBezTo>
                  <a:pt x="2453080" y="316452"/>
                  <a:pt x="2463475" y="326847"/>
                  <a:pt x="2463475" y="339551"/>
                </a:cubicBezTo>
                <a:cubicBezTo>
                  <a:pt x="2463475" y="352256"/>
                  <a:pt x="2453080" y="362649"/>
                  <a:pt x="2440377" y="362649"/>
                </a:cubicBezTo>
                <a:cubicBezTo>
                  <a:pt x="2427672" y="362649"/>
                  <a:pt x="2417278" y="352256"/>
                  <a:pt x="2417278" y="339551"/>
                </a:cubicBezTo>
                <a:cubicBezTo>
                  <a:pt x="2417278" y="326847"/>
                  <a:pt x="2427672" y="316452"/>
                  <a:pt x="2440377" y="316452"/>
                </a:cubicBezTo>
                <a:close/>
                <a:moveTo>
                  <a:pt x="1290062" y="316452"/>
                </a:moveTo>
                <a:cubicBezTo>
                  <a:pt x="1302766" y="316452"/>
                  <a:pt x="1313161" y="326847"/>
                  <a:pt x="1313161" y="339551"/>
                </a:cubicBezTo>
                <a:cubicBezTo>
                  <a:pt x="1313161" y="352256"/>
                  <a:pt x="1302766" y="362649"/>
                  <a:pt x="1290062" y="362649"/>
                </a:cubicBezTo>
                <a:cubicBezTo>
                  <a:pt x="1277357" y="362649"/>
                  <a:pt x="1266964" y="352256"/>
                  <a:pt x="1266964" y="339551"/>
                </a:cubicBezTo>
                <a:cubicBezTo>
                  <a:pt x="1266964" y="326847"/>
                  <a:pt x="1277357" y="316452"/>
                  <a:pt x="1290062" y="316452"/>
                </a:cubicBezTo>
                <a:close/>
                <a:moveTo>
                  <a:pt x="187100" y="316452"/>
                </a:moveTo>
                <a:cubicBezTo>
                  <a:pt x="199805" y="316452"/>
                  <a:pt x="210198" y="326847"/>
                  <a:pt x="210198" y="339551"/>
                </a:cubicBezTo>
                <a:cubicBezTo>
                  <a:pt x="210198" y="352256"/>
                  <a:pt x="199805" y="362649"/>
                  <a:pt x="187100" y="362649"/>
                </a:cubicBezTo>
                <a:cubicBezTo>
                  <a:pt x="174396" y="362649"/>
                  <a:pt x="164001" y="352256"/>
                  <a:pt x="164001" y="339551"/>
                </a:cubicBezTo>
                <a:cubicBezTo>
                  <a:pt x="164001" y="326847"/>
                  <a:pt x="174396" y="316452"/>
                  <a:pt x="187100" y="316452"/>
                </a:cubicBezTo>
                <a:close/>
                <a:moveTo>
                  <a:pt x="11521073" y="310678"/>
                </a:moveTo>
                <a:cubicBezTo>
                  <a:pt x="11537242" y="310678"/>
                  <a:pt x="11549947" y="323382"/>
                  <a:pt x="11549947" y="339551"/>
                </a:cubicBezTo>
                <a:cubicBezTo>
                  <a:pt x="11549947" y="355720"/>
                  <a:pt x="11537242" y="368425"/>
                  <a:pt x="11521073" y="368425"/>
                </a:cubicBezTo>
                <a:cubicBezTo>
                  <a:pt x="11504904" y="368425"/>
                  <a:pt x="11492200" y="355720"/>
                  <a:pt x="11492200" y="339551"/>
                </a:cubicBezTo>
                <a:cubicBezTo>
                  <a:pt x="11492200" y="323382"/>
                  <a:pt x="11504904" y="310678"/>
                  <a:pt x="11521073" y="310678"/>
                </a:cubicBezTo>
                <a:close/>
                <a:moveTo>
                  <a:pt x="10369604" y="310678"/>
                </a:moveTo>
                <a:cubicBezTo>
                  <a:pt x="10385773" y="310678"/>
                  <a:pt x="10398477" y="323382"/>
                  <a:pt x="10398477" y="339551"/>
                </a:cubicBezTo>
                <a:cubicBezTo>
                  <a:pt x="10398477" y="355720"/>
                  <a:pt x="10385773" y="368425"/>
                  <a:pt x="10369604" y="368425"/>
                </a:cubicBezTo>
                <a:cubicBezTo>
                  <a:pt x="10353435" y="368425"/>
                  <a:pt x="10340730" y="355720"/>
                  <a:pt x="10340730" y="339551"/>
                </a:cubicBezTo>
                <a:cubicBezTo>
                  <a:pt x="10340730" y="323382"/>
                  <a:pt x="10353435" y="310678"/>
                  <a:pt x="10369604" y="310678"/>
                </a:cubicBezTo>
                <a:close/>
                <a:moveTo>
                  <a:pt x="9543825" y="310678"/>
                </a:moveTo>
                <a:cubicBezTo>
                  <a:pt x="9558840" y="310678"/>
                  <a:pt x="9572699" y="323382"/>
                  <a:pt x="9572699" y="339551"/>
                </a:cubicBezTo>
                <a:cubicBezTo>
                  <a:pt x="9572699" y="355720"/>
                  <a:pt x="9559995" y="368425"/>
                  <a:pt x="9543825" y="368425"/>
                </a:cubicBezTo>
                <a:cubicBezTo>
                  <a:pt x="9527656" y="368425"/>
                  <a:pt x="9514953" y="355720"/>
                  <a:pt x="9514953" y="339551"/>
                </a:cubicBezTo>
                <a:cubicBezTo>
                  <a:pt x="9514953" y="323382"/>
                  <a:pt x="9527656" y="310678"/>
                  <a:pt x="9543825" y="310678"/>
                </a:cubicBezTo>
                <a:close/>
                <a:moveTo>
                  <a:pt x="8422936" y="310678"/>
                </a:moveTo>
                <a:cubicBezTo>
                  <a:pt x="8439105" y="310678"/>
                  <a:pt x="8451809" y="323382"/>
                  <a:pt x="8451809" y="339551"/>
                </a:cubicBezTo>
                <a:cubicBezTo>
                  <a:pt x="8451809" y="355720"/>
                  <a:pt x="8439105" y="368425"/>
                  <a:pt x="8422936" y="368425"/>
                </a:cubicBezTo>
                <a:cubicBezTo>
                  <a:pt x="8406767" y="368425"/>
                  <a:pt x="8394062" y="355720"/>
                  <a:pt x="8394062" y="339551"/>
                </a:cubicBezTo>
                <a:cubicBezTo>
                  <a:pt x="8394062" y="323382"/>
                  <a:pt x="8406767" y="310678"/>
                  <a:pt x="8422936" y="310678"/>
                </a:cubicBezTo>
                <a:close/>
                <a:moveTo>
                  <a:pt x="6915746" y="310678"/>
                </a:moveTo>
                <a:cubicBezTo>
                  <a:pt x="6931915" y="310678"/>
                  <a:pt x="6944621" y="323382"/>
                  <a:pt x="6944621" y="339551"/>
                </a:cubicBezTo>
                <a:cubicBezTo>
                  <a:pt x="6944621" y="355720"/>
                  <a:pt x="6931915" y="368425"/>
                  <a:pt x="6915746" y="368425"/>
                </a:cubicBezTo>
                <a:cubicBezTo>
                  <a:pt x="6899578" y="368425"/>
                  <a:pt x="6886873" y="355720"/>
                  <a:pt x="6886873" y="339551"/>
                </a:cubicBezTo>
                <a:cubicBezTo>
                  <a:pt x="6886873" y="323382"/>
                  <a:pt x="6899578" y="310678"/>
                  <a:pt x="6915746" y="310678"/>
                </a:cubicBezTo>
                <a:close/>
                <a:moveTo>
                  <a:pt x="5764278" y="310678"/>
                </a:moveTo>
                <a:cubicBezTo>
                  <a:pt x="5780448" y="310678"/>
                  <a:pt x="5793151" y="323382"/>
                  <a:pt x="5793151" y="339551"/>
                </a:cubicBezTo>
                <a:cubicBezTo>
                  <a:pt x="5793151" y="355720"/>
                  <a:pt x="5780448" y="368425"/>
                  <a:pt x="5764278" y="368425"/>
                </a:cubicBezTo>
                <a:cubicBezTo>
                  <a:pt x="5748109" y="368425"/>
                  <a:pt x="5735405" y="355720"/>
                  <a:pt x="5735405" y="339551"/>
                </a:cubicBezTo>
                <a:cubicBezTo>
                  <a:pt x="5735405" y="323382"/>
                  <a:pt x="5748109" y="310678"/>
                  <a:pt x="5764278" y="310678"/>
                </a:cubicBezTo>
                <a:close/>
                <a:moveTo>
                  <a:pt x="4938500" y="310678"/>
                </a:moveTo>
                <a:cubicBezTo>
                  <a:pt x="4953513" y="310678"/>
                  <a:pt x="4967373" y="323382"/>
                  <a:pt x="4967373" y="339551"/>
                </a:cubicBezTo>
                <a:cubicBezTo>
                  <a:pt x="4967373" y="355720"/>
                  <a:pt x="4954668" y="368425"/>
                  <a:pt x="4938500" y="368425"/>
                </a:cubicBezTo>
                <a:cubicBezTo>
                  <a:pt x="4922331" y="368425"/>
                  <a:pt x="4909627" y="355720"/>
                  <a:pt x="4909627" y="339551"/>
                </a:cubicBezTo>
                <a:cubicBezTo>
                  <a:pt x="4909627" y="323382"/>
                  <a:pt x="4922331" y="310678"/>
                  <a:pt x="4938500" y="310678"/>
                </a:cubicBezTo>
                <a:close/>
                <a:moveTo>
                  <a:pt x="3810129" y="310678"/>
                </a:moveTo>
                <a:cubicBezTo>
                  <a:pt x="3826298" y="310678"/>
                  <a:pt x="3839002" y="323382"/>
                  <a:pt x="3839002" y="339551"/>
                </a:cubicBezTo>
                <a:cubicBezTo>
                  <a:pt x="3839002" y="355720"/>
                  <a:pt x="3826298" y="368425"/>
                  <a:pt x="3810129" y="368425"/>
                </a:cubicBezTo>
                <a:cubicBezTo>
                  <a:pt x="3793960" y="368425"/>
                  <a:pt x="3781255" y="355720"/>
                  <a:pt x="3781255" y="339551"/>
                </a:cubicBezTo>
                <a:cubicBezTo>
                  <a:pt x="3781255" y="323382"/>
                  <a:pt x="3793960" y="310678"/>
                  <a:pt x="3810129" y="310678"/>
                </a:cubicBezTo>
                <a:close/>
                <a:moveTo>
                  <a:pt x="2302939" y="310678"/>
                </a:moveTo>
                <a:cubicBezTo>
                  <a:pt x="2319108" y="310678"/>
                  <a:pt x="2331813" y="323382"/>
                  <a:pt x="2331813" y="339551"/>
                </a:cubicBezTo>
                <a:cubicBezTo>
                  <a:pt x="2331813" y="355720"/>
                  <a:pt x="2319108" y="368425"/>
                  <a:pt x="2302939" y="368425"/>
                </a:cubicBezTo>
                <a:cubicBezTo>
                  <a:pt x="2286771" y="368425"/>
                  <a:pt x="2274067" y="355720"/>
                  <a:pt x="2274067" y="339551"/>
                </a:cubicBezTo>
                <a:cubicBezTo>
                  <a:pt x="2274067" y="323382"/>
                  <a:pt x="2286771" y="310678"/>
                  <a:pt x="2302939" y="310678"/>
                </a:cubicBezTo>
                <a:close/>
                <a:moveTo>
                  <a:pt x="1151470" y="310678"/>
                </a:moveTo>
                <a:cubicBezTo>
                  <a:pt x="1167639" y="310678"/>
                  <a:pt x="1180343" y="323382"/>
                  <a:pt x="1180343" y="339551"/>
                </a:cubicBezTo>
                <a:cubicBezTo>
                  <a:pt x="1180343" y="355720"/>
                  <a:pt x="1167639" y="368425"/>
                  <a:pt x="1151470" y="368425"/>
                </a:cubicBezTo>
                <a:cubicBezTo>
                  <a:pt x="1135301" y="368425"/>
                  <a:pt x="1122596" y="355720"/>
                  <a:pt x="1122596" y="339551"/>
                </a:cubicBezTo>
                <a:cubicBezTo>
                  <a:pt x="1122596" y="323382"/>
                  <a:pt x="1135301" y="310678"/>
                  <a:pt x="1151470" y="310678"/>
                </a:cubicBezTo>
                <a:close/>
                <a:moveTo>
                  <a:pt x="325692" y="310678"/>
                </a:moveTo>
                <a:cubicBezTo>
                  <a:pt x="340706" y="310678"/>
                  <a:pt x="354566" y="323382"/>
                  <a:pt x="354566" y="339551"/>
                </a:cubicBezTo>
                <a:cubicBezTo>
                  <a:pt x="354566" y="355720"/>
                  <a:pt x="341861" y="368425"/>
                  <a:pt x="325692" y="368425"/>
                </a:cubicBezTo>
                <a:cubicBezTo>
                  <a:pt x="309523" y="368425"/>
                  <a:pt x="296819" y="355720"/>
                  <a:pt x="296819" y="339551"/>
                </a:cubicBezTo>
                <a:cubicBezTo>
                  <a:pt x="296819" y="323382"/>
                  <a:pt x="309523" y="310678"/>
                  <a:pt x="325692" y="310678"/>
                </a:cubicBezTo>
                <a:close/>
                <a:moveTo>
                  <a:pt x="11383636" y="304903"/>
                </a:moveTo>
                <a:cubicBezTo>
                  <a:pt x="11402115" y="304903"/>
                  <a:pt x="11418284" y="321072"/>
                  <a:pt x="11418284" y="339551"/>
                </a:cubicBezTo>
                <a:cubicBezTo>
                  <a:pt x="11418284" y="358030"/>
                  <a:pt x="11403270" y="374199"/>
                  <a:pt x="11383636" y="374199"/>
                </a:cubicBezTo>
                <a:cubicBezTo>
                  <a:pt x="11365157" y="374199"/>
                  <a:pt x="11348988" y="358030"/>
                  <a:pt x="11348988" y="339551"/>
                </a:cubicBezTo>
                <a:cubicBezTo>
                  <a:pt x="11348988" y="321072"/>
                  <a:pt x="11364002" y="304903"/>
                  <a:pt x="11383636" y="304903"/>
                </a:cubicBezTo>
                <a:close/>
                <a:moveTo>
                  <a:pt x="10811943" y="304903"/>
                </a:moveTo>
                <a:cubicBezTo>
                  <a:pt x="10830422" y="304903"/>
                  <a:pt x="10846591" y="321072"/>
                  <a:pt x="10846591" y="339551"/>
                </a:cubicBezTo>
                <a:cubicBezTo>
                  <a:pt x="10846591" y="358030"/>
                  <a:pt x="10831578" y="374199"/>
                  <a:pt x="10811943" y="374199"/>
                </a:cubicBezTo>
                <a:cubicBezTo>
                  <a:pt x="10793464" y="374199"/>
                  <a:pt x="10777295" y="358030"/>
                  <a:pt x="10777295" y="339551"/>
                </a:cubicBezTo>
                <a:cubicBezTo>
                  <a:pt x="10777295" y="321072"/>
                  <a:pt x="10792310" y="304903"/>
                  <a:pt x="10811943" y="304903"/>
                </a:cubicBezTo>
                <a:close/>
                <a:moveTo>
                  <a:pt x="10232166" y="304903"/>
                </a:moveTo>
                <a:cubicBezTo>
                  <a:pt x="10251801" y="304903"/>
                  <a:pt x="10266814" y="321072"/>
                  <a:pt x="10266814" y="339551"/>
                </a:cubicBezTo>
                <a:cubicBezTo>
                  <a:pt x="10266814" y="358030"/>
                  <a:pt x="10250645" y="374199"/>
                  <a:pt x="10232166" y="374199"/>
                </a:cubicBezTo>
                <a:cubicBezTo>
                  <a:pt x="10213687" y="374199"/>
                  <a:pt x="10197518" y="358030"/>
                  <a:pt x="10197518" y="339551"/>
                </a:cubicBezTo>
                <a:cubicBezTo>
                  <a:pt x="10197518" y="321072"/>
                  <a:pt x="10212533" y="304903"/>
                  <a:pt x="10232166" y="304903"/>
                </a:cubicBezTo>
                <a:close/>
                <a:moveTo>
                  <a:pt x="9681263" y="304903"/>
                </a:moveTo>
                <a:cubicBezTo>
                  <a:pt x="9700896" y="304903"/>
                  <a:pt x="9715911" y="321072"/>
                  <a:pt x="9715911" y="339551"/>
                </a:cubicBezTo>
                <a:cubicBezTo>
                  <a:pt x="9715911" y="358030"/>
                  <a:pt x="9699742" y="374199"/>
                  <a:pt x="9681263" y="374199"/>
                </a:cubicBezTo>
                <a:cubicBezTo>
                  <a:pt x="9662784" y="374199"/>
                  <a:pt x="9646615" y="358030"/>
                  <a:pt x="9646615" y="339551"/>
                </a:cubicBezTo>
                <a:cubicBezTo>
                  <a:pt x="9646615" y="321072"/>
                  <a:pt x="9661629" y="304903"/>
                  <a:pt x="9681263" y="304903"/>
                </a:cubicBezTo>
                <a:close/>
                <a:moveTo>
                  <a:pt x="9112431" y="304903"/>
                </a:moveTo>
                <a:cubicBezTo>
                  <a:pt x="9130910" y="304903"/>
                  <a:pt x="9147079" y="321072"/>
                  <a:pt x="9147079" y="339551"/>
                </a:cubicBezTo>
                <a:cubicBezTo>
                  <a:pt x="9147079" y="358030"/>
                  <a:pt x="9132065" y="374199"/>
                  <a:pt x="9112431" y="374199"/>
                </a:cubicBezTo>
                <a:cubicBezTo>
                  <a:pt x="9093952" y="374199"/>
                  <a:pt x="9077783" y="358030"/>
                  <a:pt x="9077783" y="339551"/>
                </a:cubicBezTo>
                <a:cubicBezTo>
                  <a:pt x="9077783" y="321072"/>
                  <a:pt x="9092798" y="304903"/>
                  <a:pt x="9112431" y="304903"/>
                </a:cubicBezTo>
                <a:close/>
                <a:moveTo>
                  <a:pt x="8561528" y="304903"/>
                </a:moveTo>
                <a:cubicBezTo>
                  <a:pt x="8580007" y="304903"/>
                  <a:pt x="8596176" y="321072"/>
                  <a:pt x="8596176" y="339551"/>
                </a:cubicBezTo>
                <a:cubicBezTo>
                  <a:pt x="8596176" y="358030"/>
                  <a:pt x="8581161" y="374199"/>
                  <a:pt x="8561528" y="374199"/>
                </a:cubicBezTo>
                <a:cubicBezTo>
                  <a:pt x="8543049" y="374199"/>
                  <a:pt x="8526880" y="358030"/>
                  <a:pt x="8526880" y="339551"/>
                </a:cubicBezTo>
                <a:cubicBezTo>
                  <a:pt x="8526880" y="321072"/>
                  <a:pt x="8541893" y="304903"/>
                  <a:pt x="8561528" y="304903"/>
                </a:cubicBezTo>
                <a:close/>
                <a:moveTo>
                  <a:pt x="6778310" y="304903"/>
                </a:moveTo>
                <a:cubicBezTo>
                  <a:pt x="6796790" y="304903"/>
                  <a:pt x="6812959" y="321072"/>
                  <a:pt x="6812959" y="339551"/>
                </a:cubicBezTo>
                <a:cubicBezTo>
                  <a:pt x="6812959" y="358030"/>
                  <a:pt x="6796790" y="374199"/>
                  <a:pt x="6778310" y="374199"/>
                </a:cubicBezTo>
                <a:cubicBezTo>
                  <a:pt x="6759831" y="374199"/>
                  <a:pt x="6743662" y="358030"/>
                  <a:pt x="6743662" y="339551"/>
                </a:cubicBezTo>
                <a:cubicBezTo>
                  <a:pt x="6743662" y="321072"/>
                  <a:pt x="6758675" y="304903"/>
                  <a:pt x="6778310" y="304903"/>
                </a:cubicBezTo>
                <a:close/>
                <a:moveTo>
                  <a:pt x="6206618" y="304903"/>
                </a:moveTo>
                <a:cubicBezTo>
                  <a:pt x="6225097" y="304903"/>
                  <a:pt x="6241265" y="321072"/>
                  <a:pt x="6241265" y="339551"/>
                </a:cubicBezTo>
                <a:cubicBezTo>
                  <a:pt x="6241265" y="358030"/>
                  <a:pt x="6226251" y="374199"/>
                  <a:pt x="6206618" y="374199"/>
                </a:cubicBezTo>
                <a:cubicBezTo>
                  <a:pt x="6188138" y="374199"/>
                  <a:pt x="6171969" y="358030"/>
                  <a:pt x="6171969" y="339551"/>
                </a:cubicBezTo>
                <a:cubicBezTo>
                  <a:pt x="6171969" y="321072"/>
                  <a:pt x="6186984" y="304903"/>
                  <a:pt x="6206618" y="304903"/>
                </a:cubicBezTo>
                <a:close/>
                <a:moveTo>
                  <a:pt x="5626840" y="304903"/>
                </a:moveTo>
                <a:cubicBezTo>
                  <a:pt x="5646475" y="304903"/>
                  <a:pt x="5661488" y="321072"/>
                  <a:pt x="5661488" y="339551"/>
                </a:cubicBezTo>
                <a:cubicBezTo>
                  <a:pt x="5661488" y="358030"/>
                  <a:pt x="5646475" y="374199"/>
                  <a:pt x="5626840" y="374199"/>
                </a:cubicBezTo>
                <a:cubicBezTo>
                  <a:pt x="5608360" y="374199"/>
                  <a:pt x="5592192" y="358030"/>
                  <a:pt x="5592192" y="339551"/>
                </a:cubicBezTo>
                <a:cubicBezTo>
                  <a:pt x="5592192" y="321072"/>
                  <a:pt x="5607207" y="304903"/>
                  <a:pt x="5626840" y="304903"/>
                </a:cubicBezTo>
                <a:close/>
                <a:moveTo>
                  <a:pt x="5075938" y="304903"/>
                </a:moveTo>
                <a:cubicBezTo>
                  <a:pt x="5095572" y="304903"/>
                  <a:pt x="5110584" y="321072"/>
                  <a:pt x="5110584" y="339551"/>
                </a:cubicBezTo>
                <a:cubicBezTo>
                  <a:pt x="5110584" y="358030"/>
                  <a:pt x="5095572" y="374199"/>
                  <a:pt x="5075938" y="374199"/>
                </a:cubicBezTo>
                <a:cubicBezTo>
                  <a:pt x="5057458" y="374199"/>
                  <a:pt x="5041289" y="358030"/>
                  <a:pt x="5041289" y="339551"/>
                </a:cubicBezTo>
                <a:cubicBezTo>
                  <a:pt x="5041289" y="321072"/>
                  <a:pt x="5056302" y="304903"/>
                  <a:pt x="5075938" y="304903"/>
                </a:cubicBezTo>
                <a:close/>
                <a:moveTo>
                  <a:pt x="4499625" y="304903"/>
                </a:moveTo>
                <a:cubicBezTo>
                  <a:pt x="4518102" y="304903"/>
                  <a:pt x="4534273" y="321072"/>
                  <a:pt x="4534273" y="339551"/>
                </a:cubicBezTo>
                <a:cubicBezTo>
                  <a:pt x="4534273" y="358030"/>
                  <a:pt x="4519258" y="374199"/>
                  <a:pt x="4499625" y="374199"/>
                </a:cubicBezTo>
                <a:cubicBezTo>
                  <a:pt x="4481146" y="374199"/>
                  <a:pt x="4464976" y="358030"/>
                  <a:pt x="4464976" y="339551"/>
                </a:cubicBezTo>
                <a:cubicBezTo>
                  <a:pt x="4464976" y="321072"/>
                  <a:pt x="4479992" y="304903"/>
                  <a:pt x="4499625" y="304903"/>
                </a:cubicBezTo>
                <a:close/>
                <a:moveTo>
                  <a:pt x="3948721" y="304903"/>
                </a:moveTo>
                <a:cubicBezTo>
                  <a:pt x="3967200" y="304903"/>
                  <a:pt x="3983369" y="321072"/>
                  <a:pt x="3983369" y="339551"/>
                </a:cubicBezTo>
                <a:cubicBezTo>
                  <a:pt x="3983369" y="358030"/>
                  <a:pt x="3968354" y="374199"/>
                  <a:pt x="3948721" y="374199"/>
                </a:cubicBezTo>
                <a:cubicBezTo>
                  <a:pt x="3930243" y="374199"/>
                  <a:pt x="3914073" y="358030"/>
                  <a:pt x="3914073" y="339551"/>
                </a:cubicBezTo>
                <a:cubicBezTo>
                  <a:pt x="3914073" y="321072"/>
                  <a:pt x="3929086" y="304903"/>
                  <a:pt x="3948721" y="304903"/>
                </a:cubicBezTo>
                <a:close/>
                <a:moveTo>
                  <a:pt x="2165502" y="304903"/>
                </a:moveTo>
                <a:cubicBezTo>
                  <a:pt x="2183981" y="304903"/>
                  <a:pt x="2200150" y="321072"/>
                  <a:pt x="2200150" y="339551"/>
                </a:cubicBezTo>
                <a:cubicBezTo>
                  <a:pt x="2200150" y="358030"/>
                  <a:pt x="2185137" y="374199"/>
                  <a:pt x="2165502" y="374199"/>
                </a:cubicBezTo>
                <a:cubicBezTo>
                  <a:pt x="2147023" y="374199"/>
                  <a:pt x="2130854" y="358030"/>
                  <a:pt x="2130854" y="339551"/>
                </a:cubicBezTo>
                <a:cubicBezTo>
                  <a:pt x="2130854" y="321072"/>
                  <a:pt x="2145868" y="304903"/>
                  <a:pt x="2165502" y="304903"/>
                </a:cubicBezTo>
                <a:close/>
                <a:moveTo>
                  <a:pt x="1593810" y="304903"/>
                </a:moveTo>
                <a:cubicBezTo>
                  <a:pt x="1612288" y="304903"/>
                  <a:pt x="1628457" y="321072"/>
                  <a:pt x="1628457" y="339551"/>
                </a:cubicBezTo>
                <a:cubicBezTo>
                  <a:pt x="1628457" y="358030"/>
                  <a:pt x="1613444" y="374199"/>
                  <a:pt x="1593810" y="374199"/>
                </a:cubicBezTo>
                <a:cubicBezTo>
                  <a:pt x="1575330" y="374199"/>
                  <a:pt x="1559161" y="358030"/>
                  <a:pt x="1559161" y="339551"/>
                </a:cubicBezTo>
                <a:cubicBezTo>
                  <a:pt x="1559161" y="321072"/>
                  <a:pt x="1574176" y="304903"/>
                  <a:pt x="1593810" y="304903"/>
                </a:cubicBezTo>
                <a:close/>
                <a:moveTo>
                  <a:pt x="1014032" y="304903"/>
                </a:moveTo>
                <a:cubicBezTo>
                  <a:pt x="1033667" y="304903"/>
                  <a:pt x="1048681" y="321072"/>
                  <a:pt x="1048681" y="339551"/>
                </a:cubicBezTo>
                <a:cubicBezTo>
                  <a:pt x="1048681" y="358030"/>
                  <a:pt x="1032511" y="374199"/>
                  <a:pt x="1014032" y="374199"/>
                </a:cubicBezTo>
                <a:cubicBezTo>
                  <a:pt x="995554" y="374199"/>
                  <a:pt x="979384" y="358030"/>
                  <a:pt x="979384" y="339551"/>
                </a:cubicBezTo>
                <a:cubicBezTo>
                  <a:pt x="979384" y="321072"/>
                  <a:pt x="994399" y="304903"/>
                  <a:pt x="1014032" y="304903"/>
                </a:cubicBezTo>
                <a:close/>
                <a:moveTo>
                  <a:pt x="463129" y="304903"/>
                </a:moveTo>
                <a:cubicBezTo>
                  <a:pt x="482763" y="304903"/>
                  <a:pt x="497778" y="321072"/>
                  <a:pt x="497778" y="339551"/>
                </a:cubicBezTo>
                <a:cubicBezTo>
                  <a:pt x="497778" y="358030"/>
                  <a:pt x="481608" y="374199"/>
                  <a:pt x="463129" y="374199"/>
                </a:cubicBezTo>
                <a:cubicBezTo>
                  <a:pt x="444651" y="374199"/>
                  <a:pt x="428481" y="358030"/>
                  <a:pt x="428481" y="339551"/>
                </a:cubicBezTo>
                <a:cubicBezTo>
                  <a:pt x="428481" y="321072"/>
                  <a:pt x="443495" y="304903"/>
                  <a:pt x="463129" y="304903"/>
                </a:cubicBezTo>
                <a:close/>
                <a:moveTo>
                  <a:pt x="11245044" y="299129"/>
                </a:moveTo>
                <a:cubicBezTo>
                  <a:pt x="11268143" y="299129"/>
                  <a:pt x="11285466" y="317608"/>
                  <a:pt x="11285466" y="339551"/>
                </a:cubicBezTo>
                <a:cubicBezTo>
                  <a:pt x="11285466" y="361495"/>
                  <a:pt x="11266987" y="379974"/>
                  <a:pt x="11245044" y="379974"/>
                </a:cubicBezTo>
                <a:cubicBezTo>
                  <a:pt x="11223100" y="379974"/>
                  <a:pt x="11204621" y="361495"/>
                  <a:pt x="11204621" y="339551"/>
                </a:cubicBezTo>
                <a:cubicBezTo>
                  <a:pt x="11204621" y="317608"/>
                  <a:pt x="11223100" y="299129"/>
                  <a:pt x="11245044" y="299129"/>
                </a:cubicBezTo>
                <a:close/>
                <a:moveTo>
                  <a:pt x="10970170" y="299129"/>
                </a:moveTo>
                <a:cubicBezTo>
                  <a:pt x="10992113" y="299129"/>
                  <a:pt x="11010592" y="317608"/>
                  <a:pt x="11010592" y="339551"/>
                </a:cubicBezTo>
                <a:cubicBezTo>
                  <a:pt x="11010592" y="361495"/>
                  <a:pt x="10992113" y="379974"/>
                  <a:pt x="10970170" y="379974"/>
                </a:cubicBezTo>
                <a:cubicBezTo>
                  <a:pt x="10948226" y="379974"/>
                  <a:pt x="10929746" y="361495"/>
                  <a:pt x="10929746" y="339551"/>
                </a:cubicBezTo>
                <a:cubicBezTo>
                  <a:pt x="10929746" y="317608"/>
                  <a:pt x="10948226" y="299129"/>
                  <a:pt x="10970170" y="299129"/>
                </a:cubicBezTo>
                <a:close/>
                <a:moveTo>
                  <a:pt x="10094730" y="299129"/>
                </a:moveTo>
                <a:cubicBezTo>
                  <a:pt x="10116673" y="299129"/>
                  <a:pt x="10135152" y="317608"/>
                  <a:pt x="10135152" y="339551"/>
                </a:cubicBezTo>
                <a:cubicBezTo>
                  <a:pt x="10135152" y="361495"/>
                  <a:pt x="10116673" y="379974"/>
                  <a:pt x="10094730" y="379974"/>
                </a:cubicBezTo>
                <a:cubicBezTo>
                  <a:pt x="10072785" y="379974"/>
                  <a:pt x="10054306" y="361495"/>
                  <a:pt x="10054306" y="339551"/>
                </a:cubicBezTo>
                <a:cubicBezTo>
                  <a:pt x="10054306" y="317608"/>
                  <a:pt x="10072785" y="299129"/>
                  <a:pt x="10094730" y="299129"/>
                </a:cubicBezTo>
                <a:close/>
                <a:moveTo>
                  <a:pt x="9818700" y="299129"/>
                </a:moveTo>
                <a:cubicBezTo>
                  <a:pt x="9841798" y="299129"/>
                  <a:pt x="9859123" y="318762"/>
                  <a:pt x="9859123" y="340706"/>
                </a:cubicBezTo>
                <a:cubicBezTo>
                  <a:pt x="9859123" y="362649"/>
                  <a:pt x="9840644" y="381128"/>
                  <a:pt x="9818700" y="381128"/>
                </a:cubicBezTo>
                <a:cubicBezTo>
                  <a:pt x="9796757" y="381128"/>
                  <a:pt x="9778278" y="361495"/>
                  <a:pt x="9778278" y="339551"/>
                </a:cubicBezTo>
                <a:cubicBezTo>
                  <a:pt x="9778278" y="317608"/>
                  <a:pt x="9796757" y="299129"/>
                  <a:pt x="9818700" y="299129"/>
                </a:cubicBezTo>
                <a:close/>
                <a:moveTo>
                  <a:pt x="8974994" y="299129"/>
                </a:moveTo>
                <a:cubicBezTo>
                  <a:pt x="8996938" y="299129"/>
                  <a:pt x="9015416" y="317608"/>
                  <a:pt x="9015416" y="339551"/>
                </a:cubicBezTo>
                <a:cubicBezTo>
                  <a:pt x="9015416" y="361495"/>
                  <a:pt x="8996938" y="379974"/>
                  <a:pt x="8974994" y="379974"/>
                </a:cubicBezTo>
                <a:cubicBezTo>
                  <a:pt x="8953050" y="379974"/>
                  <a:pt x="8934571" y="361495"/>
                  <a:pt x="8934571" y="339551"/>
                </a:cubicBezTo>
                <a:cubicBezTo>
                  <a:pt x="8934571" y="317608"/>
                  <a:pt x="8953050" y="299129"/>
                  <a:pt x="8974994" y="299129"/>
                </a:cubicBezTo>
                <a:close/>
                <a:moveTo>
                  <a:pt x="8698965" y="299129"/>
                </a:moveTo>
                <a:cubicBezTo>
                  <a:pt x="8720909" y="299129"/>
                  <a:pt x="8739388" y="317608"/>
                  <a:pt x="8739388" y="339551"/>
                </a:cubicBezTo>
                <a:cubicBezTo>
                  <a:pt x="8739388" y="361495"/>
                  <a:pt x="8720909" y="379974"/>
                  <a:pt x="8698965" y="379974"/>
                </a:cubicBezTo>
                <a:cubicBezTo>
                  <a:pt x="8677021" y="379974"/>
                  <a:pt x="8658542" y="361495"/>
                  <a:pt x="8658542" y="339551"/>
                </a:cubicBezTo>
                <a:cubicBezTo>
                  <a:pt x="8658542" y="317608"/>
                  <a:pt x="8677021" y="299129"/>
                  <a:pt x="8698965" y="299129"/>
                </a:cubicBezTo>
                <a:close/>
                <a:moveTo>
                  <a:pt x="6639717" y="299129"/>
                </a:moveTo>
                <a:cubicBezTo>
                  <a:pt x="6662817" y="299129"/>
                  <a:pt x="6680139" y="317608"/>
                  <a:pt x="6680139" y="339551"/>
                </a:cubicBezTo>
                <a:cubicBezTo>
                  <a:pt x="6680139" y="361495"/>
                  <a:pt x="6661661" y="379974"/>
                  <a:pt x="6639717" y="379974"/>
                </a:cubicBezTo>
                <a:cubicBezTo>
                  <a:pt x="6617773" y="379974"/>
                  <a:pt x="6599295" y="361495"/>
                  <a:pt x="6599295" y="339551"/>
                </a:cubicBezTo>
                <a:cubicBezTo>
                  <a:pt x="6599295" y="317608"/>
                  <a:pt x="6617773" y="299129"/>
                  <a:pt x="6639717" y="299129"/>
                </a:cubicBezTo>
                <a:close/>
                <a:moveTo>
                  <a:pt x="6364844" y="299129"/>
                </a:moveTo>
                <a:cubicBezTo>
                  <a:pt x="6386786" y="299129"/>
                  <a:pt x="6405265" y="317608"/>
                  <a:pt x="6405265" y="339551"/>
                </a:cubicBezTo>
                <a:cubicBezTo>
                  <a:pt x="6405265" y="361495"/>
                  <a:pt x="6386786" y="379974"/>
                  <a:pt x="6364844" y="379974"/>
                </a:cubicBezTo>
                <a:cubicBezTo>
                  <a:pt x="6342899" y="379974"/>
                  <a:pt x="6324420" y="361495"/>
                  <a:pt x="6324420" y="339551"/>
                </a:cubicBezTo>
                <a:cubicBezTo>
                  <a:pt x="6324420" y="317608"/>
                  <a:pt x="6342899" y="299129"/>
                  <a:pt x="6364844" y="299129"/>
                </a:cubicBezTo>
                <a:close/>
                <a:moveTo>
                  <a:pt x="5489405" y="299129"/>
                </a:moveTo>
                <a:cubicBezTo>
                  <a:pt x="5511346" y="299129"/>
                  <a:pt x="5529827" y="317608"/>
                  <a:pt x="5529827" y="339551"/>
                </a:cubicBezTo>
                <a:cubicBezTo>
                  <a:pt x="5529827" y="361495"/>
                  <a:pt x="5511346" y="379974"/>
                  <a:pt x="5489405" y="379974"/>
                </a:cubicBezTo>
                <a:cubicBezTo>
                  <a:pt x="5467460" y="379974"/>
                  <a:pt x="5448980" y="361495"/>
                  <a:pt x="5448980" y="339551"/>
                </a:cubicBezTo>
                <a:cubicBezTo>
                  <a:pt x="5448980" y="317608"/>
                  <a:pt x="5467460" y="299129"/>
                  <a:pt x="5489405" y="299129"/>
                </a:cubicBezTo>
                <a:close/>
                <a:moveTo>
                  <a:pt x="5213373" y="299129"/>
                </a:moveTo>
                <a:cubicBezTo>
                  <a:pt x="5236473" y="299129"/>
                  <a:pt x="5253797" y="317608"/>
                  <a:pt x="5253797" y="339551"/>
                </a:cubicBezTo>
                <a:cubicBezTo>
                  <a:pt x="5253797" y="361495"/>
                  <a:pt x="5235320" y="379974"/>
                  <a:pt x="5213373" y="379974"/>
                </a:cubicBezTo>
                <a:cubicBezTo>
                  <a:pt x="5191431" y="379974"/>
                  <a:pt x="5172952" y="361495"/>
                  <a:pt x="5172952" y="339551"/>
                </a:cubicBezTo>
                <a:cubicBezTo>
                  <a:pt x="5172952" y="317608"/>
                  <a:pt x="5191431" y="299129"/>
                  <a:pt x="5213373" y="299129"/>
                </a:cubicBezTo>
                <a:close/>
                <a:moveTo>
                  <a:pt x="4361031" y="299129"/>
                </a:moveTo>
                <a:cubicBezTo>
                  <a:pt x="4384131" y="299129"/>
                  <a:pt x="4401455" y="317608"/>
                  <a:pt x="4401455" y="339551"/>
                </a:cubicBezTo>
                <a:cubicBezTo>
                  <a:pt x="4401455" y="361495"/>
                  <a:pt x="4382977" y="379974"/>
                  <a:pt x="4361031" y="379974"/>
                </a:cubicBezTo>
                <a:cubicBezTo>
                  <a:pt x="4339089" y="379974"/>
                  <a:pt x="4320610" y="361495"/>
                  <a:pt x="4320610" y="339551"/>
                </a:cubicBezTo>
                <a:cubicBezTo>
                  <a:pt x="4320610" y="317608"/>
                  <a:pt x="4339089" y="299129"/>
                  <a:pt x="4361031" y="299129"/>
                </a:cubicBezTo>
                <a:close/>
                <a:moveTo>
                  <a:pt x="4086158" y="299129"/>
                </a:moveTo>
                <a:cubicBezTo>
                  <a:pt x="4108102" y="299129"/>
                  <a:pt x="4126582" y="317608"/>
                  <a:pt x="4126582" y="339551"/>
                </a:cubicBezTo>
                <a:cubicBezTo>
                  <a:pt x="4126582" y="361495"/>
                  <a:pt x="4108102" y="379974"/>
                  <a:pt x="4086158" y="379974"/>
                </a:cubicBezTo>
                <a:cubicBezTo>
                  <a:pt x="4064214" y="379974"/>
                  <a:pt x="4045735" y="361495"/>
                  <a:pt x="4045735" y="339551"/>
                </a:cubicBezTo>
                <a:cubicBezTo>
                  <a:pt x="4045735" y="317608"/>
                  <a:pt x="4064214" y="299129"/>
                  <a:pt x="4086158" y="299129"/>
                </a:cubicBezTo>
                <a:close/>
                <a:moveTo>
                  <a:pt x="2026910" y="299129"/>
                </a:moveTo>
                <a:cubicBezTo>
                  <a:pt x="2050009" y="299129"/>
                  <a:pt x="2067332" y="317608"/>
                  <a:pt x="2067332" y="339551"/>
                </a:cubicBezTo>
                <a:cubicBezTo>
                  <a:pt x="2067332" y="361495"/>
                  <a:pt x="2048854" y="379974"/>
                  <a:pt x="2026910" y="379974"/>
                </a:cubicBezTo>
                <a:cubicBezTo>
                  <a:pt x="2004966" y="379974"/>
                  <a:pt x="1986487" y="361495"/>
                  <a:pt x="1986487" y="339551"/>
                </a:cubicBezTo>
                <a:cubicBezTo>
                  <a:pt x="1986487" y="317608"/>
                  <a:pt x="2004966" y="299129"/>
                  <a:pt x="2026910" y="299129"/>
                </a:cubicBezTo>
                <a:close/>
                <a:moveTo>
                  <a:pt x="1752036" y="299129"/>
                </a:moveTo>
                <a:cubicBezTo>
                  <a:pt x="1773979" y="299129"/>
                  <a:pt x="1792458" y="317608"/>
                  <a:pt x="1792458" y="339551"/>
                </a:cubicBezTo>
                <a:cubicBezTo>
                  <a:pt x="1792458" y="361495"/>
                  <a:pt x="1773979" y="379974"/>
                  <a:pt x="1752036" y="379974"/>
                </a:cubicBezTo>
                <a:cubicBezTo>
                  <a:pt x="1730092" y="379974"/>
                  <a:pt x="1711613" y="361495"/>
                  <a:pt x="1711613" y="339551"/>
                </a:cubicBezTo>
                <a:cubicBezTo>
                  <a:pt x="1711613" y="317608"/>
                  <a:pt x="1730092" y="299129"/>
                  <a:pt x="1752036" y="299129"/>
                </a:cubicBezTo>
                <a:close/>
                <a:moveTo>
                  <a:pt x="876596" y="299129"/>
                </a:moveTo>
                <a:cubicBezTo>
                  <a:pt x="898539" y="299129"/>
                  <a:pt x="917018" y="317608"/>
                  <a:pt x="917018" y="339551"/>
                </a:cubicBezTo>
                <a:cubicBezTo>
                  <a:pt x="917018" y="361495"/>
                  <a:pt x="898539" y="379974"/>
                  <a:pt x="876596" y="379974"/>
                </a:cubicBezTo>
                <a:cubicBezTo>
                  <a:pt x="854652" y="379974"/>
                  <a:pt x="836172" y="361495"/>
                  <a:pt x="836172" y="339551"/>
                </a:cubicBezTo>
                <a:cubicBezTo>
                  <a:pt x="836172" y="317608"/>
                  <a:pt x="854652" y="299129"/>
                  <a:pt x="876596" y="299129"/>
                </a:cubicBezTo>
                <a:close/>
                <a:moveTo>
                  <a:pt x="600566" y="299129"/>
                </a:moveTo>
                <a:cubicBezTo>
                  <a:pt x="623665" y="299129"/>
                  <a:pt x="640989" y="318762"/>
                  <a:pt x="640989" y="340706"/>
                </a:cubicBezTo>
                <a:cubicBezTo>
                  <a:pt x="640989" y="362649"/>
                  <a:pt x="622510" y="381128"/>
                  <a:pt x="600566" y="381128"/>
                </a:cubicBezTo>
                <a:cubicBezTo>
                  <a:pt x="578623" y="381128"/>
                  <a:pt x="560144" y="361495"/>
                  <a:pt x="560144" y="339551"/>
                </a:cubicBezTo>
                <a:cubicBezTo>
                  <a:pt x="560144" y="317608"/>
                  <a:pt x="578623" y="299129"/>
                  <a:pt x="600566" y="299129"/>
                </a:cubicBezTo>
                <a:close/>
                <a:moveTo>
                  <a:pt x="11107606" y="288734"/>
                </a:moveTo>
                <a:cubicBezTo>
                  <a:pt x="11136480" y="288734"/>
                  <a:pt x="11158424" y="311832"/>
                  <a:pt x="11158424" y="339551"/>
                </a:cubicBezTo>
                <a:cubicBezTo>
                  <a:pt x="11158424" y="367269"/>
                  <a:pt x="11136480" y="390368"/>
                  <a:pt x="11107606" y="390368"/>
                </a:cubicBezTo>
                <a:cubicBezTo>
                  <a:pt x="11079888" y="390368"/>
                  <a:pt x="11056789" y="367269"/>
                  <a:pt x="11056789" y="339551"/>
                </a:cubicBezTo>
                <a:cubicBezTo>
                  <a:pt x="11056789" y="311832"/>
                  <a:pt x="11078734" y="288734"/>
                  <a:pt x="11107606" y="288734"/>
                </a:cubicBezTo>
                <a:close/>
                <a:moveTo>
                  <a:pt x="9957292" y="288734"/>
                </a:moveTo>
                <a:cubicBezTo>
                  <a:pt x="9985010" y="288734"/>
                  <a:pt x="10008109" y="311832"/>
                  <a:pt x="10008109" y="339551"/>
                </a:cubicBezTo>
                <a:cubicBezTo>
                  <a:pt x="10008109" y="367269"/>
                  <a:pt x="9985010" y="390368"/>
                  <a:pt x="9957292" y="390368"/>
                </a:cubicBezTo>
                <a:cubicBezTo>
                  <a:pt x="9929574" y="390368"/>
                  <a:pt x="9906475" y="367269"/>
                  <a:pt x="9906475" y="339551"/>
                </a:cubicBezTo>
                <a:cubicBezTo>
                  <a:pt x="9906475" y="311832"/>
                  <a:pt x="9928419" y="288734"/>
                  <a:pt x="9957292" y="288734"/>
                </a:cubicBezTo>
                <a:close/>
                <a:moveTo>
                  <a:pt x="8836402" y="288734"/>
                </a:moveTo>
                <a:cubicBezTo>
                  <a:pt x="8865275" y="288734"/>
                  <a:pt x="8887219" y="311832"/>
                  <a:pt x="8887219" y="339551"/>
                </a:cubicBezTo>
                <a:cubicBezTo>
                  <a:pt x="8887219" y="367269"/>
                  <a:pt x="8864121" y="390368"/>
                  <a:pt x="8836402" y="390368"/>
                </a:cubicBezTo>
                <a:cubicBezTo>
                  <a:pt x="8808684" y="390368"/>
                  <a:pt x="8785585" y="367269"/>
                  <a:pt x="8785585" y="339551"/>
                </a:cubicBezTo>
                <a:cubicBezTo>
                  <a:pt x="8785585" y="311832"/>
                  <a:pt x="8807528" y="288734"/>
                  <a:pt x="8836402" y="288734"/>
                </a:cubicBezTo>
                <a:close/>
                <a:moveTo>
                  <a:pt x="6502281" y="288734"/>
                </a:moveTo>
                <a:cubicBezTo>
                  <a:pt x="6531154" y="288734"/>
                  <a:pt x="6553098" y="311832"/>
                  <a:pt x="6553098" y="339551"/>
                </a:cubicBezTo>
                <a:cubicBezTo>
                  <a:pt x="6553098" y="367269"/>
                  <a:pt x="6531154" y="390368"/>
                  <a:pt x="6502281" y="390368"/>
                </a:cubicBezTo>
                <a:cubicBezTo>
                  <a:pt x="6474562" y="390368"/>
                  <a:pt x="6451462" y="367269"/>
                  <a:pt x="6451462" y="339551"/>
                </a:cubicBezTo>
                <a:cubicBezTo>
                  <a:pt x="6451462" y="311832"/>
                  <a:pt x="6473407" y="288734"/>
                  <a:pt x="6502281" y="288734"/>
                </a:cubicBezTo>
                <a:close/>
                <a:moveTo>
                  <a:pt x="5351966" y="288734"/>
                </a:moveTo>
                <a:cubicBezTo>
                  <a:pt x="5379685" y="288734"/>
                  <a:pt x="5402784" y="311832"/>
                  <a:pt x="5402784" y="339551"/>
                </a:cubicBezTo>
                <a:cubicBezTo>
                  <a:pt x="5402784" y="367269"/>
                  <a:pt x="5380840" y="390368"/>
                  <a:pt x="5351966" y="390368"/>
                </a:cubicBezTo>
                <a:cubicBezTo>
                  <a:pt x="5324247" y="390368"/>
                  <a:pt x="5301149" y="367269"/>
                  <a:pt x="5301149" y="339551"/>
                </a:cubicBezTo>
                <a:cubicBezTo>
                  <a:pt x="5301149" y="311832"/>
                  <a:pt x="5323094" y="288734"/>
                  <a:pt x="5351966" y="288734"/>
                </a:cubicBezTo>
                <a:close/>
                <a:moveTo>
                  <a:pt x="4223596" y="288734"/>
                </a:moveTo>
                <a:cubicBezTo>
                  <a:pt x="4252468" y="288734"/>
                  <a:pt x="4274414" y="311832"/>
                  <a:pt x="4274414" y="339551"/>
                </a:cubicBezTo>
                <a:cubicBezTo>
                  <a:pt x="4274414" y="367269"/>
                  <a:pt x="4251315" y="390368"/>
                  <a:pt x="4223596" y="390368"/>
                </a:cubicBezTo>
                <a:cubicBezTo>
                  <a:pt x="4195877" y="390368"/>
                  <a:pt x="4172779" y="367269"/>
                  <a:pt x="4172779" y="339551"/>
                </a:cubicBezTo>
                <a:cubicBezTo>
                  <a:pt x="4172779" y="311832"/>
                  <a:pt x="4194721" y="288734"/>
                  <a:pt x="4223596" y="288734"/>
                </a:cubicBezTo>
                <a:close/>
                <a:moveTo>
                  <a:pt x="1889473" y="288734"/>
                </a:moveTo>
                <a:cubicBezTo>
                  <a:pt x="1918346" y="288734"/>
                  <a:pt x="1940290" y="311832"/>
                  <a:pt x="1940290" y="339551"/>
                </a:cubicBezTo>
                <a:cubicBezTo>
                  <a:pt x="1940290" y="367269"/>
                  <a:pt x="1918346" y="390368"/>
                  <a:pt x="1889473" y="390368"/>
                </a:cubicBezTo>
                <a:cubicBezTo>
                  <a:pt x="1861754" y="390368"/>
                  <a:pt x="1838656" y="367269"/>
                  <a:pt x="1838656" y="339551"/>
                </a:cubicBezTo>
                <a:cubicBezTo>
                  <a:pt x="1838656" y="311832"/>
                  <a:pt x="1860600" y="288734"/>
                  <a:pt x="1889473" y="288734"/>
                </a:cubicBezTo>
                <a:close/>
                <a:moveTo>
                  <a:pt x="739158" y="288734"/>
                </a:moveTo>
                <a:cubicBezTo>
                  <a:pt x="766877" y="288734"/>
                  <a:pt x="789975" y="311832"/>
                  <a:pt x="789975" y="339551"/>
                </a:cubicBezTo>
                <a:cubicBezTo>
                  <a:pt x="789975" y="367269"/>
                  <a:pt x="766877" y="390368"/>
                  <a:pt x="739158" y="390368"/>
                </a:cubicBezTo>
                <a:cubicBezTo>
                  <a:pt x="711440" y="390368"/>
                  <a:pt x="688341" y="367269"/>
                  <a:pt x="688341" y="339551"/>
                </a:cubicBezTo>
                <a:cubicBezTo>
                  <a:pt x="688341" y="311832"/>
                  <a:pt x="710285" y="288734"/>
                  <a:pt x="739158" y="288734"/>
                </a:cubicBezTo>
                <a:close/>
                <a:moveTo>
                  <a:pt x="12227892" y="175550"/>
                </a:moveTo>
                <a:cubicBezTo>
                  <a:pt x="12238288" y="175550"/>
                  <a:pt x="12248682" y="184790"/>
                  <a:pt x="12248682" y="196339"/>
                </a:cubicBezTo>
                <a:cubicBezTo>
                  <a:pt x="12248682" y="207888"/>
                  <a:pt x="12239442" y="217128"/>
                  <a:pt x="12227892" y="217128"/>
                </a:cubicBezTo>
                <a:cubicBezTo>
                  <a:pt x="12216343" y="217128"/>
                  <a:pt x="12207104" y="207888"/>
                  <a:pt x="12207104" y="196339"/>
                </a:cubicBezTo>
                <a:cubicBezTo>
                  <a:pt x="12207104" y="184790"/>
                  <a:pt x="12216343" y="175550"/>
                  <a:pt x="12227892" y="175550"/>
                </a:cubicBezTo>
                <a:close/>
                <a:moveTo>
                  <a:pt x="12091610" y="175550"/>
                </a:moveTo>
                <a:cubicBezTo>
                  <a:pt x="12103160" y="175550"/>
                  <a:pt x="12112399" y="184790"/>
                  <a:pt x="12112399" y="196339"/>
                </a:cubicBezTo>
                <a:cubicBezTo>
                  <a:pt x="12112399" y="207888"/>
                  <a:pt x="12103160" y="217128"/>
                  <a:pt x="12091610" y="217128"/>
                </a:cubicBezTo>
                <a:cubicBezTo>
                  <a:pt x="12080061" y="217128"/>
                  <a:pt x="12070822" y="207888"/>
                  <a:pt x="12070822" y="196339"/>
                </a:cubicBezTo>
                <a:cubicBezTo>
                  <a:pt x="12070822" y="184790"/>
                  <a:pt x="12080061" y="175550"/>
                  <a:pt x="12091610" y="175550"/>
                </a:cubicBezTo>
                <a:close/>
                <a:moveTo>
                  <a:pt x="11956484" y="175550"/>
                </a:moveTo>
                <a:cubicBezTo>
                  <a:pt x="11968033" y="175550"/>
                  <a:pt x="11977272" y="184790"/>
                  <a:pt x="11977272" y="196339"/>
                </a:cubicBezTo>
                <a:cubicBezTo>
                  <a:pt x="11977272" y="207888"/>
                  <a:pt x="11968033" y="217128"/>
                  <a:pt x="11956484" y="217128"/>
                </a:cubicBezTo>
                <a:cubicBezTo>
                  <a:pt x="11944934" y="217128"/>
                  <a:pt x="11935695" y="207888"/>
                  <a:pt x="11935695" y="196339"/>
                </a:cubicBezTo>
                <a:cubicBezTo>
                  <a:pt x="11935695" y="184790"/>
                  <a:pt x="11944934" y="175550"/>
                  <a:pt x="11956484" y="175550"/>
                </a:cubicBezTo>
                <a:close/>
                <a:moveTo>
                  <a:pt x="11821356" y="175550"/>
                </a:moveTo>
                <a:cubicBezTo>
                  <a:pt x="11832905" y="175550"/>
                  <a:pt x="11842144" y="184790"/>
                  <a:pt x="11842144" y="196339"/>
                </a:cubicBezTo>
                <a:cubicBezTo>
                  <a:pt x="11842144" y="207888"/>
                  <a:pt x="11832905" y="217128"/>
                  <a:pt x="11821356" y="217128"/>
                </a:cubicBezTo>
                <a:cubicBezTo>
                  <a:pt x="11809806" y="217128"/>
                  <a:pt x="11800567" y="207888"/>
                  <a:pt x="11800567" y="196339"/>
                </a:cubicBezTo>
                <a:cubicBezTo>
                  <a:pt x="11800567" y="184790"/>
                  <a:pt x="11809806" y="175550"/>
                  <a:pt x="11821356" y="175550"/>
                </a:cubicBezTo>
                <a:close/>
                <a:moveTo>
                  <a:pt x="11685074" y="175550"/>
                </a:moveTo>
                <a:cubicBezTo>
                  <a:pt x="11696623" y="175550"/>
                  <a:pt x="11705862" y="184790"/>
                  <a:pt x="11705862" y="196339"/>
                </a:cubicBezTo>
                <a:cubicBezTo>
                  <a:pt x="11705862" y="207888"/>
                  <a:pt x="11696623" y="217128"/>
                  <a:pt x="11685074" y="217128"/>
                </a:cubicBezTo>
                <a:cubicBezTo>
                  <a:pt x="11673524" y="217128"/>
                  <a:pt x="11664285" y="207888"/>
                  <a:pt x="11664285" y="196339"/>
                </a:cubicBezTo>
                <a:cubicBezTo>
                  <a:pt x="11664285" y="184790"/>
                  <a:pt x="11673524" y="175550"/>
                  <a:pt x="11685074" y="175550"/>
                </a:cubicBezTo>
                <a:close/>
                <a:moveTo>
                  <a:pt x="10736873" y="175550"/>
                </a:moveTo>
                <a:cubicBezTo>
                  <a:pt x="10748422" y="175550"/>
                  <a:pt x="10757662" y="184790"/>
                  <a:pt x="10757662" y="196339"/>
                </a:cubicBezTo>
                <a:cubicBezTo>
                  <a:pt x="10757662" y="207888"/>
                  <a:pt x="10748422" y="217128"/>
                  <a:pt x="10736873" y="217128"/>
                </a:cubicBezTo>
                <a:cubicBezTo>
                  <a:pt x="10725324" y="217128"/>
                  <a:pt x="10716084" y="207888"/>
                  <a:pt x="10716084" y="196339"/>
                </a:cubicBezTo>
                <a:cubicBezTo>
                  <a:pt x="10716084" y="184790"/>
                  <a:pt x="10725324" y="175550"/>
                  <a:pt x="10736873" y="175550"/>
                </a:cubicBezTo>
                <a:close/>
                <a:moveTo>
                  <a:pt x="10601745" y="175550"/>
                </a:moveTo>
                <a:cubicBezTo>
                  <a:pt x="10613294" y="175550"/>
                  <a:pt x="10622534" y="184790"/>
                  <a:pt x="10622534" y="196339"/>
                </a:cubicBezTo>
                <a:cubicBezTo>
                  <a:pt x="10622534" y="207888"/>
                  <a:pt x="10613294" y="217128"/>
                  <a:pt x="10601745" y="217128"/>
                </a:cubicBezTo>
                <a:cubicBezTo>
                  <a:pt x="10590196" y="217128"/>
                  <a:pt x="10580956" y="207888"/>
                  <a:pt x="10580956" y="196339"/>
                </a:cubicBezTo>
                <a:cubicBezTo>
                  <a:pt x="10580956" y="184790"/>
                  <a:pt x="10590196" y="175550"/>
                  <a:pt x="10601745" y="175550"/>
                </a:cubicBezTo>
                <a:close/>
                <a:moveTo>
                  <a:pt x="8027949" y="175550"/>
                </a:moveTo>
                <a:cubicBezTo>
                  <a:pt x="8039499" y="175550"/>
                  <a:pt x="8048737" y="184790"/>
                  <a:pt x="8048737" y="196339"/>
                </a:cubicBezTo>
                <a:cubicBezTo>
                  <a:pt x="8048737" y="207888"/>
                  <a:pt x="8039499" y="217128"/>
                  <a:pt x="8027949" y="217128"/>
                </a:cubicBezTo>
                <a:cubicBezTo>
                  <a:pt x="8016400" y="217128"/>
                  <a:pt x="8007160" y="207888"/>
                  <a:pt x="8007160" y="196339"/>
                </a:cubicBezTo>
                <a:cubicBezTo>
                  <a:pt x="8007160" y="184790"/>
                  <a:pt x="8016400" y="175550"/>
                  <a:pt x="8027949" y="175550"/>
                </a:cubicBezTo>
                <a:close/>
                <a:moveTo>
                  <a:pt x="7892822" y="175550"/>
                </a:moveTo>
                <a:cubicBezTo>
                  <a:pt x="7904371" y="175550"/>
                  <a:pt x="7913611" y="184790"/>
                  <a:pt x="7913611" y="196339"/>
                </a:cubicBezTo>
                <a:cubicBezTo>
                  <a:pt x="7913611" y="207888"/>
                  <a:pt x="7904371" y="217128"/>
                  <a:pt x="7892822" y="217128"/>
                </a:cubicBezTo>
                <a:cubicBezTo>
                  <a:pt x="7881271" y="217128"/>
                  <a:pt x="7872031" y="207888"/>
                  <a:pt x="7872031" y="196339"/>
                </a:cubicBezTo>
                <a:cubicBezTo>
                  <a:pt x="7872031" y="184790"/>
                  <a:pt x="7881271" y="175550"/>
                  <a:pt x="7892822" y="175550"/>
                </a:cubicBezTo>
                <a:close/>
                <a:moveTo>
                  <a:pt x="7757693" y="175550"/>
                </a:moveTo>
                <a:cubicBezTo>
                  <a:pt x="7769244" y="175550"/>
                  <a:pt x="7778483" y="184790"/>
                  <a:pt x="7778483" y="196339"/>
                </a:cubicBezTo>
                <a:cubicBezTo>
                  <a:pt x="7778483" y="207888"/>
                  <a:pt x="7769244" y="217128"/>
                  <a:pt x="7757693" y="217128"/>
                </a:cubicBezTo>
                <a:cubicBezTo>
                  <a:pt x="7746146" y="217128"/>
                  <a:pt x="7736906" y="207888"/>
                  <a:pt x="7736906" y="196339"/>
                </a:cubicBezTo>
                <a:cubicBezTo>
                  <a:pt x="7736906" y="184790"/>
                  <a:pt x="7746146" y="175550"/>
                  <a:pt x="7757693" y="175550"/>
                </a:cubicBezTo>
                <a:close/>
                <a:moveTo>
                  <a:pt x="7622566" y="175550"/>
                </a:moveTo>
                <a:cubicBezTo>
                  <a:pt x="7632962" y="175550"/>
                  <a:pt x="7643355" y="184790"/>
                  <a:pt x="7643355" y="196339"/>
                </a:cubicBezTo>
                <a:cubicBezTo>
                  <a:pt x="7643355" y="207888"/>
                  <a:pt x="7634115" y="217128"/>
                  <a:pt x="7622566" y="217128"/>
                </a:cubicBezTo>
                <a:cubicBezTo>
                  <a:pt x="7611018" y="217128"/>
                  <a:pt x="7601778" y="207888"/>
                  <a:pt x="7601778" y="196339"/>
                </a:cubicBezTo>
                <a:cubicBezTo>
                  <a:pt x="7601778" y="184790"/>
                  <a:pt x="7611018" y="175550"/>
                  <a:pt x="7622566" y="175550"/>
                </a:cubicBezTo>
                <a:close/>
                <a:moveTo>
                  <a:pt x="7486284" y="175550"/>
                </a:moveTo>
                <a:cubicBezTo>
                  <a:pt x="7497834" y="175550"/>
                  <a:pt x="7507074" y="184790"/>
                  <a:pt x="7507074" y="196339"/>
                </a:cubicBezTo>
                <a:cubicBezTo>
                  <a:pt x="7507074" y="207888"/>
                  <a:pt x="7497834" y="217128"/>
                  <a:pt x="7486284" y="217128"/>
                </a:cubicBezTo>
                <a:cubicBezTo>
                  <a:pt x="7474735" y="217128"/>
                  <a:pt x="7465495" y="207888"/>
                  <a:pt x="7465495" y="196339"/>
                </a:cubicBezTo>
                <a:cubicBezTo>
                  <a:pt x="7465495" y="184790"/>
                  <a:pt x="7474735" y="175550"/>
                  <a:pt x="7486284" y="175550"/>
                </a:cubicBezTo>
                <a:close/>
                <a:moveTo>
                  <a:pt x="7351157" y="175550"/>
                </a:moveTo>
                <a:cubicBezTo>
                  <a:pt x="7362706" y="175550"/>
                  <a:pt x="7371946" y="184790"/>
                  <a:pt x="7371946" y="196339"/>
                </a:cubicBezTo>
                <a:cubicBezTo>
                  <a:pt x="7371946" y="207888"/>
                  <a:pt x="7362706" y="217128"/>
                  <a:pt x="7351157" y="217128"/>
                </a:cubicBezTo>
                <a:cubicBezTo>
                  <a:pt x="7339609" y="217128"/>
                  <a:pt x="7330369" y="207888"/>
                  <a:pt x="7330369" y="196339"/>
                </a:cubicBezTo>
                <a:cubicBezTo>
                  <a:pt x="7330369" y="184790"/>
                  <a:pt x="7339609" y="175550"/>
                  <a:pt x="7351157" y="175550"/>
                </a:cubicBezTo>
                <a:close/>
                <a:moveTo>
                  <a:pt x="7216030" y="175550"/>
                </a:moveTo>
                <a:cubicBezTo>
                  <a:pt x="7227579" y="175550"/>
                  <a:pt x="7236819" y="184790"/>
                  <a:pt x="7236819" y="196339"/>
                </a:cubicBezTo>
                <a:cubicBezTo>
                  <a:pt x="7236819" y="207888"/>
                  <a:pt x="7227579" y="217128"/>
                  <a:pt x="7216030" y="217128"/>
                </a:cubicBezTo>
                <a:cubicBezTo>
                  <a:pt x="7204481" y="217128"/>
                  <a:pt x="7195241" y="207888"/>
                  <a:pt x="7195241" y="196339"/>
                </a:cubicBezTo>
                <a:cubicBezTo>
                  <a:pt x="7195241" y="184790"/>
                  <a:pt x="7204481" y="175550"/>
                  <a:pt x="7216030" y="175550"/>
                </a:cubicBezTo>
                <a:close/>
                <a:moveTo>
                  <a:pt x="7079748" y="175550"/>
                </a:moveTo>
                <a:cubicBezTo>
                  <a:pt x="7091297" y="175550"/>
                  <a:pt x="7100537" y="184790"/>
                  <a:pt x="7100537" y="196339"/>
                </a:cubicBezTo>
                <a:cubicBezTo>
                  <a:pt x="7100537" y="207888"/>
                  <a:pt x="7091297" y="217128"/>
                  <a:pt x="7079748" y="217128"/>
                </a:cubicBezTo>
                <a:cubicBezTo>
                  <a:pt x="7068199" y="217128"/>
                  <a:pt x="7058959" y="207888"/>
                  <a:pt x="7058959" y="196339"/>
                </a:cubicBezTo>
                <a:cubicBezTo>
                  <a:pt x="7058959" y="184790"/>
                  <a:pt x="7068199" y="175550"/>
                  <a:pt x="7079748" y="175550"/>
                </a:cubicBezTo>
                <a:close/>
                <a:moveTo>
                  <a:pt x="6131548" y="175550"/>
                </a:moveTo>
                <a:cubicBezTo>
                  <a:pt x="6143096" y="175550"/>
                  <a:pt x="6152336" y="184790"/>
                  <a:pt x="6152336" y="196339"/>
                </a:cubicBezTo>
                <a:cubicBezTo>
                  <a:pt x="6152336" y="207888"/>
                  <a:pt x="6143096" y="217128"/>
                  <a:pt x="6131548" y="217128"/>
                </a:cubicBezTo>
                <a:cubicBezTo>
                  <a:pt x="6119997" y="217128"/>
                  <a:pt x="6110759" y="207888"/>
                  <a:pt x="6110759" y="196339"/>
                </a:cubicBezTo>
                <a:cubicBezTo>
                  <a:pt x="6110759" y="184790"/>
                  <a:pt x="6119997" y="175550"/>
                  <a:pt x="6131548" y="175550"/>
                </a:cubicBezTo>
                <a:close/>
                <a:moveTo>
                  <a:pt x="5996418" y="175550"/>
                </a:moveTo>
                <a:cubicBezTo>
                  <a:pt x="6007969" y="175550"/>
                  <a:pt x="6017209" y="184790"/>
                  <a:pt x="6017209" y="196339"/>
                </a:cubicBezTo>
                <a:cubicBezTo>
                  <a:pt x="6017209" y="207888"/>
                  <a:pt x="6007969" y="217128"/>
                  <a:pt x="5996418" y="217128"/>
                </a:cubicBezTo>
                <a:cubicBezTo>
                  <a:pt x="5984870" y="217128"/>
                  <a:pt x="5975631" y="207888"/>
                  <a:pt x="5975631" y="196339"/>
                </a:cubicBezTo>
                <a:cubicBezTo>
                  <a:pt x="5975631" y="184790"/>
                  <a:pt x="5984870" y="175550"/>
                  <a:pt x="5996418" y="175550"/>
                </a:cubicBezTo>
                <a:close/>
                <a:moveTo>
                  <a:pt x="3415142" y="175550"/>
                </a:moveTo>
                <a:cubicBezTo>
                  <a:pt x="3426691" y="175550"/>
                  <a:pt x="3435930" y="184790"/>
                  <a:pt x="3435930" y="196339"/>
                </a:cubicBezTo>
                <a:cubicBezTo>
                  <a:pt x="3435930" y="207888"/>
                  <a:pt x="3426691" y="217128"/>
                  <a:pt x="3415142" y="217128"/>
                </a:cubicBezTo>
                <a:cubicBezTo>
                  <a:pt x="3403592" y="217128"/>
                  <a:pt x="3394352" y="207888"/>
                  <a:pt x="3394352" y="196339"/>
                </a:cubicBezTo>
                <a:cubicBezTo>
                  <a:pt x="3394352" y="184790"/>
                  <a:pt x="3403592" y="175550"/>
                  <a:pt x="3415142" y="175550"/>
                </a:cubicBezTo>
                <a:close/>
                <a:moveTo>
                  <a:pt x="3280013" y="175550"/>
                </a:moveTo>
                <a:cubicBezTo>
                  <a:pt x="3291564" y="175550"/>
                  <a:pt x="3300802" y="184790"/>
                  <a:pt x="3300802" y="196339"/>
                </a:cubicBezTo>
                <a:cubicBezTo>
                  <a:pt x="3300802" y="207888"/>
                  <a:pt x="3291564" y="217128"/>
                  <a:pt x="3280013" y="217128"/>
                </a:cubicBezTo>
                <a:cubicBezTo>
                  <a:pt x="3268464" y="217128"/>
                  <a:pt x="3259224" y="207888"/>
                  <a:pt x="3259224" y="196339"/>
                </a:cubicBezTo>
                <a:cubicBezTo>
                  <a:pt x="3259224" y="184790"/>
                  <a:pt x="3268464" y="175550"/>
                  <a:pt x="3280013" y="175550"/>
                </a:cubicBezTo>
                <a:close/>
                <a:moveTo>
                  <a:pt x="3144887" y="175550"/>
                </a:moveTo>
                <a:cubicBezTo>
                  <a:pt x="3156436" y="175550"/>
                  <a:pt x="3165675" y="184790"/>
                  <a:pt x="3165675" y="196339"/>
                </a:cubicBezTo>
                <a:cubicBezTo>
                  <a:pt x="3165675" y="207888"/>
                  <a:pt x="3156436" y="217128"/>
                  <a:pt x="3144887" y="217128"/>
                </a:cubicBezTo>
                <a:cubicBezTo>
                  <a:pt x="3133338" y="217128"/>
                  <a:pt x="3124098" y="207888"/>
                  <a:pt x="3124098" y="196339"/>
                </a:cubicBezTo>
                <a:cubicBezTo>
                  <a:pt x="3124098" y="184790"/>
                  <a:pt x="3133338" y="175550"/>
                  <a:pt x="3144887" y="175550"/>
                </a:cubicBezTo>
                <a:close/>
                <a:moveTo>
                  <a:pt x="3009759" y="175550"/>
                </a:moveTo>
                <a:cubicBezTo>
                  <a:pt x="3020154" y="175550"/>
                  <a:pt x="3030548" y="184790"/>
                  <a:pt x="3030548" y="196339"/>
                </a:cubicBezTo>
                <a:cubicBezTo>
                  <a:pt x="3030548" y="207888"/>
                  <a:pt x="3021308" y="217128"/>
                  <a:pt x="3009759" y="217128"/>
                </a:cubicBezTo>
                <a:cubicBezTo>
                  <a:pt x="2998209" y="217128"/>
                  <a:pt x="2988971" y="207888"/>
                  <a:pt x="2988971" y="196339"/>
                </a:cubicBezTo>
                <a:cubicBezTo>
                  <a:pt x="2988971" y="184790"/>
                  <a:pt x="2998209" y="175550"/>
                  <a:pt x="3009759" y="175550"/>
                </a:cubicBezTo>
                <a:close/>
                <a:moveTo>
                  <a:pt x="2873476" y="175550"/>
                </a:moveTo>
                <a:cubicBezTo>
                  <a:pt x="2885026" y="175550"/>
                  <a:pt x="2894265" y="184790"/>
                  <a:pt x="2894265" y="196339"/>
                </a:cubicBezTo>
                <a:cubicBezTo>
                  <a:pt x="2894265" y="207888"/>
                  <a:pt x="2885026" y="217128"/>
                  <a:pt x="2873476" y="217128"/>
                </a:cubicBezTo>
                <a:cubicBezTo>
                  <a:pt x="2861927" y="217128"/>
                  <a:pt x="2852688" y="207888"/>
                  <a:pt x="2852688" y="196339"/>
                </a:cubicBezTo>
                <a:cubicBezTo>
                  <a:pt x="2852688" y="184790"/>
                  <a:pt x="2861927" y="175550"/>
                  <a:pt x="2873476" y="175550"/>
                </a:cubicBezTo>
                <a:close/>
                <a:moveTo>
                  <a:pt x="2738350" y="175550"/>
                </a:moveTo>
                <a:cubicBezTo>
                  <a:pt x="2749899" y="175550"/>
                  <a:pt x="2759139" y="184790"/>
                  <a:pt x="2759139" y="196339"/>
                </a:cubicBezTo>
                <a:cubicBezTo>
                  <a:pt x="2759139" y="207888"/>
                  <a:pt x="2749899" y="217128"/>
                  <a:pt x="2738350" y="217128"/>
                </a:cubicBezTo>
                <a:cubicBezTo>
                  <a:pt x="2726800" y="217128"/>
                  <a:pt x="2717562" y="207888"/>
                  <a:pt x="2717562" y="196339"/>
                </a:cubicBezTo>
                <a:cubicBezTo>
                  <a:pt x="2717562" y="184790"/>
                  <a:pt x="2726800" y="175550"/>
                  <a:pt x="2738350" y="175550"/>
                </a:cubicBezTo>
                <a:close/>
                <a:moveTo>
                  <a:pt x="2603222" y="175550"/>
                </a:moveTo>
                <a:cubicBezTo>
                  <a:pt x="2614771" y="175550"/>
                  <a:pt x="2624011" y="184790"/>
                  <a:pt x="2624011" y="196339"/>
                </a:cubicBezTo>
                <a:cubicBezTo>
                  <a:pt x="2624011" y="207888"/>
                  <a:pt x="2614771" y="217128"/>
                  <a:pt x="2603222" y="217128"/>
                </a:cubicBezTo>
                <a:cubicBezTo>
                  <a:pt x="2591673" y="217128"/>
                  <a:pt x="2582433" y="207888"/>
                  <a:pt x="2582433" y="196339"/>
                </a:cubicBezTo>
                <a:cubicBezTo>
                  <a:pt x="2582433" y="184790"/>
                  <a:pt x="2591673" y="175550"/>
                  <a:pt x="2603222" y="175550"/>
                </a:cubicBezTo>
                <a:close/>
                <a:moveTo>
                  <a:pt x="2466940" y="175550"/>
                </a:moveTo>
                <a:cubicBezTo>
                  <a:pt x="2478489" y="175550"/>
                  <a:pt x="2487729" y="184790"/>
                  <a:pt x="2487729" y="196339"/>
                </a:cubicBezTo>
                <a:cubicBezTo>
                  <a:pt x="2487729" y="207888"/>
                  <a:pt x="2478489" y="217128"/>
                  <a:pt x="2466940" y="217128"/>
                </a:cubicBezTo>
                <a:cubicBezTo>
                  <a:pt x="2455390" y="217128"/>
                  <a:pt x="2446151" y="207888"/>
                  <a:pt x="2446151" y="196339"/>
                </a:cubicBezTo>
                <a:cubicBezTo>
                  <a:pt x="2446151" y="184790"/>
                  <a:pt x="2455390" y="175550"/>
                  <a:pt x="2466940" y="175550"/>
                </a:cubicBezTo>
                <a:close/>
                <a:moveTo>
                  <a:pt x="1518739" y="175550"/>
                </a:moveTo>
                <a:cubicBezTo>
                  <a:pt x="1530289" y="175550"/>
                  <a:pt x="1539528" y="184790"/>
                  <a:pt x="1539528" y="196339"/>
                </a:cubicBezTo>
                <a:cubicBezTo>
                  <a:pt x="1539528" y="207888"/>
                  <a:pt x="1530289" y="217128"/>
                  <a:pt x="1518739" y="217128"/>
                </a:cubicBezTo>
                <a:cubicBezTo>
                  <a:pt x="1507190" y="217128"/>
                  <a:pt x="1497951" y="207888"/>
                  <a:pt x="1497951" y="196339"/>
                </a:cubicBezTo>
                <a:cubicBezTo>
                  <a:pt x="1497951" y="184790"/>
                  <a:pt x="1507190" y="175550"/>
                  <a:pt x="1518739" y="175550"/>
                </a:cubicBezTo>
                <a:close/>
                <a:moveTo>
                  <a:pt x="1383611" y="175550"/>
                </a:moveTo>
                <a:cubicBezTo>
                  <a:pt x="1395161" y="175550"/>
                  <a:pt x="1404400" y="184790"/>
                  <a:pt x="1404400" y="196339"/>
                </a:cubicBezTo>
                <a:cubicBezTo>
                  <a:pt x="1404400" y="207888"/>
                  <a:pt x="1395161" y="217128"/>
                  <a:pt x="1383611" y="217128"/>
                </a:cubicBezTo>
                <a:cubicBezTo>
                  <a:pt x="1372062" y="217128"/>
                  <a:pt x="1362823" y="207888"/>
                  <a:pt x="1362823" y="196339"/>
                </a:cubicBezTo>
                <a:cubicBezTo>
                  <a:pt x="1362823" y="184790"/>
                  <a:pt x="1372062" y="175550"/>
                  <a:pt x="1383611" y="175550"/>
                </a:cubicBezTo>
                <a:close/>
                <a:moveTo>
                  <a:pt x="11549947" y="172086"/>
                </a:moveTo>
                <a:cubicBezTo>
                  <a:pt x="11562650" y="172086"/>
                  <a:pt x="11573046" y="182480"/>
                  <a:pt x="11573046" y="195185"/>
                </a:cubicBezTo>
                <a:cubicBezTo>
                  <a:pt x="11573046" y="207888"/>
                  <a:pt x="11562650" y="218283"/>
                  <a:pt x="11549947" y="218283"/>
                </a:cubicBezTo>
                <a:cubicBezTo>
                  <a:pt x="11537242" y="218283"/>
                  <a:pt x="11526848" y="207888"/>
                  <a:pt x="11526848" y="195185"/>
                </a:cubicBezTo>
                <a:cubicBezTo>
                  <a:pt x="11526848" y="182480"/>
                  <a:pt x="11537242" y="172086"/>
                  <a:pt x="11549947" y="172086"/>
                </a:cubicBezTo>
                <a:close/>
                <a:moveTo>
                  <a:pt x="10466618" y="172086"/>
                </a:moveTo>
                <a:cubicBezTo>
                  <a:pt x="10479322" y="172086"/>
                  <a:pt x="10489717" y="182480"/>
                  <a:pt x="10489717" y="195185"/>
                </a:cubicBezTo>
                <a:cubicBezTo>
                  <a:pt x="10489717" y="207888"/>
                  <a:pt x="10479322" y="218283"/>
                  <a:pt x="10466618" y="218283"/>
                </a:cubicBezTo>
                <a:cubicBezTo>
                  <a:pt x="10453914" y="218283"/>
                  <a:pt x="10443520" y="207888"/>
                  <a:pt x="10443520" y="195185"/>
                </a:cubicBezTo>
                <a:cubicBezTo>
                  <a:pt x="10443520" y="182480"/>
                  <a:pt x="10453914" y="172086"/>
                  <a:pt x="10466618" y="172086"/>
                </a:cubicBezTo>
                <a:close/>
                <a:moveTo>
                  <a:pt x="9244698" y="172086"/>
                </a:moveTo>
                <a:cubicBezTo>
                  <a:pt x="9258557" y="172086"/>
                  <a:pt x="9268951" y="181325"/>
                  <a:pt x="9270107" y="194029"/>
                </a:cubicBezTo>
                <a:cubicBezTo>
                  <a:pt x="9271261" y="206734"/>
                  <a:pt x="9262022" y="219438"/>
                  <a:pt x="9249318" y="219438"/>
                </a:cubicBezTo>
                <a:cubicBezTo>
                  <a:pt x="9236613" y="219438"/>
                  <a:pt x="9225064" y="210198"/>
                  <a:pt x="9223909" y="197494"/>
                </a:cubicBezTo>
                <a:cubicBezTo>
                  <a:pt x="9222754" y="184790"/>
                  <a:pt x="9231993" y="173240"/>
                  <a:pt x="9244698" y="172086"/>
                </a:cubicBezTo>
                <a:close/>
                <a:moveTo>
                  <a:pt x="8164231" y="172086"/>
                </a:moveTo>
                <a:cubicBezTo>
                  <a:pt x="8176935" y="172086"/>
                  <a:pt x="8187331" y="182480"/>
                  <a:pt x="8187331" y="195185"/>
                </a:cubicBezTo>
                <a:cubicBezTo>
                  <a:pt x="8187331" y="207888"/>
                  <a:pt x="8176935" y="218283"/>
                  <a:pt x="8164231" y="218283"/>
                </a:cubicBezTo>
                <a:cubicBezTo>
                  <a:pt x="8151527" y="218283"/>
                  <a:pt x="8141133" y="207888"/>
                  <a:pt x="8141133" y="195185"/>
                </a:cubicBezTo>
                <a:cubicBezTo>
                  <a:pt x="8141133" y="182480"/>
                  <a:pt x="8151527" y="172086"/>
                  <a:pt x="8164231" y="172086"/>
                </a:cubicBezTo>
                <a:close/>
                <a:moveTo>
                  <a:pt x="6944621" y="172086"/>
                </a:moveTo>
                <a:cubicBezTo>
                  <a:pt x="6957325" y="172086"/>
                  <a:pt x="6967719" y="182480"/>
                  <a:pt x="6967719" y="195185"/>
                </a:cubicBezTo>
                <a:cubicBezTo>
                  <a:pt x="6967719" y="207888"/>
                  <a:pt x="6957325" y="218283"/>
                  <a:pt x="6944621" y="218283"/>
                </a:cubicBezTo>
                <a:cubicBezTo>
                  <a:pt x="6931915" y="218283"/>
                  <a:pt x="6921522" y="207888"/>
                  <a:pt x="6921522" y="195185"/>
                </a:cubicBezTo>
                <a:cubicBezTo>
                  <a:pt x="6921522" y="182480"/>
                  <a:pt x="6931915" y="172086"/>
                  <a:pt x="6944621" y="172086"/>
                </a:cubicBezTo>
                <a:close/>
                <a:moveTo>
                  <a:pt x="5861292" y="172086"/>
                </a:moveTo>
                <a:cubicBezTo>
                  <a:pt x="5873996" y="172086"/>
                  <a:pt x="5884392" y="182480"/>
                  <a:pt x="5884392" y="195185"/>
                </a:cubicBezTo>
                <a:cubicBezTo>
                  <a:pt x="5884392" y="207888"/>
                  <a:pt x="5873996" y="218283"/>
                  <a:pt x="5861292" y="218283"/>
                </a:cubicBezTo>
                <a:cubicBezTo>
                  <a:pt x="5848588" y="218283"/>
                  <a:pt x="5838194" y="207888"/>
                  <a:pt x="5838194" y="195185"/>
                </a:cubicBezTo>
                <a:cubicBezTo>
                  <a:pt x="5838194" y="182480"/>
                  <a:pt x="5848588" y="172086"/>
                  <a:pt x="5861292" y="172086"/>
                </a:cubicBezTo>
                <a:close/>
                <a:moveTo>
                  <a:pt x="4639374" y="172086"/>
                </a:moveTo>
                <a:cubicBezTo>
                  <a:pt x="4653231" y="172086"/>
                  <a:pt x="4663624" y="181325"/>
                  <a:pt x="4664780" y="192875"/>
                </a:cubicBezTo>
                <a:cubicBezTo>
                  <a:pt x="4665936" y="205578"/>
                  <a:pt x="4656695" y="217128"/>
                  <a:pt x="4643991" y="218283"/>
                </a:cubicBezTo>
                <a:cubicBezTo>
                  <a:pt x="4631287" y="219438"/>
                  <a:pt x="4619739" y="210198"/>
                  <a:pt x="4618583" y="197494"/>
                </a:cubicBezTo>
                <a:cubicBezTo>
                  <a:pt x="4617428" y="184790"/>
                  <a:pt x="4626667" y="173240"/>
                  <a:pt x="4639374" y="172086"/>
                </a:cubicBezTo>
                <a:close/>
                <a:moveTo>
                  <a:pt x="3551423" y="172086"/>
                </a:moveTo>
                <a:cubicBezTo>
                  <a:pt x="3564127" y="172086"/>
                  <a:pt x="3574522" y="182480"/>
                  <a:pt x="3574522" y="195185"/>
                </a:cubicBezTo>
                <a:cubicBezTo>
                  <a:pt x="3574522" y="207888"/>
                  <a:pt x="3564127" y="218283"/>
                  <a:pt x="3551423" y="218283"/>
                </a:cubicBezTo>
                <a:cubicBezTo>
                  <a:pt x="3538719" y="218283"/>
                  <a:pt x="3528325" y="207888"/>
                  <a:pt x="3528325" y="195185"/>
                </a:cubicBezTo>
                <a:cubicBezTo>
                  <a:pt x="3528325" y="182480"/>
                  <a:pt x="3538719" y="172086"/>
                  <a:pt x="3551423" y="172086"/>
                </a:cubicBezTo>
                <a:close/>
                <a:moveTo>
                  <a:pt x="2331813" y="172086"/>
                </a:moveTo>
                <a:cubicBezTo>
                  <a:pt x="2344517" y="172086"/>
                  <a:pt x="2354912" y="182480"/>
                  <a:pt x="2354912" y="195185"/>
                </a:cubicBezTo>
                <a:cubicBezTo>
                  <a:pt x="2354912" y="207888"/>
                  <a:pt x="2344517" y="218283"/>
                  <a:pt x="2331813" y="218283"/>
                </a:cubicBezTo>
                <a:cubicBezTo>
                  <a:pt x="2319108" y="218283"/>
                  <a:pt x="2308714" y="207888"/>
                  <a:pt x="2308714" y="195185"/>
                </a:cubicBezTo>
                <a:cubicBezTo>
                  <a:pt x="2308714" y="182480"/>
                  <a:pt x="2319108" y="172086"/>
                  <a:pt x="2331813" y="172086"/>
                </a:cubicBezTo>
                <a:close/>
                <a:moveTo>
                  <a:pt x="1248485" y="172086"/>
                </a:moveTo>
                <a:cubicBezTo>
                  <a:pt x="1261188" y="172086"/>
                  <a:pt x="1271583" y="182480"/>
                  <a:pt x="1271583" y="195185"/>
                </a:cubicBezTo>
                <a:cubicBezTo>
                  <a:pt x="1271583" y="207888"/>
                  <a:pt x="1261188" y="218283"/>
                  <a:pt x="1248485" y="218283"/>
                </a:cubicBezTo>
                <a:cubicBezTo>
                  <a:pt x="1235780" y="218283"/>
                  <a:pt x="1225386" y="207888"/>
                  <a:pt x="1225386" y="195185"/>
                </a:cubicBezTo>
                <a:cubicBezTo>
                  <a:pt x="1225386" y="182480"/>
                  <a:pt x="1235780" y="172086"/>
                  <a:pt x="1248485" y="172086"/>
                </a:cubicBezTo>
                <a:close/>
                <a:moveTo>
                  <a:pt x="26564" y="172086"/>
                </a:moveTo>
                <a:cubicBezTo>
                  <a:pt x="40424" y="172086"/>
                  <a:pt x="50817" y="181325"/>
                  <a:pt x="51973" y="194029"/>
                </a:cubicBezTo>
                <a:cubicBezTo>
                  <a:pt x="53127" y="206734"/>
                  <a:pt x="43888" y="219438"/>
                  <a:pt x="31184" y="219438"/>
                </a:cubicBezTo>
                <a:cubicBezTo>
                  <a:pt x="18479" y="219438"/>
                  <a:pt x="6930" y="210198"/>
                  <a:pt x="5776" y="197494"/>
                </a:cubicBezTo>
                <a:cubicBezTo>
                  <a:pt x="4620" y="184790"/>
                  <a:pt x="13860" y="173240"/>
                  <a:pt x="26564" y="172086"/>
                </a:cubicBezTo>
                <a:close/>
                <a:moveTo>
                  <a:pt x="11414819" y="166311"/>
                </a:moveTo>
                <a:cubicBezTo>
                  <a:pt x="11430988" y="166311"/>
                  <a:pt x="11443693" y="179016"/>
                  <a:pt x="11443693" y="195185"/>
                </a:cubicBezTo>
                <a:cubicBezTo>
                  <a:pt x="11443693" y="211354"/>
                  <a:pt x="11430988" y="224057"/>
                  <a:pt x="11414819" y="224057"/>
                </a:cubicBezTo>
                <a:cubicBezTo>
                  <a:pt x="11398650" y="224057"/>
                  <a:pt x="11385946" y="211354"/>
                  <a:pt x="11385946" y="195185"/>
                </a:cubicBezTo>
                <a:cubicBezTo>
                  <a:pt x="11385946" y="179016"/>
                  <a:pt x="11398650" y="166311"/>
                  <a:pt x="11414819" y="166311"/>
                </a:cubicBezTo>
                <a:close/>
                <a:moveTo>
                  <a:pt x="10330336" y="166311"/>
                </a:moveTo>
                <a:cubicBezTo>
                  <a:pt x="10346505" y="166311"/>
                  <a:pt x="10359209" y="179016"/>
                  <a:pt x="10359209" y="195185"/>
                </a:cubicBezTo>
                <a:cubicBezTo>
                  <a:pt x="10359209" y="211354"/>
                  <a:pt x="10346505" y="224057"/>
                  <a:pt x="10330336" y="224057"/>
                </a:cubicBezTo>
                <a:cubicBezTo>
                  <a:pt x="10314167" y="224057"/>
                  <a:pt x="10301462" y="211354"/>
                  <a:pt x="10301462" y="195185"/>
                </a:cubicBezTo>
                <a:cubicBezTo>
                  <a:pt x="10301462" y="179016"/>
                  <a:pt x="10314167" y="166311"/>
                  <a:pt x="10330336" y="166311"/>
                </a:cubicBezTo>
                <a:close/>
                <a:moveTo>
                  <a:pt x="9382135" y="166311"/>
                </a:moveTo>
                <a:cubicBezTo>
                  <a:pt x="9398304" y="166311"/>
                  <a:pt x="9411009" y="179016"/>
                  <a:pt x="9411009" y="195185"/>
                </a:cubicBezTo>
                <a:cubicBezTo>
                  <a:pt x="9411009" y="211354"/>
                  <a:pt x="9398304" y="224057"/>
                  <a:pt x="9382135" y="224057"/>
                </a:cubicBezTo>
                <a:cubicBezTo>
                  <a:pt x="9365966" y="224057"/>
                  <a:pt x="9353262" y="211354"/>
                  <a:pt x="9353262" y="195185"/>
                </a:cubicBezTo>
                <a:cubicBezTo>
                  <a:pt x="9353262" y="179016"/>
                  <a:pt x="9365966" y="166311"/>
                  <a:pt x="9382135" y="166311"/>
                </a:cubicBezTo>
                <a:close/>
                <a:moveTo>
                  <a:pt x="9112431" y="166311"/>
                </a:moveTo>
                <a:cubicBezTo>
                  <a:pt x="9128600" y="166311"/>
                  <a:pt x="9141305" y="179016"/>
                  <a:pt x="9141305" y="195185"/>
                </a:cubicBezTo>
                <a:cubicBezTo>
                  <a:pt x="9141305" y="211354"/>
                  <a:pt x="9128600" y="224057"/>
                  <a:pt x="9112431" y="224057"/>
                </a:cubicBezTo>
                <a:cubicBezTo>
                  <a:pt x="9096262" y="224057"/>
                  <a:pt x="9083558" y="211354"/>
                  <a:pt x="9083558" y="195185"/>
                </a:cubicBezTo>
                <a:cubicBezTo>
                  <a:pt x="9083558" y="179016"/>
                  <a:pt x="9096262" y="166311"/>
                  <a:pt x="9112431" y="166311"/>
                </a:cubicBezTo>
                <a:close/>
                <a:moveTo>
                  <a:pt x="8299358" y="166311"/>
                </a:moveTo>
                <a:cubicBezTo>
                  <a:pt x="8315526" y="166311"/>
                  <a:pt x="8328231" y="179016"/>
                  <a:pt x="8328231" y="195185"/>
                </a:cubicBezTo>
                <a:cubicBezTo>
                  <a:pt x="8328231" y="211354"/>
                  <a:pt x="8315526" y="224057"/>
                  <a:pt x="8299358" y="224057"/>
                </a:cubicBezTo>
                <a:cubicBezTo>
                  <a:pt x="8283189" y="224057"/>
                  <a:pt x="8270485" y="211354"/>
                  <a:pt x="8270485" y="195185"/>
                </a:cubicBezTo>
                <a:cubicBezTo>
                  <a:pt x="8270485" y="179016"/>
                  <a:pt x="8283189" y="166311"/>
                  <a:pt x="8299358" y="166311"/>
                </a:cubicBezTo>
                <a:close/>
                <a:moveTo>
                  <a:pt x="6809492" y="166311"/>
                </a:moveTo>
                <a:cubicBezTo>
                  <a:pt x="6825661" y="166311"/>
                  <a:pt x="6838367" y="179016"/>
                  <a:pt x="6838367" y="195185"/>
                </a:cubicBezTo>
                <a:cubicBezTo>
                  <a:pt x="6838367" y="211354"/>
                  <a:pt x="6825661" y="224057"/>
                  <a:pt x="6809492" y="224057"/>
                </a:cubicBezTo>
                <a:cubicBezTo>
                  <a:pt x="6793324" y="224057"/>
                  <a:pt x="6780620" y="211354"/>
                  <a:pt x="6780620" y="195185"/>
                </a:cubicBezTo>
                <a:cubicBezTo>
                  <a:pt x="6780620" y="179016"/>
                  <a:pt x="6793324" y="166311"/>
                  <a:pt x="6809492" y="166311"/>
                </a:cubicBezTo>
                <a:close/>
                <a:moveTo>
                  <a:pt x="5726165" y="166311"/>
                </a:moveTo>
                <a:cubicBezTo>
                  <a:pt x="5741178" y="166311"/>
                  <a:pt x="5755038" y="179016"/>
                  <a:pt x="5755038" y="195185"/>
                </a:cubicBezTo>
                <a:cubicBezTo>
                  <a:pt x="5755038" y="211354"/>
                  <a:pt x="5742334" y="224057"/>
                  <a:pt x="5726165" y="224057"/>
                </a:cubicBezTo>
                <a:cubicBezTo>
                  <a:pt x="5709996" y="224057"/>
                  <a:pt x="5697292" y="211354"/>
                  <a:pt x="5697292" y="195185"/>
                </a:cubicBezTo>
                <a:cubicBezTo>
                  <a:pt x="5697292" y="179016"/>
                  <a:pt x="5709996" y="166311"/>
                  <a:pt x="5726165" y="166311"/>
                </a:cubicBezTo>
                <a:close/>
                <a:moveTo>
                  <a:pt x="4776809" y="166311"/>
                </a:moveTo>
                <a:cubicBezTo>
                  <a:pt x="4792978" y="166311"/>
                  <a:pt x="4805682" y="179016"/>
                  <a:pt x="4805682" y="195185"/>
                </a:cubicBezTo>
                <a:cubicBezTo>
                  <a:pt x="4805682" y="211354"/>
                  <a:pt x="4792978" y="224057"/>
                  <a:pt x="4776809" y="224057"/>
                </a:cubicBezTo>
                <a:cubicBezTo>
                  <a:pt x="4760640" y="224057"/>
                  <a:pt x="4747936" y="211354"/>
                  <a:pt x="4747936" y="195185"/>
                </a:cubicBezTo>
                <a:cubicBezTo>
                  <a:pt x="4747936" y="179016"/>
                  <a:pt x="4760640" y="166311"/>
                  <a:pt x="4776809" y="166311"/>
                </a:cubicBezTo>
                <a:close/>
                <a:moveTo>
                  <a:pt x="4499625" y="166311"/>
                </a:moveTo>
                <a:cubicBezTo>
                  <a:pt x="4515793" y="166311"/>
                  <a:pt x="4528499" y="179016"/>
                  <a:pt x="4528499" y="195185"/>
                </a:cubicBezTo>
                <a:cubicBezTo>
                  <a:pt x="4528499" y="211354"/>
                  <a:pt x="4515793" y="224057"/>
                  <a:pt x="4499625" y="224057"/>
                </a:cubicBezTo>
                <a:cubicBezTo>
                  <a:pt x="4483457" y="224057"/>
                  <a:pt x="4470752" y="211354"/>
                  <a:pt x="4470752" y="195185"/>
                </a:cubicBezTo>
                <a:cubicBezTo>
                  <a:pt x="4470752" y="179016"/>
                  <a:pt x="4483457" y="166311"/>
                  <a:pt x="4499625" y="166311"/>
                </a:cubicBezTo>
                <a:close/>
                <a:moveTo>
                  <a:pt x="3686551" y="166311"/>
                </a:moveTo>
                <a:cubicBezTo>
                  <a:pt x="3702719" y="166311"/>
                  <a:pt x="3715424" y="179016"/>
                  <a:pt x="3715424" y="195185"/>
                </a:cubicBezTo>
                <a:cubicBezTo>
                  <a:pt x="3715424" y="211354"/>
                  <a:pt x="3702719" y="224057"/>
                  <a:pt x="3686551" y="224057"/>
                </a:cubicBezTo>
                <a:cubicBezTo>
                  <a:pt x="3670381" y="224057"/>
                  <a:pt x="3657677" y="211354"/>
                  <a:pt x="3657677" y="195185"/>
                </a:cubicBezTo>
                <a:cubicBezTo>
                  <a:pt x="3657677" y="179016"/>
                  <a:pt x="3670381" y="166311"/>
                  <a:pt x="3686551" y="166311"/>
                </a:cubicBezTo>
                <a:close/>
                <a:moveTo>
                  <a:pt x="2196685" y="166311"/>
                </a:moveTo>
                <a:cubicBezTo>
                  <a:pt x="2212854" y="166311"/>
                  <a:pt x="2225559" y="179016"/>
                  <a:pt x="2225559" y="195185"/>
                </a:cubicBezTo>
                <a:cubicBezTo>
                  <a:pt x="2225559" y="211354"/>
                  <a:pt x="2212854" y="224057"/>
                  <a:pt x="2196685" y="224057"/>
                </a:cubicBezTo>
                <a:cubicBezTo>
                  <a:pt x="2180516" y="224057"/>
                  <a:pt x="2167813" y="211354"/>
                  <a:pt x="2167813" y="195185"/>
                </a:cubicBezTo>
                <a:cubicBezTo>
                  <a:pt x="2167813" y="179016"/>
                  <a:pt x="2180516" y="166311"/>
                  <a:pt x="2196685" y="166311"/>
                </a:cubicBezTo>
                <a:close/>
                <a:moveTo>
                  <a:pt x="1112202" y="166311"/>
                </a:moveTo>
                <a:cubicBezTo>
                  <a:pt x="1128371" y="166311"/>
                  <a:pt x="1141075" y="179016"/>
                  <a:pt x="1141075" y="195185"/>
                </a:cubicBezTo>
                <a:cubicBezTo>
                  <a:pt x="1141075" y="211354"/>
                  <a:pt x="1128371" y="224057"/>
                  <a:pt x="1112202" y="224057"/>
                </a:cubicBezTo>
                <a:cubicBezTo>
                  <a:pt x="1096033" y="224057"/>
                  <a:pt x="1083328" y="211354"/>
                  <a:pt x="1083328" y="195185"/>
                </a:cubicBezTo>
                <a:cubicBezTo>
                  <a:pt x="1083328" y="179016"/>
                  <a:pt x="1096033" y="166311"/>
                  <a:pt x="1112202" y="166311"/>
                </a:cubicBezTo>
                <a:close/>
                <a:moveTo>
                  <a:pt x="164001" y="166311"/>
                </a:moveTo>
                <a:cubicBezTo>
                  <a:pt x="180170" y="166311"/>
                  <a:pt x="192875" y="179016"/>
                  <a:pt x="192875" y="195185"/>
                </a:cubicBezTo>
                <a:cubicBezTo>
                  <a:pt x="192875" y="211354"/>
                  <a:pt x="180170" y="224057"/>
                  <a:pt x="164001" y="224057"/>
                </a:cubicBezTo>
                <a:cubicBezTo>
                  <a:pt x="147832" y="224057"/>
                  <a:pt x="135128" y="211354"/>
                  <a:pt x="135128" y="195185"/>
                </a:cubicBezTo>
                <a:cubicBezTo>
                  <a:pt x="135128" y="179016"/>
                  <a:pt x="147832" y="166311"/>
                  <a:pt x="164001" y="166311"/>
                </a:cubicBezTo>
                <a:close/>
                <a:moveTo>
                  <a:pt x="11279692" y="160537"/>
                </a:moveTo>
                <a:cubicBezTo>
                  <a:pt x="11298171" y="160537"/>
                  <a:pt x="11314340" y="176706"/>
                  <a:pt x="11314340" y="195185"/>
                </a:cubicBezTo>
                <a:cubicBezTo>
                  <a:pt x="11314340" y="213664"/>
                  <a:pt x="11299326" y="229833"/>
                  <a:pt x="11279692" y="229833"/>
                </a:cubicBezTo>
                <a:cubicBezTo>
                  <a:pt x="11261213" y="229833"/>
                  <a:pt x="11245044" y="213664"/>
                  <a:pt x="11245044" y="195185"/>
                </a:cubicBezTo>
                <a:cubicBezTo>
                  <a:pt x="11245044" y="176706"/>
                  <a:pt x="11260058" y="160537"/>
                  <a:pt x="11279692" y="160537"/>
                </a:cubicBezTo>
                <a:close/>
                <a:moveTo>
                  <a:pt x="10195208" y="160537"/>
                </a:moveTo>
                <a:cubicBezTo>
                  <a:pt x="10214843" y="160537"/>
                  <a:pt x="10229856" y="176706"/>
                  <a:pt x="10229856" y="195185"/>
                </a:cubicBezTo>
                <a:cubicBezTo>
                  <a:pt x="10229856" y="213664"/>
                  <a:pt x="10213687" y="229833"/>
                  <a:pt x="10195208" y="229833"/>
                </a:cubicBezTo>
                <a:cubicBezTo>
                  <a:pt x="10176729" y="229833"/>
                  <a:pt x="10160560" y="213664"/>
                  <a:pt x="10160560" y="195185"/>
                </a:cubicBezTo>
                <a:cubicBezTo>
                  <a:pt x="10160560" y="176706"/>
                  <a:pt x="10175575" y="160537"/>
                  <a:pt x="10195208" y="160537"/>
                </a:cubicBezTo>
                <a:close/>
                <a:moveTo>
                  <a:pt x="9518417" y="160537"/>
                </a:moveTo>
                <a:cubicBezTo>
                  <a:pt x="9536896" y="160537"/>
                  <a:pt x="9553065" y="176706"/>
                  <a:pt x="9553065" y="195185"/>
                </a:cubicBezTo>
                <a:cubicBezTo>
                  <a:pt x="9553065" y="213664"/>
                  <a:pt x="9536896" y="229833"/>
                  <a:pt x="9518417" y="229833"/>
                </a:cubicBezTo>
                <a:cubicBezTo>
                  <a:pt x="9499938" y="229833"/>
                  <a:pt x="9483769" y="213664"/>
                  <a:pt x="9483769" y="195185"/>
                </a:cubicBezTo>
                <a:cubicBezTo>
                  <a:pt x="9483769" y="176706"/>
                  <a:pt x="9498784" y="160537"/>
                  <a:pt x="9518417" y="160537"/>
                </a:cubicBezTo>
                <a:close/>
                <a:moveTo>
                  <a:pt x="8977304" y="160537"/>
                </a:moveTo>
                <a:cubicBezTo>
                  <a:pt x="8995783" y="160537"/>
                  <a:pt x="9011952" y="176706"/>
                  <a:pt x="9011952" y="195185"/>
                </a:cubicBezTo>
                <a:cubicBezTo>
                  <a:pt x="9011952" y="213664"/>
                  <a:pt x="8996938" y="229833"/>
                  <a:pt x="8977304" y="229833"/>
                </a:cubicBezTo>
                <a:cubicBezTo>
                  <a:pt x="8958825" y="229833"/>
                  <a:pt x="8942656" y="213664"/>
                  <a:pt x="8942656" y="195185"/>
                </a:cubicBezTo>
                <a:cubicBezTo>
                  <a:pt x="8942656" y="176706"/>
                  <a:pt x="8957670" y="160537"/>
                  <a:pt x="8977304" y="160537"/>
                </a:cubicBezTo>
                <a:close/>
                <a:moveTo>
                  <a:pt x="8434485" y="160537"/>
                </a:moveTo>
                <a:cubicBezTo>
                  <a:pt x="8454118" y="160537"/>
                  <a:pt x="8469133" y="176706"/>
                  <a:pt x="8469133" y="195185"/>
                </a:cubicBezTo>
                <a:cubicBezTo>
                  <a:pt x="8469133" y="213664"/>
                  <a:pt x="8454118" y="229833"/>
                  <a:pt x="8434485" y="229833"/>
                </a:cubicBezTo>
                <a:cubicBezTo>
                  <a:pt x="8416006" y="229833"/>
                  <a:pt x="8399837" y="213664"/>
                  <a:pt x="8399837" y="195185"/>
                </a:cubicBezTo>
                <a:cubicBezTo>
                  <a:pt x="8399837" y="176706"/>
                  <a:pt x="8414851" y="160537"/>
                  <a:pt x="8434485" y="160537"/>
                </a:cubicBezTo>
                <a:close/>
                <a:moveTo>
                  <a:pt x="6674366" y="160537"/>
                </a:moveTo>
                <a:cubicBezTo>
                  <a:pt x="6692845" y="160537"/>
                  <a:pt x="6709014" y="176706"/>
                  <a:pt x="6709014" y="195185"/>
                </a:cubicBezTo>
                <a:cubicBezTo>
                  <a:pt x="6709014" y="213664"/>
                  <a:pt x="6692845" y="229833"/>
                  <a:pt x="6674366" y="229833"/>
                </a:cubicBezTo>
                <a:cubicBezTo>
                  <a:pt x="6655888" y="229833"/>
                  <a:pt x="6639717" y="213664"/>
                  <a:pt x="6639717" y="195185"/>
                </a:cubicBezTo>
                <a:cubicBezTo>
                  <a:pt x="6639717" y="176706"/>
                  <a:pt x="6654732" y="160537"/>
                  <a:pt x="6674366" y="160537"/>
                </a:cubicBezTo>
                <a:close/>
                <a:moveTo>
                  <a:pt x="5589882" y="160537"/>
                </a:moveTo>
                <a:cubicBezTo>
                  <a:pt x="5609516" y="160537"/>
                  <a:pt x="5624531" y="176706"/>
                  <a:pt x="5624531" y="195185"/>
                </a:cubicBezTo>
                <a:cubicBezTo>
                  <a:pt x="5624531" y="213664"/>
                  <a:pt x="5609516" y="229833"/>
                  <a:pt x="5589882" y="229833"/>
                </a:cubicBezTo>
                <a:cubicBezTo>
                  <a:pt x="5571403" y="229833"/>
                  <a:pt x="5555234" y="213664"/>
                  <a:pt x="5555234" y="195185"/>
                </a:cubicBezTo>
                <a:cubicBezTo>
                  <a:pt x="5555234" y="176706"/>
                  <a:pt x="5570250" y="160537"/>
                  <a:pt x="5589882" y="160537"/>
                </a:cubicBezTo>
                <a:close/>
                <a:moveTo>
                  <a:pt x="4913091" y="160537"/>
                </a:moveTo>
                <a:cubicBezTo>
                  <a:pt x="4931569" y="160537"/>
                  <a:pt x="4947739" y="176706"/>
                  <a:pt x="4947739" y="195185"/>
                </a:cubicBezTo>
                <a:cubicBezTo>
                  <a:pt x="4947739" y="213664"/>
                  <a:pt x="4932726" y="229833"/>
                  <a:pt x="4913091" y="229833"/>
                </a:cubicBezTo>
                <a:cubicBezTo>
                  <a:pt x="4894612" y="229833"/>
                  <a:pt x="4878443" y="213664"/>
                  <a:pt x="4878443" y="195185"/>
                </a:cubicBezTo>
                <a:cubicBezTo>
                  <a:pt x="4878443" y="176706"/>
                  <a:pt x="4893458" y="160537"/>
                  <a:pt x="4913091" y="160537"/>
                </a:cubicBezTo>
                <a:close/>
                <a:moveTo>
                  <a:pt x="4364499" y="160537"/>
                </a:moveTo>
                <a:cubicBezTo>
                  <a:pt x="4382977" y="160537"/>
                  <a:pt x="4399146" y="176706"/>
                  <a:pt x="4399146" y="195185"/>
                </a:cubicBezTo>
                <a:cubicBezTo>
                  <a:pt x="4399146" y="213664"/>
                  <a:pt x="4384131" y="229833"/>
                  <a:pt x="4364499" y="229833"/>
                </a:cubicBezTo>
                <a:cubicBezTo>
                  <a:pt x="4346018" y="229833"/>
                  <a:pt x="4329850" y="213664"/>
                  <a:pt x="4329850" y="195185"/>
                </a:cubicBezTo>
                <a:cubicBezTo>
                  <a:pt x="4329850" y="176706"/>
                  <a:pt x="4344863" y="160537"/>
                  <a:pt x="4364499" y="160537"/>
                </a:cubicBezTo>
                <a:close/>
                <a:moveTo>
                  <a:pt x="3821678" y="160537"/>
                </a:moveTo>
                <a:cubicBezTo>
                  <a:pt x="3841311" y="160537"/>
                  <a:pt x="3856326" y="176706"/>
                  <a:pt x="3856326" y="195185"/>
                </a:cubicBezTo>
                <a:cubicBezTo>
                  <a:pt x="3856326" y="213664"/>
                  <a:pt x="3841311" y="229833"/>
                  <a:pt x="3821678" y="229833"/>
                </a:cubicBezTo>
                <a:cubicBezTo>
                  <a:pt x="3803199" y="229833"/>
                  <a:pt x="3787030" y="213664"/>
                  <a:pt x="3787030" y="195185"/>
                </a:cubicBezTo>
                <a:cubicBezTo>
                  <a:pt x="3787030" y="176706"/>
                  <a:pt x="3802045" y="160537"/>
                  <a:pt x="3821678" y="160537"/>
                </a:cubicBezTo>
                <a:close/>
                <a:moveTo>
                  <a:pt x="2061558" y="160537"/>
                </a:moveTo>
                <a:cubicBezTo>
                  <a:pt x="2080037" y="160537"/>
                  <a:pt x="2096206" y="176706"/>
                  <a:pt x="2096206" y="195185"/>
                </a:cubicBezTo>
                <a:cubicBezTo>
                  <a:pt x="2096206" y="213664"/>
                  <a:pt x="2081192" y="229833"/>
                  <a:pt x="2061558" y="229833"/>
                </a:cubicBezTo>
                <a:cubicBezTo>
                  <a:pt x="2043080" y="229833"/>
                  <a:pt x="2026910" y="213664"/>
                  <a:pt x="2026910" y="195185"/>
                </a:cubicBezTo>
                <a:cubicBezTo>
                  <a:pt x="2026910" y="176706"/>
                  <a:pt x="2041924" y="160537"/>
                  <a:pt x="2061558" y="160537"/>
                </a:cubicBezTo>
                <a:close/>
                <a:moveTo>
                  <a:pt x="977075" y="160537"/>
                </a:moveTo>
                <a:cubicBezTo>
                  <a:pt x="996709" y="160537"/>
                  <a:pt x="1011723" y="176706"/>
                  <a:pt x="1011723" y="195185"/>
                </a:cubicBezTo>
                <a:cubicBezTo>
                  <a:pt x="1011723" y="213664"/>
                  <a:pt x="995554" y="229833"/>
                  <a:pt x="977075" y="229833"/>
                </a:cubicBezTo>
                <a:cubicBezTo>
                  <a:pt x="958596" y="229833"/>
                  <a:pt x="942427" y="213664"/>
                  <a:pt x="942427" y="195185"/>
                </a:cubicBezTo>
                <a:cubicBezTo>
                  <a:pt x="942427" y="176706"/>
                  <a:pt x="957441" y="160537"/>
                  <a:pt x="977075" y="160537"/>
                </a:cubicBezTo>
                <a:close/>
                <a:moveTo>
                  <a:pt x="300283" y="160537"/>
                </a:moveTo>
                <a:cubicBezTo>
                  <a:pt x="318762" y="160537"/>
                  <a:pt x="334931" y="176706"/>
                  <a:pt x="334931" y="195185"/>
                </a:cubicBezTo>
                <a:cubicBezTo>
                  <a:pt x="334931" y="213664"/>
                  <a:pt x="318762" y="229833"/>
                  <a:pt x="300283" y="229833"/>
                </a:cubicBezTo>
                <a:cubicBezTo>
                  <a:pt x="281804" y="229833"/>
                  <a:pt x="265635" y="213664"/>
                  <a:pt x="265635" y="195185"/>
                </a:cubicBezTo>
                <a:cubicBezTo>
                  <a:pt x="265635" y="176706"/>
                  <a:pt x="280650" y="160537"/>
                  <a:pt x="300283" y="160537"/>
                </a:cubicBezTo>
                <a:close/>
                <a:moveTo>
                  <a:pt x="11143410" y="154761"/>
                </a:moveTo>
                <a:cubicBezTo>
                  <a:pt x="11166509" y="154761"/>
                  <a:pt x="11183832" y="173240"/>
                  <a:pt x="11183832" y="195185"/>
                </a:cubicBezTo>
                <a:cubicBezTo>
                  <a:pt x="11183832" y="217128"/>
                  <a:pt x="11165353" y="235607"/>
                  <a:pt x="11143410" y="235607"/>
                </a:cubicBezTo>
                <a:cubicBezTo>
                  <a:pt x="11121466" y="235607"/>
                  <a:pt x="11102987" y="217128"/>
                  <a:pt x="11102987" y="195185"/>
                </a:cubicBezTo>
                <a:cubicBezTo>
                  <a:pt x="11102987" y="173240"/>
                  <a:pt x="11121466" y="154761"/>
                  <a:pt x="11143410" y="154761"/>
                </a:cubicBezTo>
                <a:close/>
                <a:moveTo>
                  <a:pt x="10873155" y="154761"/>
                </a:moveTo>
                <a:cubicBezTo>
                  <a:pt x="10895098" y="154761"/>
                  <a:pt x="10913577" y="173240"/>
                  <a:pt x="10913577" y="195185"/>
                </a:cubicBezTo>
                <a:cubicBezTo>
                  <a:pt x="10913577" y="217128"/>
                  <a:pt x="10895098" y="235607"/>
                  <a:pt x="10873155" y="235607"/>
                </a:cubicBezTo>
                <a:cubicBezTo>
                  <a:pt x="10851211" y="235607"/>
                  <a:pt x="10832732" y="217128"/>
                  <a:pt x="10832732" y="195185"/>
                </a:cubicBezTo>
                <a:cubicBezTo>
                  <a:pt x="10832732" y="173240"/>
                  <a:pt x="10851211" y="154761"/>
                  <a:pt x="10873155" y="154761"/>
                </a:cubicBezTo>
                <a:close/>
                <a:moveTo>
                  <a:pt x="10060082" y="154761"/>
                </a:moveTo>
                <a:cubicBezTo>
                  <a:pt x="10082025" y="154761"/>
                  <a:pt x="10100504" y="173240"/>
                  <a:pt x="10100504" y="195185"/>
                </a:cubicBezTo>
                <a:cubicBezTo>
                  <a:pt x="10100504" y="217128"/>
                  <a:pt x="10082025" y="235607"/>
                  <a:pt x="10060082" y="235607"/>
                </a:cubicBezTo>
                <a:cubicBezTo>
                  <a:pt x="10038137" y="235607"/>
                  <a:pt x="10019658" y="217128"/>
                  <a:pt x="10019658" y="195185"/>
                </a:cubicBezTo>
                <a:cubicBezTo>
                  <a:pt x="10019658" y="173240"/>
                  <a:pt x="10038137" y="154761"/>
                  <a:pt x="10060082" y="154761"/>
                </a:cubicBezTo>
                <a:close/>
                <a:moveTo>
                  <a:pt x="9653545" y="154761"/>
                </a:moveTo>
                <a:cubicBezTo>
                  <a:pt x="9675488" y="154761"/>
                  <a:pt x="9693967" y="173240"/>
                  <a:pt x="9693967" y="195185"/>
                </a:cubicBezTo>
                <a:cubicBezTo>
                  <a:pt x="9693967" y="217128"/>
                  <a:pt x="9675488" y="235607"/>
                  <a:pt x="9653545" y="235607"/>
                </a:cubicBezTo>
                <a:cubicBezTo>
                  <a:pt x="9631600" y="235607"/>
                  <a:pt x="9613122" y="217128"/>
                  <a:pt x="9613122" y="195185"/>
                </a:cubicBezTo>
                <a:cubicBezTo>
                  <a:pt x="9613122" y="173240"/>
                  <a:pt x="9631600" y="154761"/>
                  <a:pt x="9653545" y="154761"/>
                </a:cubicBezTo>
                <a:close/>
                <a:moveTo>
                  <a:pt x="8841022" y="154761"/>
                </a:moveTo>
                <a:cubicBezTo>
                  <a:pt x="8864121" y="154761"/>
                  <a:pt x="8881444" y="173240"/>
                  <a:pt x="8881444" y="195185"/>
                </a:cubicBezTo>
                <a:cubicBezTo>
                  <a:pt x="8881444" y="217128"/>
                  <a:pt x="8862965" y="235607"/>
                  <a:pt x="8841022" y="235607"/>
                </a:cubicBezTo>
                <a:cubicBezTo>
                  <a:pt x="8819078" y="235607"/>
                  <a:pt x="8800599" y="217128"/>
                  <a:pt x="8800599" y="195185"/>
                </a:cubicBezTo>
                <a:cubicBezTo>
                  <a:pt x="8800599" y="173240"/>
                  <a:pt x="8819078" y="154761"/>
                  <a:pt x="8841022" y="154761"/>
                </a:cubicBezTo>
                <a:close/>
                <a:moveTo>
                  <a:pt x="8570767" y="154761"/>
                </a:moveTo>
                <a:cubicBezTo>
                  <a:pt x="8592711" y="154761"/>
                  <a:pt x="8611190" y="173240"/>
                  <a:pt x="8611190" y="195185"/>
                </a:cubicBezTo>
                <a:cubicBezTo>
                  <a:pt x="8611190" y="217128"/>
                  <a:pt x="8592711" y="235607"/>
                  <a:pt x="8570767" y="235607"/>
                </a:cubicBezTo>
                <a:cubicBezTo>
                  <a:pt x="8548823" y="235607"/>
                  <a:pt x="8530344" y="217128"/>
                  <a:pt x="8530344" y="195185"/>
                </a:cubicBezTo>
                <a:cubicBezTo>
                  <a:pt x="8530344" y="173240"/>
                  <a:pt x="8548823" y="154761"/>
                  <a:pt x="8570767" y="154761"/>
                </a:cubicBezTo>
                <a:close/>
                <a:moveTo>
                  <a:pt x="6538083" y="154761"/>
                </a:moveTo>
                <a:cubicBezTo>
                  <a:pt x="6561183" y="154761"/>
                  <a:pt x="6578507" y="173240"/>
                  <a:pt x="6578507" y="195185"/>
                </a:cubicBezTo>
                <a:cubicBezTo>
                  <a:pt x="6578507" y="217128"/>
                  <a:pt x="6560028" y="235607"/>
                  <a:pt x="6538083" y="235607"/>
                </a:cubicBezTo>
                <a:cubicBezTo>
                  <a:pt x="6516139" y="235607"/>
                  <a:pt x="6497661" y="217128"/>
                  <a:pt x="6497661" y="195185"/>
                </a:cubicBezTo>
                <a:cubicBezTo>
                  <a:pt x="6497661" y="173240"/>
                  <a:pt x="6516139" y="154761"/>
                  <a:pt x="6538083" y="154761"/>
                </a:cubicBezTo>
                <a:close/>
                <a:moveTo>
                  <a:pt x="6267830" y="154761"/>
                </a:moveTo>
                <a:cubicBezTo>
                  <a:pt x="6289772" y="154761"/>
                  <a:pt x="6308251" y="173240"/>
                  <a:pt x="6308251" y="195185"/>
                </a:cubicBezTo>
                <a:cubicBezTo>
                  <a:pt x="6308251" y="217128"/>
                  <a:pt x="6289772" y="235607"/>
                  <a:pt x="6267830" y="235607"/>
                </a:cubicBezTo>
                <a:cubicBezTo>
                  <a:pt x="6245885" y="235607"/>
                  <a:pt x="6227406" y="217128"/>
                  <a:pt x="6227406" y="195185"/>
                </a:cubicBezTo>
                <a:cubicBezTo>
                  <a:pt x="6227406" y="173240"/>
                  <a:pt x="6245885" y="154761"/>
                  <a:pt x="6267830" y="154761"/>
                </a:cubicBezTo>
                <a:close/>
                <a:moveTo>
                  <a:pt x="5454756" y="154761"/>
                </a:moveTo>
                <a:cubicBezTo>
                  <a:pt x="5476698" y="154761"/>
                  <a:pt x="5495178" y="173240"/>
                  <a:pt x="5495178" y="195185"/>
                </a:cubicBezTo>
                <a:cubicBezTo>
                  <a:pt x="5495178" y="217128"/>
                  <a:pt x="5476698" y="235607"/>
                  <a:pt x="5454756" y="235607"/>
                </a:cubicBezTo>
                <a:cubicBezTo>
                  <a:pt x="5432812" y="235607"/>
                  <a:pt x="5414332" y="217128"/>
                  <a:pt x="5414332" y="195185"/>
                </a:cubicBezTo>
                <a:cubicBezTo>
                  <a:pt x="5414332" y="173240"/>
                  <a:pt x="5432812" y="154761"/>
                  <a:pt x="5454756" y="154761"/>
                </a:cubicBezTo>
                <a:close/>
                <a:moveTo>
                  <a:pt x="5048218" y="154761"/>
                </a:moveTo>
                <a:cubicBezTo>
                  <a:pt x="5070162" y="154761"/>
                  <a:pt x="5088641" y="173240"/>
                  <a:pt x="5088641" y="195185"/>
                </a:cubicBezTo>
                <a:cubicBezTo>
                  <a:pt x="5088641" y="217128"/>
                  <a:pt x="5070162" y="235607"/>
                  <a:pt x="5048218" y="235607"/>
                </a:cubicBezTo>
                <a:cubicBezTo>
                  <a:pt x="5026274" y="235607"/>
                  <a:pt x="5007796" y="217128"/>
                  <a:pt x="5007796" y="195185"/>
                </a:cubicBezTo>
                <a:cubicBezTo>
                  <a:pt x="5007796" y="173240"/>
                  <a:pt x="5026274" y="154761"/>
                  <a:pt x="5048218" y="154761"/>
                </a:cubicBezTo>
                <a:close/>
                <a:moveTo>
                  <a:pt x="4228217" y="154761"/>
                </a:moveTo>
                <a:cubicBezTo>
                  <a:pt x="4251315" y="154761"/>
                  <a:pt x="4268637" y="173240"/>
                  <a:pt x="4268637" y="195185"/>
                </a:cubicBezTo>
                <a:cubicBezTo>
                  <a:pt x="4268637" y="217128"/>
                  <a:pt x="4250160" y="235607"/>
                  <a:pt x="4228217" y="235607"/>
                </a:cubicBezTo>
                <a:cubicBezTo>
                  <a:pt x="4206271" y="235607"/>
                  <a:pt x="4187792" y="217128"/>
                  <a:pt x="4187792" y="195185"/>
                </a:cubicBezTo>
                <a:cubicBezTo>
                  <a:pt x="4187792" y="173240"/>
                  <a:pt x="4206271" y="154761"/>
                  <a:pt x="4228217" y="154761"/>
                </a:cubicBezTo>
                <a:close/>
                <a:moveTo>
                  <a:pt x="3957960" y="154761"/>
                </a:moveTo>
                <a:cubicBezTo>
                  <a:pt x="3979904" y="154761"/>
                  <a:pt x="3998382" y="173240"/>
                  <a:pt x="3998382" y="195185"/>
                </a:cubicBezTo>
                <a:cubicBezTo>
                  <a:pt x="3998382" y="217128"/>
                  <a:pt x="3979904" y="235607"/>
                  <a:pt x="3957960" y="235607"/>
                </a:cubicBezTo>
                <a:cubicBezTo>
                  <a:pt x="3936016" y="235607"/>
                  <a:pt x="3917537" y="217128"/>
                  <a:pt x="3917537" y="195185"/>
                </a:cubicBezTo>
                <a:cubicBezTo>
                  <a:pt x="3917537" y="173240"/>
                  <a:pt x="3936016" y="154761"/>
                  <a:pt x="3957960" y="154761"/>
                </a:cubicBezTo>
                <a:close/>
                <a:moveTo>
                  <a:pt x="1925276" y="154761"/>
                </a:moveTo>
                <a:cubicBezTo>
                  <a:pt x="1948375" y="154761"/>
                  <a:pt x="1965698" y="173240"/>
                  <a:pt x="1965698" y="195185"/>
                </a:cubicBezTo>
                <a:cubicBezTo>
                  <a:pt x="1965698" y="217128"/>
                  <a:pt x="1947219" y="235607"/>
                  <a:pt x="1925276" y="235607"/>
                </a:cubicBezTo>
                <a:cubicBezTo>
                  <a:pt x="1903332" y="235607"/>
                  <a:pt x="1884853" y="217128"/>
                  <a:pt x="1884853" y="195185"/>
                </a:cubicBezTo>
                <a:cubicBezTo>
                  <a:pt x="1884853" y="173240"/>
                  <a:pt x="1903332" y="154761"/>
                  <a:pt x="1925276" y="154761"/>
                </a:cubicBezTo>
                <a:close/>
                <a:moveTo>
                  <a:pt x="1655022" y="154761"/>
                </a:moveTo>
                <a:cubicBezTo>
                  <a:pt x="1676965" y="154761"/>
                  <a:pt x="1695444" y="173240"/>
                  <a:pt x="1695444" y="195185"/>
                </a:cubicBezTo>
                <a:cubicBezTo>
                  <a:pt x="1695444" y="217128"/>
                  <a:pt x="1676965" y="235607"/>
                  <a:pt x="1655022" y="235607"/>
                </a:cubicBezTo>
                <a:cubicBezTo>
                  <a:pt x="1633077" y="235607"/>
                  <a:pt x="1614598" y="217128"/>
                  <a:pt x="1614598" y="195185"/>
                </a:cubicBezTo>
                <a:cubicBezTo>
                  <a:pt x="1614598" y="173240"/>
                  <a:pt x="1633077" y="154761"/>
                  <a:pt x="1655022" y="154761"/>
                </a:cubicBezTo>
                <a:close/>
                <a:moveTo>
                  <a:pt x="841948" y="154761"/>
                </a:moveTo>
                <a:cubicBezTo>
                  <a:pt x="863891" y="154761"/>
                  <a:pt x="882370" y="173240"/>
                  <a:pt x="882370" y="195185"/>
                </a:cubicBezTo>
                <a:cubicBezTo>
                  <a:pt x="882370" y="217128"/>
                  <a:pt x="863891" y="235607"/>
                  <a:pt x="841948" y="235607"/>
                </a:cubicBezTo>
                <a:cubicBezTo>
                  <a:pt x="820004" y="235607"/>
                  <a:pt x="801525" y="217128"/>
                  <a:pt x="801525" y="195185"/>
                </a:cubicBezTo>
                <a:cubicBezTo>
                  <a:pt x="801525" y="173240"/>
                  <a:pt x="820004" y="154761"/>
                  <a:pt x="841948" y="154761"/>
                </a:cubicBezTo>
                <a:close/>
                <a:moveTo>
                  <a:pt x="435411" y="154761"/>
                </a:moveTo>
                <a:cubicBezTo>
                  <a:pt x="457354" y="154761"/>
                  <a:pt x="475833" y="173240"/>
                  <a:pt x="475833" y="195185"/>
                </a:cubicBezTo>
                <a:cubicBezTo>
                  <a:pt x="475833" y="217128"/>
                  <a:pt x="457354" y="235607"/>
                  <a:pt x="435411" y="235607"/>
                </a:cubicBezTo>
                <a:cubicBezTo>
                  <a:pt x="413467" y="235607"/>
                  <a:pt x="394988" y="217128"/>
                  <a:pt x="394988" y="195185"/>
                </a:cubicBezTo>
                <a:cubicBezTo>
                  <a:pt x="394988" y="173240"/>
                  <a:pt x="413467" y="154761"/>
                  <a:pt x="435411" y="154761"/>
                </a:cubicBezTo>
                <a:close/>
                <a:moveTo>
                  <a:pt x="11008282" y="144368"/>
                </a:moveTo>
                <a:cubicBezTo>
                  <a:pt x="11036000" y="144368"/>
                  <a:pt x="11059099" y="167466"/>
                  <a:pt x="11059099" y="195185"/>
                </a:cubicBezTo>
                <a:cubicBezTo>
                  <a:pt x="11059099" y="222903"/>
                  <a:pt x="11037156" y="246002"/>
                  <a:pt x="11008282" y="246002"/>
                </a:cubicBezTo>
                <a:cubicBezTo>
                  <a:pt x="10980564" y="246002"/>
                  <a:pt x="10957465" y="222903"/>
                  <a:pt x="10957465" y="195185"/>
                </a:cubicBezTo>
                <a:cubicBezTo>
                  <a:pt x="10957465" y="167466"/>
                  <a:pt x="10979409" y="144368"/>
                  <a:pt x="11008282" y="144368"/>
                </a:cubicBezTo>
                <a:close/>
                <a:moveTo>
                  <a:pt x="9924954" y="144368"/>
                </a:moveTo>
                <a:cubicBezTo>
                  <a:pt x="9952672" y="144368"/>
                  <a:pt x="9975771" y="167466"/>
                  <a:pt x="9975771" y="195185"/>
                </a:cubicBezTo>
                <a:cubicBezTo>
                  <a:pt x="9975771" y="222903"/>
                  <a:pt x="9953828" y="246002"/>
                  <a:pt x="9924954" y="246002"/>
                </a:cubicBezTo>
                <a:cubicBezTo>
                  <a:pt x="9897235" y="246002"/>
                  <a:pt x="9874137" y="222903"/>
                  <a:pt x="9874137" y="195185"/>
                </a:cubicBezTo>
                <a:cubicBezTo>
                  <a:pt x="9874137" y="167466"/>
                  <a:pt x="9896081" y="144368"/>
                  <a:pt x="9924954" y="144368"/>
                </a:cubicBezTo>
                <a:close/>
                <a:moveTo>
                  <a:pt x="9788672" y="144368"/>
                </a:moveTo>
                <a:cubicBezTo>
                  <a:pt x="9817545" y="144368"/>
                  <a:pt x="9839489" y="167466"/>
                  <a:pt x="9839489" y="195185"/>
                </a:cubicBezTo>
                <a:cubicBezTo>
                  <a:pt x="9839489" y="222903"/>
                  <a:pt x="9816390" y="246002"/>
                  <a:pt x="9788672" y="246002"/>
                </a:cubicBezTo>
                <a:cubicBezTo>
                  <a:pt x="9760953" y="246002"/>
                  <a:pt x="9737854" y="222903"/>
                  <a:pt x="9737854" y="195185"/>
                </a:cubicBezTo>
                <a:cubicBezTo>
                  <a:pt x="9737854" y="167466"/>
                  <a:pt x="9759799" y="144368"/>
                  <a:pt x="9788672" y="144368"/>
                </a:cubicBezTo>
                <a:close/>
                <a:moveTo>
                  <a:pt x="8705894" y="144368"/>
                </a:moveTo>
                <a:cubicBezTo>
                  <a:pt x="8733613" y="144368"/>
                  <a:pt x="8756711" y="167466"/>
                  <a:pt x="8756711" y="195185"/>
                </a:cubicBezTo>
                <a:cubicBezTo>
                  <a:pt x="8756711" y="222903"/>
                  <a:pt x="8733613" y="246002"/>
                  <a:pt x="8705894" y="246002"/>
                </a:cubicBezTo>
                <a:cubicBezTo>
                  <a:pt x="8678176" y="246002"/>
                  <a:pt x="8655077" y="222903"/>
                  <a:pt x="8655077" y="195185"/>
                </a:cubicBezTo>
                <a:cubicBezTo>
                  <a:pt x="8655077" y="167466"/>
                  <a:pt x="8677021" y="144368"/>
                  <a:pt x="8705894" y="144368"/>
                </a:cubicBezTo>
                <a:close/>
                <a:moveTo>
                  <a:pt x="6402956" y="144368"/>
                </a:moveTo>
                <a:cubicBezTo>
                  <a:pt x="6431830" y="144368"/>
                  <a:pt x="6453773" y="167466"/>
                  <a:pt x="6453773" y="195185"/>
                </a:cubicBezTo>
                <a:cubicBezTo>
                  <a:pt x="6453773" y="222903"/>
                  <a:pt x="6431830" y="246002"/>
                  <a:pt x="6402956" y="246002"/>
                </a:cubicBezTo>
                <a:cubicBezTo>
                  <a:pt x="6375237" y="246002"/>
                  <a:pt x="6352139" y="222903"/>
                  <a:pt x="6352139" y="195185"/>
                </a:cubicBezTo>
                <a:cubicBezTo>
                  <a:pt x="6352139" y="167466"/>
                  <a:pt x="6374084" y="144368"/>
                  <a:pt x="6402956" y="144368"/>
                </a:cubicBezTo>
                <a:close/>
                <a:moveTo>
                  <a:pt x="5319628" y="144368"/>
                </a:moveTo>
                <a:cubicBezTo>
                  <a:pt x="5347347" y="144368"/>
                  <a:pt x="5370444" y="167466"/>
                  <a:pt x="5370444" y="195185"/>
                </a:cubicBezTo>
                <a:cubicBezTo>
                  <a:pt x="5370444" y="222903"/>
                  <a:pt x="5347347" y="246002"/>
                  <a:pt x="5319628" y="246002"/>
                </a:cubicBezTo>
                <a:cubicBezTo>
                  <a:pt x="5291910" y="246002"/>
                  <a:pt x="5268810" y="222903"/>
                  <a:pt x="5268810" y="195185"/>
                </a:cubicBezTo>
                <a:cubicBezTo>
                  <a:pt x="5268810" y="167466"/>
                  <a:pt x="5290756" y="144368"/>
                  <a:pt x="5319628" y="144368"/>
                </a:cubicBezTo>
                <a:close/>
                <a:moveTo>
                  <a:pt x="5183346" y="144368"/>
                </a:moveTo>
                <a:cubicBezTo>
                  <a:pt x="5212220" y="144368"/>
                  <a:pt x="5234162" y="167466"/>
                  <a:pt x="5234162" y="195185"/>
                </a:cubicBezTo>
                <a:cubicBezTo>
                  <a:pt x="5234162" y="222903"/>
                  <a:pt x="5211064" y="246002"/>
                  <a:pt x="5183346" y="246002"/>
                </a:cubicBezTo>
                <a:cubicBezTo>
                  <a:pt x="5155627" y="246002"/>
                  <a:pt x="5132528" y="222903"/>
                  <a:pt x="5132528" y="195185"/>
                </a:cubicBezTo>
                <a:cubicBezTo>
                  <a:pt x="5132528" y="167466"/>
                  <a:pt x="5154473" y="144368"/>
                  <a:pt x="5183346" y="144368"/>
                </a:cubicBezTo>
                <a:close/>
                <a:moveTo>
                  <a:pt x="4093087" y="144368"/>
                </a:moveTo>
                <a:cubicBezTo>
                  <a:pt x="4120806" y="144368"/>
                  <a:pt x="4143904" y="167466"/>
                  <a:pt x="4143904" y="195185"/>
                </a:cubicBezTo>
                <a:cubicBezTo>
                  <a:pt x="4143904" y="222903"/>
                  <a:pt x="4120806" y="246002"/>
                  <a:pt x="4093087" y="246002"/>
                </a:cubicBezTo>
                <a:cubicBezTo>
                  <a:pt x="4065369" y="246002"/>
                  <a:pt x="4042270" y="222903"/>
                  <a:pt x="4042270" y="195185"/>
                </a:cubicBezTo>
                <a:cubicBezTo>
                  <a:pt x="4042270" y="167466"/>
                  <a:pt x="4064214" y="144368"/>
                  <a:pt x="4093087" y="144368"/>
                </a:cubicBezTo>
                <a:close/>
                <a:moveTo>
                  <a:pt x="1790148" y="144368"/>
                </a:moveTo>
                <a:cubicBezTo>
                  <a:pt x="1817867" y="144368"/>
                  <a:pt x="1840965" y="167466"/>
                  <a:pt x="1840965" y="195185"/>
                </a:cubicBezTo>
                <a:cubicBezTo>
                  <a:pt x="1840965" y="222903"/>
                  <a:pt x="1819022" y="246002"/>
                  <a:pt x="1790148" y="246002"/>
                </a:cubicBezTo>
                <a:cubicBezTo>
                  <a:pt x="1762430" y="246002"/>
                  <a:pt x="1739331" y="222903"/>
                  <a:pt x="1739331" y="195185"/>
                </a:cubicBezTo>
                <a:cubicBezTo>
                  <a:pt x="1739331" y="167466"/>
                  <a:pt x="1761275" y="144368"/>
                  <a:pt x="1790148" y="144368"/>
                </a:cubicBezTo>
                <a:close/>
                <a:moveTo>
                  <a:pt x="706820" y="144368"/>
                </a:moveTo>
                <a:cubicBezTo>
                  <a:pt x="734538" y="144368"/>
                  <a:pt x="757637" y="167466"/>
                  <a:pt x="757637" y="195185"/>
                </a:cubicBezTo>
                <a:cubicBezTo>
                  <a:pt x="757637" y="222903"/>
                  <a:pt x="735694" y="246002"/>
                  <a:pt x="706820" y="246002"/>
                </a:cubicBezTo>
                <a:cubicBezTo>
                  <a:pt x="679101" y="246002"/>
                  <a:pt x="656003" y="222903"/>
                  <a:pt x="656003" y="195185"/>
                </a:cubicBezTo>
                <a:cubicBezTo>
                  <a:pt x="656003" y="167466"/>
                  <a:pt x="677947" y="144368"/>
                  <a:pt x="706820" y="144368"/>
                </a:cubicBezTo>
                <a:close/>
                <a:moveTo>
                  <a:pt x="570538" y="144368"/>
                </a:moveTo>
                <a:cubicBezTo>
                  <a:pt x="599412" y="144368"/>
                  <a:pt x="621355" y="167466"/>
                  <a:pt x="621355" y="195185"/>
                </a:cubicBezTo>
                <a:cubicBezTo>
                  <a:pt x="621355" y="222903"/>
                  <a:pt x="598256" y="246002"/>
                  <a:pt x="570538" y="246002"/>
                </a:cubicBezTo>
                <a:cubicBezTo>
                  <a:pt x="542819" y="246002"/>
                  <a:pt x="519721" y="222903"/>
                  <a:pt x="519721" y="195185"/>
                </a:cubicBezTo>
                <a:cubicBezTo>
                  <a:pt x="519721" y="167466"/>
                  <a:pt x="541665" y="144368"/>
                  <a:pt x="570538" y="144368"/>
                </a:cubicBezTo>
                <a:close/>
                <a:moveTo>
                  <a:pt x="12180541" y="31184"/>
                </a:moveTo>
                <a:cubicBezTo>
                  <a:pt x="12192090" y="31184"/>
                  <a:pt x="12201330" y="40424"/>
                  <a:pt x="12201330" y="51973"/>
                </a:cubicBezTo>
                <a:cubicBezTo>
                  <a:pt x="12201330" y="63522"/>
                  <a:pt x="12192090" y="72762"/>
                  <a:pt x="12180541" y="72762"/>
                </a:cubicBezTo>
                <a:cubicBezTo>
                  <a:pt x="12168992" y="72762"/>
                  <a:pt x="12159752" y="63522"/>
                  <a:pt x="12159752" y="51973"/>
                </a:cubicBezTo>
                <a:cubicBezTo>
                  <a:pt x="12159752" y="40424"/>
                  <a:pt x="12168992" y="31184"/>
                  <a:pt x="12180541" y="31184"/>
                </a:cubicBezTo>
                <a:close/>
                <a:moveTo>
                  <a:pt x="12040793" y="31184"/>
                </a:moveTo>
                <a:cubicBezTo>
                  <a:pt x="12052342" y="31184"/>
                  <a:pt x="12061582" y="40424"/>
                  <a:pt x="12061582" y="51973"/>
                </a:cubicBezTo>
                <a:cubicBezTo>
                  <a:pt x="12061582" y="63522"/>
                  <a:pt x="12052342" y="72762"/>
                  <a:pt x="12040793" y="72762"/>
                </a:cubicBezTo>
                <a:cubicBezTo>
                  <a:pt x="12029244" y="72762"/>
                  <a:pt x="12020004" y="63522"/>
                  <a:pt x="12020004" y="51973"/>
                </a:cubicBezTo>
                <a:cubicBezTo>
                  <a:pt x="12020004" y="40424"/>
                  <a:pt x="12029244" y="31184"/>
                  <a:pt x="12040793" y="31184"/>
                </a:cubicBezTo>
                <a:close/>
                <a:moveTo>
                  <a:pt x="11901047" y="31184"/>
                </a:moveTo>
                <a:cubicBezTo>
                  <a:pt x="11912596" y="31184"/>
                  <a:pt x="11921836" y="40424"/>
                  <a:pt x="11921836" y="51973"/>
                </a:cubicBezTo>
                <a:cubicBezTo>
                  <a:pt x="11921836" y="63522"/>
                  <a:pt x="11912596" y="72762"/>
                  <a:pt x="11901047" y="72762"/>
                </a:cubicBezTo>
                <a:cubicBezTo>
                  <a:pt x="11889498" y="72762"/>
                  <a:pt x="11880258" y="63522"/>
                  <a:pt x="11880258" y="51973"/>
                </a:cubicBezTo>
                <a:cubicBezTo>
                  <a:pt x="11880258" y="40424"/>
                  <a:pt x="11889498" y="31184"/>
                  <a:pt x="11901047" y="31184"/>
                </a:cubicBezTo>
                <a:close/>
                <a:moveTo>
                  <a:pt x="11761299" y="31184"/>
                </a:moveTo>
                <a:cubicBezTo>
                  <a:pt x="11772848" y="31184"/>
                  <a:pt x="11782088" y="40424"/>
                  <a:pt x="11782088" y="51973"/>
                </a:cubicBezTo>
                <a:cubicBezTo>
                  <a:pt x="11782088" y="63522"/>
                  <a:pt x="11772848" y="72762"/>
                  <a:pt x="11761299" y="72762"/>
                </a:cubicBezTo>
                <a:cubicBezTo>
                  <a:pt x="11749750" y="72762"/>
                  <a:pt x="11740510" y="63522"/>
                  <a:pt x="11740510" y="51973"/>
                </a:cubicBezTo>
                <a:cubicBezTo>
                  <a:pt x="11740510" y="40424"/>
                  <a:pt x="11749750" y="31184"/>
                  <a:pt x="11761299" y="31184"/>
                </a:cubicBezTo>
                <a:close/>
                <a:moveTo>
                  <a:pt x="11621553" y="31184"/>
                </a:moveTo>
                <a:cubicBezTo>
                  <a:pt x="11633102" y="31184"/>
                  <a:pt x="11642342" y="40424"/>
                  <a:pt x="11642342" y="51973"/>
                </a:cubicBezTo>
                <a:cubicBezTo>
                  <a:pt x="11642342" y="63522"/>
                  <a:pt x="11633102" y="72762"/>
                  <a:pt x="11621553" y="72762"/>
                </a:cubicBezTo>
                <a:cubicBezTo>
                  <a:pt x="11610003" y="72762"/>
                  <a:pt x="11600764" y="63522"/>
                  <a:pt x="11600764" y="51973"/>
                </a:cubicBezTo>
                <a:cubicBezTo>
                  <a:pt x="11600764" y="40424"/>
                  <a:pt x="11610003" y="31184"/>
                  <a:pt x="11621553" y="31184"/>
                </a:cubicBezTo>
                <a:close/>
                <a:moveTo>
                  <a:pt x="11481805" y="31184"/>
                </a:moveTo>
                <a:cubicBezTo>
                  <a:pt x="11493354" y="31184"/>
                  <a:pt x="11502594" y="40424"/>
                  <a:pt x="11502594" y="51973"/>
                </a:cubicBezTo>
                <a:cubicBezTo>
                  <a:pt x="11502594" y="63522"/>
                  <a:pt x="11493354" y="72762"/>
                  <a:pt x="11481805" y="72762"/>
                </a:cubicBezTo>
                <a:cubicBezTo>
                  <a:pt x="11470256" y="72762"/>
                  <a:pt x="11461016" y="63522"/>
                  <a:pt x="11461016" y="51973"/>
                </a:cubicBezTo>
                <a:cubicBezTo>
                  <a:pt x="11461016" y="40424"/>
                  <a:pt x="11470256" y="31184"/>
                  <a:pt x="11481805" y="31184"/>
                </a:cubicBezTo>
                <a:close/>
                <a:moveTo>
                  <a:pt x="10644478" y="31184"/>
                </a:moveTo>
                <a:cubicBezTo>
                  <a:pt x="10656028" y="31184"/>
                  <a:pt x="10665267" y="40424"/>
                  <a:pt x="10665267" y="51973"/>
                </a:cubicBezTo>
                <a:cubicBezTo>
                  <a:pt x="10665267" y="63522"/>
                  <a:pt x="10656028" y="72762"/>
                  <a:pt x="10644478" y="72762"/>
                </a:cubicBezTo>
                <a:cubicBezTo>
                  <a:pt x="10632929" y="72762"/>
                  <a:pt x="10623690" y="63522"/>
                  <a:pt x="10623690" y="51973"/>
                </a:cubicBezTo>
                <a:cubicBezTo>
                  <a:pt x="10623690" y="40424"/>
                  <a:pt x="10632929" y="31184"/>
                  <a:pt x="10644478" y="31184"/>
                </a:cubicBezTo>
                <a:close/>
                <a:moveTo>
                  <a:pt x="10504731" y="31184"/>
                </a:moveTo>
                <a:cubicBezTo>
                  <a:pt x="10516280" y="31184"/>
                  <a:pt x="10525520" y="40424"/>
                  <a:pt x="10525520" y="51973"/>
                </a:cubicBezTo>
                <a:cubicBezTo>
                  <a:pt x="10525520" y="63522"/>
                  <a:pt x="10516280" y="72762"/>
                  <a:pt x="10504731" y="72762"/>
                </a:cubicBezTo>
                <a:cubicBezTo>
                  <a:pt x="10493181" y="72762"/>
                  <a:pt x="10483942" y="63522"/>
                  <a:pt x="10483942" y="51973"/>
                </a:cubicBezTo>
                <a:cubicBezTo>
                  <a:pt x="10483942" y="40424"/>
                  <a:pt x="10493181" y="31184"/>
                  <a:pt x="10504731" y="31184"/>
                </a:cubicBezTo>
                <a:close/>
                <a:moveTo>
                  <a:pt x="10364984" y="31184"/>
                </a:moveTo>
                <a:cubicBezTo>
                  <a:pt x="10376534" y="31184"/>
                  <a:pt x="10385773" y="40424"/>
                  <a:pt x="10385773" y="51973"/>
                </a:cubicBezTo>
                <a:cubicBezTo>
                  <a:pt x="10385773" y="63522"/>
                  <a:pt x="10376534" y="72762"/>
                  <a:pt x="10364984" y="72762"/>
                </a:cubicBezTo>
                <a:cubicBezTo>
                  <a:pt x="10353435" y="72762"/>
                  <a:pt x="10344196" y="63522"/>
                  <a:pt x="10344196" y="51973"/>
                </a:cubicBezTo>
                <a:cubicBezTo>
                  <a:pt x="10344196" y="40424"/>
                  <a:pt x="10353435" y="31184"/>
                  <a:pt x="10364984" y="31184"/>
                </a:cubicBezTo>
                <a:close/>
                <a:moveTo>
                  <a:pt x="7854709" y="31184"/>
                </a:moveTo>
                <a:cubicBezTo>
                  <a:pt x="7866258" y="31184"/>
                  <a:pt x="7875498" y="40424"/>
                  <a:pt x="7875498" y="51973"/>
                </a:cubicBezTo>
                <a:cubicBezTo>
                  <a:pt x="7875498" y="63522"/>
                  <a:pt x="7866258" y="72762"/>
                  <a:pt x="7854709" y="72762"/>
                </a:cubicBezTo>
                <a:cubicBezTo>
                  <a:pt x="7843160" y="72762"/>
                  <a:pt x="7833921" y="63522"/>
                  <a:pt x="7833921" y="51973"/>
                </a:cubicBezTo>
                <a:cubicBezTo>
                  <a:pt x="7833921" y="40424"/>
                  <a:pt x="7843160" y="31184"/>
                  <a:pt x="7854709" y="31184"/>
                </a:cubicBezTo>
                <a:close/>
                <a:moveTo>
                  <a:pt x="7714960" y="31184"/>
                </a:moveTo>
                <a:cubicBezTo>
                  <a:pt x="7726511" y="31184"/>
                  <a:pt x="7735749" y="40424"/>
                  <a:pt x="7735749" y="51973"/>
                </a:cubicBezTo>
                <a:cubicBezTo>
                  <a:pt x="7735749" y="63522"/>
                  <a:pt x="7726511" y="72762"/>
                  <a:pt x="7714960" y="72762"/>
                </a:cubicBezTo>
                <a:cubicBezTo>
                  <a:pt x="7703411" y="72762"/>
                  <a:pt x="7694172" y="63522"/>
                  <a:pt x="7694172" y="51973"/>
                </a:cubicBezTo>
                <a:cubicBezTo>
                  <a:pt x="7694172" y="40424"/>
                  <a:pt x="7703411" y="31184"/>
                  <a:pt x="7714960" y="31184"/>
                </a:cubicBezTo>
                <a:close/>
                <a:moveTo>
                  <a:pt x="7575214" y="31184"/>
                </a:moveTo>
                <a:cubicBezTo>
                  <a:pt x="7586765" y="31184"/>
                  <a:pt x="7596004" y="40424"/>
                  <a:pt x="7596004" y="51973"/>
                </a:cubicBezTo>
                <a:cubicBezTo>
                  <a:pt x="7596004" y="63522"/>
                  <a:pt x="7586765" y="72762"/>
                  <a:pt x="7575214" y="72762"/>
                </a:cubicBezTo>
                <a:cubicBezTo>
                  <a:pt x="7563665" y="72762"/>
                  <a:pt x="7554427" y="63522"/>
                  <a:pt x="7554427" y="51973"/>
                </a:cubicBezTo>
                <a:cubicBezTo>
                  <a:pt x="7554427" y="40424"/>
                  <a:pt x="7563665" y="31184"/>
                  <a:pt x="7575214" y="31184"/>
                </a:cubicBezTo>
                <a:close/>
                <a:moveTo>
                  <a:pt x="7435467" y="31184"/>
                </a:moveTo>
                <a:cubicBezTo>
                  <a:pt x="7447016" y="31184"/>
                  <a:pt x="7456257" y="40424"/>
                  <a:pt x="7456257" y="51973"/>
                </a:cubicBezTo>
                <a:cubicBezTo>
                  <a:pt x="7456257" y="63522"/>
                  <a:pt x="7447016" y="72762"/>
                  <a:pt x="7435467" y="72762"/>
                </a:cubicBezTo>
                <a:cubicBezTo>
                  <a:pt x="7423918" y="72762"/>
                  <a:pt x="7414678" y="63522"/>
                  <a:pt x="7414678" y="51973"/>
                </a:cubicBezTo>
                <a:cubicBezTo>
                  <a:pt x="7414678" y="40424"/>
                  <a:pt x="7423918" y="31184"/>
                  <a:pt x="7435467" y="31184"/>
                </a:cubicBezTo>
                <a:close/>
                <a:moveTo>
                  <a:pt x="7295720" y="31184"/>
                </a:moveTo>
                <a:cubicBezTo>
                  <a:pt x="7307271" y="31184"/>
                  <a:pt x="7316509" y="40424"/>
                  <a:pt x="7316509" y="51973"/>
                </a:cubicBezTo>
                <a:cubicBezTo>
                  <a:pt x="7316509" y="63522"/>
                  <a:pt x="7307271" y="72762"/>
                  <a:pt x="7295720" y="72762"/>
                </a:cubicBezTo>
                <a:cubicBezTo>
                  <a:pt x="7284172" y="72762"/>
                  <a:pt x="7274932" y="63522"/>
                  <a:pt x="7274932" y="51973"/>
                </a:cubicBezTo>
                <a:cubicBezTo>
                  <a:pt x="7274932" y="40424"/>
                  <a:pt x="7284172" y="31184"/>
                  <a:pt x="7295720" y="31184"/>
                </a:cubicBezTo>
                <a:close/>
                <a:moveTo>
                  <a:pt x="7155974" y="31184"/>
                </a:moveTo>
                <a:cubicBezTo>
                  <a:pt x="7167522" y="31184"/>
                  <a:pt x="7176762" y="40424"/>
                  <a:pt x="7176762" y="51973"/>
                </a:cubicBezTo>
                <a:cubicBezTo>
                  <a:pt x="7176762" y="63522"/>
                  <a:pt x="7167522" y="72762"/>
                  <a:pt x="7155974" y="72762"/>
                </a:cubicBezTo>
                <a:cubicBezTo>
                  <a:pt x="7144423" y="72762"/>
                  <a:pt x="7135183" y="63522"/>
                  <a:pt x="7135183" y="51973"/>
                </a:cubicBezTo>
                <a:cubicBezTo>
                  <a:pt x="7135183" y="40424"/>
                  <a:pt x="7144423" y="31184"/>
                  <a:pt x="7155974" y="31184"/>
                </a:cubicBezTo>
                <a:close/>
                <a:moveTo>
                  <a:pt x="7016227" y="31184"/>
                </a:moveTo>
                <a:cubicBezTo>
                  <a:pt x="7027776" y="31184"/>
                  <a:pt x="7037016" y="40424"/>
                  <a:pt x="7037016" y="51973"/>
                </a:cubicBezTo>
                <a:cubicBezTo>
                  <a:pt x="7037016" y="63522"/>
                  <a:pt x="7027776" y="72762"/>
                  <a:pt x="7016227" y="72762"/>
                </a:cubicBezTo>
                <a:cubicBezTo>
                  <a:pt x="7004678" y="72762"/>
                  <a:pt x="6995438" y="63522"/>
                  <a:pt x="6995438" y="51973"/>
                </a:cubicBezTo>
                <a:cubicBezTo>
                  <a:pt x="6995438" y="40424"/>
                  <a:pt x="7004678" y="31184"/>
                  <a:pt x="7016227" y="31184"/>
                </a:cubicBezTo>
                <a:close/>
                <a:moveTo>
                  <a:pt x="6877634" y="31184"/>
                </a:moveTo>
                <a:cubicBezTo>
                  <a:pt x="6888028" y="31184"/>
                  <a:pt x="6898424" y="40424"/>
                  <a:pt x="6898424" y="51973"/>
                </a:cubicBezTo>
                <a:cubicBezTo>
                  <a:pt x="6898424" y="63522"/>
                  <a:pt x="6889184" y="72762"/>
                  <a:pt x="6877634" y="72762"/>
                </a:cubicBezTo>
                <a:cubicBezTo>
                  <a:pt x="6866085" y="72762"/>
                  <a:pt x="6856845" y="63522"/>
                  <a:pt x="6856845" y="51973"/>
                </a:cubicBezTo>
                <a:cubicBezTo>
                  <a:pt x="6856845" y="40424"/>
                  <a:pt x="6866085" y="31184"/>
                  <a:pt x="6877634" y="31184"/>
                </a:cubicBezTo>
                <a:close/>
                <a:moveTo>
                  <a:pt x="6039151" y="31184"/>
                </a:moveTo>
                <a:cubicBezTo>
                  <a:pt x="6050702" y="31184"/>
                  <a:pt x="6059942" y="40424"/>
                  <a:pt x="6059942" y="51973"/>
                </a:cubicBezTo>
                <a:cubicBezTo>
                  <a:pt x="6059942" y="63522"/>
                  <a:pt x="6050702" y="72762"/>
                  <a:pt x="6039151" y="72762"/>
                </a:cubicBezTo>
                <a:cubicBezTo>
                  <a:pt x="6027603" y="72762"/>
                  <a:pt x="6018363" y="63522"/>
                  <a:pt x="6018363" y="51973"/>
                </a:cubicBezTo>
                <a:cubicBezTo>
                  <a:pt x="6018363" y="40424"/>
                  <a:pt x="6027603" y="31184"/>
                  <a:pt x="6039151" y="31184"/>
                </a:cubicBezTo>
                <a:close/>
                <a:moveTo>
                  <a:pt x="5899406" y="31184"/>
                </a:moveTo>
                <a:cubicBezTo>
                  <a:pt x="5910953" y="31184"/>
                  <a:pt x="5920193" y="40424"/>
                  <a:pt x="5920193" y="51973"/>
                </a:cubicBezTo>
                <a:cubicBezTo>
                  <a:pt x="5920193" y="63522"/>
                  <a:pt x="5910953" y="72762"/>
                  <a:pt x="5899406" y="72762"/>
                </a:cubicBezTo>
                <a:cubicBezTo>
                  <a:pt x="5887855" y="72762"/>
                  <a:pt x="5878616" y="63522"/>
                  <a:pt x="5878616" y="51973"/>
                </a:cubicBezTo>
                <a:cubicBezTo>
                  <a:pt x="5878616" y="40424"/>
                  <a:pt x="5887855" y="31184"/>
                  <a:pt x="5899406" y="31184"/>
                </a:cubicBezTo>
                <a:close/>
                <a:moveTo>
                  <a:pt x="5759658" y="31184"/>
                </a:moveTo>
                <a:cubicBezTo>
                  <a:pt x="5771207" y="31184"/>
                  <a:pt x="5780448" y="40424"/>
                  <a:pt x="5780448" y="51973"/>
                </a:cubicBezTo>
                <a:cubicBezTo>
                  <a:pt x="5780448" y="63522"/>
                  <a:pt x="5771207" y="72762"/>
                  <a:pt x="5759658" y="72762"/>
                </a:cubicBezTo>
                <a:cubicBezTo>
                  <a:pt x="5748109" y="72762"/>
                  <a:pt x="5738869" y="63522"/>
                  <a:pt x="5738869" y="51973"/>
                </a:cubicBezTo>
                <a:cubicBezTo>
                  <a:pt x="5738869" y="40424"/>
                  <a:pt x="5748109" y="31184"/>
                  <a:pt x="5759658" y="31184"/>
                </a:cubicBezTo>
                <a:close/>
                <a:moveTo>
                  <a:pt x="3241901" y="31184"/>
                </a:moveTo>
                <a:cubicBezTo>
                  <a:pt x="3253450" y="31184"/>
                  <a:pt x="3262690" y="40424"/>
                  <a:pt x="3262690" y="51973"/>
                </a:cubicBezTo>
                <a:cubicBezTo>
                  <a:pt x="3262690" y="63522"/>
                  <a:pt x="3253450" y="72762"/>
                  <a:pt x="3241901" y="72762"/>
                </a:cubicBezTo>
                <a:cubicBezTo>
                  <a:pt x="3230352" y="72762"/>
                  <a:pt x="3221112" y="63522"/>
                  <a:pt x="3221112" y="51973"/>
                </a:cubicBezTo>
                <a:cubicBezTo>
                  <a:pt x="3221112" y="40424"/>
                  <a:pt x="3230352" y="31184"/>
                  <a:pt x="3241901" y="31184"/>
                </a:cubicBezTo>
                <a:close/>
                <a:moveTo>
                  <a:pt x="3102153" y="31184"/>
                </a:moveTo>
                <a:cubicBezTo>
                  <a:pt x="3113703" y="31184"/>
                  <a:pt x="3122942" y="40424"/>
                  <a:pt x="3122942" y="51973"/>
                </a:cubicBezTo>
                <a:cubicBezTo>
                  <a:pt x="3122942" y="63522"/>
                  <a:pt x="3113703" y="72762"/>
                  <a:pt x="3102153" y="72762"/>
                </a:cubicBezTo>
                <a:cubicBezTo>
                  <a:pt x="3090605" y="72762"/>
                  <a:pt x="3081365" y="63522"/>
                  <a:pt x="3081365" y="51973"/>
                </a:cubicBezTo>
                <a:cubicBezTo>
                  <a:pt x="3081365" y="40424"/>
                  <a:pt x="3090605" y="31184"/>
                  <a:pt x="3102153" y="31184"/>
                </a:cubicBezTo>
                <a:close/>
                <a:moveTo>
                  <a:pt x="2962407" y="31184"/>
                </a:moveTo>
                <a:cubicBezTo>
                  <a:pt x="2973956" y="31184"/>
                  <a:pt x="2983196" y="40424"/>
                  <a:pt x="2983196" y="51973"/>
                </a:cubicBezTo>
                <a:cubicBezTo>
                  <a:pt x="2983196" y="63522"/>
                  <a:pt x="2973956" y="72762"/>
                  <a:pt x="2962407" y="72762"/>
                </a:cubicBezTo>
                <a:cubicBezTo>
                  <a:pt x="2950858" y="72762"/>
                  <a:pt x="2941618" y="63522"/>
                  <a:pt x="2941618" y="51973"/>
                </a:cubicBezTo>
                <a:cubicBezTo>
                  <a:pt x="2941618" y="40424"/>
                  <a:pt x="2950858" y="31184"/>
                  <a:pt x="2962407" y="31184"/>
                </a:cubicBezTo>
                <a:close/>
                <a:moveTo>
                  <a:pt x="2822659" y="31184"/>
                </a:moveTo>
                <a:cubicBezTo>
                  <a:pt x="2834209" y="31184"/>
                  <a:pt x="2843448" y="40424"/>
                  <a:pt x="2843448" y="51973"/>
                </a:cubicBezTo>
                <a:cubicBezTo>
                  <a:pt x="2843448" y="63522"/>
                  <a:pt x="2834209" y="72762"/>
                  <a:pt x="2822659" y="72762"/>
                </a:cubicBezTo>
                <a:cubicBezTo>
                  <a:pt x="2811110" y="72762"/>
                  <a:pt x="2801871" y="63522"/>
                  <a:pt x="2801871" y="51973"/>
                </a:cubicBezTo>
                <a:cubicBezTo>
                  <a:pt x="2801871" y="40424"/>
                  <a:pt x="2811110" y="31184"/>
                  <a:pt x="2822659" y="31184"/>
                </a:cubicBezTo>
                <a:close/>
                <a:moveTo>
                  <a:pt x="2682913" y="31184"/>
                </a:moveTo>
                <a:cubicBezTo>
                  <a:pt x="2694462" y="31184"/>
                  <a:pt x="2703702" y="40424"/>
                  <a:pt x="2703702" y="51973"/>
                </a:cubicBezTo>
                <a:cubicBezTo>
                  <a:pt x="2703702" y="63522"/>
                  <a:pt x="2694462" y="72762"/>
                  <a:pt x="2682913" y="72762"/>
                </a:cubicBezTo>
                <a:cubicBezTo>
                  <a:pt x="2671365" y="72762"/>
                  <a:pt x="2662124" y="63522"/>
                  <a:pt x="2662124" y="51973"/>
                </a:cubicBezTo>
                <a:cubicBezTo>
                  <a:pt x="2662124" y="40424"/>
                  <a:pt x="2671365" y="31184"/>
                  <a:pt x="2682913" y="31184"/>
                </a:cubicBezTo>
                <a:close/>
                <a:moveTo>
                  <a:pt x="2543167" y="31184"/>
                </a:moveTo>
                <a:cubicBezTo>
                  <a:pt x="2554715" y="31184"/>
                  <a:pt x="2563954" y="40424"/>
                  <a:pt x="2563954" y="51973"/>
                </a:cubicBezTo>
                <a:cubicBezTo>
                  <a:pt x="2563954" y="63522"/>
                  <a:pt x="2554715" y="72762"/>
                  <a:pt x="2543167" y="72762"/>
                </a:cubicBezTo>
                <a:cubicBezTo>
                  <a:pt x="2531616" y="72762"/>
                  <a:pt x="2522376" y="63522"/>
                  <a:pt x="2522376" y="51973"/>
                </a:cubicBezTo>
                <a:cubicBezTo>
                  <a:pt x="2522376" y="40424"/>
                  <a:pt x="2531616" y="31184"/>
                  <a:pt x="2543167" y="31184"/>
                </a:cubicBezTo>
                <a:close/>
                <a:moveTo>
                  <a:pt x="2403419" y="31184"/>
                </a:moveTo>
                <a:cubicBezTo>
                  <a:pt x="2414969" y="31184"/>
                  <a:pt x="2424209" y="40424"/>
                  <a:pt x="2424209" y="51973"/>
                </a:cubicBezTo>
                <a:cubicBezTo>
                  <a:pt x="2424209" y="63522"/>
                  <a:pt x="2414969" y="72762"/>
                  <a:pt x="2403419" y="72762"/>
                </a:cubicBezTo>
                <a:cubicBezTo>
                  <a:pt x="2391869" y="72762"/>
                  <a:pt x="2382630" y="63522"/>
                  <a:pt x="2382630" y="51973"/>
                </a:cubicBezTo>
                <a:cubicBezTo>
                  <a:pt x="2382630" y="40424"/>
                  <a:pt x="2391869" y="31184"/>
                  <a:pt x="2403419" y="31184"/>
                </a:cubicBezTo>
                <a:close/>
                <a:moveTo>
                  <a:pt x="2263671" y="31184"/>
                </a:moveTo>
                <a:cubicBezTo>
                  <a:pt x="2275221" y="31184"/>
                  <a:pt x="2284460" y="40424"/>
                  <a:pt x="2284460" y="51973"/>
                </a:cubicBezTo>
                <a:cubicBezTo>
                  <a:pt x="2284460" y="63522"/>
                  <a:pt x="2275221" y="72762"/>
                  <a:pt x="2263671" y="72762"/>
                </a:cubicBezTo>
                <a:cubicBezTo>
                  <a:pt x="2252122" y="72762"/>
                  <a:pt x="2242883" y="63522"/>
                  <a:pt x="2242883" y="51973"/>
                </a:cubicBezTo>
                <a:cubicBezTo>
                  <a:pt x="2242883" y="40424"/>
                  <a:pt x="2252122" y="31184"/>
                  <a:pt x="2263671" y="31184"/>
                </a:cubicBezTo>
                <a:close/>
                <a:moveTo>
                  <a:pt x="1426344" y="31184"/>
                </a:moveTo>
                <a:cubicBezTo>
                  <a:pt x="1437894" y="31184"/>
                  <a:pt x="1447133" y="40424"/>
                  <a:pt x="1447133" y="51973"/>
                </a:cubicBezTo>
                <a:cubicBezTo>
                  <a:pt x="1447133" y="63522"/>
                  <a:pt x="1437894" y="72762"/>
                  <a:pt x="1426344" y="72762"/>
                </a:cubicBezTo>
                <a:cubicBezTo>
                  <a:pt x="1414795" y="72762"/>
                  <a:pt x="1405556" y="63522"/>
                  <a:pt x="1405556" y="51973"/>
                </a:cubicBezTo>
                <a:cubicBezTo>
                  <a:pt x="1405556" y="40424"/>
                  <a:pt x="1414795" y="31184"/>
                  <a:pt x="1426344" y="31184"/>
                </a:cubicBezTo>
                <a:close/>
                <a:moveTo>
                  <a:pt x="1286597" y="31184"/>
                </a:moveTo>
                <a:cubicBezTo>
                  <a:pt x="1298146" y="31184"/>
                  <a:pt x="1307386" y="40424"/>
                  <a:pt x="1307386" y="51973"/>
                </a:cubicBezTo>
                <a:cubicBezTo>
                  <a:pt x="1307386" y="63522"/>
                  <a:pt x="1298146" y="72762"/>
                  <a:pt x="1286597" y="72762"/>
                </a:cubicBezTo>
                <a:cubicBezTo>
                  <a:pt x="1275048" y="72762"/>
                  <a:pt x="1265808" y="63522"/>
                  <a:pt x="1265808" y="51973"/>
                </a:cubicBezTo>
                <a:cubicBezTo>
                  <a:pt x="1265808" y="40424"/>
                  <a:pt x="1275048" y="31184"/>
                  <a:pt x="1286597" y="31184"/>
                </a:cubicBezTo>
                <a:close/>
                <a:moveTo>
                  <a:pt x="1146851" y="31184"/>
                </a:moveTo>
                <a:cubicBezTo>
                  <a:pt x="1158400" y="31184"/>
                  <a:pt x="1167639" y="40424"/>
                  <a:pt x="1167639" y="51973"/>
                </a:cubicBezTo>
                <a:cubicBezTo>
                  <a:pt x="1167639" y="63522"/>
                  <a:pt x="1158400" y="72762"/>
                  <a:pt x="1146851" y="72762"/>
                </a:cubicBezTo>
                <a:cubicBezTo>
                  <a:pt x="1135301" y="72762"/>
                  <a:pt x="1126062" y="63522"/>
                  <a:pt x="1126062" y="51973"/>
                </a:cubicBezTo>
                <a:cubicBezTo>
                  <a:pt x="1126062" y="40424"/>
                  <a:pt x="1135301" y="31184"/>
                  <a:pt x="1146851" y="31184"/>
                </a:cubicBezTo>
                <a:close/>
                <a:moveTo>
                  <a:pt x="11343213" y="27719"/>
                </a:moveTo>
                <a:cubicBezTo>
                  <a:pt x="11355918" y="27719"/>
                  <a:pt x="11366312" y="38114"/>
                  <a:pt x="11366312" y="50817"/>
                </a:cubicBezTo>
                <a:cubicBezTo>
                  <a:pt x="11366312" y="63522"/>
                  <a:pt x="11355918" y="73916"/>
                  <a:pt x="11343213" y="73916"/>
                </a:cubicBezTo>
                <a:cubicBezTo>
                  <a:pt x="11330509" y="73916"/>
                  <a:pt x="11320114" y="63522"/>
                  <a:pt x="11320114" y="50817"/>
                </a:cubicBezTo>
                <a:cubicBezTo>
                  <a:pt x="11320114" y="38114"/>
                  <a:pt x="11330509" y="27719"/>
                  <a:pt x="11343213" y="27719"/>
                </a:cubicBezTo>
                <a:close/>
                <a:moveTo>
                  <a:pt x="10225237" y="27719"/>
                </a:moveTo>
                <a:cubicBezTo>
                  <a:pt x="10237942" y="27719"/>
                  <a:pt x="10248335" y="38114"/>
                  <a:pt x="10248335" y="50817"/>
                </a:cubicBezTo>
                <a:cubicBezTo>
                  <a:pt x="10248335" y="63522"/>
                  <a:pt x="10237942" y="73916"/>
                  <a:pt x="10225237" y="73916"/>
                </a:cubicBezTo>
                <a:cubicBezTo>
                  <a:pt x="10212533" y="73916"/>
                  <a:pt x="10202138" y="63522"/>
                  <a:pt x="10202138" y="50817"/>
                </a:cubicBezTo>
                <a:cubicBezTo>
                  <a:pt x="10202138" y="38114"/>
                  <a:pt x="10212533" y="27719"/>
                  <a:pt x="10225237" y="27719"/>
                </a:cubicBezTo>
                <a:close/>
                <a:moveTo>
                  <a:pt x="9112431" y="27719"/>
                </a:moveTo>
                <a:cubicBezTo>
                  <a:pt x="9125136" y="27719"/>
                  <a:pt x="9135530" y="38114"/>
                  <a:pt x="9135530" y="50817"/>
                </a:cubicBezTo>
                <a:cubicBezTo>
                  <a:pt x="9135530" y="63522"/>
                  <a:pt x="9125136" y="73916"/>
                  <a:pt x="9112431" y="73916"/>
                </a:cubicBezTo>
                <a:cubicBezTo>
                  <a:pt x="9099727" y="73916"/>
                  <a:pt x="9089332" y="63522"/>
                  <a:pt x="9089332" y="50817"/>
                </a:cubicBezTo>
                <a:cubicBezTo>
                  <a:pt x="9089332" y="38114"/>
                  <a:pt x="9099727" y="27719"/>
                  <a:pt x="9112431" y="27719"/>
                </a:cubicBezTo>
                <a:close/>
                <a:moveTo>
                  <a:pt x="7994456" y="27719"/>
                </a:moveTo>
                <a:cubicBezTo>
                  <a:pt x="8007160" y="27719"/>
                  <a:pt x="8017555" y="38114"/>
                  <a:pt x="8017555" y="50817"/>
                </a:cubicBezTo>
                <a:cubicBezTo>
                  <a:pt x="8017555" y="63522"/>
                  <a:pt x="8007160" y="73916"/>
                  <a:pt x="7994456" y="73916"/>
                </a:cubicBezTo>
                <a:cubicBezTo>
                  <a:pt x="7981752" y="73916"/>
                  <a:pt x="7971356" y="63522"/>
                  <a:pt x="7971356" y="50817"/>
                </a:cubicBezTo>
                <a:cubicBezTo>
                  <a:pt x="7971356" y="38114"/>
                  <a:pt x="7981752" y="27719"/>
                  <a:pt x="7994456" y="27719"/>
                </a:cubicBezTo>
                <a:close/>
                <a:moveTo>
                  <a:pt x="6737887" y="27719"/>
                </a:moveTo>
                <a:cubicBezTo>
                  <a:pt x="6750591" y="27719"/>
                  <a:pt x="6760986" y="38114"/>
                  <a:pt x="6760986" y="50817"/>
                </a:cubicBezTo>
                <a:cubicBezTo>
                  <a:pt x="6760986" y="63522"/>
                  <a:pt x="6750591" y="73916"/>
                  <a:pt x="6737887" y="73916"/>
                </a:cubicBezTo>
                <a:cubicBezTo>
                  <a:pt x="6725183" y="73916"/>
                  <a:pt x="6714789" y="63522"/>
                  <a:pt x="6714789" y="50817"/>
                </a:cubicBezTo>
                <a:cubicBezTo>
                  <a:pt x="6714789" y="38114"/>
                  <a:pt x="6725183" y="27719"/>
                  <a:pt x="6737887" y="27719"/>
                </a:cubicBezTo>
                <a:close/>
                <a:moveTo>
                  <a:pt x="5619912" y="27719"/>
                </a:moveTo>
                <a:cubicBezTo>
                  <a:pt x="5632617" y="27719"/>
                  <a:pt x="5643008" y="38114"/>
                  <a:pt x="5643008" y="50817"/>
                </a:cubicBezTo>
                <a:cubicBezTo>
                  <a:pt x="5643008" y="63522"/>
                  <a:pt x="5632617" y="73916"/>
                  <a:pt x="5619912" y="73916"/>
                </a:cubicBezTo>
                <a:cubicBezTo>
                  <a:pt x="5607207" y="73916"/>
                  <a:pt x="5596812" y="63522"/>
                  <a:pt x="5596812" y="50817"/>
                </a:cubicBezTo>
                <a:cubicBezTo>
                  <a:pt x="5596812" y="38114"/>
                  <a:pt x="5607207" y="27719"/>
                  <a:pt x="5619912" y="27719"/>
                </a:cubicBezTo>
                <a:close/>
                <a:moveTo>
                  <a:pt x="4499625" y="27719"/>
                </a:moveTo>
                <a:cubicBezTo>
                  <a:pt x="4512330" y="27719"/>
                  <a:pt x="4522722" y="38114"/>
                  <a:pt x="4522722" y="50817"/>
                </a:cubicBezTo>
                <a:cubicBezTo>
                  <a:pt x="4522722" y="63522"/>
                  <a:pt x="4512330" y="73916"/>
                  <a:pt x="4499625" y="73916"/>
                </a:cubicBezTo>
                <a:cubicBezTo>
                  <a:pt x="4486920" y="73916"/>
                  <a:pt x="4476525" y="63522"/>
                  <a:pt x="4476525" y="50817"/>
                </a:cubicBezTo>
                <a:cubicBezTo>
                  <a:pt x="4476525" y="38114"/>
                  <a:pt x="4486920" y="27719"/>
                  <a:pt x="4499625" y="27719"/>
                </a:cubicBezTo>
                <a:close/>
                <a:moveTo>
                  <a:pt x="3381648" y="27719"/>
                </a:moveTo>
                <a:cubicBezTo>
                  <a:pt x="3394352" y="27719"/>
                  <a:pt x="3404746" y="38114"/>
                  <a:pt x="3404746" y="50817"/>
                </a:cubicBezTo>
                <a:cubicBezTo>
                  <a:pt x="3404746" y="63522"/>
                  <a:pt x="3394352" y="73916"/>
                  <a:pt x="3381648" y="73916"/>
                </a:cubicBezTo>
                <a:cubicBezTo>
                  <a:pt x="3368944" y="73916"/>
                  <a:pt x="3358549" y="63522"/>
                  <a:pt x="3358549" y="50817"/>
                </a:cubicBezTo>
                <a:cubicBezTo>
                  <a:pt x="3358549" y="38114"/>
                  <a:pt x="3368944" y="27719"/>
                  <a:pt x="3381648" y="27719"/>
                </a:cubicBezTo>
                <a:close/>
                <a:moveTo>
                  <a:pt x="2125079" y="27719"/>
                </a:moveTo>
                <a:cubicBezTo>
                  <a:pt x="2137784" y="27719"/>
                  <a:pt x="2148178" y="38114"/>
                  <a:pt x="2148178" y="50817"/>
                </a:cubicBezTo>
                <a:cubicBezTo>
                  <a:pt x="2148178" y="63522"/>
                  <a:pt x="2137784" y="73916"/>
                  <a:pt x="2125079" y="73916"/>
                </a:cubicBezTo>
                <a:cubicBezTo>
                  <a:pt x="2112376" y="73916"/>
                  <a:pt x="2101980" y="63522"/>
                  <a:pt x="2101980" y="50817"/>
                </a:cubicBezTo>
                <a:cubicBezTo>
                  <a:pt x="2101980" y="38114"/>
                  <a:pt x="2112376" y="27719"/>
                  <a:pt x="2125079" y="27719"/>
                </a:cubicBezTo>
                <a:close/>
                <a:moveTo>
                  <a:pt x="1007103" y="27719"/>
                </a:moveTo>
                <a:cubicBezTo>
                  <a:pt x="1019808" y="27719"/>
                  <a:pt x="1030201" y="38114"/>
                  <a:pt x="1030201" y="50817"/>
                </a:cubicBezTo>
                <a:cubicBezTo>
                  <a:pt x="1030201" y="63522"/>
                  <a:pt x="1019808" y="73916"/>
                  <a:pt x="1007103" y="73916"/>
                </a:cubicBezTo>
                <a:cubicBezTo>
                  <a:pt x="994399" y="73916"/>
                  <a:pt x="984004" y="63522"/>
                  <a:pt x="984004" y="50817"/>
                </a:cubicBezTo>
                <a:cubicBezTo>
                  <a:pt x="984004" y="38114"/>
                  <a:pt x="994399" y="27719"/>
                  <a:pt x="1007103" y="27719"/>
                </a:cubicBezTo>
                <a:close/>
                <a:moveTo>
                  <a:pt x="11203466" y="21945"/>
                </a:moveTo>
                <a:cubicBezTo>
                  <a:pt x="11218480" y="21945"/>
                  <a:pt x="11232339" y="34648"/>
                  <a:pt x="11232339" y="50817"/>
                </a:cubicBezTo>
                <a:cubicBezTo>
                  <a:pt x="11232339" y="66986"/>
                  <a:pt x="11219636" y="79691"/>
                  <a:pt x="11203466" y="79691"/>
                </a:cubicBezTo>
                <a:cubicBezTo>
                  <a:pt x="11187298" y="79691"/>
                  <a:pt x="11174593" y="66986"/>
                  <a:pt x="11174593" y="50817"/>
                </a:cubicBezTo>
                <a:cubicBezTo>
                  <a:pt x="11174593" y="34648"/>
                  <a:pt x="11187298" y="21945"/>
                  <a:pt x="11203466" y="21945"/>
                </a:cubicBezTo>
                <a:close/>
                <a:moveTo>
                  <a:pt x="10085490" y="21945"/>
                </a:moveTo>
                <a:cubicBezTo>
                  <a:pt x="10101659" y="21945"/>
                  <a:pt x="10114363" y="35804"/>
                  <a:pt x="10114363" y="51973"/>
                </a:cubicBezTo>
                <a:cubicBezTo>
                  <a:pt x="10114363" y="68142"/>
                  <a:pt x="10101659" y="80846"/>
                  <a:pt x="10085490" y="80846"/>
                </a:cubicBezTo>
                <a:cubicBezTo>
                  <a:pt x="10069321" y="80846"/>
                  <a:pt x="10056616" y="66986"/>
                  <a:pt x="10056616" y="50817"/>
                </a:cubicBezTo>
                <a:cubicBezTo>
                  <a:pt x="10056616" y="34648"/>
                  <a:pt x="10069321" y="21945"/>
                  <a:pt x="10085490" y="21945"/>
                </a:cubicBezTo>
                <a:close/>
                <a:moveTo>
                  <a:pt x="9247008" y="21945"/>
                </a:moveTo>
                <a:cubicBezTo>
                  <a:pt x="9263177" y="21945"/>
                  <a:pt x="9275881" y="34648"/>
                  <a:pt x="9275881" y="50817"/>
                </a:cubicBezTo>
                <a:cubicBezTo>
                  <a:pt x="9275881" y="66986"/>
                  <a:pt x="9263177" y="80846"/>
                  <a:pt x="9247008" y="80846"/>
                </a:cubicBezTo>
                <a:cubicBezTo>
                  <a:pt x="9230839" y="80846"/>
                  <a:pt x="9218134" y="65832"/>
                  <a:pt x="9218134" y="50817"/>
                </a:cubicBezTo>
                <a:cubicBezTo>
                  <a:pt x="9218134" y="35804"/>
                  <a:pt x="9230839" y="21945"/>
                  <a:pt x="9247008" y="21945"/>
                </a:cubicBezTo>
                <a:close/>
                <a:moveTo>
                  <a:pt x="8972685" y="21945"/>
                </a:moveTo>
                <a:cubicBezTo>
                  <a:pt x="8988854" y="21945"/>
                  <a:pt x="9001557" y="34648"/>
                  <a:pt x="9001557" y="50817"/>
                </a:cubicBezTo>
                <a:cubicBezTo>
                  <a:pt x="9001557" y="66986"/>
                  <a:pt x="8988854" y="79691"/>
                  <a:pt x="8972685" y="79691"/>
                </a:cubicBezTo>
                <a:cubicBezTo>
                  <a:pt x="8956515" y="79691"/>
                  <a:pt x="8943811" y="66986"/>
                  <a:pt x="8943811" y="50817"/>
                </a:cubicBezTo>
                <a:cubicBezTo>
                  <a:pt x="8943811" y="34648"/>
                  <a:pt x="8956515" y="21945"/>
                  <a:pt x="8972685" y="21945"/>
                </a:cubicBezTo>
                <a:close/>
                <a:moveTo>
                  <a:pt x="8134203" y="21945"/>
                </a:moveTo>
                <a:cubicBezTo>
                  <a:pt x="8150373" y="21945"/>
                  <a:pt x="8163075" y="34648"/>
                  <a:pt x="8163075" y="50817"/>
                </a:cubicBezTo>
                <a:cubicBezTo>
                  <a:pt x="8163075" y="66986"/>
                  <a:pt x="8150373" y="79691"/>
                  <a:pt x="8134203" y="79691"/>
                </a:cubicBezTo>
                <a:cubicBezTo>
                  <a:pt x="8118034" y="79691"/>
                  <a:pt x="8105330" y="66986"/>
                  <a:pt x="8105330" y="50817"/>
                </a:cubicBezTo>
                <a:cubicBezTo>
                  <a:pt x="8105330" y="34648"/>
                  <a:pt x="8118034" y="21945"/>
                  <a:pt x="8134203" y="21945"/>
                </a:cubicBezTo>
                <a:close/>
                <a:moveTo>
                  <a:pt x="6598140" y="21945"/>
                </a:moveTo>
                <a:cubicBezTo>
                  <a:pt x="6613155" y="21945"/>
                  <a:pt x="6627013" y="34648"/>
                  <a:pt x="6627013" y="50817"/>
                </a:cubicBezTo>
                <a:cubicBezTo>
                  <a:pt x="6627013" y="66986"/>
                  <a:pt x="6614309" y="79691"/>
                  <a:pt x="6598140" y="79691"/>
                </a:cubicBezTo>
                <a:cubicBezTo>
                  <a:pt x="6581971" y="79691"/>
                  <a:pt x="6569267" y="66986"/>
                  <a:pt x="6569267" y="50817"/>
                </a:cubicBezTo>
                <a:cubicBezTo>
                  <a:pt x="6569267" y="34648"/>
                  <a:pt x="6581971" y="21945"/>
                  <a:pt x="6598140" y="21945"/>
                </a:cubicBezTo>
                <a:close/>
                <a:moveTo>
                  <a:pt x="5480165" y="21945"/>
                </a:moveTo>
                <a:cubicBezTo>
                  <a:pt x="5496333" y="21945"/>
                  <a:pt x="5509037" y="34648"/>
                  <a:pt x="5509037" y="50817"/>
                </a:cubicBezTo>
                <a:cubicBezTo>
                  <a:pt x="5509037" y="66986"/>
                  <a:pt x="5496333" y="79691"/>
                  <a:pt x="5480165" y="79691"/>
                </a:cubicBezTo>
                <a:cubicBezTo>
                  <a:pt x="5463996" y="79691"/>
                  <a:pt x="5451289" y="66986"/>
                  <a:pt x="5451289" y="50817"/>
                </a:cubicBezTo>
                <a:cubicBezTo>
                  <a:pt x="5451289" y="34648"/>
                  <a:pt x="5463996" y="21945"/>
                  <a:pt x="5480165" y="21945"/>
                </a:cubicBezTo>
                <a:close/>
                <a:moveTo>
                  <a:pt x="4641682" y="21945"/>
                </a:moveTo>
                <a:cubicBezTo>
                  <a:pt x="4657851" y="21945"/>
                  <a:pt x="4670555" y="34648"/>
                  <a:pt x="4670555" y="50817"/>
                </a:cubicBezTo>
                <a:cubicBezTo>
                  <a:pt x="4670555" y="66986"/>
                  <a:pt x="4657851" y="79691"/>
                  <a:pt x="4641682" y="79691"/>
                </a:cubicBezTo>
                <a:cubicBezTo>
                  <a:pt x="4625513" y="79691"/>
                  <a:pt x="4612809" y="66986"/>
                  <a:pt x="4612809" y="50817"/>
                </a:cubicBezTo>
                <a:cubicBezTo>
                  <a:pt x="4612809" y="34648"/>
                  <a:pt x="4625513" y="21945"/>
                  <a:pt x="4641682" y="21945"/>
                </a:cubicBezTo>
                <a:close/>
                <a:moveTo>
                  <a:pt x="4359878" y="21945"/>
                </a:moveTo>
                <a:cubicBezTo>
                  <a:pt x="4376046" y="21945"/>
                  <a:pt x="4388751" y="34648"/>
                  <a:pt x="4388751" y="50817"/>
                </a:cubicBezTo>
                <a:cubicBezTo>
                  <a:pt x="4388751" y="66986"/>
                  <a:pt x="4376046" y="79691"/>
                  <a:pt x="4359878" y="79691"/>
                </a:cubicBezTo>
                <a:cubicBezTo>
                  <a:pt x="4343709" y="79691"/>
                  <a:pt x="4331004" y="66986"/>
                  <a:pt x="4331004" y="50817"/>
                </a:cubicBezTo>
                <a:cubicBezTo>
                  <a:pt x="4331004" y="34648"/>
                  <a:pt x="4343709" y="21945"/>
                  <a:pt x="4359878" y="21945"/>
                </a:cubicBezTo>
                <a:close/>
                <a:moveTo>
                  <a:pt x="3521396" y="21945"/>
                </a:moveTo>
                <a:cubicBezTo>
                  <a:pt x="3537564" y="21945"/>
                  <a:pt x="3550268" y="34648"/>
                  <a:pt x="3550268" y="50817"/>
                </a:cubicBezTo>
                <a:cubicBezTo>
                  <a:pt x="3550268" y="66986"/>
                  <a:pt x="3537564" y="79691"/>
                  <a:pt x="3521396" y="79691"/>
                </a:cubicBezTo>
                <a:cubicBezTo>
                  <a:pt x="3505226" y="79691"/>
                  <a:pt x="3492521" y="66986"/>
                  <a:pt x="3492521" y="50817"/>
                </a:cubicBezTo>
                <a:cubicBezTo>
                  <a:pt x="3492521" y="34648"/>
                  <a:pt x="3505226" y="21945"/>
                  <a:pt x="3521396" y="21945"/>
                </a:cubicBezTo>
                <a:close/>
                <a:moveTo>
                  <a:pt x="1985333" y="21945"/>
                </a:moveTo>
                <a:cubicBezTo>
                  <a:pt x="2000346" y="21945"/>
                  <a:pt x="2014205" y="34648"/>
                  <a:pt x="2014205" y="50817"/>
                </a:cubicBezTo>
                <a:cubicBezTo>
                  <a:pt x="2014205" y="66986"/>
                  <a:pt x="2001502" y="79691"/>
                  <a:pt x="1985333" y="79691"/>
                </a:cubicBezTo>
                <a:cubicBezTo>
                  <a:pt x="1969164" y="79691"/>
                  <a:pt x="1956459" y="66986"/>
                  <a:pt x="1956459" y="50817"/>
                </a:cubicBezTo>
                <a:cubicBezTo>
                  <a:pt x="1956459" y="34648"/>
                  <a:pt x="1969164" y="21945"/>
                  <a:pt x="1985333" y="21945"/>
                </a:cubicBezTo>
                <a:close/>
                <a:moveTo>
                  <a:pt x="867356" y="21945"/>
                </a:moveTo>
                <a:cubicBezTo>
                  <a:pt x="883525" y="21945"/>
                  <a:pt x="896229" y="35804"/>
                  <a:pt x="896229" y="51973"/>
                </a:cubicBezTo>
                <a:cubicBezTo>
                  <a:pt x="896229" y="68142"/>
                  <a:pt x="883525" y="80846"/>
                  <a:pt x="867356" y="80846"/>
                </a:cubicBezTo>
                <a:cubicBezTo>
                  <a:pt x="851187" y="80846"/>
                  <a:pt x="838482" y="66986"/>
                  <a:pt x="838482" y="50817"/>
                </a:cubicBezTo>
                <a:cubicBezTo>
                  <a:pt x="838482" y="34648"/>
                  <a:pt x="851187" y="21945"/>
                  <a:pt x="867356" y="21945"/>
                </a:cubicBezTo>
                <a:close/>
                <a:moveTo>
                  <a:pt x="28874" y="21945"/>
                </a:moveTo>
                <a:cubicBezTo>
                  <a:pt x="45043" y="21945"/>
                  <a:pt x="57747" y="34648"/>
                  <a:pt x="57747" y="50817"/>
                </a:cubicBezTo>
                <a:cubicBezTo>
                  <a:pt x="57747" y="66986"/>
                  <a:pt x="45043" y="80846"/>
                  <a:pt x="28874" y="80846"/>
                </a:cubicBezTo>
                <a:cubicBezTo>
                  <a:pt x="12705" y="80846"/>
                  <a:pt x="0" y="65832"/>
                  <a:pt x="0" y="50817"/>
                </a:cubicBezTo>
                <a:cubicBezTo>
                  <a:pt x="0" y="35804"/>
                  <a:pt x="12705" y="21945"/>
                  <a:pt x="28874" y="21945"/>
                </a:cubicBezTo>
                <a:close/>
                <a:moveTo>
                  <a:pt x="11063719" y="16169"/>
                </a:moveTo>
                <a:cubicBezTo>
                  <a:pt x="11082198" y="16169"/>
                  <a:pt x="11098367" y="32338"/>
                  <a:pt x="11098367" y="50817"/>
                </a:cubicBezTo>
                <a:cubicBezTo>
                  <a:pt x="11098367" y="69296"/>
                  <a:pt x="11083353" y="85465"/>
                  <a:pt x="11063719" y="85465"/>
                </a:cubicBezTo>
                <a:cubicBezTo>
                  <a:pt x="11045240" y="85465"/>
                  <a:pt x="11029071" y="69296"/>
                  <a:pt x="11029071" y="50817"/>
                </a:cubicBezTo>
                <a:cubicBezTo>
                  <a:pt x="11029071" y="32338"/>
                  <a:pt x="11044086" y="16169"/>
                  <a:pt x="11063719" y="16169"/>
                </a:cubicBezTo>
                <a:close/>
                <a:moveTo>
                  <a:pt x="9945743" y="16169"/>
                </a:moveTo>
                <a:cubicBezTo>
                  <a:pt x="9965377" y="16169"/>
                  <a:pt x="9980391" y="32338"/>
                  <a:pt x="9980391" y="50817"/>
                </a:cubicBezTo>
                <a:cubicBezTo>
                  <a:pt x="9980391" y="69296"/>
                  <a:pt x="9964222" y="85465"/>
                  <a:pt x="9945743" y="85465"/>
                </a:cubicBezTo>
                <a:cubicBezTo>
                  <a:pt x="9927264" y="85465"/>
                  <a:pt x="9911094" y="69296"/>
                  <a:pt x="9911094" y="50817"/>
                </a:cubicBezTo>
                <a:cubicBezTo>
                  <a:pt x="9911094" y="32338"/>
                  <a:pt x="9926109" y="16169"/>
                  <a:pt x="9945743" y="16169"/>
                </a:cubicBezTo>
                <a:close/>
                <a:moveTo>
                  <a:pt x="9386754" y="16169"/>
                </a:moveTo>
                <a:cubicBezTo>
                  <a:pt x="9406389" y="16169"/>
                  <a:pt x="9421402" y="32338"/>
                  <a:pt x="9421402" y="50817"/>
                </a:cubicBezTo>
                <a:cubicBezTo>
                  <a:pt x="9421402" y="69296"/>
                  <a:pt x="9405233" y="85465"/>
                  <a:pt x="9386754" y="85465"/>
                </a:cubicBezTo>
                <a:cubicBezTo>
                  <a:pt x="9368275" y="85465"/>
                  <a:pt x="9352106" y="69296"/>
                  <a:pt x="9352106" y="50817"/>
                </a:cubicBezTo>
                <a:cubicBezTo>
                  <a:pt x="9352106" y="32338"/>
                  <a:pt x="9367121" y="16169"/>
                  <a:pt x="9386754" y="16169"/>
                </a:cubicBezTo>
                <a:close/>
                <a:moveTo>
                  <a:pt x="8832937" y="16169"/>
                </a:moveTo>
                <a:cubicBezTo>
                  <a:pt x="8852571" y="16169"/>
                  <a:pt x="8867585" y="32338"/>
                  <a:pt x="8867585" y="50817"/>
                </a:cubicBezTo>
                <a:cubicBezTo>
                  <a:pt x="8867585" y="69296"/>
                  <a:pt x="8852571" y="85465"/>
                  <a:pt x="8832937" y="85465"/>
                </a:cubicBezTo>
                <a:cubicBezTo>
                  <a:pt x="8814458" y="85465"/>
                  <a:pt x="8798289" y="69296"/>
                  <a:pt x="8798289" y="50817"/>
                </a:cubicBezTo>
                <a:cubicBezTo>
                  <a:pt x="8798289" y="32338"/>
                  <a:pt x="8813304" y="16169"/>
                  <a:pt x="8832937" y="16169"/>
                </a:cubicBezTo>
                <a:close/>
                <a:moveTo>
                  <a:pt x="8273949" y="16169"/>
                </a:moveTo>
                <a:cubicBezTo>
                  <a:pt x="8293584" y="16169"/>
                  <a:pt x="8308598" y="32338"/>
                  <a:pt x="8308598" y="50817"/>
                </a:cubicBezTo>
                <a:cubicBezTo>
                  <a:pt x="8308598" y="69296"/>
                  <a:pt x="8293584" y="85465"/>
                  <a:pt x="8273949" y="85465"/>
                </a:cubicBezTo>
                <a:cubicBezTo>
                  <a:pt x="8255471" y="85465"/>
                  <a:pt x="8239301" y="69296"/>
                  <a:pt x="8239301" y="50817"/>
                </a:cubicBezTo>
                <a:cubicBezTo>
                  <a:pt x="8239301" y="32338"/>
                  <a:pt x="8254316" y="16169"/>
                  <a:pt x="8273949" y="16169"/>
                </a:cubicBezTo>
                <a:close/>
                <a:moveTo>
                  <a:pt x="6458393" y="16169"/>
                </a:moveTo>
                <a:cubicBezTo>
                  <a:pt x="6476871" y="16169"/>
                  <a:pt x="6493041" y="32338"/>
                  <a:pt x="6493041" y="50817"/>
                </a:cubicBezTo>
                <a:cubicBezTo>
                  <a:pt x="6493041" y="69296"/>
                  <a:pt x="6476871" y="85465"/>
                  <a:pt x="6458393" y="85465"/>
                </a:cubicBezTo>
                <a:cubicBezTo>
                  <a:pt x="6439914" y="85465"/>
                  <a:pt x="6423745" y="69296"/>
                  <a:pt x="6423745" y="50817"/>
                </a:cubicBezTo>
                <a:cubicBezTo>
                  <a:pt x="6423745" y="32338"/>
                  <a:pt x="6438760" y="16169"/>
                  <a:pt x="6458393" y="16169"/>
                </a:cubicBezTo>
                <a:close/>
                <a:moveTo>
                  <a:pt x="5340416" y="16169"/>
                </a:moveTo>
                <a:cubicBezTo>
                  <a:pt x="5360051" y="16169"/>
                  <a:pt x="5375064" y="32338"/>
                  <a:pt x="5375064" y="50817"/>
                </a:cubicBezTo>
                <a:cubicBezTo>
                  <a:pt x="5375064" y="69296"/>
                  <a:pt x="5358895" y="85465"/>
                  <a:pt x="5340416" y="85465"/>
                </a:cubicBezTo>
                <a:cubicBezTo>
                  <a:pt x="5321939" y="85465"/>
                  <a:pt x="5305769" y="69296"/>
                  <a:pt x="5305769" y="50817"/>
                </a:cubicBezTo>
                <a:cubicBezTo>
                  <a:pt x="5305769" y="32338"/>
                  <a:pt x="5320783" y="16169"/>
                  <a:pt x="5340416" y="16169"/>
                </a:cubicBezTo>
                <a:close/>
                <a:moveTo>
                  <a:pt x="4781429" y="16169"/>
                </a:moveTo>
                <a:cubicBezTo>
                  <a:pt x="4801062" y="16169"/>
                  <a:pt x="4816075" y="32338"/>
                  <a:pt x="4816075" y="50817"/>
                </a:cubicBezTo>
                <a:cubicBezTo>
                  <a:pt x="4816075" y="69296"/>
                  <a:pt x="4799906" y="85465"/>
                  <a:pt x="4781429" y="85465"/>
                </a:cubicBezTo>
                <a:cubicBezTo>
                  <a:pt x="4762949" y="85465"/>
                  <a:pt x="4746781" y="69296"/>
                  <a:pt x="4746781" y="50817"/>
                </a:cubicBezTo>
                <a:cubicBezTo>
                  <a:pt x="4746781" y="32338"/>
                  <a:pt x="4761794" y="16169"/>
                  <a:pt x="4781429" y="16169"/>
                </a:cubicBezTo>
                <a:close/>
                <a:moveTo>
                  <a:pt x="4220129" y="16169"/>
                </a:moveTo>
                <a:cubicBezTo>
                  <a:pt x="4239764" y="16169"/>
                  <a:pt x="4254779" y="32338"/>
                  <a:pt x="4254779" y="50817"/>
                </a:cubicBezTo>
                <a:cubicBezTo>
                  <a:pt x="4254779" y="69296"/>
                  <a:pt x="4239764" y="85465"/>
                  <a:pt x="4220129" y="85465"/>
                </a:cubicBezTo>
                <a:cubicBezTo>
                  <a:pt x="4201651" y="85465"/>
                  <a:pt x="4185482" y="69296"/>
                  <a:pt x="4185482" y="50817"/>
                </a:cubicBezTo>
                <a:cubicBezTo>
                  <a:pt x="4185482" y="32338"/>
                  <a:pt x="4200498" y="16169"/>
                  <a:pt x="4220129" y="16169"/>
                </a:cubicBezTo>
                <a:close/>
                <a:moveTo>
                  <a:pt x="3661142" y="16169"/>
                </a:moveTo>
                <a:cubicBezTo>
                  <a:pt x="3680776" y="16169"/>
                  <a:pt x="3695791" y="32338"/>
                  <a:pt x="3695791" y="50817"/>
                </a:cubicBezTo>
                <a:cubicBezTo>
                  <a:pt x="3695791" y="69296"/>
                  <a:pt x="3680776" y="85465"/>
                  <a:pt x="3661142" y="85465"/>
                </a:cubicBezTo>
                <a:cubicBezTo>
                  <a:pt x="3642663" y="85465"/>
                  <a:pt x="3626494" y="69296"/>
                  <a:pt x="3626494" y="50817"/>
                </a:cubicBezTo>
                <a:cubicBezTo>
                  <a:pt x="3626494" y="32338"/>
                  <a:pt x="3641508" y="16169"/>
                  <a:pt x="3661142" y="16169"/>
                </a:cubicBezTo>
                <a:close/>
                <a:moveTo>
                  <a:pt x="1845585" y="16169"/>
                </a:moveTo>
                <a:cubicBezTo>
                  <a:pt x="1864064" y="16169"/>
                  <a:pt x="1880233" y="32338"/>
                  <a:pt x="1880233" y="50817"/>
                </a:cubicBezTo>
                <a:cubicBezTo>
                  <a:pt x="1880233" y="69296"/>
                  <a:pt x="1865220" y="85465"/>
                  <a:pt x="1845585" y="85465"/>
                </a:cubicBezTo>
                <a:cubicBezTo>
                  <a:pt x="1827106" y="85465"/>
                  <a:pt x="1810937" y="69296"/>
                  <a:pt x="1810937" y="50817"/>
                </a:cubicBezTo>
                <a:cubicBezTo>
                  <a:pt x="1810937" y="32338"/>
                  <a:pt x="1825952" y="16169"/>
                  <a:pt x="1845585" y="16169"/>
                </a:cubicBezTo>
                <a:close/>
                <a:moveTo>
                  <a:pt x="727609" y="16169"/>
                </a:moveTo>
                <a:cubicBezTo>
                  <a:pt x="747243" y="16169"/>
                  <a:pt x="762257" y="32338"/>
                  <a:pt x="762257" y="50817"/>
                </a:cubicBezTo>
                <a:cubicBezTo>
                  <a:pt x="762257" y="69296"/>
                  <a:pt x="746088" y="85465"/>
                  <a:pt x="727609" y="85465"/>
                </a:cubicBezTo>
                <a:cubicBezTo>
                  <a:pt x="709130" y="85465"/>
                  <a:pt x="692961" y="69296"/>
                  <a:pt x="692961" y="50817"/>
                </a:cubicBezTo>
                <a:cubicBezTo>
                  <a:pt x="692961" y="32338"/>
                  <a:pt x="707976" y="16169"/>
                  <a:pt x="727609" y="16169"/>
                </a:cubicBezTo>
                <a:close/>
                <a:moveTo>
                  <a:pt x="168621" y="16169"/>
                </a:moveTo>
                <a:cubicBezTo>
                  <a:pt x="188255" y="16169"/>
                  <a:pt x="203269" y="32338"/>
                  <a:pt x="203269" y="50817"/>
                </a:cubicBezTo>
                <a:cubicBezTo>
                  <a:pt x="203269" y="69296"/>
                  <a:pt x="187100" y="85465"/>
                  <a:pt x="168621" y="85465"/>
                </a:cubicBezTo>
                <a:cubicBezTo>
                  <a:pt x="150142" y="85465"/>
                  <a:pt x="133973" y="69296"/>
                  <a:pt x="133973" y="50817"/>
                </a:cubicBezTo>
                <a:cubicBezTo>
                  <a:pt x="133973" y="32338"/>
                  <a:pt x="148988" y="16169"/>
                  <a:pt x="168621" y="16169"/>
                </a:cubicBezTo>
                <a:close/>
                <a:moveTo>
                  <a:pt x="10923972" y="10395"/>
                </a:moveTo>
                <a:cubicBezTo>
                  <a:pt x="10945916" y="10395"/>
                  <a:pt x="10964394" y="28874"/>
                  <a:pt x="10964394" y="50817"/>
                </a:cubicBezTo>
                <a:cubicBezTo>
                  <a:pt x="10964394" y="72762"/>
                  <a:pt x="10945916" y="91241"/>
                  <a:pt x="10923972" y="91241"/>
                </a:cubicBezTo>
                <a:cubicBezTo>
                  <a:pt x="10902028" y="91241"/>
                  <a:pt x="10883549" y="72762"/>
                  <a:pt x="10883549" y="50817"/>
                </a:cubicBezTo>
                <a:cubicBezTo>
                  <a:pt x="10883549" y="28874"/>
                  <a:pt x="10902028" y="10395"/>
                  <a:pt x="10923972" y="10395"/>
                </a:cubicBezTo>
                <a:close/>
                <a:moveTo>
                  <a:pt x="9805996" y="10395"/>
                </a:moveTo>
                <a:cubicBezTo>
                  <a:pt x="9827939" y="10395"/>
                  <a:pt x="9846418" y="30029"/>
                  <a:pt x="9846418" y="51973"/>
                </a:cubicBezTo>
                <a:cubicBezTo>
                  <a:pt x="9846418" y="73916"/>
                  <a:pt x="9827939" y="92395"/>
                  <a:pt x="9805996" y="92395"/>
                </a:cubicBezTo>
                <a:cubicBezTo>
                  <a:pt x="9784052" y="92395"/>
                  <a:pt x="9765573" y="72762"/>
                  <a:pt x="9765573" y="50817"/>
                </a:cubicBezTo>
                <a:cubicBezTo>
                  <a:pt x="9765573" y="28874"/>
                  <a:pt x="9784052" y="10395"/>
                  <a:pt x="9805996" y="10395"/>
                </a:cubicBezTo>
                <a:close/>
                <a:moveTo>
                  <a:pt x="9526502" y="10395"/>
                </a:moveTo>
                <a:cubicBezTo>
                  <a:pt x="9548445" y="10395"/>
                  <a:pt x="9566924" y="30029"/>
                  <a:pt x="9566924" y="51973"/>
                </a:cubicBezTo>
                <a:cubicBezTo>
                  <a:pt x="9566924" y="73916"/>
                  <a:pt x="9548445" y="92395"/>
                  <a:pt x="9526502" y="92395"/>
                </a:cubicBezTo>
                <a:cubicBezTo>
                  <a:pt x="9504558" y="92395"/>
                  <a:pt x="9486079" y="72762"/>
                  <a:pt x="9486079" y="50817"/>
                </a:cubicBezTo>
                <a:cubicBezTo>
                  <a:pt x="9486079" y="28874"/>
                  <a:pt x="9504558" y="10395"/>
                  <a:pt x="9526502" y="10395"/>
                </a:cubicBezTo>
                <a:close/>
                <a:moveTo>
                  <a:pt x="8693190" y="10395"/>
                </a:moveTo>
                <a:cubicBezTo>
                  <a:pt x="8715134" y="10395"/>
                  <a:pt x="8733613" y="28874"/>
                  <a:pt x="8733613" y="50817"/>
                </a:cubicBezTo>
                <a:cubicBezTo>
                  <a:pt x="8733613" y="72762"/>
                  <a:pt x="8715134" y="91241"/>
                  <a:pt x="8693190" y="91241"/>
                </a:cubicBezTo>
                <a:cubicBezTo>
                  <a:pt x="8671246" y="91241"/>
                  <a:pt x="8652767" y="72762"/>
                  <a:pt x="8652767" y="50817"/>
                </a:cubicBezTo>
                <a:cubicBezTo>
                  <a:pt x="8652767" y="28874"/>
                  <a:pt x="8671246" y="10395"/>
                  <a:pt x="8693190" y="10395"/>
                </a:cubicBezTo>
                <a:close/>
                <a:moveTo>
                  <a:pt x="8413696" y="10395"/>
                </a:moveTo>
                <a:cubicBezTo>
                  <a:pt x="8435640" y="10395"/>
                  <a:pt x="8454118" y="28874"/>
                  <a:pt x="8454118" y="50817"/>
                </a:cubicBezTo>
                <a:cubicBezTo>
                  <a:pt x="8454118" y="72762"/>
                  <a:pt x="8435640" y="91241"/>
                  <a:pt x="8413696" y="91241"/>
                </a:cubicBezTo>
                <a:cubicBezTo>
                  <a:pt x="8391752" y="91241"/>
                  <a:pt x="8373274" y="72762"/>
                  <a:pt x="8373274" y="50817"/>
                </a:cubicBezTo>
                <a:cubicBezTo>
                  <a:pt x="8373274" y="28874"/>
                  <a:pt x="8391752" y="10395"/>
                  <a:pt x="8413696" y="10395"/>
                </a:cubicBezTo>
                <a:close/>
                <a:moveTo>
                  <a:pt x="6318647" y="10395"/>
                </a:moveTo>
                <a:cubicBezTo>
                  <a:pt x="6340589" y="10395"/>
                  <a:pt x="6359068" y="28874"/>
                  <a:pt x="6359068" y="50817"/>
                </a:cubicBezTo>
                <a:cubicBezTo>
                  <a:pt x="6359068" y="72762"/>
                  <a:pt x="6340589" y="91241"/>
                  <a:pt x="6318647" y="91241"/>
                </a:cubicBezTo>
                <a:cubicBezTo>
                  <a:pt x="6296702" y="91241"/>
                  <a:pt x="6278223" y="72762"/>
                  <a:pt x="6278223" y="50817"/>
                </a:cubicBezTo>
                <a:cubicBezTo>
                  <a:pt x="6278223" y="28874"/>
                  <a:pt x="6296702" y="10395"/>
                  <a:pt x="6318647" y="10395"/>
                </a:cubicBezTo>
                <a:close/>
                <a:moveTo>
                  <a:pt x="5200670" y="10395"/>
                </a:moveTo>
                <a:cubicBezTo>
                  <a:pt x="5222613" y="10395"/>
                  <a:pt x="5241093" y="28874"/>
                  <a:pt x="5241093" y="50817"/>
                </a:cubicBezTo>
                <a:cubicBezTo>
                  <a:pt x="5241093" y="72762"/>
                  <a:pt x="5222613" y="91241"/>
                  <a:pt x="5200670" y="91241"/>
                </a:cubicBezTo>
                <a:cubicBezTo>
                  <a:pt x="5178725" y="91241"/>
                  <a:pt x="5160247" y="72762"/>
                  <a:pt x="5160247" y="50817"/>
                </a:cubicBezTo>
                <a:cubicBezTo>
                  <a:pt x="5160247" y="28874"/>
                  <a:pt x="5178725" y="10395"/>
                  <a:pt x="5200670" y="10395"/>
                </a:cubicBezTo>
                <a:close/>
                <a:moveTo>
                  <a:pt x="4921176" y="10395"/>
                </a:moveTo>
                <a:cubicBezTo>
                  <a:pt x="4944275" y="10395"/>
                  <a:pt x="4961598" y="28874"/>
                  <a:pt x="4961598" y="50817"/>
                </a:cubicBezTo>
                <a:cubicBezTo>
                  <a:pt x="4961598" y="72762"/>
                  <a:pt x="4943120" y="91241"/>
                  <a:pt x="4921176" y="91241"/>
                </a:cubicBezTo>
                <a:cubicBezTo>
                  <a:pt x="4899233" y="91241"/>
                  <a:pt x="4880752" y="72762"/>
                  <a:pt x="4880752" y="50817"/>
                </a:cubicBezTo>
                <a:cubicBezTo>
                  <a:pt x="4880752" y="28874"/>
                  <a:pt x="4899233" y="10395"/>
                  <a:pt x="4921176" y="10395"/>
                </a:cubicBezTo>
                <a:close/>
                <a:moveTo>
                  <a:pt x="4080383" y="10395"/>
                </a:moveTo>
                <a:cubicBezTo>
                  <a:pt x="4102326" y="10395"/>
                  <a:pt x="4120806" y="28874"/>
                  <a:pt x="4120806" y="50817"/>
                </a:cubicBezTo>
                <a:cubicBezTo>
                  <a:pt x="4120806" y="72762"/>
                  <a:pt x="4102326" y="91241"/>
                  <a:pt x="4080383" y="91241"/>
                </a:cubicBezTo>
                <a:cubicBezTo>
                  <a:pt x="4058439" y="91241"/>
                  <a:pt x="4039961" y="72762"/>
                  <a:pt x="4039961" y="50817"/>
                </a:cubicBezTo>
                <a:cubicBezTo>
                  <a:pt x="4039961" y="28874"/>
                  <a:pt x="4058439" y="10395"/>
                  <a:pt x="4080383" y="10395"/>
                </a:cubicBezTo>
                <a:close/>
                <a:moveTo>
                  <a:pt x="3800889" y="10395"/>
                </a:moveTo>
                <a:cubicBezTo>
                  <a:pt x="3822833" y="10395"/>
                  <a:pt x="3841311" y="28874"/>
                  <a:pt x="3841311" y="50817"/>
                </a:cubicBezTo>
                <a:cubicBezTo>
                  <a:pt x="3841311" y="72762"/>
                  <a:pt x="3822833" y="91241"/>
                  <a:pt x="3800889" y="91241"/>
                </a:cubicBezTo>
                <a:cubicBezTo>
                  <a:pt x="3778945" y="91241"/>
                  <a:pt x="3760466" y="72762"/>
                  <a:pt x="3760466" y="50817"/>
                </a:cubicBezTo>
                <a:cubicBezTo>
                  <a:pt x="3760466" y="28874"/>
                  <a:pt x="3778945" y="10395"/>
                  <a:pt x="3800889" y="10395"/>
                </a:cubicBezTo>
                <a:close/>
                <a:moveTo>
                  <a:pt x="1705839" y="10395"/>
                </a:moveTo>
                <a:cubicBezTo>
                  <a:pt x="1727782" y="10395"/>
                  <a:pt x="1746261" y="28874"/>
                  <a:pt x="1746261" y="50817"/>
                </a:cubicBezTo>
                <a:cubicBezTo>
                  <a:pt x="1746261" y="72762"/>
                  <a:pt x="1727782" y="91241"/>
                  <a:pt x="1705839" y="91241"/>
                </a:cubicBezTo>
                <a:cubicBezTo>
                  <a:pt x="1683894" y="91241"/>
                  <a:pt x="1665415" y="72762"/>
                  <a:pt x="1665415" y="50817"/>
                </a:cubicBezTo>
                <a:cubicBezTo>
                  <a:pt x="1665415" y="28874"/>
                  <a:pt x="1683894" y="10395"/>
                  <a:pt x="1705839" y="10395"/>
                </a:cubicBezTo>
                <a:close/>
                <a:moveTo>
                  <a:pt x="587862" y="10395"/>
                </a:moveTo>
                <a:cubicBezTo>
                  <a:pt x="609806" y="10395"/>
                  <a:pt x="628284" y="30029"/>
                  <a:pt x="628284" y="51973"/>
                </a:cubicBezTo>
                <a:cubicBezTo>
                  <a:pt x="628284" y="73916"/>
                  <a:pt x="609806" y="92395"/>
                  <a:pt x="587862" y="92395"/>
                </a:cubicBezTo>
                <a:cubicBezTo>
                  <a:pt x="565918" y="92395"/>
                  <a:pt x="547439" y="72762"/>
                  <a:pt x="547439" y="50817"/>
                </a:cubicBezTo>
                <a:cubicBezTo>
                  <a:pt x="547439" y="28874"/>
                  <a:pt x="565918" y="10395"/>
                  <a:pt x="587862" y="10395"/>
                </a:cubicBezTo>
                <a:close/>
                <a:moveTo>
                  <a:pt x="308368" y="10395"/>
                </a:moveTo>
                <a:cubicBezTo>
                  <a:pt x="330311" y="10395"/>
                  <a:pt x="348790" y="30029"/>
                  <a:pt x="348790" y="51973"/>
                </a:cubicBezTo>
                <a:cubicBezTo>
                  <a:pt x="348790" y="73916"/>
                  <a:pt x="330311" y="92395"/>
                  <a:pt x="308368" y="92395"/>
                </a:cubicBezTo>
                <a:cubicBezTo>
                  <a:pt x="286424" y="92395"/>
                  <a:pt x="267945" y="72762"/>
                  <a:pt x="267945" y="50817"/>
                </a:cubicBezTo>
                <a:cubicBezTo>
                  <a:pt x="267945" y="28874"/>
                  <a:pt x="286424" y="10395"/>
                  <a:pt x="308368" y="10395"/>
                </a:cubicBezTo>
                <a:close/>
                <a:moveTo>
                  <a:pt x="10784225" y="0"/>
                </a:moveTo>
                <a:cubicBezTo>
                  <a:pt x="10811943" y="0"/>
                  <a:pt x="10835042" y="23099"/>
                  <a:pt x="10835042" y="50817"/>
                </a:cubicBezTo>
                <a:cubicBezTo>
                  <a:pt x="10835042" y="78536"/>
                  <a:pt x="10811943" y="101634"/>
                  <a:pt x="10784225" y="101634"/>
                </a:cubicBezTo>
                <a:cubicBezTo>
                  <a:pt x="10756506" y="101634"/>
                  <a:pt x="10733408" y="78536"/>
                  <a:pt x="10733408" y="50817"/>
                </a:cubicBezTo>
                <a:cubicBezTo>
                  <a:pt x="10733408" y="23099"/>
                  <a:pt x="10755352" y="0"/>
                  <a:pt x="10784225" y="0"/>
                </a:cubicBezTo>
                <a:close/>
                <a:moveTo>
                  <a:pt x="9666248" y="0"/>
                </a:moveTo>
                <a:cubicBezTo>
                  <a:pt x="9695122" y="0"/>
                  <a:pt x="9717066" y="23099"/>
                  <a:pt x="9717066" y="50817"/>
                </a:cubicBezTo>
                <a:cubicBezTo>
                  <a:pt x="9717066" y="78536"/>
                  <a:pt x="9695122" y="101634"/>
                  <a:pt x="9666248" y="101634"/>
                </a:cubicBezTo>
                <a:cubicBezTo>
                  <a:pt x="9638530" y="101634"/>
                  <a:pt x="9615431" y="78536"/>
                  <a:pt x="9615431" y="50817"/>
                </a:cubicBezTo>
                <a:cubicBezTo>
                  <a:pt x="9615431" y="23099"/>
                  <a:pt x="9637376" y="0"/>
                  <a:pt x="9666248" y="0"/>
                </a:cubicBezTo>
                <a:close/>
                <a:moveTo>
                  <a:pt x="8553443" y="0"/>
                </a:moveTo>
                <a:cubicBezTo>
                  <a:pt x="8582317" y="0"/>
                  <a:pt x="8604260" y="23099"/>
                  <a:pt x="8604260" y="50817"/>
                </a:cubicBezTo>
                <a:cubicBezTo>
                  <a:pt x="8604260" y="78536"/>
                  <a:pt x="8582317" y="101634"/>
                  <a:pt x="8553443" y="101634"/>
                </a:cubicBezTo>
                <a:cubicBezTo>
                  <a:pt x="8525724" y="101634"/>
                  <a:pt x="8502626" y="78536"/>
                  <a:pt x="8502626" y="50817"/>
                </a:cubicBezTo>
                <a:cubicBezTo>
                  <a:pt x="8502626" y="23099"/>
                  <a:pt x="8524570" y="0"/>
                  <a:pt x="8553443" y="0"/>
                </a:cubicBezTo>
                <a:close/>
                <a:moveTo>
                  <a:pt x="6178898" y="0"/>
                </a:moveTo>
                <a:cubicBezTo>
                  <a:pt x="6206618" y="0"/>
                  <a:pt x="6229715" y="23099"/>
                  <a:pt x="6229715" y="50817"/>
                </a:cubicBezTo>
                <a:cubicBezTo>
                  <a:pt x="6229715" y="78536"/>
                  <a:pt x="6206618" y="101634"/>
                  <a:pt x="6178898" y="101634"/>
                </a:cubicBezTo>
                <a:cubicBezTo>
                  <a:pt x="6151180" y="101634"/>
                  <a:pt x="6128081" y="78536"/>
                  <a:pt x="6128081" y="50817"/>
                </a:cubicBezTo>
                <a:cubicBezTo>
                  <a:pt x="6128081" y="23099"/>
                  <a:pt x="6150025" y="0"/>
                  <a:pt x="6178898" y="0"/>
                </a:cubicBezTo>
                <a:close/>
                <a:moveTo>
                  <a:pt x="5060922" y="0"/>
                </a:moveTo>
                <a:cubicBezTo>
                  <a:pt x="5089795" y="0"/>
                  <a:pt x="5111740" y="23099"/>
                  <a:pt x="5111740" y="50817"/>
                </a:cubicBezTo>
                <a:cubicBezTo>
                  <a:pt x="5111740" y="78536"/>
                  <a:pt x="5088641" y="101634"/>
                  <a:pt x="5060922" y="101634"/>
                </a:cubicBezTo>
                <a:cubicBezTo>
                  <a:pt x="5033205" y="101634"/>
                  <a:pt x="5010105" y="78536"/>
                  <a:pt x="5010105" y="50817"/>
                </a:cubicBezTo>
                <a:cubicBezTo>
                  <a:pt x="5010105" y="23099"/>
                  <a:pt x="5032050" y="0"/>
                  <a:pt x="5060922" y="0"/>
                </a:cubicBezTo>
                <a:close/>
                <a:moveTo>
                  <a:pt x="3940636" y="0"/>
                </a:moveTo>
                <a:cubicBezTo>
                  <a:pt x="3969510" y="0"/>
                  <a:pt x="3991453" y="23099"/>
                  <a:pt x="3991453" y="50817"/>
                </a:cubicBezTo>
                <a:cubicBezTo>
                  <a:pt x="3991453" y="78536"/>
                  <a:pt x="3969510" y="101634"/>
                  <a:pt x="3940636" y="101634"/>
                </a:cubicBezTo>
                <a:cubicBezTo>
                  <a:pt x="3912917" y="101634"/>
                  <a:pt x="3889819" y="78536"/>
                  <a:pt x="3889819" y="50817"/>
                </a:cubicBezTo>
                <a:cubicBezTo>
                  <a:pt x="3889819" y="23099"/>
                  <a:pt x="3911763" y="0"/>
                  <a:pt x="3940636" y="0"/>
                </a:cubicBezTo>
                <a:close/>
                <a:moveTo>
                  <a:pt x="1566091" y="0"/>
                </a:moveTo>
                <a:cubicBezTo>
                  <a:pt x="1593810" y="0"/>
                  <a:pt x="1616908" y="23099"/>
                  <a:pt x="1616908" y="50817"/>
                </a:cubicBezTo>
                <a:cubicBezTo>
                  <a:pt x="1616908" y="78536"/>
                  <a:pt x="1593810" y="101634"/>
                  <a:pt x="1566091" y="101634"/>
                </a:cubicBezTo>
                <a:cubicBezTo>
                  <a:pt x="1538373" y="101634"/>
                  <a:pt x="1515274" y="78536"/>
                  <a:pt x="1515274" y="50817"/>
                </a:cubicBezTo>
                <a:cubicBezTo>
                  <a:pt x="1515274" y="23099"/>
                  <a:pt x="1537218" y="0"/>
                  <a:pt x="1566091" y="0"/>
                </a:cubicBezTo>
                <a:close/>
                <a:moveTo>
                  <a:pt x="448115" y="0"/>
                </a:moveTo>
                <a:cubicBezTo>
                  <a:pt x="476989" y="0"/>
                  <a:pt x="498932" y="23099"/>
                  <a:pt x="498932" y="50817"/>
                </a:cubicBezTo>
                <a:cubicBezTo>
                  <a:pt x="498932" y="78536"/>
                  <a:pt x="476989" y="101634"/>
                  <a:pt x="448115" y="101634"/>
                </a:cubicBezTo>
                <a:cubicBezTo>
                  <a:pt x="420396" y="101634"/>
                  <a:pt x="397298" y="78536"/>
                  <a:pt x="397298" y="50817"/>
                </a:cubicBezTo>
                <a:cubicBezTo>
                  <a:pt x="397298" y="23099"/>
                  <a:pt x="419242" y="0"/>
                  <a:pt x="448115" y="0"/>
                </a:cubicBezTo>
                <a:close/>
              </a:path>
            </a:pathLst>
          </a:custGeom>
          <a:solidFill>
            <a:schemeClr val="bg2">
              <a:alpha val="6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80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6ADA1BA7-907A-4E97-A4F6-680B46BAF38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9FF8EAF3-C2F6-4FBF-9624-DF4126F149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6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95DE54-21C0-43B0-9905-251DE2365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396104D9-0E14-42F5-BF80-CBBDA60B0C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2" name="BR Logo">
            <a:extLst>
              <a:ext uri="{FF2B5EF4-FFF2-40B4-BE49-F238E27FC236}">
                <a16:creationId xmlns:a16="http://schemas.microsoft.com/office/drawing/2014/main" id="{75748516-AB73-2E4C-857A-91A82F0185A7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2CB4AE8E-5FB1-3E40-ADD7-6EB37C2BC40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5B10083-2319-8D40-A18C-FDD495BBDAF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4942377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ot Pattern">
            <a:extLst>
              <a:ext uri="{FF2B5EF4-FFF2-40B4-BE49-F238E27FC236}">
                <a16:creationId xmlns:a16="http://schemas.microsoft.com/office/drawing/2014/main" id="{DA43996F-8E19-4EA4-B1ED-A1F1955A3925}"/>
              </a:ext>
            </a:extLst>
          </p:cNvPr>
          <p:cNvSpPr/>
          <p:nvPr userDrawn="1"/>
        </p:nvSpPr>
        <p:spPr>
          <a:xfrm>
            <a:off x="-3082" y="4648002"/>
            <a:ext cx="12251873" cy="823468"/>
          </a:xfrm>
          <a:custGeom>
            <a:avLst/>
            <a:gdLst>
              <a:gd name="connsiteX0" fmla="*/ 12210569 w 12248682"/>
              <a:gd name="connsiteY0" fmla="*/ 753017 h 823468"/>
              <a:gd name="connsiteX1" fmla="*/ 12231358 w 12248682"/>
              <a:gd name="connsiteY1" fmla="*/ 773806 h 823468"/>
              <a:gd name="connsiteX2" fmla="*/ 12210569 w 12248682"/>
              <a:gd name="connsiteY2" fmla="*/ 794594 h 823468"/>
              <a:gd name="connsiteX3" fmla="*/ 12189780 w 12248682"/>
              <a:gd name="connsiteY3" fmla="*/ 773806 h 823468"/>
              <a:gd name="connsiteX4" fmla="*/ 12210569 w 12248682"/>
              <a:gd name="connsiteY4" fmla="*/ 753017 h 823468"/>
              <a:gd name="connsiteX5" fmla="*/ 12071977 w 12248682"/>
              <a:gd name="connsiteY5" fmla="*/ 753017 h 823468"/>
              <a:gd name="connsiteX6" fmla="*/ 12092766 w 12248682"/>
              <a:gd name="connsiteY6" fmla="*/ 773806 h 823468"/>
              <a:gd name="connsiteX7" fmla="*/ 12071977 w 12248682"/>
              <a:gd name="connsiteY7" fmla="*/ 794594 h 823468"/>
              <a:gd name="connsiteX8" fmla="*/ 12051188 w 12248682"/>
              <a:gd name="connsiteY8" fmla="*/ 773806 h 823468"/>
              <a:gd name="connsiteX9" fmla="*/ 12071977 w 12248682"/>
              <a:gd name="connsiteY9" fmla="*/ 753017 h 823468"/>
              <a:gd name="connsiteX10" fmla="*/ 11934539 w 12248682"/>
              <a:gd name="connsiteY10" fmla="*/ 753017 h 823468"/>
              <a:gd name="connsiteX11" fmla="*/ 11955328 w 12248682"/>
              <a:gd name="connsiteY11" fmla="*/ 773806 h 823468"/>
              <a:gd name="connsiteX12" fmla="*/ 11934539 w 12248682"/>
              <a:gd name="connsiteY12" fmla="*/ 794594 h 823468"/>
              <a:gd name="connsiteX13" fmla="*/ 11913750 w 12248682"/>
              <a:gd name="connsiteY13" fmla="*/ 773806 h 823468"/>
              <a:gd name="connsiteX14" fmla="*/ 11934539 w 12248682"/>
              <a:gd name="connsiteY14" fmla="*/ 753017 h 823468"/>
              <a:gd name="connsiteX15" fmla="*/ 11797103 w 12248682"/>
              <a:gd name="connsiteY15" fmla="*/ 753017 h 823468"/>
              <a:gd name="connsiteX16" fmla="*/ 11816736 w 12248682"/>
              <a:gd name="connsiteY16" fmla="*/ 773806 h 823468"/>
              <a:gd name="connsiteX17" fmla="*/ 11797103 w 12248682"/>
              <a:gd name="connsiteY17" fmla="*/ 794594 h 823468"/>
              <a:gd name="connsiteX18" fmla="*/ 11776314 w 12248682"/>
              <a:gd name="connsiteY18" fmla="*/ 773806 h 823468"/>
              <a:gd name="connsiteX19" fmla="*/ 11797103 w 12248682"/>
              <a:gd name="connsiteY19" fmla="*/ 753017 h 823468"/>
              <a:gd name="connsiteX20" fmla="*/ 10645633 w 12248682"/>
              <a:gd name="connsiteY20" fmla="*/ 753017 h 823468"/>
              <a:gd name="connsiteX21" fmla="*/ 10666422 w 12248682"/>
              <a:gd name="connsiteY21" fmla="*/ 773806 h 823468"/>
              <a:gd name="connsiteX22" fmla="*/ 10645633 w 12248682"/>
              <a:gd name="connsiteY22" fmla="*/ 794594 h 823468"/>
              <a:gd name="connsiteX23" fmla="*/ 10624844 w 12248682"/>
              <a:gd name="connsiteY23" fmla="*/ 773806 h 823468"/>
              <a:gd name="connsiteX24" fmla="*/ 10645633 w 12248682"/>
              <a:gd name="connsiteY24" fmla="*/ 753017 h 823468"/>
              <a:gd name="connsiteX25" fmla="*/ 9247008 w 12248682"/>
              <a:gd name="connsiteY25" fmla="*/ 753017 h 823468"/>
              <a:gd name="connsiteX26" fmla="*/ 9267797 w 12248682"/>
              <a:gd name="connsiteY26" fmla="*/ 773806 h 823468"/>
              <a:gd name="connsiteX27" fmla="*/ 9247008 w 12248682"/>
              <a:gd name="connsiteY27" fmla="*/ 794594 h 823468"/>
              <a:gd name="connsiteX28" fmla="*/ 9226219 w 12248682"/>
              <a:gd name="connsiteY28" fmla="*/ 773806 h 823468"/>
              <a:gd name="connsiteX29" fmla="*/ 9247008 w 12248682"/>
              <a:gd name="connsiteY29" fmla="*/ 753017 h 823468"/>
              <a:gd name="connsiteX30" fmla="*/ 8148062 w 12248682"/>
              <a:gd name="connsiteY30" fmla="*/ 753017 h 823468"/>
              <a:gd name="connsiteX31" fmla="*/ 8168851 w 12248682"/>
              <a:gd name="connsiteY31" fmla="*/ 773806 h 823468"/>
              <a:gd name="connsiteX32" fmla="*/ 8148062 w 12248682"/>
              <a:gd name="connsiteY32" fmla="*/ 794594 h 823468"/>
              <a:gd name="connsiteX33" fmla="*/ 8127274 w 12248682"/>
              <a:gd name="connsiteY33" fmla="*/ 773806 h 823468"/>
              <a:gd name="connsiteX34" fmla="*/ 8148062 w 12248682"/>
              <a:gd name="connsiteY34" fmla="*/ 753017 h 823468"/>
              <a:gd name="connsiteX35" fmla="*/ 8009471 w 12248682"/>
              <a:gd name="connsiteY35" fmla="*/ 753017 h 823468"/>
              <a:gd name="connsiteX36" fmla="*/ 8030259 w 12248682"/>
              <a:gd name="connsiteY36" fmla="*/ 773806 h 823468"/>
              <a:gd name="connsiteX37" fmla="*/ 8009471 w 12248682"/>
              <a:gd name="connsiteY37" fmla="*/ 794594 h 823468"/>
              <a:gd name="connsiteX38" fmla="*/ 7988682 w 12248682"/>
              <a:gd name="connsiteY38" fmla="*/ 773806 h 823468"/>
              <a:gd name="connsiteX39" fmla="*/ 8009471 w 12248682"/>
              <a:gd name="connsiteY39" fmla="*/ 753017 h 823468"/>
              <a:gd name="connsiteX40" fmla="*/ 7872031 w 12248682"/>
              <a:gd name="connsiteY40" fmla="*/ 753017 h 823468"/>
              <a:gd name="connsiteX41" fmla="*/ 7892822 w 12248682"/>
              <a:gd name="connsiteY41" fmla="*/ 773806 h 823468"/>
              <a:gd name="connsiteX42" fmla="*/ 7872031 w 12248682"/>
              <a:gd name="connsiteY42" fmla="*/ 794594 h 823468"/>
              <a:gd name="connsiteX43" fmla="*/ 7851244 w 12248682"/>
              <a:gd name="connsiteY43" fmla="*/ 773806 h 823468"/>
              <a:gd name="connsiteX44" fmla="*/ 7872031 w 12248682"/>
              <a:gd name="connsiteY44" fmla="*/ 753017 h 823468"/>
              <a:gd name="connsiteX45" fmla="*/ 7713807 w 12248682"/>
              <a:gd name="connsiteY45" fmla="*/ 753017 h 823468"/>
              <a:gd name="connsiteX46" fmla="*/ 7734596 w 12248682"/>
              <a:gd name="connsiteY46" fmla="*/ 773806 h 823468"/>
              <a:gd name="connsiteX47" fmla="*/ 7713807 w 12248682"/>
              <a:gd name="connsiteY47" fmla="*/ 794594 h 823468"/>
              <a:gd name="connsiteX48" fmla="*/ 7693019 w 12248682"/>
              <a:gd name="connsiteY48" fmla="*/ 773806 h 823468"/>
              <a:gd name="connsiteX49" fmla="*/ 7713807 w 12248682"/>
              <a:gd name="connsiteY49" fmla="*/ 753017 h 823468"/>
              <a:gd name="connsiteX50" fmla="*/ 7605244 w 12248682"/>
              <a:gd name="connsiteY50" fmla="*/ 753017 h 823468"/>
              <a:gd name="connsiteX51" fmla="*/ 7626031 w 12248682"/>
              <a:gd name="connsiteY51" fmla="*/ 773806 h 823468"/>
              <a:gd name="connsiteX52" fmla="*/ 7605244 w 12248682"/>
              <a:gd name="connsiteY52" fmla="*/ 794594 h 823468"/>
              <a:gd name="connsiteX53" fmla="*/ 7584454 w 12248682"/>
              <a:gd name="connsiteY53" fmla="*/ 773806 h 823468"/>
              <a:gd name="connsiteX54" fmla="*/ 7605244 w 12248682"/>
              <a:gd name="connsiteY54" fmla="*/ 753017 h 823468"/>
              <a:gd name="connsiteX55" fmla="*/ 7466651 w 12248682"/>
              <a:gd name="connsiteY55" fmla="*/ 753017 h 823468"/>
              <a:gd name="connsiteX56" fmla="*/ 7487439 w 12248682"/>
              <a:gd name="connsiteY56" fmla="*/ 773806 h 823468"/>
              <a:gd name="connsiteX57" fmla="*/ 7466651 w 12248682"/>
              <a:gd name="connsiteY57" fmla="*/ 794594 h 823468"/>
              <a:gd name="connsiteX58" fmla="*/ 7445863 w 12248682"/>
              <a:gd name="connsiteY58" fmla="*/ 773806 h 823468"/>
              <a:gd name="connsiteX59" fmla="*/ 7466651 w 12248682"/>
              <a:gd name="connsiteY59" fmla="*/ 753017 h 823468"/>
              <a:gd name="connsiteX60" fmla="*/ 7329213 w 12248682"/>
              <a:gd name="connsiteY60" fmla="*/ 753017 h 823468"/>
              <a:gd name="connsiteX61" fmla="*/ 7350002 w 12248682"/>
              <a:gd name="connsiteY61" fmla="*/ 773806 h 823468"/>
              <a:gd name="connsiteX62" fmla="*/ 7329213 w 12248682"/>
              <a:gd name="connsiteY62" fmla="*/ 794594 h 823468"/>
              <a:gd name="connsiteX63" fmla="*/ 7308425 w 12248682"/>
              <a:gd name="connsiteY63" fmla="*/ 773806 h 823468"/>
              <a:gd name="connsiteX64" fmla="*/ 7329213 w 12248682"/>
              <a:gd name="connsiteY64" fmla="*/ 753017 h 823468"/>
              <a:gd name="connsiteX65" fmla="*/ 7191777 w 12248682"/>
              <a:gd name="connsiteY65" fmla="*/ 753017 h 823468"/>
              <a:gd name="connsiteX66" fmla="*/ 7212566 w 12248682"/>
              <a:gd name="connsiteY66" fmla="*/ 773806 h 823468"/>
              <a:gd name="connsiteX67" fmla="*/ 7191777 w 12248682"/>
              <a:gd name="connsiteY67" fmla="*/ 794594 h 823468"/>
              <a:gd name="connsiteX68" fmla="*/ 7170987 w 12248682"/>
              <a:gd name="connsiteY68" fmla="*/ 773806 h 823468"/>
              <a:gd name="connsiteX69" fmla="*/ 7191777 w 12248682"/>
              <a:gd name="connsiteY69" fmla="*/ 753017 h 823468"/>
              <a:gd name="connsiteX70" fmla="*/ 6040307 w 12248682"/>
              <a:gd name="connsiteY70" fmla="*/ 753017 h 823468"/>
              <a:gd name="connsiteX71" fmla="*/ 6061095 w 12248682"/>
              <a:gd name="connsiteY71" fmla="*/ 773806 h 823468"/>
              <a:gd name="connsiteX72" fmla="*/ 6040307 w 12248682"/>
              <a:gd name="connsiteY72" fmla="*/ 794594 h 823468"/>
              <a:gd name="connsiteX73" fmla="*/ 6019518 w 12248682"/>
              <a:gd name="connsiteY73" fmla="*/ 773806 h 823468"/>
              <a:gd name="connsiteX74" fmla="*/ 6040307 w 12248682"/>
              <a:gd name="connsiteY74" fmla="*/ 753017 h 823468"/>
              <a:gd name="connsiteX75" fmla="*/ 4641682 w 12248682"/>
              <a:gd name="connsiteY75" fmla="*/ 753017 h 823468"/>
              <a:gd name="connsiteX76" fmla="*/ 4662471 w 12248682"/>
              <a:gd name="connsiteY76" fmla="*/ 773806 h 823468"/>
              <a:gd name="connsiteX77" fmla="*/ 4641682 w 12248682"/>
              <a:gd name="connsiteY77" fmla="*/ 794594 h 823468"/>
              <a:gd name="connsiteX78" fmla="*/ 4620893 w 12248682"/>
              <a:gd name="connsiteY78" fmla="*/ 773806 h 823468"/>
              <a:gd name="connsiteX79" fmla="*/ 4641682 w 12248682"/>
              <a:gd name="connsiteY79" fmla="*/ 753017 h 823468"/>
              <a:gd name="connsiteX80" fmla="*/ 3535254 w 12248682"/>
              <a:gd name="connsiteY80" fmla="*/ 753017 h 823468"/>
              <a:gd name="connsiteX81" fmla="*/ 3556043 w 12248682"/>
              <a:gd name="connsiteY81" fmla="*/ 773806 h 823468"/>
              <a:gd name="connsiteX82" fmla="*/ 3535254 w 12248682"/>
              <a:gd name="connsiteY82" fmla="*/ 794594 h 823468"/>
              <a:gd name="connsiteX83" fmla="*/ 3514466 w 12248682"/>
              <a:gd name="connsiteY83" fmla="*/ 773806 h 823468"/>
              <a:gd name="connsiteX84" fmla="*/ 3535254 w 12248682"/>
              <a:gd name="connsiteY84" fmla="*/ 753017 h 823468"/>
              <a:gd name="connsiteX85" fmla="*/ 3396662 w 12248682"/>
              <a:gd name="connsiteY85" fmla="*/ 753017 h 823468"/>
              <a:gd name="connsiteX86" fmla="*/ 3417451 w 12248682"/>
              <a:gd name="connsiteY86" fmla="*/ 773806 h 823468"/>
              <a:gd name="connsiteX87" fmla="*/ 3396662 w 12248682"/>
              <a:gd name="connsiteY87" fmla="*/ 794594 h 823468"/>
              <a:gd name="connsiteX88" fmla="*/ 3375874 w 12248682"/>
              <a:gd name="connsiteY88" fmla="*/ 773806 h 823468"/>
              <a:gd name="connsiteX89" fmla="*/ 3396662 w 12248682"/>
              <a:gd name="connsiteY89" fmla="*/ 753017 h 823468"/>
              <a:gd name="connsiteX90" fmla="*/ 3259224 w 12248682"/>
              <a:gd name="connsiteY90" fmla="*/ 753017 h 823468"/>
              <a:gd name="connsiteX91" fmla="*/ 3280013 w 12248682"/>
              <a:gd name="connsiteY91" fmla="*/ 773806 h 823468"/>
              <a:gd name="connsiteX92" fmla="*/ 3259224 w 12248682"/>
              <a:gd name="connsiteY92" fmla="*/ 794594 h 823468"/>
              <a:gd name="connsiteX93" fmla="*/ 3238436 w 12248682"/>
              <a:gd name="connsiteY93" fmla="*/ 773806 h 823468"/>
              <a:gd name="connsiteX94" fmla="*/ 3259224 w 12248682"/>
              <a:gd name="connsiteY94" fmla="*/ 753017 h 823468"/>
              <a:gd name="connsiteX95" fmla="*/ 3100999 w 12248682"/>
              <a:gd name="connsiteY95" fmla="*/ 753017 h 823468"/>
              <a:gd name="connsiteX96" fmla="*/ 3121789 w 12248682"/>
              <a:gd name="connsiteY96" fmla="*/ 773806 h 823468"/>
              <a:gd name="connsiteX97" fmla="*/ 3100999 w 12248682"/>
              <a:gd name="connsiteY97" fmla="*/ 794594 h 823468"/>
              <a:gd name="connsiteX98" fmla="*/ 3080212 w 12248682"/>
              <a:gd name="connsiteY98" fmla="*/ 773806 h 823468"/>
              <a:gd name="connsiteX99" fmla="*/ 3100999 w 12248682"/>
              <a:gd name="connsiteY99" fmla="*/ 753017 h 823468"/>
              <a:gd name="connsiteX100" fmla="*/ 2992435 w 12248682"/>
              <a:gd name="connsiteY100" fmla="*/ 753017 h 823468"/>
              <a:gd name="connsiteX101" fmla="*/ 3013224 w 12248682"/>
              <a:gd name="connsiteY101" fmla="*/ 773806 h 823468"/>
              <a:gd name="connsiteX102" fmla="*/ 2992435 w 12248682"/>
              <a:gd name="connsiteY102" fmla="*/ 794594 h 823468"/>
              <a:gd name="connsiteX103" fmla="*/ 2971647 w 12248682"/>
              <a:gd name="connsiteY103" fmla="*/ 773806 h 823468"/>
              <a:gd name="connsiteX104" fmla="*/ 2992435 w 12248682"/>
              <a:gd name="connsiteY104" fmla="*/ 753017 h 823468"/>
              <a:gd name="connsiteX105" fmla="*/ 2853843 w 12248682"/>
              <a:gd name="connsiteY105" fmla="*/ 753017 h 823468"/>
              <a:gd name="connsiteX106" fmla="*/ 2874633 w 12248682"/>
              <a:gd name="connsiteY106" fmla="*/ 773806 h 823468"/>
              <a:gd name="connsiteX107" fmla="*/ 2853843 w 12248682"/>
              <a:gd name="connsiteY107" fmla="*/ 794594 h 823468"/>
              <a:gd name="connsiteX108" fmla="*/ 2833056 w 12248682"/>
              <a:gd name="connsiteY108" fmla="*/ 773806 h 823468"/>
              <a:gd name="connsiteX109" fmla="*/ 2853843 w 12248682"/>
              <a:gd name="connsiteY109" fmla="*/ 753017 h 823468"/>
              <a:gd name="connsiteX110" fmla="*/ 2716405 w 12248682"/>
              <a:gd name="connsiteY110" fmla="*/ 753017 h 823468"/>
              <a:gd name="connsiteX111" fmla="*/ 2737195 w 12248682"/>
              <a:gd name="connsiteY111" fmla="*/ 773806 h 823468"/>
              <a:gd name="connsiteX112" fmla="*/ 2716405 w 12248682"/>
              <a:gd name="connsiteY112" fmla="*/ 794594 h 823468"/>
              <a:gd name="connsiteX113" fmla="*/ 2695618 w 12248682"/>
              <a:gd name="connsiteY113" fmla="*/ 773806 h 823468"/>
              <a:gd name="connsiteX114" fmla="*/ 2716405 w 12248682"/>
              <a:gd name="connsiteY114" fmla="*/ 753017 h 823468"/>
              <a:gd name="connsiteX115" fmla="*/ 2578969 w 12248682"/>
              <a:gd name="connsiteY115" fmla="*/ 753017 h 823468"/>
              <a:gd name="connsiteX116" fmla="*/ 2598602 w 12248682"/>
              <a:gd name="connsiteY116" fmla="*/ 773806 h 823468"/>
              <a:gd name="connsiteX117" fmla="*/ 2578969 w 12248682"/>
              <a:gd name="connsiteY117" fmla="*/ 794594 h 823468"/>
              <a:gd name="connsiteX118" fmla="*/ 2558180 w 12248682"/>
              <a:gd name="connsiteY118" fmla="*/ 773806 h 823468"/>
              <a:gd name="connsiteX119" fmla="*/ 2578969 w 12248682"/>
              <a:gd name="connsiteY119" fmla="*/ 753017 h 823468"/>
              <a:gd name="connsiteX120" fmla="*/ 1427499 w 12248682"/>
              <a:gd name="connsiteY120" fmla="*/ 753017 h 823468"/>
              <a:gd name="connsiteX121" fmla="*/ 1448288 w 12248682"/>
              <a:gd name="connsiteY121" fmla="*/ 773806 h 823468"/>
              <a:gd name="connsiteX122" fmla="*/ 1427499 w 12248682"/>
              <a:gd name="connsiteY122" fmla="*/ 794594 h 823468"/>
              <a:gd name="connsiteX123" fmla="*/ 1406710 w 12248682"/>
              <a:gd name="connsiteY123" fmla="*/ 773806 h 823468"/>
              <a:gd name="connsiteX124" fmla="*/ 1427499 w 12248682"/>
              <a:gd name="connsiteY124" fmla="*/ 753017 h 823468"/>
              <a:gd name="connsiteX125" fmla="*/ 28874 w 12248682"/>
              <a:gd name="connsiteY125" fmla="*/ 753017 h 823468"/>
              <a:gd name="connsiteX126" fmla="*/ 49663 w 12248682"/>
              <a:gd name="connsiteY126" fmla="*/ 773806 h 823468"/>
              <a:gd name="connsiteX127" fmla="*/ 28874 w 12248682"/>
              <a:gd name="connsiteY127" fmla="*/ 794594 h 823468"/>
              <a:gd name="connsiteX128" fmla="*/ 8085 w 12248682"/>
              <a:gd name="connsiteY128" fmla="*/ 773806 h 823468"/>
              <a:gd name="connsiteX129" fmla="*/ 28874 w 12248682"/>
              <a:gd name="connsiteY129" fmla="*/ 753017 h 823468"/>
              <a:gd name="connsiteX130" fmla="*/ 11658510 w 12248682"/>
              <a:gd name="connsiteY130" fmla="*/ 750707 h 823468"/>
              <a:gd name="connsiteX131" fmla="*/ 11681609 w 12248682"/>
              <a:gd name="connsiteY131" fmla="*/ 773806 h 823468"/>
              <a:gd name="connsiteX132" fmla="*/ 11658510 w 12248682"/>
              <a:gd name="connsiteY132" fmla="*/ 796904 h 823468"/>
              <a:gd name="connsiteX133" fmla="*/ 11635412 w 12248682"/>
              <a:gd name="connsiteY133" fmla="*/ 773806 h 823468"/>
              <a:gd name="connsiteX134" fmla="*/ 11658510 w 12248682"/>
              <a:gd name="connsiteY134" fmla="*/ 750707 h 823468"/>
              <a:gd name="connsiteX135" fmla="*/ 10508196 w 12248682"/>
              <a:gd name="connsiteY135" fmla="*/ 750707 h 823468"/>
              <a:gd name="connsiteX136" fmla="*/ 10531295 w 12248682"/>
              <a:gd name="connsiteY136" fmla="*/ 773806 h 823468"/>
              <a:gd name="connsiteX137" fmla="*/ 10508196 w 12248682"/>
              <a:gd name="connsiteY137" fmla="*/ 796904 h 823468"/>
              <a:gd name="connsiteX138" fmla="*/ 10485098 w 12248682"/>
              <a:gd name="connsiteY138" fmla="*/ 773806 h 823468"/>
              <a:gd name="connsiteX139" fmla="*/ 10508196 w 12248682"/>
              <a:gd name="connsiteY139" fmla="*/ 750707 h 823468"/>
              <a:gd name="connsiteX140" fmla="*/ 9405233 w 12248682"/>
              <a:gd name="connsiteY140" fmla="*/ 750707 h 823468"/>
              <a:gd name="connsiteX141" fmla="*/ 9428332 w 12248682"/>
              <a:gd name="connsiteY141" fmla="*/ 773806 h 823468"/>
              <a:gd name="connsiteX142" fmla="*/ 9405233 w 12248682"/>
              <a:gd name="connsiteY142" fmla="*/ 796904 h 823468"/>
              <a:gd name="connsiteX143" fmla="*/ 9382135 w 12248682"/>
              <a:gd name="connsiteY143" fmla="*/ 773806 h 823468"/>
              <a:gd name="connsiteX144" fmla="*/ 9405233 w 12248682"/>
              <a:gd name="connsiteY144" fmla="*/ 750707 h 823468"/>
              <a:gd name="connsiteX145" fmla="*/ 8285498 w 12248682"/>
              <a:gd name="connsiteY145" fmla="*/ 750707 h 823468"/>
              <a:gd name="connsiteX146" fmla="*/ 8308598 w 12248682"/>
              <a:gd name="connsiteY146" fmla="*/ 773806 h 823468"/>
              <a:gd name="connsiteX147" fmla="*/ 8285498 w 12248682"/>
              <a:gd name="connsiteY147" fmla="*/ 796904 h 823468"/>
              <a:gd name="connsiteX148" fmla="*/ 8262401 w 12248682"/>
              <a:gd name="connsiteY148" fmla="*/ 773806 h 823468"/>
              <a:gd name="connsiteX149" fmla="*/ 8285498 w 12248682"/>
              <a:gd name="connsiteY149" fmla="*/ 750707 h 823468"/>
              <a:gd name="connsiteX150" fmla="*/ 7053184 w 12248682"/>
              <a:gd name="connsiteY150" fmla="*/ 750707 h 823468"/>
              <a:gd name="connsiteX151" fmla="*/ 7076283 w 12248682"/>
              <a:gd name="connsiteY151" fmla="*/ 773806 h 823468"/>
              <a:gd name="connsiteX152" fmla="*/ 7053184 w 12248682"/>
              <a:gd name="connsiteY152" fmla="*/ 796904 h 823468"/>
              <a:gd name="connsiteX153" fmla="*/ 7030086 w 12248682"/>
              <a:gd name="connsiteY153" fmla="*/ 773806 h 823468"/>
              <a:gd name="connsiteX154" fmla="*/ 7053184 w 12248682"/>
              <a:gd name="connsiteY154" fmla="*/ 750707 h 823468"/>
              <a:gd name="connsiteX155" fmla="*/ 5902869 w 12248682"/>
              <a:gd name="connsiteY155" fmla="*/ 750707 h 823468"/>
              <a:gd name="connsiteX156" fmla="*/ 5925969 w 12248682"/>
              <a:gd name="connsiteY156" fmla="*/ 773806 h 823468"/>
              <a:gd name="connsiteX157" fmla="*/ 5902869 w 12248682"/>
              <a:gd name="connsiteY157" fmla="*/ 796904 h 823468"/>
              <a:gd name="connsiteX158" fmla="*/ 5879771 w 12248682"/>
              <a:gd name="connsiteY158" fmla="*/ 773806 h 823468"/>
              <a:gd name="connsiteX159" fmla="*/ 5902869 w 12248682"/>
              <a:gd name="connsiteY159" fmla="*/ 750707 h 823468"/>
              <a:gd name="connsiteX160" fmla="*/ 4799906 w 12248682"/>
              <a:gd name="connsiteY160" fmla="*/ 750707 h 823468"/>
              <a:gd name="connsiteX161" fmla="*/ 4823006 w 12248682"/>
              <a:gd name="connsiteY161" fmla="*/ 773806 h 823468"/>
              <a:gd name="connsiteX162" fmla="*/ 4799906 w 12248682"/>
              <a:gd name="connsiteY162" fmla="*/ 796904 h 823468"/>
              <a:gd name="connsiteX163" fmla="*/ 4776809 w 12248682"/>
              <a:gd name="connsiteY163" fmla="*/ 773806 h 823468"/>
              <a:gd name="connsiteX164" fmla="*/ 4799906 w 12248682"/>
              <a:gd name="connsiteY164" fmla="*/ 750707 h 823468"/>
              <a:gd name="connsiteX165" fmla="*/ 3672691 w 12248682"/>
              <a:gd name="connsiteY165" fmla="*/ 750707 h 823468"/>
              <a:gd name="connsiteX166" fmla="*/ 3695791 w 12248682"/>
              <a:gd name="connsiteY166" fmla="*/ 773806 h 823468"/>
              <a:gd name="connsiteX167" fmla="*/ 3672691 w 12248682"/>
              <a:gd name="connsiteY167" fmla="*/ 796904 h 823468"/>
              <a:gd name="connsiteX168" fmla="*/ 3649592 w 12248682"/>
              <a:gd name="connsiteY168" fmla="*/ 773806 h 823468"/>
              <a:gd name="connsiteX169" fmla="*/ 3672691 w 12248682"/>
              <a:gd name="connsiteY169" fmla="*/ 750707 h 823468"/>
              <a:gd name="connsiteX170" fmla="*/ 2440377 w 12248682"/>
              <a:gd name="connsiteY170" fmla="*/ 750707 h 823468"/>
              <a:gd name="connsiteX171" fmla="*/ 2463475 w 12248682"/>
              <a:gd name="connsiteY171" fmla="*/ 773806 h 823468"/>
              <a:gd name="connsiteX172" fmla="*/ 2440377 w 12248682"/>
              <a:gd name="connsiteY172" fmla="*/ 796904 h 823468"/>
              <a:gd name="connsiteX173" fmla="*/ 2417278 w 12248682"/>
              <a:gd name="connsiteY173" fmla="*/ 773806 h 823468"/>
              <a:gd name="connsiteX174" fmla="*/ 2440377 w 12248682"/>
              <a:gd name="connsiteY174" fmla="*/ 750707 h 823468"/>
              <a:gd name="connsiteX175" fmla="*/ 1290062 w 12248682"/>
              <a:gd name="connsiteY175" fmla="*/ 750707 h 823468"/>
              <a:gd name="connsiteX176" fmla="*/ 1313161 w 12248682"/>
              <a:gd name="connsiteY176" fmla="*/ 773806 h 823468"/>
              <a:gd name="connsiteX177" fmla="*/ 1290062 w 12248682"/>
              <a:gd name="connsiteY177" fmla="*/ 796904 h 823468"/>
              <a:gd name="connsiteX178" fmla="*/ 1266964 w 12248682"/>
              <a:gd name="connsiteY178" fmla="*/ 773806 h 823468"/>
              <a:gd name="connsiteX179" fmla="*/ 1290062 w 12248682"/>
              <a:gd name="connsiteY179" fmla="*/ 750707 h 823468"/>
              <a:gd name="connsiteX180" fmla="*/ 187100 w 12248682"/>
              <a:gd name="connsiteY180" fmla="*/ 750707 h 823468"/>
              <a:gd name="connsiteX181" fmla="*/ 210198 w 12248682"/>
              <a:gd name="connsiteY181" fmla="*/ 773806 h 823468"/>
              <a:gd name="connsiteX182" fmla="*/ 187100 w 12248682"/>
              <a:gd name="connsiteY182" fmla="*/ 796904 h 823468"/>
              <a:gd name="connsiteX183" fmla="*/ 164001 w 12248682"/>
              <a:gd name="connsiteY183" fmla="*/ 773806 h 823468"/>
              <a:gd name="connsiteX184" fmla="*/ 187100 w 12248682"/>
              <a:gd name="connsiteY184" fmla="*/ 750707 h 823468"/>
              <a:gd name="connsiteX185" fmla="*/ 11521073 w 12248682"/>
              <a:gd name="connsiteY185" fmla="*/ 744933 h 823468"/>
              <a:gd name="connsiteX186" fmla="*/ 11549947 w 12248682"/>
              <a:gd name="connsiteY186" fmla="*/ 773806 h 823468"/>
              <a:gd name="connsiteX187" fmla="*/ 11521073 w 12248682"/>
              <a:gd name="connsiteY187" fmla="*/ 802680 h 823468"/>
              <a:gd name="connsiteX188" fmla="*/ 11492200 w 12248682"/>
              <a:gd name="connsiteY188" fmla="*/ 773806 h 823468"/>
              <a:gd name="connsiteX189" fmla="*/ 11521073 w 12248682"/>
              <a:gd name="connsiteY189" fmla="*/ 744933 h 823468"/>
              <a:gd name="connsiteX190" fmla="*/ 10369604 w 12248682"/>
              <a:gd name="connsiteY190" fmla="*/ 744933 h 823468"/>
              <a:gd name="connsiteX191" fmla="*/ 10398477 w 12248682"/>
              <a:gd name="connsiteY191" fmla="*/ 773806 h 823468"/>
              <a:gd name="connsiteX192" fmla="*/ 10369604 w 12248682"/>
              <a:gd name="connsiteY192" fmla="*/ 802680 h 823468"/>
              <a:gd name="connsiteX193" fmla="*/ 10340730 w 12248682"/>
              <a:gd name="connsiteY193" fmla="*/ 773806 h 823468"/>
              <a:gd name="connsiteX194" fmla="*/ 10369604 w 12248682"/>
              <a:gd name="connsiteY194" fmla="*/ 744933 h 823468"/>
              <a:gd name="connsiteX195" fmla="*/ 9543825 w 12248682"/>
              <a:gd name="connsiteY195" fmla="*/ 744933 h 823468"/>
              <a:gd name="connsiteX196" fmla="*/ 9572699 w 12248682"/>
              <a:gd name="connsiteY196" fmla="*/ 773806 h 823468"/>
              <a:gd name="connsiteX197" fmla="*/ 9543825 w 12248682"/>
              <a:gd name="connsiteY197" fmla="*/ 802680 h 823468"/>
              <a:gd name="connsiteX198" fmla="*/ 9514953 w 12248682"/>
              <a:gd name="connsiteY198" fmla="*/ 773806 h 823468"/>
              <a:gd name="connsiteX199" fmla="*/ 9543825 w 12248682"/>
              <a:gd name="connsiteY199" fmla="*/ 744933 h 823468"/>
              <a:gd name="connsiteX200" fmla="*/ 8422936 w 12248682"/>
              <a:gd name="connsiteY200" fmla="*/ 744933 h 823468"/>
              <a:gd name="connsiteX201" fmla="*/ 8451809 w 12248682"/>
              <a:gd name="connsiteY201" fmla="*/ 773806 h 823468"/>
              <a:gd name="connsiteX202" fmla="*/ 8422936 w 12248682"/>
              <a:gd name="connsiteY202" fmla="*/ 802680 h 823468"/>
              <a:gd name="connsiteX203" fmla="*/ 8394062 w 12248682"/>
              <a:gd name="connsiteY203" fmla="*/ 773806 h 823468"/>
              <a:gd name="connsiteX204" fmla="*/ 8422936 w 12248682"/>
              <a:gd name="connsiteY204" fmla="*/ 744933 h 823468"/>
              <a:gd name="connsiteX205" fmla="*/ 6915746 w 12248682"/>
              <a:gd name="connsiteY205" fmla="*/ 744933 h 823468"/>
              <a:gd name="connsiteX206" fmla="*/ 6944621 w 12248682"/>
              <a:gd name="connsiteY206" fmla="*/ 773806 h 823468"/>
              <a:gd name="connsiteX207" fmla="*/ 6915746 w 12248682"/>
              <a:gd name="connsiteY207" fmla="*/ 802680 h 823468"/>
              <a:gd name="connsiteX208" fmla="*/ 6886873 w 12248682"/>
              <a:gd name="connsiteY208" fmla="*/ 773806 h 823468"/>
              <a:gd name="connsiteX209" fmla="*/ 6915746 w 12248682"/>
              <a:gd name="connsiteY209" fmla="*/ 744933 h 823468"/>
              <a:gd name="connsiteX210" fmla="*/ 5764278 w 12248682"/>
              <a:gd name="connsiteY210" fmla="*/ 744933 h 823468"/>
              <a:gd name="connsiteX211" fmla="*/ 5793151 w 12248682"/>
              <a:gd name="connsiteY211" fmla="*/ 773806 h 823468"/>
              <a:gd name="connsiteX212" fmla="*/ 5764278 w 12248682"/>
              <a:gd name="connsiteY212" fmla="*/ 802680 h 823468"/>
              <a:gd name="connsiteX213" fmla="*/ 5735405 w 12248682"/>
              <a:gd name="connsiteY213" fmla="*/ 773806 h 823468"/>
              <a:gd name="connsiteX214" fmla="*/ 5764278 w 12248682"/>
              <a:gd name="connsiteY214" fmla="*/ 744933 h 823468"/>
              <a:gd name="connsiteX215" fmla="*/ 4938500 w 12248682"/>
              <a:gd name="connsiteY215" fmla="*/ 744933 h 823468"/>
              <a:gd name="connsiteX216" fmla="*/ 4967373 w 12248682"/>
              <a:gd name="connsiteY216" fmla="*/ 773806 h 823468"/>
              <a:gd name="connsiteX217" fmla="*/ 4938500 w 12248682"/>
              <a:gd name="connsiteY217" fmla="*/ 802680 h 823468"/>
              <a:gd name="connsiteX218" fmla="*/ 4909627 w 12248682"/>
              <a:gd name="connsiteY218" fmla="*/ 773806 h 823468"/>
              <a:gd name="connsiteX219" fmla="*/ 4938500 w 12248682"/>
              <a:gd name="connsiteY219" fmla="*/ 744933 h 823468"/>
              <a:gd name="connsiteX220" fmla="*/ 3810129 w 12248682"/>
              <a:gd name="connsiteY220" fmla="*/ 744933 h 823468"/>
              <a:gd name="connsiteX221" fmla="*/ 3839002 w 12248682"/>
              <a:gd name="connsiteY221" fmla="*/ 773806 h 823468"/>
              <a:gd name="connsiteX222" fmla="*/ 3810129 w 12248682"/>
              <a:gd name="connsiteY222" fmla="*/ 802680 h 823468"/>
              <a:gd name="connsiteX223" fmla="*/ 3781255 w 12248682"/>
              <a:gd name="connsiteY223" fmla="*/ 773806 h 823468"/>
              <a:gd name="connsiteX224" fmla="*/ 3810129 w 12248682"/>
              <a:gd name="connsiteY224" fmla="*/ 744933 h 823468"/>
              <a:gd name="connsiteX225" fmla="*/ 2302939 w 12248682"/>
              <a:gd name="connsiteY225" fmla="*/ 744933 h 823468"/>
              <a:gd name="connsiteX226" fmla="*/ 2331813 w 12248682"/>
              <a:gd name="connsiteY226" fmla="*/ 773806 h 823468"/>
              <a:gd name="connsiteX227" fmla="*/ 2302939 w 12248682"/>
              <a:gd name="connsiteY227" fmla="*/ 802680 h 823468"/>
              <a:gd name="connsiteX228" fmla="*/ 2274067 w 12248682"/>
              <a:gd name="connsiteY228" fmla="*/ 773806 h 823468"/>
              <a:gd name="connsiteX229" fmla="*/ 2302939 w 12248682"/>
              <a:gd name="connsiteY229" fmla="*/ 744933 h 823468"/>
              <a:gd name="connsiteX230" fmla="*/ 1151470 w 12248682"/>
              <a:gd name="connsiteY230" fmla="*/ 744933 h 823468"/>
              <a:gd name="connsiteX231" fmla="*/ 1180343 w 12248682"/>
              <a:gd name="connsiteY231" fmla="*/ 773806 h 823468"/>
              <a:gd name="connsiteX232" fmla="*/ 1151470 w 12248682"/>
              <a:gd name="connsiteY232" fmla="*/ 802680 h 823468"/>
              <a:gd name="connsiteX233" fmla="*/ 1122596 w 12248682"/>
              <a:gd name="connsiteY233" fmla="*/ 773806 h 823468"/>
              <a:gd name="connsiteX234" fmla="*/ 1151470 w 12248682"/>
              <a:gd name="connsiteY234" fmla="*/ 744933 h 823468"/>
              <a:gd name="connsiteX235" fmla="*/ 325692 w 12248682"/>
              <a:gd name="connsiteY235" fmla="*/ 744933 h 823468"/>
              <a:gd name="connsiteX236" fmla="*/ 354566 w 12248682"/>
              <a:gd name="connsiteY236" fmla="*/ 773806 h 823468"/>
              <a:gd name="connsiteX237" fmla="*/ 325692 w 12248682"/>
              <a:gd name="connsiteY237" fmla="*/ 802680 h 823468"/>
              <a:gd name="connsiteX238" fmla="*/ 296819 w 12248682"/>
              <a:gd name="connsiteY238" fmla="*/ 773806 h 823468"/>
              <a:gd name="connsiteX239" fmla="*/ 325692 w 12248682"/>
              <a:gd name="connsiteY239" fmla="*/ 744933 h 823468"/>
              <a:gd name="connsiteX240" fmla="*/ 11383636 w 12248682"/>
              <a:gd name="connsiteY240" fmla="*/ 739158 h 823468"/>
              <a:gd name="connsiteX241" fmla="*/ 11418284 w 12248682"/>
              <a:gd name="connsiteY241" fmla="*/ 773806 h 823468"/>
              <a:gd name="connsiteX242" fmla="*/ 11383636 w 12248682"/>
              <a:gd name="connsiteY242" fmla="*/ 808454 h 823468"/>
              <a:gd name="connsiteX243" fmla="*/ 11348988 w 12248682"/>
              <a:gd name="connsiteY243" fmla="*/ 773806 h 823468"/>
              <a:gd name="connsiteX244" fmla="*/ 11383636 w 12248682"/>
              <a:gd name="connsiteY244" fmla="*/ 739158 h 823468"/>
              <a:gd name="connsiteX245" fmla="*/ 10811943 w 12248682"/>
              <a:gd name="connsiteY245" fmla="*/ 739158 h 823468"/>
              <a:gd name="connsiteX246" fmla="*/ 10846591 w 12248682"/>
              <a:gd name="connsiteY246" fmla="*/ 773806 h 823468"/>
              <a:gd name="connsiteX247" fmla="*/ 10811943 w 12248682"/>
              <a:gd name="connsiteY247" fmla="*/ 808454 h 823468"/>
              <a:gd name="connsiteX248" fmla="*/ 10777295 w 12248682"/>
              <a:gd name="connsiteY248" fmla="*/ 773806 h 823468"/>
              <a:gd name="connsiteX249" fmla="*/ 10811943 w 12248682"/>
              <a:gd name="connsiteY249" fmla="*/ 739158 h 823468"/>
              <a:gd name="connsiteX250" fmla="*/ 10232166 w 12248682"/>
              <a:gd name="connsiteY250" fmla="*/ 739158 h 823468"/>
              <a:gd name="connsiteX251" fmla="*/ 10266814 w 12248682"/>
              <a:gd name="connsiteY251" fmla="*/ 773806 h 823468"/>
              <a:gd name="connsiteX252" fmla="*/ 10232166 w 12248682"/>
              <a:gd name="connsiteY252" fmla="*/ 808454 h 823468"/>
              <a:gd name="connsiteX253" fmla="*/ 10197518 w 12248682"/>
              <a:gd name="connsiteY253" fmla="*/ 773806 h 823468"/>
              <a:gd name="connsiteX254" fmla="*/ 10232166 w 12248682"/>
              <a:gd name="connsiteY254" fmla="*/ 739158 h 823468"/>
              <a:gd name="connsiteX255" fmla="*/ 9681263 w 12248682"/>
              <a:gd name="connsiteY255" fmla="*/ 739158 h 823468"/>
              <a:gd name="connsiteX256" fmla="*/ 9715911 w 12248682"/>
              <a:gd name="connsiteY256" fmla="*/ 773806 h 823468"/>
              <a:gd name="connsiteX257" fmla="*/ 9681263 w 12248682"/>
              <a:gd name="connsiteY257" fmla="*/ 808454 h 823468"/>
              <a:gd name="connsiteX258" fmla="*/ 9646615 w 12248682"/>
              <a:gd name="connsiteY258" fmla="*/ 773806 h 823468"/>
              <a:gd name="connsiteX259" fmla="*/ 9681263 w 12248682"/>
              <a:gd name="connsiteY259" fmla="*/ 739158 h 823468"/>
              <a:gd name="connsiteX260" fmla="*/ 9112431 w 12248682"/>
              <a:gd name="connsiteY260" fmla="*/ 739158 h 823468"/>
              <a:gd name="connsiteX261" fmla="*/ 9147079 w 12248682"/>
              <a:gd name="connsiteY261" fmla="*/ 773806 h 823468"/>
              <a:gd name="connsiteX262" fmla="*/ 9112431 w 12248682"/>
              <a:gd name="connsiteY262" fmla="*/ 808454 h 823468"/>
              <a:gd name="connsiteX263" fmla="*/ 9077783 w 12248682"/>
              <a:gd name="connsiteY263" fmla="*/ 773806 h 823468"/>
              <a:gd name="connsiteX264" fmla="*/ 9112431 w 12248682"/>
              <a:gd name="connsiteY264" fmla="*/ 739158 h 823468"/>
              <a:gd name="connsiteX265" fmla="*/ 8561528 w 12248682"/>
              <a:gd name="connsiteY265" fmla="*/ 739158 h 823468"/>
              <a:gd name="connsiteX266" fmla="*/ 8596176 w 12248682"/>
              <a:gd name="connsiteY266" fmla="*/ 773806 h 823468"/>
              <a:gd name="connsiteX267" fmla="*/ 8561528 w 12248682"/>
              <a:gd name="connsiteY267" fmla="*/ 808454 h 823468"/>
              <a:gd name="connsiteX268" fmla="*/ 8526880 w 12248682"/>
              <a:gd name="connsiteY268" fmla="*/ 773806 h 823468"/>
              <a:gd name="connsiteX269" fmla="*/ 8561528 w 12248682"/>
              <a:gd name="connsiteY269" fmla="*/ 739158 h 823468"/>
              <a:gd name="connsiteX270" fmla="*/ 6778310 w 12248682"/>
              <a:gd name="connsiteY270" fmla="*/ 739158 h 823468"/>
              <a:gd name="connsiteX271" fmla="*/ 6812959 w 12248682"/>
              <a:gd name="connsiteY271" fmla="*/ 773806 h 823468"/>
              <a:gd name="connsiteX272" fmla="*/ 6778310 w 12248682"/>
              <a:gd name="connsiteY272" fmla="*/ 808454 h 823468"/>
              <a:gd name="connsiteX273" fmla="*/ 6743662 w 12248682"/>
              <a:gd name="connsiteY273" fmla="*/ 773806 h 823468"/>
              <a:gd name="connsiteX274" fmla="*/ 6778310 w 12248682"/>
              <a:gd name="connsiteY274" fmla="*/ 739158 h 823468"/>
              <a:gd name="connsiteX275" fmla="*/ 6206618 w 12248682"/>
              <a:gd name="connsiteY275" fmla="*/ 739158 h 823468"/>
              <a:gd name="connsiteX276" fmla="*/ 6241265 w 12248682"/>
              <a:gd name="connsiteY276" fmla="*/ 773806 h 823468"/>
              <a:gd name="connsiteX277" fmla="*/ 6206618 w 12248682"/>
              <a:gd name="connsiteY277" fmla="*/ 808454 h 823468"/>
              <a:gd name="connsiteX278" fmla="*/ 6171969 w 12248682"/>
              <a:gd name="connsiteY278" fmla="*/ 773806 h 823468"/>
              <a:gd name="connsiteX279" fmla="*/ 6206618 w 12248682"/>
              <a:gd name="connsiteY279" fmla="*/ 739158 h 823468"/>
              <a:gd name="connsiteX280" fmla="*/ 5626840 w 12248682"/>
              <a:gd name="connsiteY280" fmla="*/ 739158 h 823468"/>
              <a:gd name="connsiteX281" fmla="*/ 5661488 w 12248682"/>
              <a:gd name="connsiteY281" fmla="*/ 773806 h 823468"/>
              <a:gd name="connsiteX282" fmla="*/ 5626840 w 12248682"/>
              <a:gd name="connsiteY282" fmla="*/ 808454 h 823468"/>
              <a:gd name="connsiteX283" fmla="*/ 5592192 w 12248682"/>
              <a:gd name="connsiteY283" fmla="*/ 773806 h 823468"/>
              <a:gd name="connsiteX284" fmla="*/ 5626840 w 12248682"/>
              <a:gd name="connsiteY284" fmla="*/ 739158 h 823468"/>
              <a:gd name="connsiteX285" fmla="*/ 5075938 w 12248682"/>
              <a:gd name="connsiteY285" fmla="*/ 739158 h 823468"/>
              <a:gd name="connsiteX286" fmla="*/ 5110584 w 12248682"/>
              <a:gd name="connsiteY286" fmla="*/ 773806 h 823468"/>
              <a:gd name="connsiteX287" fmla="*/ 5075938 w 12248682"/>
              <a:gd name="connsiteY287" fmla="*/ 808454 h 823468"/>
              <a:gd name="connsiteX288" fmla="*/ 5041289 w 12248682"/>
              <a:gd name="connsiteY288" fmla="*/ 773806 h 823468"/>
              <a:gd name="connsiteX289" fmla="*/ 5075938 w 12248682"/>
              <a:gd name="connsiteY289" fmla="*/ 739158 h 823468"/>
              <a:gd name="connsiteX290" fmla="*/ 4499625 w 12248682"/>
              <a:gd name="connsiteY290" fmla="*/ 739158 h 823468"/>
              <a:gd name="connsiteX291" fmla="*/ 4534273 w 12248682"/>
              <a:gd name="connsiteY291" fmla="*/ 773806 h 823468"/>
              <a:gd name="connsiteX292" fmla="*/ 4499625 w 12248682"/>
              <a:gd name="connsiteY292" fmla="*/ 808454 h 823468"/>
              <a:gd name="connsiteX293" fmla="*/ 4464976 w 12248682"/>
              <a:gd name="connsiteY293" fmla="*/ 773806 h 823468"/>
              <a:gd name="connsiteX294" fmla="*/ 4499625 w 12248682"/>
              <a:gd name="connsiteY294" fmla="*/ 739158 h 823468"/>
              <a:gd name="connsiteX295" fmla="*/ 3948721 w 12248682"/>
              <a:gd name="connsiteY295" fmla="*/ 739158 h 823468"/>
              <a:gd name="connsiteX296" fmla="*/ 3983369 w 12248682"/>
              <a:gd name="connsiteY296" fmla="*/ 773806 h 823468"/>
              <a:gd name="connsiteX297" fmla="*/ 3948721 w 12248682"/>
              <a:gd name="connsiteY297" fmla="*/ 808454 h 823468"/>
              <a:gd name="connsiteX298" fmla="*/ 3914073 w 12248682"/>
              <a:gd name="connsiteY298" fmla="*/ 773806 h 823468"/>
              <a:gd name="connsiteX299" fmla="*/ 3948721 w 12248682"/>
              <a:gd name="connsiteY299" fmla="*/ 739158 h 823468"/>
              <a:gd name="connsiteX300" fmla="*/ 2165502 w 12248682"/>
              <a:gd name="connsiteY300" fmla="*/ 739158 h 823468"/>
              <a:gd name="connsiteX301" fmla="*/ 2200150 w 12248682"/>
              <a:gd name="connsiteY301" fmla="*/ 773806 h 823468"/>
              <a:gd name="connsiteX302" fmla="*/ 2165502 w 12248682"/>
              <a:gd name="connsiteY302" fmla="*/ 808454 h 823468"/>
              <a:gd name="connsiteX303" fmla="*/ 2130854 w 12248682"/>
              <a:gd name="connsiteY303" fmla="*/ 773806 h 823468"/>
              <a:gd name="connsiteX304" fmla="*/ 2165502 w 12248682"/>
              <a:gd name="connsiteY304" fmla="*/ 739158 h 823468"/>
              <a:gd name="connsiteX305" fmla="*/ 1593810 w 12248682"/>
              <a:gd name="connsiteY305" fmla="*/ 739158 h 823468"/>
              <a:gd name="connsiteX306" fmla="*/ 1628457 w 12248682"/>
              <a:gd name="connsiteY306" fmla="*/ 773806 h 823468"/>
              <a:gd name="connsiteX307" fmla="*/ 1593810 w 12248682"/>
              <a:gd name="connsiteY307" fmla="*/ 808454 h 823468"/>
              <a:gd name="connsiteX308" fmla="*/ 1559161 w 12248682"/>
              <a:gd name="connsiteY308" fmla="*/ 773806 h 823468"/>
              <a:gd name="connsiteX309" fmla="*/ 1593810 w 12248682"/>
              <a:gd name="connsiteY309" fmla="*/ 739158 h 823468"/>
              <a:gd name="connsiteX310" fmla="*/ 1014032 w 12248682"/>
              <a:gd name="connsiteY310" fmla="*/ 739158 h 823468"/>
              <a:gd name="connsiteX311" fmla="*/ 1048681 w 12248682"/>
              <a:gd name="connsiteY311" fmla="*/ 773806 h 823468"/>
              <a:gd name="connsiteX312" fmla="*/ 1014032 w 12248682"/>
              <a:gd name="connsiteY312" fmla="*/ 808454 h 823468"/>
              <a:gd name="connsiteX313" fmla="*/ 979384 w 12248682"/>
              <a:gd name="connsiteY313" fmla="*/ 773806 h 823468"/>
              <a:gd name="connsiteX314" fmla="*/ 1014032 w 12248682"/>
              <a:gd name="connsiteY314" fmla="*/ 739158 h 823468"/>
              <a:gd name="connsiteX315" fmla="*/ 463129 w 12248682"/>
              <a:gd name="connsiteY315" fmla="*/ 739158 h 823468"/>
              <a:gd name="connsiteX316" fmla="*/ 497778 w 12248682"/>
              <a:gd name="connsiteY316" fmla="*/ 773806 h 823468"/>
              <a:gd name="connsiteX317" fmla="*/ 463129 w 12248682"/>
              <a:gd name="connsiteY317" fmla="*/ 808454 h 823468"/>
              <a:gd name="connsiteX318" fmla="*/ 428481 w 12248682"/>
              <a:gd name="connsiteY318" fmla="*/ 773806 h 823468"/>
              <a:gd name="connsiteX319" fmla="*/ 463129 w 12248682"/>
              <a:gd name="connsiteY319" fmla="*/ 739158 h 823468"/>
              <a:gd name="connsiteX320" fmla="*/ 11245044 w 12248682"/>
              <a:gd name="connsiteY320" fmla="*/ 733384 h 823468"/>
              <a:gd name="connsiteX321" fmla="*/ 11285466 w 12248682"/>
              <a:gd name="connsiteY321" fmla="*/ 773806 h 823468"/>
              <a:gd name="connsiteX322" fmla="*/ 11245044 w 12248682"/>
              <a:gd name="connsiteY322" fmla="*/ 814229 h 823468"/>
              <a:gd name="connsiteX323" fmla="*/ 11204621 w 12248682"/>
              <a:gd name="connsiteY323" fmla="*/ 773806 h 823468"/>
              <a:gd name="connsiteX324" fmla="*/ 11245044 w 12248682"/>
              <a:gd name="connsiteY324" fmla="*/ 733384 h 823468"/>
              <a:gd name="connsiteX325" fmla="*/ 10970170 w 12248682"/>
              <a:gd name="connsiteY325" fmla="*/ 733384 h 823468"/>
              <a:gd name="connsiteX326" fmla="*/ 11010592 w 12248682"/>
              <a:gd name="connsiteY326" fmla="*/ 773806 h 823468"/>
              <a:gd name="connsiteX327" fmla="*/ 10970170 w 12248682"/>
              <a:gd name="connsiteY327" fmla="*/ 814229 h 823468"/>
              <a:gd name="connsiteX328" fmla="*/ 10929746 w 12248682"/>
              <a:gd name="connsiteY328" fmla="*/ 773806 h 823468"/>
              <a:gd name="connsiteX329" fmla="*/ 10970170 w 12248682"/>
              <a:gd name="connsiteY329" fmla="*/ 733384 h 823468"/>
              <a:gd name="connsiteX330" fmla="*/ 10094730 w 12248682"/>
              <a:gd name="connsiteY330" fmla="*/ 733384 h 823468"/>
              <a:gd name="connsiteX331" fmla="*/ 10135152 w 12248682"/>
              <a:gd name="connsiteY331" fmla="*/ 773806 h 823468"/>
              <a:gd name="connsiteX332" fmla="*/ 10094730 w 12248682"/>
              <a:gd name="connsiteY332" fmla="*/ 814229 h 823468"/>
              <a:gd name="connsiteX333" fmla="*/ 10054306 w 12248682"/>
              <a:gd name="connsiteY333" fmla="*/ 773806 h 823468"/>
              <a:gd name="connsiteX334" fmla="*/ 10094730 w 12248682"/>
              <a:gd name="connsiteY334" fmla="*/ 733384 h 823468"/>
              <a:gd name="connsiteX335" fmla="*/ 9818700 w 12248682"/>
              <a:gd name="connsiteY335" fmla="*/ 733384 h 823468"/>
              <a:gd name="connsiteX336" fmla="*/ 9859123 w 12248682"/>
              <a:gd name="connsiteY336" fmla="*/ 773806 h 823468"/>
              <a:gd name="connsiteX337" fmla="*/ 9818700 w 12248682"/>
              <a:gd name="connsiteY337" fmla="*/ 814229 h 823468"/>
              <a:gd name="connsiteX338" fmla="*/ 9778278 w 12248682"/>
              <a:gd name="connsiteY338" fmla="*/ 773806 h 823468"/>
              <a:gd name="connsiteX339" fmla="*/ 9818700 w 12248682"/>
              <a:gd name="connsiteY339" fmla="*/ 733384 h 823468"/>
              <a:gd name="connsiteX340" fmla="*/ 8974994 w 12248682"/>
              <a:gd name="connsiteY340" fmla="*/ 733384 h 823468"/>
              <a:gd name="connsiteX341" fmla="*/ 9015416 w 12248682"/>
              <a:gd name="connsiteY341" fmla="*/ 773806 h 823468"/>
              <a:gd name="connsiteX342" fmla="*/ 8974994 w 12248682"/>
              <a:gd name="connsiteY342" fmla="*/ 814229 h 823468"/>
              <a:gd name="connsiteX343" fmla="*/ 8934571 w 12248682"/>
              <a:gd name="connsiteY343" fmla="*/ 773806 h 823468"/>
              <a:gd name="connsiteX344" fmla="*/ 8974994 w 12248682"/>
              <a:gd name="connsiteY344" fmla="*/ 733384 h 823468"/>
              <a:gd name="connsiteX345" fmla="*/ 8698965 w 12248682"/>
              <a:gd name="connsiteY345" fmla="*/ 733384 h 823468"/>
              <a:gd name="connsiteX346" fmla="*/ 8739388 w 12248682"/>
              <a:gd name="connsiteY346" fmla="*/ 773806 h 823468"/>
              <a:gd name="connsiteX347" fmla="*/ 8698965 w 12248682"/>
              <a:gd name="connsiteY347" fmla="*/ 814229 h 823468"/>
              <a:gd name="connsiteX348" fmla="*/ 8658542 w 12248682"/>
              <a:gd name="connsiteY348" fmla="*/ 773806 h 823468"/>
              <a:gd name="connsiteX349" fmla="*/ 8698965 w 12248682"/>
              <a:gd name="connsiteY349" fmla="*/ 733384 h 823468"/>
              <a:gd name="connsiteX350" fmla="*/ 6639717 w 12248682"/>
              <a:gd name="connsiteY350" fmla="*/ 733384 h 823468"/>
              <a:gd name="connsiteX351" fmla="*/ 6680139 w 12248682"/>
              <a:gd name="connsiteY351" fmla="*/ 773806 h 823468"/>
              <a:gd name="connsiteX352" fmla="*/ 6639717 w 12248682"/>
              <a:gd name="connsiteY352" fmla="*/ 814229 h 823468"/>
              <a:gd name="connsiteX353" fmla="*/ 6599295 w 12248682"/>
              <a:gd name="connsiteY353" fmla="*/ 773806 h 823468"/>
              <a:gd name="connsiteX354" fmla="*/ 6639717 w 12248682"/>
              <a:gd name="connsiteY354" fmla="*/ 733384 h 823468"/>
              <a:gd name="connsiteX355" fmla="*/ 6364844 w 12248682"/>
              <a:gd name="connsiteY355" fmla="*/ 733384 h 823468"/>
              <a:gd name="connsiteX356" fmla="*/ 6405265 w 12248682"/>
              <a:gd name="connsiteY356" fmla="*/ 773806 h 823468"/>
              <a:gd name="connsiteX357" fmla="*/ 6364844 w 12248682"/>
              <a:gd name="connsiteY357" fmla="*/ 814229 h 823468"/>
              <a:gd name="connsiteX358" fmla="*/ 6324420 w 12248682"/>
              <a:gd name="connsiteY358" fmla="*/ 773806 h 823468"/>
              <a:gd name="connsiteX359" fmla="*/ 6364844 w 12248682"/>
              <a:gd name="connsiteY359" fmla="*/ 733384 h 823468"/>
              <a:gd name="connsiteX360" fmla="*/ 5489404 w 12248682"/>
              <a:gd name="connsiteY360" fmla="*/ 733384 h 823468"/>
              <a:gd name="connsiteX361" fmla="*/ 5529826 w 12248682"/>
              <a:gd name="connsiteY361" fmla="*/ 773806 h 823468"/>
              <a:gd name="connsiteX362" fmla="*/ 5489404 w 12248682"/>
              <a:gd name="connsiteY362" fmla="*/ 814229 h 823468"/>
              <a:gd name="connsiteX363" fmla="*/ 5448980 w 12248682"/>
              <a:gd name="connsiteY363" fmla="*/ 773806 h 823468"/>
              <a:gd name="connsiteX364" fmla="*/ 5489404 w 12248682"/>
              <a:gd name="connsiteY364" fmla="*/ 733384 h 823468"/>
              <a:gd name="connsiteX365" fmla="*/ 5213373 w 12248682"/>
              <a:gd name="connsiteY365" fmla="*/ 733384 h 823468"/>
              <a:gd name="connsiteX366" fmla="*/ 5253797 w 12248682"/>
              <a:gd name="connsiteY366" fmla="*/ 773806 h 823468"/>
              <a:gd name="connsiteX367" fmla="*/ 5213373 w 12248682"/>
              <a:gd name="connsiteY367" fmla="*/ 814229 h 823468"/>
              <a:gd name="connsiteX368" fmla="*/ 5172952 w 12248682"/>
              <a:gd name="connsiteY368" fmla="*/ 773806 h 823468"/>
              <a:gd name="connsiteX369" fmla="*/ 5213373 w 12248682"/>
              <a:gd name="connsiteY369" fmla="*/ 733384 h 823468"/>
              <a:gd name="connsiteX370" fmla="*/ 4361031 w 12248682"/>
              <a:gd name="connsiteY370" fmla="*/ 733384 h 823468"/>
              <a:gd name="connsiteX371" fmla="*/ 4401455 w 12248682"/>
              <a:gd name="connsiteY371" fmla="*/ 773806 h 823468"/>
              <a:gd name="connsiteX372" fmla="*/ 4361031 w 12248682"/>
              <a:gd name="connsiteY372" fmla="*/ 814229 h 823468"/>
              <a:gd name="connsiteX373" fmla="*/ 4320610 w 12248682"/>
              <a:gd name="connsiteY373" fmla="*/ 773806 h 823468"/>
              <a:gd name="connsiteX374" fmla="*/ 4361031 w 12248682"/>
              <a:gd name="connsiteY374" fmla="*/ 733384 h 823468"/>
              <a:gd name="connsiteX375" fmla="*/ 4086158 w 12248682"/>
              <a:gd name="connsiteY375" fmla="*/ 733384 h 823468"/>
              <a:gd name="connsiteX376" fmla="*/ 4126582 w 12248682"/>
              <a:gd name="connsiteY376" fmla="*/ 773806 h 823468"/>
              <a:gd name="connsiteX377" fmla="*/ 4086158 w 12248682"/>
              <a:gd name="connsiteY377" fmla="*/ 814229 h 823468"/>
              <a:gd name="connsiteX378" fmla="*/ 4045735 w 12248682"/>
              <a:gd name="connsiteY378" fmla="*/ 773806 h 823468"/>
              <a:gd name="connsiteX379" fmla="*/ 4086158 w 12248682"/>
              <a:gd name="connsiteY379" fmla="*/ 733384 h 823468"/>
              <a:gd name="connsiteX380" fmla="*/ 2026910 w 12248682"/>
              <a:gd name="connsiteY380" fmla="*/ 733384 h 823468"/>
              <a:gd name="connsiteX381" fmla="*/ 2067332 w 12248682"/>
              <a:gd name="connsiteY381" fmla="*/ 773806 h 823468"/>
              <a:gd name="connsiteX382" fmla="*/ 2026910 w 12248682"/>
              <a:gd name="connsiteY382" fmla="*/ 814229 h 823468"/>
              <a:gd name="connsiteX383" fmla="*/ 1986487 w 12248682"/>
              <a:gd name="connsiteY383" fmla="*/ 773806 h 823468"/>
              <a:gd name="connsiteX384" fmla="*/ 2026910 w 12248682"/>
              <a:gd name="connsiteY384" fmla="*/ 733384 h 823468"/>
              <a:gd name="connsiteX385" fmla="*/ 1752036 w 12248682"/>
              <a:gd name="connsiteY385" fmla="*/ 733384 h 823468"/>
              <a:gd name="connsiteX386" fmla="*/ 1792458 w 12248682"/>
              <a:gd name="connsiteY386" fmla="*/ 773806 h 823468"/>
              <a:gd name="connsiteX387" fmla="*/ 1752036 w 12248682"/>
              <a:gd name="connsiteY387" fmla="*/ 814229 h 823468"/>
              <a:gd name="connsiteX388" fmla="*/ 1711613 w 12248682"/>
              <a:gd name="connsiteY388" fmla="*/ 773806 h 823468"/>
              <a:gd name="connsiteX389" fmla="*/ 1752036 w 12248682"/>
              <a:gd name="connsiteY389" fmla="*/ 733384 h 823468"/>
              <a:gd name="connsiteX390" fmla="*/ 876596 w 12248682"/>
              <a:gd name="connsiteY390" fmla="*/ 733384 h 823468"/>
              <a:gd name="connsiteX391" fmla="*/ 917018 w 12248682"/>
              <a:gd name="connsiteY391" fmla="*/ 773806 h 823468"/>
              <a:gd name="connsiteX392" fmla="*/ 876596 w 12248682"/>
              <a:gd name="connsiteY392" fmla="*/ 814229 h 823468"/>
              <a:gd name="connsiteX393" fmla="*/ 836172 w 12248682"/>
              <a:gd name="connsiteY393" fmla="*/ 773806 h 823468"/>
              <a:gd name="connsiteX394" fmla="*/ 876596 w 12248682"/>
              <a:gd name="connsiteY394" fmla="*/ 733384 h 823468"/>
              <a:gd name="connsiteX395" fmla="*/ 600566 w 12248682"/>
              <a:gd name="connsiteY395" fmla="*/ 733384 h 823468"/>
              <a:gd name="connsiteX396" fmla="*/ 640989 w 12248682"/>
              <a:gd name="connsiteY396" fmla="*/ 773806 h 823468"/>
              <a:gd name="connsiteX397" fmla="*/ 600566 w 12248682"/>
              <a:gd name="connsiteY397" fmla="*/ 814229 h 823468"/>
              <a:gd name="connsiteX398" fmla="*/ 560144 w 12248682"/>
              <a:gd name="connsiteY398" fmla="*/ 773806 h 823468"/>
              <a:gd name="connsiteX399" fmla="*/ 600566 w 12248682"/>
              <a:gd name="connsiteY399" fmla="*/ 733384 h 823468"/>
              <a:gd name="connsiteX400" fmla="*/ 11107606 w 12248682"/>
              <a:gd name="connsiteY400" fmla="*/ 721834 h 823468"/>
              <a:gd name="connsiteX401" fmla="*/ 11158424 w 12248682"/>
              <a:gd name="connsiteY401" fmla="*/ 772651 h 823468"/>
              <a:gd name="connsiteX402" fmla="*/ 11107606 w 12248682"/>
              <a:gd name="connsiteY402" fmla="*/ 823468 h 823468"/>
              <a:gd name="connsiteX403" fmla="*/ 11056789 w 12248682"/>
              <a:gd name="connsiteY403" fmla="*/ 772651 h 823468"/>
              <a:gd name="connsiteX404" fmla="*/ 11107606 w 12248682"/>
              <a:gd name="connsiteY404" fmla="*/ 721834 h 823468"/>
              <a:gd name="connsiteX405" fmla="*/ 9957292 w 12248682"/>
              <a:gd name="connsiteY405" fmla="*/ 721834 h 823468"/>
              <a:gd name="connsiteX406" fmla="*/ 10008109 w 12248682"/>
              <a:gd name="connsiteY406" fmla="*/ 772651 h 823468"/>
              <a:gd name="connsiteX407" fmla="*/ 9957292 w 12248682"/>
              <a:gd name="connsiteY407" fmla="*/ 823468 h 823468"/>
              <a:gd name="connsiteX408" fmla="*/ 9906475 w 12248682"/>
              <a:gd name="connsiteY408" fmla="*/ 772651 h 823468"/>
              <a:gd name="connsiteX409" fmla="*/ 9957292 w 12248682"/>
              <a:gd name="connsiteY409" fmla="*/ 721834 h 823468"/>
              <a:gd name="connsiteX410" fmla="*/ 8836402 w 12248682"/>
              <a:gd name="connsiteY410" fmla="*/ 721834 h 823468"/>
              <a:gd name="connsiteX411" fmla="*/ 8887219 w 12248682"/>
              <a:gd name="connsiteY411" fmla="*/ 772651 h 823468"/>
              <a:gd name="connsiteX412" fmla="*/ 8836402 w 12248682"/>
              <a:gd name="connsiteY412" fmla="*/ 823468 h 823468"/>
              <a:gd name="connsiteX413" fmla="*/ 8785585 w 12248682"/>
              <a:gd name="connsiteY413" fmla="*/ 772651 h 823468"/>
              <a:gd name="connsiteX414" fmla="*/ 8836402 w 12248682"/>
              <a:gd name="connsiteY414" fmla="*/ 721834 h 823468"/>
              <a:gd name="connsiteX415" fmla="*/ 6502281 w 12248682"/>
              <a:gd name="connsiteY415" fmla="*/ 721834 h 823468"/>
              <a:gd name="connsiteX416" fmla="*/ 6553098 w 12248682"/>
              <a:gd name="connsiteY416" fmla="*/ 772651 h 823468"/>
              <a:gd name="connsiteX417" fmla="*/ 6502281 w 12248682"/>
              <a:gd name="connsiteY417" fmla="*/ 823468 h 823468"/>
              <a:gd name="connsiteX418" fmla="*/ 6451462 w 12248682"/>
              <a:gd name="connsiteY418" fmla="*/ 772651 h 823468"/>
              <a:gd name="connsiteX419" fmla="*/ 6502281 w 12248682"/>
              <a:gd name="connsiteY419" fmla="*/ 721834 h 823468"/>
              <a:gd name="connsiteX420" fmla="*/ 5351966 w 12248682"/>
              <a:gd name="connsiteY420" fmla="*/ 721834 h 823468"/>
              <a:gd name="connsiteX421" fmla="*/ 5402784 w 12248682"/>
              <a:gd name="connsiteY421" fmla="*/ 772651 h 823468"/>
              <a:gd name="connsiteX422" fmla="*/ 5351966 w 12248682"/>
              <a:gd name="connsiteY422" fmla="*/ 823468 h 823468"/>
              <a:gd name="connsiteX423" fmla="*/ 5301149 w 12248682"/>
              <a:gd name="connsiteY423" fmla="*/ 772651 h 823468"/>
              <a:gd name="connsiteX424" fmla="*/ 5351966 w 12248682"/>
              <a:gd name="connsiteY424" fmla="*/ 721834 h 823468"/>
              <a:gd name="connsiteX425" fmla="*/ 4223596 w 12248682"/>
              <a:gd name="connsiteY425" fmla="*/ 721834 h 823468"/>
              <a:gd name="connsiteX426" fmla="*/ 4274413 w 12248682"/>
              <a:gd name="connsiteY426" fmla="*/ 772651 h 823468"/>
              <a:gd name="connsiteX427" fmla="*/ 4223596 w 12248682"/>
              <a:gd name="connsiteY427" fmla="*/ 823468 h 823468"/>
              <a:gd name="connsiteX428" fmla="*/ 4172779 w 12248682"/>
              <a:gd name="connsiteY428" fmla="*/ 772651 h 823468"/>
              <a:gd name="connsiteX429" fmla="*/ 4223596 w 12248682"/>
              <a:gd name="connsiteY429" fmla="*/ 721834 h 823468"/>
              <a:gd name="connsiteX430" fmla="*/ 1889473 w 12248682"/>
              <a:gd name="connsiteY430" fmla="*/ 721834 h 823468"/>
              <a:gd name="connsiteX431" fmla="*/ 1940290 w 12248682"/>
              <a:gd name="connsiteY431" fmla="*/ 772651 h 823468"/>
              <a:gd name="connsiteX432" fmla="*/ 1889473 w 12248682"/>
              <a:gd name="connsiteY432" fmla="*/ 823468 h 823468"/>
              <a:gd name="connsiteX433" fmla="*/ 1838656 w 12248682"/>
              <a:gd name="connsiteY433" fmla="*/ 772651 h 823468"/>
              <a:gd name="connsiteX434" fmla="*/ 1889473 w 12248682"/>
              <a:gd name="connsiteY434" fmla="*/ 721834 h 823468"/>
              <a:gd name="connsiteX435" fmla="*/ 739158 w 12248682"/>
              <a:gd name="connsiteY435" fmla="*/ 721834 h 823468"/>
              <a:gd name="connsiteX436" fmla="*/ 789975 w 12248682"/>
              <a:gd name="connsiteY436" fmla="*/ 772651 h 823468"/>
              <a:gd name="connsiteX437" fmla="*/ 739158 w 12248682"/>
              <a:gd name="connsiteY437" fmla="*/ 823468 h 823468"/>
              <a:gd name="connsiteX438" fmla="*/ 688341 w 12248682"/>
              <a:gd name="connsiteY438" fmla="*/ 772651 h 823468"/>
              <a:gd name="connsiteX439" fmla="*/ 739158 w 12248682"/>
              <a:gd name="connsiteY439" fmla="*/ 721834 h 823468"/>
              <a:gd name="connsiteX440" fmla="*/ 12227892 w 12248682"/>
              <a:gd name="connsiteY440" fmla="*/ 608651 h 823468"/>
              <a:gd name="connsiteX441" fmla="*/ 12248682 w 12248682"/>
              <a:gd name="connsiteY441" fmla="*/ 629440 h 823468"/>
              <a:gd name="connsiteX442" fmla="*/ 12227892 w 12248682"/>
              <a:gd name="connsiteY442" fmla="*/ 650228 h 823468"/>
              <a:gd name="connsiteX443" fmla="*/ 12207104 w 12248682"/>
              <a:gd name="connsiteY443" fmla="*/ 629440 h 823468"/>
              <a:gd name="connsiteX444" fmla="*/ 12227892 w 12248682"/>
              <a:gd name="connsiteY444" fmla="*/ 608651 h 823468"/>
              <a:gd name="connsiteX445" fmla="*/ 12091610 w 12248682"/>
              <a:gd name="connsiteY445" fmla="*/ 608651 h 823468"/>
              <a:gd name="connsiteX446" fmla="*/ 12112399 w 12248682"/>
              <a:gd name="connsiteY446" fmla="*/ 629440 h 823468"/>
              <a:gd name="connsiteX447" fmla="*/ 12091610 w 12248682"/>
              <a:gd name="connsiteY447" fmla="*/ 650228 h 823468"/>
              <a:gd name="connsiteX448" fmla="*/ 12070822 w 12248682"/>
              <a:gd name="connsiteY448" fmla="*/ 629440 h 823468"/>
              <a:gd name="connsiteX449" fmla="*/ 12091610 w 12248682"/>
              <a:gd name="connsiteY449" fmla="*/ 608651 h 823468"/>
              <a:gd name="connsiteX450" fmla="*/ 11956484 w 12248682"/>
              <a:gd name="connsiteY450" fmla="*/ 608651 h 823468"/>
              <a:gd name="connsiteX451" fmla="*/ 11977272 w 12248682"/>
              <a:gd name="connsiteY451" fmla="*/ 629440 h 823468"/>
              <a:gd name="connsiteX452" fmla="*/ 11956484 w 12248682"/>
              <a:gd name="connsiteY452" fmla="*/ 650228 h 823468"/>
              <a:gd name="connsiteX453" fmla="*/ 11935695 w 12248682"/>
              <a:gd name="connsiteY453" fmla="*/ 629440 h 823468"/>
              <a:gd name="connsiteX454" fmla="*/ 11956484 w 12248682"/>
              <a:gd name="connsiteY454" fmla="*/ 608651 h 823468"/>
              <a:gd name="connsiteX455" fmla="*/ 11821356 w 12248682"/>
              <a:gd name="connsiteY455" fmla="*/ 608651 h 823468"/>
              <a:gd name="connsiteX456" fmla="*/ 11842144 w 12248682"/>
              <a:gd name="connsiteY456" fmla="*/ 629440 h 823468"/>
              <a:gd name="connsiteX457" fmla="*/ 11821356 w 12248682"/>
              <a:gd name="connsiteY457" fmla="*/ 650228 h 823468"/>
              <a:gd name="connsiteX458" fmla="*/ 11800567 w 12248682"/>
              <a:gd name="connsiteY458" fmla="*/ 629440 h 823468"/>
              <a:gd name="connsiteX459" fmla="*/ 11821356 w 12248682"/>
              <a:gd name="connsiteY459" fmla="*/ 608651 h 823468"/>
              <a:gd name="connsiteX460" fmla="*/ 11685074 w 12248682"/>
              <a:gd name="connsiteY460" fmla="*/ 608651 h 823468"/>
              <a:gd name="connsiteX461" fmla="*/ 11705862 w 12248682"/>
              <a:gd name="connsiteY461" fmla="*/ 629440 h 823468"/>
              <a:gd name="connsiteX462" fmla="*/ 11685074 w 12248682"/>
              <a:gd name="connsiteY462" fmla="*/ 650228 h 823468"/>
              <a:gd name="connsiteX463" fmla="*/ 11664285 w 12248682"/>
              <a:gd name="connsiteY463" fmla="*/ 629440 h 823468"/>
              <a:gd name="connsiteX464" fmla="*/ 11685074 w 12248682"/>
              <a:gd name="connsiteY464" fmla="*/ 608651 h 823468"/>
              <a:gd name="connsiteX465" fmla="*/ 10736873 w 12248682"/>
              <a:gd name="connsiteY465" fmla="*/ 608651 h 823468"/>
              <a:gd name="connsiteX466" fmla="*/ 10757662 w 12248682"/>
              <a:gd name="connsiteY466" fmla="*/ 629440 h 823468"/>
              <a:gd name="connsiteX467" fmla="*/ 10736873 w 12248682"/>
              <a:gd name="connsiteY467" fmla="*/ 650228 h 823468"/>
              <a:gd name="connsiteX468" fmla="*/ 10716084 w 12248682"/>
              <a:gd name="connsiteY468" fmla="*/ 629440 h 823468"/>
              <a:gd name="connsiteX469" fmla="*/ 10736873 w 12248682"/>
              <a:gd name="connsiteY469" fmla="*/ 608651 h 823468"/>
              <a:gd name="connsiteX470" fmla="*/ 10601745 w 12248682"/>
              <a:gd name="connsiteY470" fmla="*/ 608651 h 823468"/>
              <a:gd name="connsiteX471" fmla="*/ 10622534 w 12248682"/>
              <a:gd name="connsiteY471" fmla="*/ 629440 h 823468"/>
              <a:gd name="connsiteX472" fmla="*/ 10601745 w 12248682"/>
              <a:gd name="connsiteY472" fmla="*/ 650228 h 823468"/>
              <a:gd name="connsiteX473" fmla="*/ 10580956 w 12248682"/>
              <a:gd name="connsiteY473" fmla="*/ 629440 h 823468"/>
              <a:gd name="connsiteX474" fmla="*/ 10601745 w 12248682"/>
              <a:gd name="connsiteY474" fmla="*/ 608651 h 823468"/>
              <a:gd name="connsiteX475" fmla="*/ 8027949 w 12248682"/>
              <a:gd name="connsiteY475" fmla="*/ 608651 h 823468"/>
              <a:gd name="connsiteX476" fmla="*/ 8048737 w 12248682"/>
              <a:gd name="connsiteY476" fmla="*/ 629440 h 823468"/>
              <a:gd name="connsiteX477" fmla="*/ 8027949 w 12248682"/>
              <a:gd name="connsiteY477" fmla="*/ 650228 h 823468"/>
              <a:gd name="connsiteX478" fmla="*/ 8007160 w 12248682"/>
              <a:gd name="connsiteY478" fmla="*/ 629440 h 823468"/>
              <a:gd name="connsiteX479" fmla="*/ 8027949 w 12248682"/>
              <a:gd name="connsiteY479" fmla="*/ 608651 h 823468"/>
              <a:gd name="connsiteX480" fmla="*/ 7892822 w 12248682"/>
              <a:gd name="connsiteY480" fmla="*/ 608651 h 823468"/>
              <a:gd name="connsiteX481" fmla="*/ 7913611 w 12248682"/>
              <a:gd name="connsiteY481" fmla="*/ 629440 h 823468"/>
              <a:gd name="connsiteX482" fmla="*/ 7892822 w 12248682"/>
              <a:gd name="connsiteY482" fmla="*/ 650228 h 823468"/>
              <a:gd name="connsiteX483" fmla="*/ 7872031 w 12248682"/>
              <a:gd name="connsiteY483" fmla="*/ 629440 h 823468"/>
              <a:gd name="connsiteX484" fmla="*/ 7892822 w 12248682"/>
              <a:gd name="connsiteY484" fmla="*/ 608651 h 823468"/>
              <a:gd name="connsiteX485" fmla="*/ 7757693 w 12248682"/>
              <a:gd name="connsiteY485" fmla="*/ 608651 h 823468"/>
              <a:gd name="connsiteX486" fmla="*/ 7778483 w 12248682"/>
              <a:gd name="connsiteY486" fmla="*/ 629440 h 823468"/>
              <a:gd name="connsiteX487" fmla="*/ 7757693 w 12248682"/>
              <a:gd name="connsiteY487" fmla="*/ 650228 h 823468"/>
              <a:gd name="connsiteX488" fmla="*/ 7736906 w 12248682"/>
              <a:gd name="connsiteY488" fmla="*/ 629440 h 823468"/>
              <a:gd name="connsiteX489" fmla="*/ 7757693 w 12248682"/>
              <a:gd name="connsiteY489" fmla="*/ 608651 h 823468"/>
              <a:gd name="connsiteX490" fmla="*/ 7622566 w 12248682"/>
              <a:gd name="connsiteY490" fmla="*/ 608651 h 823468"/>
              <a:gd name="connsiteX491" fmla="*/ 7643355 w 12248682"/>
              <a:gd name="connsiteY491" fmla="*/ 629440 h 823468"/>
              <a:gd name="connsiteX492" fmla="*/ 7622566 w 12248682"/>
              <a:gd name="connsiteY492" fmla="*/ 650228 h 823468"/>
              <a:gd name="connsiteX493" fmla="*/ 7601778 w 12248682"/>
              <a:gd name="connsiteY493" fmla="*/ 629440 h 823468"/>
              <a:gd name="connsiteX494" fmla="*/ 7622566 w 12248682"/>
              <a:gd name="connsiteY494" fmla="*/ 608651 h 823468"/>
              <a:gd name="connsiteX495" fmla="*/ 7486284 w 12248682"/>
              <a:gd name="connsiteY495" fmla="*/ 608651 h 823468"/>
              <a:gd name="connsiteX496" fmla="*/ 7507074 w 12248682"/>
              <a:gd name="connsiteY496" fmla="*/ 629440 h 823468"/>
              <a:gd name="connsiteX497" fmla="*/ 7486284 w 12248682"/>
              <a:gd name="connsiteY497" fmla="*/ 650228 h 823468"/>
              <a:gd name="connsiteX498" fmla="*/ 7465495 w 12248682"/>
              <a:gd name="connsiteY498" fmla="*/ 629440 h 823468"/>
              <a:gd name="connsiteX499" fmla="*/ 7486284 w 12248682"/>
              <a:gd name="connsiteY499" fmla="*/ 608651 h 823468"/>
              <a:gd name="connsiteX500" fmla="*/ 7351157 w 12248682"/>
              <a:gd name="connsiteY500" fmla="*/ 608651 h 823468"/>
              <a:gd name="connsiteX501" fmla="*/ 7371946 w 12248682"/>
              <a:gd name="connsiteY501" fmla="*/ 629440 h 823468"/>
              <a:gd name="connsiteX502" fmla="*/ 7351157 w 12248682"/>
              <a:gd name="connsiteY502" fmla="*/ 650228 h 823468"/>
              <a:gd name="connsiteX503" fmla="*/ 7330369 w 12248682"/>
              <a:gd name="connsiteY503" fmla="*/ 629440 h 823468"/>
              <a:gd name="connsiteX504" fmla="*/ 7351157 w 12248682"/>
              <a:gd name="connsiteY504" fmla="*/ 608651 h 823468"/>
              <a:gd name="connsiteX505" fmla="*/ 7216030 w 12248682"/>
              <a:gd name="connsiteY505" fmla="*/ 608651 h 823468"/>
              <a:gd name="connsiteX506" fmla="*/ 7236819 w 12248682"/>
              <a:gd name="connsiteY506" fmla="*/ 629440 h 823468"/>
              <a:gd name="connsiteX507" fmla="*/ 7216030 w 12248682"/>
              <a:gd name="connsiteY507" fmla="*/ 650228 h 823468"/>
              <a:gd name="connsiteX508" fmla="*/ 7195241 w 12248682"/>
              <a:gd name="connsiteY508" fmla="*/ 629440 h 823468"/>
              <a:gd name="connsiteX509" fmla="*/ 7216030 w 12248682"/>
              <a:gd name="connsiteY509" fmla="*/ 608651 h 823468"/>
              <a:gd name="connsiteX510" fmla="*/ 7079748 w 12248682"/>
              <a:gd name="connsiteY510" fmla="*/ 608651 h 823468"/>
              <a:gd name="connsiteX511" fmla="*/ 7100537 w 12248682"/>
              <a:gd name="connsiteY511" fmla="*/ 629440 h 823468"/>
              <a:gd name="connsiteX512" fmla="*/ 7079748 w 12248682"/>
              <a:gd name="connsiteY512" fmla="*/ 650228 h 823468"/>
              <a:gd name="connsiteX513" fmla="*/ 7058959 w 12248682"/>
              <a:gd name="connsiteY513" fmla="*/ 629440 h 823468"/>
              <a:gd name="connsiteX514" fmla="*/ 7079748 w 12248682"/>
              <a:gd name="connsiteY514" fmla="*/ 608651 h 823468"/>
              <a:gd name="connsiteX515" fmla="*/ 6131548 w 12248682"/>
              <a:gd name="connsiteY515" fmla="*/ 608651 h 823468"/>
              <a:gd name="connsiteX516" fmla="*/ 6152336 w 12248682"/>
              <a:gd name="connsiteY516" fmla="*/ 629440 h 823468"/>
              <a:gd name="connsiteX517" fmla="*/ 6131548 w 12248682"/>
              <a:gd name="connsiteY517" fmla="*/ 650228 h 823468"/>
              <a:gd name="connsiteX518" fmla="*/ 6110759 w 12248682"/>
              <a:gd name="connsiteY518" fmla="*/ 629440 h 823468"/>
              <a:gd name="connsiteX519" fmla="*/ 6131548 w 12248682"/>
              <a:gd name="connsiteY519" fmla="*/ 608651 h 823468"/>
              <a:gd name="connsiteX520" fmla="*/ 5996418 w 12248682"/>
              <a:gd name="connsiteY520" fmla="*/ 608651 h 823468"/>
              <a:gd name="connsiteX521" fmla="*/ 6017209 w 12248682"/>
              <a:gd name="connsiteY521" fmla="*/ 629440 h 823468"/>
              <a:gd name="connsiteX522" fmla="*/ 5996418 w 12248682"/>
              <a:gd name="connsiteY522" fmla="*/ 650228 h 823468"/>
              <a:gd name="connsiteX523" fmla="*/ 5975630 w 12248682"/>
              <a:gd name="connsiteY523" fmla="*/ 629440 h 823468"/>
              <a:gd name="connsiteX524" fmla="*/ 5996418 w 12248682"/>
              <a:gd name="connsiteY524" fmla="*/ 608651 h 823468"/>
              <a:gd name="connsiteX525" fmla="*/ 3415142 w 12248682"/>
              <a:gd name="connsiteY525" fmla="*/ 608651 h 823468"/>
              <a:gd name="connsiteX526" fmla="*/ 3435930 w 12248682"/>
              <a:gd name="connsiteY526" fmla="*/ 629440 h 823468"/>
              <a:gd name="connsiteX527" fmla="*/ 3415142 w 12248682"/>
              <a:gd name="connsiteY527" fmla="*/ 650228 h 823468"/>
              <a:gd name="connsiteX528" fmla="*/ 3394352 w 12248682"/>
              <a:gd name="connsiteY528" fmla="*/ 629440 h 823468"/>
              <a:gd name="connsiteX529" fmla="*/ 3415142 w 12248682"/>
              <a:gd name="connsiteY529" fmla="*/ 608651 h 823468"/>
              <a:gd name="connsiteX530" fmla="*/ 3280013 w 12248682"/>
              <a:gd name="connsiteY530" fmla="*/ 608651 h 823468"/>
              <a:gd name="connsiteX531" fmla="*/ 3300802 w 12248682"/>
              <a:gd name="connsiteY531" fmla="*/ 629440 h 823468"/>
              <a:gd name="connsiteX532" fmla="*/ 3280013 w 12248682"/>
              <a:gd name="connsiteY532" fmla="*/ 650228 h 823468"/>
              <a:gd name="connsiteX533" fmla="*/ 3259224 w 12248682"/>
              <a:gd name="connsiteY533" fmla="*/ 629440 h 823468"/>
              <a:gd name="connsiteX534" fmla="*/ 3280013 w 12248682"/>
              <a:gd name="connsiteY534" fmla="*/ 608651 h 823468"/>
              <a:gd name="connsiteX535" fmla="*/ 3144887 w 12248682"/>
              <a:gd name="connsiteY535" fmla="*/ 608651 h 823468"/>
              <a:gd name="connsiteX536" fmla="*/ 3165675 w 12248682"/>
              <a:gd name="connsiteY536" fmla="*/ 629440 h 823468"/>
              <a:gd name="connsiteX537" fmla="*/ 3144887 w 12248682"/>
              <a:gd name="connsiteY537" fmla="*/ 650228 h 823468"/>
              <a:gd name="connsiteX538" fmla="*/ 3124098 w 12248682"/>
              <a:gd name="connsiteY538" fmla="*/ 629440 h 823468"/>
              <a:gd name="connsiteX539" fmla="*/ 3144887 w 12248682"/>
              <a:gd name="connsiteY539" fmla="*/ 608651 h 823468"/>
              <a:gd name="connsiteX540" fmla="*/ 3009759 w 12248682"/>
              <a:gd name="connsiteY540" fmla="*/ 608651 h 823468"/>
              <a:gd name="connsiteX541" fmla="*/ 3030548 w 12248682"/>
              <a:gd name="connsiteY541" fmla="*/ 629440 h 823468"/>
              <a:gd name="connsiteX542" fmla="*/ 3009759 w 12248682"/>
              <a:gd name="connsiteY542" fmla="*/ 650228 h 823468"/>
              <a:gd name="connsiteX543" fmla="*/ 2988971 w 12248682"/>
              <a:gd name="connsiteY543" fmla="*/ 629440 h 823468"/>
              <a:gd name="connsiteX544" fmla="*/ 3009759 w 12248682"/>
              <a:gd name="connsiteY544" fmla="*/ 608651 h 823468"/>
              <a:gd name="connsiteX545" fmla="*/ 2873476 w 12248682"/>
              <a:gd name="connsiteY545" fmla="*/ 608651 h 823468"/>
              <a:gd name="connsiteX546" fmla="*/ 2894265 w 12248682"/>
              <a:gd name="connsiteY546" fmla="*/ 629440 h 823468"/>
              <a:gd name="connsiteX547" fmla="*/ 2873476 w 12248682"/>
              <a:gd name="connsiteY547" fmla="*/ 650228 h 823468"/>
              <a:gd name="connsiteX548" fmla="*/ 2852688 w 12248682"/>
              <a:gd name="connsiteY548" fmla="*/ 629440 h 823468"/>
              <a:gd name="connsiteX549" fmla="*/ 2873476 w 12248682"/>
              <a:gd name="connsiteY549" fmla="*/ 608651 h 823468"/>
              <a:gd name="connsiteX550" fmla="*/ 2738350 w 12248682"/>
              <a:gd name="connsiteY550" fmla="*/ 608651 h 823468"/>
              <a:gd name="connsiteX551" fmla="*/ 2759139 w 12248682"/>
              <a:gd name="connsiteY551" fmla="*/ 629440 h 823468"/>
              <a:gd name="connsiteX552" fmla="*/ 2738350 w 12248682"/>
              <a:gd name="connsiteY552" fmla="*/ 650228 h 823468"/>
              <a:gd name="connsiteX553" fmla="*/ 2717562 w 12248682"/>
              <a:gd name="connsiteY553" fmla="*/ 629440 h 823468"/>
              <a:gd name="connsiteX554" fmla="*/ 2738350 w 12248682"/>
              <a:gd name="connsiteY554" fmla="*/ 608651 h 823468"/>
              <a:gd name="connsiteX555" fmla="*/ 2603222 w 12248682"/>
              <a:gd name="connsiteY555" fmla="*/ 608651 h 823468"/>
              <a:gd name="connsiteX556" fmla="*/ 2624011 w 12248682"/>
              <a:gd name="connsiteY556" fmla="*/ 629440 h 823468"/>
              <a:gd name="connsiteX557" fmla="*/ 2603222 w 12248682"/>
              <a:gd name="connsiteY557" fmla="*/ 650228 h 823468"/>
              <a:gd name="connsiteX558" fmla="*/ 2582433 w 12248682"/>
              <a:gd name="connsiteY558" fmla="*/ 629440 h 823468"/>
              <a:gd name="connsiteX559" fmla="*/ 2603222 w 12248682"/>
              <a:gd name="connsiteY559" fmla="*/ 608651 h 823468"/>
              <a:gd name="connsiteX560" fmla="*/ 2466940 w 12248682"/>
              <a:gd name="connsiteY560" fmla="*/ 608651 h 823468"/>
              <a:gd name="connsiteX561" fmla="*/ 2487729 w 12248682"/>
              <a:gd name="connsiteY561" fmla="*/ 629440 h 823468"/>
              <a:gd name="connsiteX562" fmla="*/ 2466940 w 12248682"/>
              <a:gd name="connsiteY562" fmla="*/ 650228 h 823468"/>
              <a:gd name="connsiteX563" fmla="*/ 2446151 w 12248682"/>
              <a:gd name="connsiteY563" fmla="*/ 629440 h 823468"/>
              <a:gd name="connsiteX564" fmla="*/ 2466940 w 12248682"/>
              <a:gd name="connsiteY564" fmla="*/ 608651 h 823468"/>
              <a:gd name="connsiteX565" fmla="*/ 1518739 w 12248682"/>
              <a:gd name="connsiteY565" fmla="*/ 608651 h 823468"/>
              <a:gd name="connsiteX566" fmla="*/ 1539528 w 12248682"/>
              <a:gd name="connsiteY566" fmla="*/ 629440 h 823468"/>
              <a:gd name="connsiteX567" fmla="*/ 1518739 w 12248682"/>
              <a:gd name="connsiteY567" fmla="*/ 650228 h 823468"/>
              <a:gd name="connsiteX568" fmla="*/ 1497951 w 12248682"/>
              <a:gd name="connsiteY568" fmla="*/ 629440 h 823468"/>
              <a:gd name="connsiteX569" fmla="*/ 1518739 w 12248682"/>
              <a:gd name="connsiteY569" fmla="*/ 608651 h 823468"/>
              <a:gd name="connsiteX570" fmla="*/ 1383611 w 12248682"/>
              <a:gd name="connsiteY570" fmla="*/ 608651 h 823468"/>
              <a:gd name="connsiteX571" fmla="*/ 1404400 w 12248682"/>
              <a:gd name="connsiteY571" fmla="*/ 629440 h 823468"/>
              <a:gd name="connsiteX572" fmla="*/ 1383611 w 12248682"/>
              <a:gd name="connsiteY572" fmla="*/ 650228 h 823468"/>
              <a:gd name="connsiteX573" fmla="*/ 1362823 w 12248682"/>
              <a:gd name="connsiteY573" fmla="*/ 629440 h 823468"/>
              <a:gd name="connsiteX574" fmla="*/ 1383611 w 12248682"/>
              <a:gd name="connsiteY574" fmla="*/ 608651 h 823468"/>
              <a:gd name="connsiteX575" fmla="*/ 11549947 w 12248682"/>
              <a:gd name="connsiteY575" fmla="*/ 606341 h 823468"/>
              <a:gd name="connsiteX576" fmla="*/ 11573046 w 12248682"/>
              <a:gd name="connsiteY576" fmla="*/ 629440 h 823468"/>
              <a:gd name="connsiteX577" fmla="*/ 11549947 w 12248682"/>
              <a:gd name="connsiteY577" fmla="*/ 652538 h 823468"/>
              <a:gd name="connsiteX578" fmla="*/ 11526848 w 12248682"/>
              <a:gd name="connsiteY578" fmla="*/ 629440 h 823468"/>
              <a:gd name="connsiteX579" fmla="*/ 11549947 w 12248682"/>
              <a:gd name="connsiteY579" fmla="*/ 606341 h 823468"/>
              <a:gd name="connsiteX580" fmla="*/ 10466618 w 12248682"/>
              <a:gd name="connsiteY580" fmla="*/ 606341 h 823468"/>
              <a:gd name="connsiteX581" fmla="*/ 10489717 w 12248682"/>
              <a:gd name="connsiteY581" fmla="*/ 629440 h 823468"/>
              <a:gd name="connsiteX582" fmla="*/ 10466618 w 12248682"/>
              <a:gd name="connsiteY582" fmla="*/ 652538 h 823468"/>
              <a:gd name="connsiteX583" fmla="*/ 10443520 w 12248682"/>
              <a:gd name="connsiteY583" fmla="*/ 629440 h 823468"/>
              <a:gd name="connsiteX584" fmla="*/ 10466618 w 12248682"/>
              <a:gd name="connsiteY584" fmla="*/ 606341 h 823468"/>
              <a:gd name="connsiteX585" fmla="*/ 9244698 w 12248682"/>
              <a:gd name="connsiteY585" fmla="*/ 606341 h 823468"/>
              <a:gd name="connsiteX586" fmla="*/ 9270107 w 12248682"/>
              <a:gd name="connsiteY586" fmla="*/ 627130 h 823468"/>
              <a:gd name="connsiteX587" fmla="*/ 9249318 w 12248682"/>
              <a:gd name="connsiteY587" fmla="*/ 652538 h 823468"/>
              <a:gd name="connsiteX588" fmla="*/ 9223909 w 12248682"/>
              <a:gd name="connsiteY588" fmla="*/ 631749 h 823468"/>
              <a:gd name="connsiteX589" fmla="*/ 9244698 w 12248682"/>
              <a:gd name="connsiteY589" fmla="*/ 606341 h 823468"/>
              <a:gd name="connsiteX590" fmla="*/ 8164231 w 12248682"/>
              <a:gd name="connsiteY590" fmla="*/ 606341 h 823468"/>
              <a:gd name="connsiteX591" fmla="*/ 8187331 w 12248682"/>
              <a:gd name="connsiteY591" fmla="*/ 629440 h 823468"/>
              <a:gd name="connsiteX592" fmla="*/ 8164231 w 12248682"/>
              <a:gd name="connsiteY592" fmla="*/ 652538 h 823468"/>
              <a:gd name="connsiteX593" fmla="*/ 8141133 w 12248682"/>
              <a:gd name="connsiteY593" fmla="*/ 629440 h 823468"/>
              <a:gd name="connsiteX594" fmla="*/ 8164231 w 12248682"/>
              <a:gd name="connsiteY594" fmla="*/ 606341 h 823468"/>
              <a:gd name="connsiteX595" fmla="*/ 6944621 w 12248682"/>
              <a:gd name="connsiteY595" fmla="*/ 606341 h 823468"/>
              <a:gd name="connsiteX596" fmla="*/ 6967719 w 12248682"/>
              <a:gd name="connsiteY596" fmla="*/ 629440 h 823468"/>
              <a:gd name="connsiteX597" fmla="*/ 6944621 w 12248682"/>
              <a:gd name="connsiteY597" fmla="*/ 652538 h 823468"/>
              <a:gd name="connsiteX598" fmla="*/ 6921522 w 12248682"/>
              <a:gd name="connsiteY598" fmla="*/ 629440 h 823468"/>
              <a:gd name="connsiteX599" fmla="*/ 6944621 w 12248682"/>
              <a:gd name="connsiteY599" fmla="*/ 606341 h 823468"/>
              <a:gd name="connsiteX600" fmla="*/ 5861292 w 12248682"/>
              <a:gd name="connsiteY600" fmla="*/ 606341 h 823468"/>
              <a:gd name="connsiteX601" fmla="*/ 5884392 w 12248682"/>
              <a:gd name="connsiteY601" fmla="*/ 629440 h 823468"/>
              <a:gd name="connsiteX602" fmla="*/ 5861292 w 12248682"/>
              <a:gd name="connsiteY602" fmla="*/ 652538 h 823468"/>
              <a:gd name="connsiteX603" fmla="*/ 5838194 w 12248682"/>
              <a:gd name="connsiteY603" fmla="*/ 629440 h 823468"/>
              <a:gd name="connsiteX604" fmla="*/ 5861292 w 12248682"/>
              <a:gd name="connsiteY604" fmla="*/ 606341 h 823468"/>
              <a:gd name="connsiteX605" fmla="*/ 4639373 w 12248682"/>
              <a:gd name="connsiteY605" fmla="*/ 606341 h 823468"/>
              <a:gd name="connsiteX606" fmla="*/ 4664780 w 12248682"/>
              <a:gd name="connsiteY606" fmla="*/ 627130 h 823468"/>
              <a:gd name="connsiteX607" fmla="*/ 4643991 w 12248682"/>
              <a:gd name="connsiteY607" fmla="*/ 652538 h 823468"/>
              <a:gd name="connsiteX608" fmla="*/ 4618583 w 12248682"/>
              <a:gd name="connsiteY608" fmla="*/ 631749 h 823468"/>
              <a:gd name="connsiteX609" fmla="*/ 4639373 w 12248682"/>
              <a:gd name="connsiteY609" fmla="*/ 606341 h 823468"/>
              <a:gd name="connsiteX610" fmla="*/ 3551423 w 12248682"/>
              <a:gd name="connsiteY610" fmla="*/ 606341 h 823468"/>
              <a:gd name="connsiteX611" fmla="*/ 3574522 w 12248682"/>
              <a:gd name="connsiteY611" fmla="*/ 629440 h 823468"/>
              <a:gd name="connsiteX612" fmla="*/ 3551423 w 12248682"/>
              <a:gd name="connsiteY612" fmla="*/ 652538 h 823468"/>
              <a:gd name="connsiteX613" fmla="*/ 3528325 w 12248682"/>
              <a:gd name="connsiteY613" fmla="*/ 629440 h 823468"/>
              <a:gd name="connsiteX614" fmla="*/ 3551423 w 12248682"/>
              <a:gd name="connsiteY614" fmla="*/ 606341 h 823468"/>
              <a:gd name="connsiteX615" fmla="*/ 2331813 w 12248682"/>
              <a:gd name="connsiteY615" fmla="*/ 606341 h 823468"/>
              <a:gd name="connsiteX616" fmla="*/ 2354912 w 12248682"/>
              <a:gd name="connsiteY616" fmla="*/ 629440 h 823468"/>
              <a:gd name="connsiteX617" fmla="*/ 2331813 w 12248682"/>
              <a:gd name="connsiteY617" fmla="*/ 652538 h 823468"/>
              <a:gd name="connsiteX618" fmla="*/ 2308714 w 12248682"/>
              <a:gd name="connsiteY618" fmla="*/ 629440 h 823468"/>
              <a:gd name="connsiteX619" fmla="*/ 2331813 w 12248682"/>
              <a:gd name="connsiteY619" fmla="*/ 606341 h 823468"/>
              <a:gd name="connsiteX620" fmla="*/ 1248485 w 12248682"/>
              <a:gd name="connsiteY620" fmla="*/ 606341 h 823468"/>
              <a:gd name="connsiteX621" fmla="*/ 1271583 w 12248682"/>
              <a:gd name="connsiteY621" fmla="*/ 629440 h 823468"/>
              <a:gd name="connsiteX622" fmla="*/ 1248485 w 12248682"/>
              <a:gd name="connsiteY622" fmla="*/ 652538 h 823468"/>
              <a:gd name="connsiteX623" fmla="*/ 1225386 w 12248682"/>
              <a:gd name="connsiteY623" fmla="*/ 629440 h 823468"/>
              <a:gd name="connsiteX624" fmla="*/ 1248485 w 12248682"/>
              <a:gd name="connsiteY624" fmla="*/ 606341 h 823468"/>
              <a:gd name="connsiteX625" fmla="*/ 26564 w 12248682"/>
              <a:gd name="connsiteY625" fmla="*/ 606341 h 823468"/>
              <a:gd name="connsiteX626" fmla="*/ 51973 w 12248682"/>
              <a:gd name="connsiteY626" fmla="*/ 627130 h 823468"/>
              <a:gd name="connsiteX627" fmla="*/ 31184 w 12248682"/>
              <a:gd name="connsiteY627" fmla="*/ 652538 h 823468"/>
              <a:gd name="connsiteX628" fmla="*/ 5776 w 12248682"/>
              <a:gd name="connsiteY628" fmla="*/ 631749 h 823468"/>
              <a:gd name="connsiteX629" fmla="*/ 26564 w 12248682"/>
              <a:gd name="connsiteY629" fmla="*/ 606341 h 823468"/>
              <a:gd name="connsiteX630" fmla="*/ 11414819 w 12248682"/>
              <a:gd name="connsiteY630" fmla="*/ 600566 h 823468"/>
              <a:gd name="connsiteX631" fmla="*/ 11443693 w 12248682"/>
              <a:gd name="connsiteY631" fmla="*/ 629440 h 823468"/>
              <a:gd name="connsiteX632" fmla="*/ 11414819 w 12248682"/>
              <a:gd name="connsiteY632" fmla="*/ 658312 h 823468"/>
              <a:gd name="connsiteX633" fmla="*/ 11385946 w 12248682"/>
              <a:gd name="connsiteY633" fmla="*/ 629440 h 823468"/>
              <a:gd name="connsiteX634" fmla="*/ 11414819 w 12248682"/>
              <a:gd name="connsiteY634" fmla="*/ 600566 h 823468"/>
              <a:gd name="connsiteX635" fmla="*/ 10330336 w 12248682"/>
              <a:gd name="connsiteY635" fmla="*/ 600566 h 823468"/>
              <a:gd name="connsiteX636" fmla="*/ 10359209 w 12248682"/>
              <a:gd name="connsiteY636" fmla="*/ 629440 h 823468"/>
              <a:gd name="connsiteX637" fmla="*/ 10330336 w 12248682"/>
              <a:gd name="connsiteY637" fmla="*/ 658312 h 823468"/>
              <a:gd name="connsiteX638" fmla="*/ 10301462 w 12248682"/>
              <a:gd name="connsiteY638" fmla="*/ 629440 h 823468"/>
              <a:gd name="connsiteX639" fmla="*/ 10330336 w 12248682"/>
              <a:gd name="connsiteY639" fmla="*/ 600566 h 823468"/>
              <a:gd name="connsiteX640" fmla="*/ 9382135 w 12248682"/>
              <a:gd name="connsiteY640" fmla="*/ 600566 h 823468"/>
              <a:gd name="connsiteX641" fmla="*/ 9411009 w 12248682"/>
              <a:gd name="connsiteY641" fmla="*/ 629440 h 823468"/>
              <a:gd name="connsiteX642" fmla="*/ 9382135 w 12248682"/>
              <a:gd name="connsiteY642" fmla="*/ 658312 h 823468"/>
              <a:gd name="connsiteX643" fmla="*/ 9353262 w 12248682"/>
              <a:gd name="connsiteY643" fmla="*/ 629440 h 823468"/>
              <a:gd name="connsiteX644" fmla="*/ 9382135 w 12248682"/>
              <a:gd name="connsiteY644" fmla="*/ 600566 h 823468"/>
              <a:gd name="connsiteX645" fmla="*/ 9112431 w 12248682"/>
              <a:gd name="connsiteY645" fmla="*/ 600566 h 823468"/>
              <a:gd name="connsiteX646" fmla="*/ 9141305 w 12248682"/>
              <a:gd name="connsiteY646" fmla="*/ 629440 h 823468"/>
              <a:gd name="connsiteX647" fmla="*/ 9112431 w 12248682"/>
              <a:gd name="connsiteY647" fmla="*/ 658312 h 823468"/>
              <a:gd name="connsiteX648" fmla="*/ 9083558 w 12248682"/>
              <a:gd name="connsiteY648" fmla="*/ 629440 h 823468"/>
              <a:gd name="connsiteX649" fmla="*/ 9112431 w 12248682"/>
              <a:gd name="connsiteY649" fmla="*/ 600566 h 823468"/>
              <a:gd name="connsiteX650" fmla="*/ 8299358 w 12248682"/>
              <a:gd name="connsiteY650" fmla="*/ 600566 h 823468"/>
              <a:gd name="connsiteX651" fmla="*/ 8328231 w 12248682"/>
              <a:gd name="connsiteY651" fmla="*/ 629440 h 823468"/>
              <a:gd name="connsiteX652" fmla="*/ 8299358 w 12248682"/>
              <a:gd name="connsiteY652" fmla="*/ 658312 h 823468"/>
              <a:gd name="connsiteX653" fmla="*/ 8270485 w 12248682"/>
              <a:gd name="connsiteY653" fmla="*/ 629440 h 823468"/>
              <a:gd name="connsiteX654" fmla="*/ 8299358 w 12248682"/>
              <a:gd name="connsiteY654" fmla="*/ 600566 h 823468"/>
              <a:gd name="connsiteX655" fmla="*/ 6809492 w 12248682"/>
              <a:gd name="connsiteY655" fmla="*/ 600566 h 823468"/>
              <a:gd name="connsiteX656" fmla="*/ 6838367 w 12248682"/>
              <a:gd name="connsiteY656" fmla="*/ 629440 h 823468"/>
              <a:gd name="connsiteX657" fmla="*/ 6809492 w 12248682"/>
              <a:gd name="connsiteY657" fmla="*/ 658312 h 823468"/>
              <a:gd name="connsiteX658" fmla="*/ 6780620 w 12248682"/>
              <a:gd name="connsiteY658" fmla="*/ 629440 h 823468"/>
              <a:gd name="connsiteX659" fmla="*/ 6809492 w 12248682"/>
              <a:gd name="connsiteY659" fmla="*/ 600566 h 823468"/>
              <a:gd name="connsiteX660" fmla="*/ 5726165 w 12248682"/>
              <a:gd name="connsiteY660" fmla="*/ 600566 h 823468"/>
              <a:gd name="connsiteX661" fmla="*/ 5755038 w 12248682"/>
              <a:gd name="connsiteY661" fmla="*/ 629440 h 823468"/>
              <a:gd name="connsiteX662" fmla="*/ 5726165 w 12248682"/>
              <a:gd name="connsiteY662" fmla="*/ 658312 h 823468"/>
              <a:gd name="connsiteX663" fmla="*/ 5697292 w 12248682"/>
              <a:gd name="connsiteY663" fmla="*/ 629440 h 823468"/>
              <a:gd name="connsiteX664" fmla="*/ 5726165 w 12248682"/>
              <a:gd name="connsiteY664" fmla="*/ 600566 h 823468"/>
              <a:gd name="connsiteX665" fmla="*/ 4776809 w 12248682"/>
              <a:gd name="connsiteY665" fmla="*/ 600566 h 823468"/>
              <a:gd name="connsiteX666" fmla="*/ 4805682 w 12248682"/>
              <a:gd name="connsiteY666" fmla="*/ 629440 h 823468"/>
              <a:gd name="connsiteX667" fmla="*/ 4776809 w 12248682"/>
              <a:gd name="connsiteY667" fmla="*/ 658312 h 823468"/>
              <a:gd name="connsiteX668" fmla="*/ 4747936 w 12248682"/>
              <a:gd name="connsiteY668" fmla="*/ 629440 h 823468"/>
              <a:gd name="connsiteX669" fmla="*/ 4776809 w 12248682"/>
              <a:gd name="connsiteY669" fmla="*/ 600566 h 823468"/>
              <a:gd name="connsiteX670" fmla="*/ 4499625 w 12248682"/>
              <a:gd name="connsiteY670" fmla="*/ 600566 h 823468"/>
              <a:gd name="connsiteX671" fmla="*/ 4528499 w 12248682"/>
              <a:gd name="connsiteY671" fmla="*/ 629440 h 823468"/>
              <a:gd name="connsiteX672" fmla="*/ 4499625 w 12248682"/>
              <a:gd name="connsiteY672" fmla="*/ 658312 h 823468"/>
              <a:gd name="connsiteX673" fmla="*/ 4470752 w 12248682"/>
              <a:gd name="connsiteY673" fmla="*/ 629440 h 823468"/>
              <a:gd name="connsiteX674" fmla="*/ 4499625 w 12248682"/>
              <a:gd name="connsiteY674" fmla="*/ 600566 h 823468"/>
              <a:gd name="connsiteX675" fmla="*/ 3686551 w 12248682"/>
              <a:gd name="connsiteY675" fmla="*/ 600566 h 823468"/>
              <a:gd name="connsiteX676" fmla="*/ 3715424 w 12248682"/>
              <a:gd name="connsiteY676" fmla="*/ 629440 h 823468"/>
              <a:gd name="connsiteX677" fmla="*/ 3686551 w 12248682"/>
              <a:gd name="connsiteY677" fmla="*/ 658312 h 823468"/>
              <a:gd name="connsiteX678" fmla="*/ 3657677 w 12248682"/>
              <a:gd name="connsiteY678" fmla="*/ 629440 h 823468"/>
              <a:gd name="connsiteX679" fmla="*/ 3686551 w 12248682"/>
              <a:gd name="connsiteY679" fmla="*/ 600566 h 823468"/>
              <a:gd name="connsiteX680" fmla="*/ 2196685 w 12248682"/>
              <a:gd name="connsiteY680" fmla="*/ 600566 h 823468"/>
              <a:gd name="connsiteX681" fmla="*/ 2225559 w 12248682"/>
              <a:gd name="connsiteY681" fmla="*/ 629440 h 823468"/>
              <a:gd name="connsiteX682" fmla="*/ 2196685 w 12248682"/>
              <a:gd name="connsiteY682" fmla="*/ 658312 h 823468"/>
              <a:gd name="connsiteX683" fmla="*/ 2167813 w 12248682"/>
              <a:gd name="connsiteY683" fmla="*/ 629440 h 823468"/>
              <a:gd name="connsiteX684" fmla="*/ 2196685 w 12248682"/>
              <a:gd name="connsiteY684" fmla="*/ 600566 h 823468"/>
              <a:gd name="connsiteX685" fmla="*/ 1112202 w 12248682"/>
              <a:gd name="connsiteY685" fmla="*/ 600566 h 823468"/>
              <a:gd name="connsiteX686" fmla="*/ 1141075 w 12248682"/>
              <a:gd name="connsiteY686" fmla="*/ 629440 h 823468"/>
              <a:gd name="connsiteX687" fmla="*/ 1112202 w 12248682"/>
              <a:gd name="connsiteY687" fmla="*/ 658312 h 823468"/>
              <a:gd name="connsiteX688" fmla="*/ 1083328 w 12248682"/>
              <a:gd name="connsiteY688" fmla="*/ 629440 h 823468"/>
              <a:gd name="connsiteX689" fmla="*/ 1112202 w 12248682"/>
              <a:gd name="connsiteY689" fmla="*/ 600566 h 823468"/>
              <a:gd name="connsiteX690" fmla="*/ 164001 w 12248682"/>
              <a:gd name="connsiteY690" fmla="*/ 600566 h 823468"/>
              <a:gd name="connsiteX691" fmla="*/ 192875 w 12248682"/>
              <a:gd name="connsiteY691" fmla="*/ 629440 h 823468"/>
              <a:gd name="connsiteX692" fmla="*/ 164001 w 12248682"/>
              <a:gd name="connsiteY692" fmla="*/ 658312 h 823468"/>
              <a:gd name="connsiteX693" fmla="*/ 135128 w 12248682"/>
              <a:gd name="connsiteY693" fmla="*/ 629440 h 823468"/>
              <a:gd name="connsiteX694" fmla="*/ 164001 w 12248682"/>
              <a:gd name="connsiteY694" fmla="*/ 600566 h 823468"/>
              <a:gd name="connsiteX695" fmla="*/ 11279692 w 12248682"/>
              <a:gd name="connsiteY695" fmla="*/ 594792 h 823468"/>
              <a:gd name="connsiteX696" fmla="*/ 11314340 w 12248682"/>
              <a:gd name="connsiteY696" fmla="*/ 629440 h 823468"/>
              <a:gd name="connsiteX697" fmla="*/ 11279692 w 12248682"/>
              <a:gd name="connsiteY697" fmla="*/ 664088 h 823468"/>
              <a:gd name="connsiteX698" fmla="*/ 11245044 w 12248682"/>
              <a:gd name="connsiteY698" fmla="*/ 629440 h 823468"/>
              <a:gd name="connsiteX699" fmla="*/ 11279692 w 12248682"/>
              <a:gd name="connsiteY699" fmla="*/ 594792 h 823468"/>
              <a:gd name="connsiteX700" fmla="*/ 10195208 w 12248682"/>
              <a:gd name="connsiteY700" fmla="*/ 594792 h 823468"/>
              <a:gd name="connsiteX701" fmla="*/ 10229856 w 12248682"/>
              <a:gd name="connsiteY701" fmla="*/ 629440 h 823468"/>
              <a:gd name="connsiteX702" fmla="*/ 10195208 w 12248682"/>
              <a:gd name="connsiteY702" fmla="*/ 664088 h 823468"/>
              <a:gd name="connsiteX703" fmla="*/ 10160560 w 12248682"/>
              <a:gd name="connsiteY703" fmla="*/ 629440 h 823468"/>
              <a:gd name="connsiteX704" fmla="*/ 10195208 w 12248682"/>
              <a:gd name="connsiteY704" fmla="*/ 594792 h 823468"/>
              <a:gd name="connsiteX705" fmla="*/ 9518417 w 12248682"/>
              <a:gd name="connsiteY705" fmla="*/ 594792 h 823468"/>
              <a:gd name="connsiteX706" fmla="*/ 9553065 w 12248682"/>
              <a:gd name="connsiteY706" fmla="*/ 629440 h 823468"/>
              <a:gd name="connsiteX707" fmla="*/ 9518417 w 12248682"/>
              <a:gd name="connsiteY707" fmla="*/ 664088 h 823468"/>
              <a:gd name="connsiteX708" fmla="*/ 9483769 w 12248682"/>
              <a:gd name="connsiteY708" fmla="*/ 629440 h 823468"/>
              <a:gd name="connsiteX709" fmla="*/ 9518417 w 12248682"/>
              <a:gd name="connsiteY709" fmla="*/ 594792 h 823468"/>
              <a:gd name="connsiteX710" fmla="*/ 8977304 w 12248682"/>
              <a:gd name="connsiteY710" fmla="*/ 594792 h 823468"/>
              <a:gd name="connsiteX711" fmla="*/ 9011952 w 12248682"/>
              <a:gd name="connsiteY711" fmla="*/ 629440 h 823468"/>
              <a:gd name="connsiteX712" fmla="*/ 8977304 w 12248682"/>
              <a:gd name="connsiteY712" fmla="*/ 664088 h 823468"/>
              <a:gd name="connsiteX713" fmla="*/ 8942656 w 12248682"/>
              <a:gd name="connsiteY713" fmla="*/ 629440 h 823468"/>
              <a:gd name="connsiteX714" fmla="*/ 8977304 w 12248682"/>
              <a:gd name="connsiteY714" fmla="*/ 594792 h 823468"/>
              <a:gd name="connsiteX715" fmla="*/ 8434485 w 12248682"/>
              <a:gd name="connsiteY715" fmla="*/ 594792 h 823468"/>
              <a:gd name="connsiteX716" fmla="*/ 8469133 w 12248682"/>
              <a:gd name="connsiteY716" fmla="*/ 629440 h 823468"/>
              <a:gd name="connsiteX717" fmla="*/ 8434485 w 12248682"/>
              <a:gd name="connsiteY717" fmla="*/ 664088 h 823468"/>
              <a:gd name="connsiteX718" fmla="*/ 8399837 w 12248682"/>
              <a:gd name="connsiteY718" fmla="*/ 629440 h 823468"/>
              <a:gd name="connsiteX719" fmla="*/ 8434485 w 12248682"/>
              <a:gd name="connsiteY719" fmla="*/ 594792 h 823468"/>
              <a:gd name="connsiteX720" fmla="*/ 6674366 w 12248682"/>
              <a:gd name="connsiteY720" fmla="*/ 594792 h 823468"/>
              <a:gd name="connsiteX721" fmla="*/ 6709014 w 12248682"/>
              <a:gd name="connsiteY721" fmla="*/ 629440 h 823468"/>
              <a:gd name="connsiteX722" fmla="*/ 6674366 w 12248682"/>
              <a:gd name="connsiteY722" fmla="*/ 664088 h 823468"/>
              <a:gd name="connsiteX723" fmla="*/ 6639717 w 12248682"/>
              <a:gd name="connsiteY723" fmla="*/ 629440 h 823468"/>
              <a:gd name="connsiteX724" fmla="*/ 6674366 w 12248682"/>
              <a:gd name="connsiteY724" fmla="*/ 594792 h 823468"/>
              <a:gd name="connsiteX725" fmla="*/ 5589882 w 12248682"/>
              <a:gd name="connsiteY725" fmla="*/ 594792 h 823468"/>
              <a:gd name="connsiteX726" fmla="*/ 5624531 w 12248682"/>
              <a:gd name="connsiteY726" fmla="*/ 629440 h 823468"/>
              <a:gd name="connsiteX727" fmla="*/ 5589882 w 12248682"/>
              <a:gd name="connsiteY727" fmla="*/ 664088 h 823468"/>
              <a:gd name="connsiteX728" fmla="*/ 5555234 w 12248682"/>
              <a:gd name="connsiteY728" fmla="*/ 629440 h 823468"/>
              <a:gd name="connsiteX729" fmla="*/ 5589882 w 12248682"/>
              <a:gd name="connsiteY729" fmla="*/ 594792 h 823468"/>
              <a:gd name="connsiteX730" fmla="*/ 4913091 w 12248682"/>
              <a:gd name="connsiteY730" fmla="*/ 594792 h 823468"/>
              <a:gd name="connsiteX731" fmla="*/ 4947739 w 12248682"/>
              <a:gd name="connsiteY731" fmla="*/ 629440 h 823468"/>
              <a:gd name="connsiteX732" fmla="*/ 4913091 w 12248682"/>
              <a:gd name="connsiteY732" fmla="*/ 664088 h 823468"/>
              <a:gd name="connsiteX733" fmla="*/ 4878443 w 12248682"/>
              <a:gd name="connsiteY733" fmla="*/ 629440 h 823468"/>
              <a:gd name="connsiteX734" fmla="*/ 4913091 w 12248682"/>
              <a:gd name="connsiteY734" fmla="*/ 594792 h 823468"/>
              <a:gd name="connsiteX735" fmla="*/ 4364498 w 12248682"/>
              <a:gd name="connsiteY735" fmla="*/ 594792 h 823468"/>
              <a:gd name="connsiteX736" fmla="*/ 4399146 w 12248682"/>
              <a:gd name="connsiteY736" fmla="*/ 629440 h 823468"/>
              <a:gd name="connsiteX737" fmla="*/ 4364498 w 12248682"/>
              <a:gd name="connsiteY737" fmla="*/ 664088 h 823468"/>
              <a:gd name="connsiteX738" fmla="*/ 4329850 w 12248682"/>
              <a:gd name="connsiteY738" fmla="*/ 629440 h 823468"/>
              <a:gd name="connsiteX739" fmla="*/ 4364498 w 12248682"/>
              <a:gd name="connsiteY739" fmla="*/ 594792 h 823468"/>
              <a:gd name="connsiteX740" fmla="*/ 3821678 w 12248682"/>
              <a:gd name="connsiteY740" fmla="*/ 594792 h 823468"/>
              <a:gd name="connsiteX741" fmla="*/ 3856326 w 12248682"/>
              <a:gd name="connsiteY741" fmla="*/ 629440 h 823468"/>
              <a:gd name="connsiteX742" fmla="*/ 3821678 w 12248682"/>
              <a:gd name="connsiteY742" fmla="*/ 664088 h 823468"/>
              <a:gd name="connsiteX743" fmla="*/ 3787030 w 12248682"/>
              <a:gd name="connsiteY743" fmla="*/ 629440 h 823468"/>
              <a:gd name="connsiteX744" fmla="*/ 3821678 w 12248682"/>
              <a:gd name="connsiteY744" fmla="*/ 594792 h 823468"/>
              <a:gd name="connsiteX745" fmla="*/ 2061558 w 12248682"/>
              <a:gd name="connsiteY745" fmla="*/ 594792 h 823468"/>
              <a:gd name="connsiteX746" fmla="*/ 2096206 w 12248682"/>
              <a:gd name="connsiteY746" fmla="*/ 629440 h 823468"/>
              <a:gd name="connsiteX747" fmla="*/ 2061558 w 12248682"/>
              <a:gd name="connsiteY747" fmla="*/ 664088 h 823468"/>
              <a:gd name="connsiteX748" fmla="*/ 2026910 w 12248682"/>
              <a:gd name="connsiteY748" fmla="*/ 629440 h 823468"/>
              <a:gd name="connsiteX749" fmla="*/ 2061558 w 12248682"/>
              <a:gd name="connsiteY749" fmla="*/ 594792 h 823468"/>
              <a:gd name="connsiteX750" fmla="*/ 977075 w 12248682"/>
              <a:gd name="connsiteY750" fmla="*/ 594792 h 823468"/>
              <a:gd name="connsiteX751" fmla="*/ 1011723 w 12248682"/>
              <a:gd name="connsiteY751" fmla="*/ 629440 h 823468"/>
              <a:gd name="connsiteX752" fmla="*/ 977075 w 12248682"/>
              <a:gd name="connsiteY752" fmla="*/ 664088 h 823468"/>
              <a:gd name="connsiteX753" fmla="*/ 942427 w 12248682"/>
              <a:gd name="connsiteY753" fmla="*/ 629440 h 823468"/>
              <a:gd name="connsiteX754" fmla="*/ 977075 w 12248682"/>
              <a:gd name="connsiteY754" fmla="*/ 594792 h 823468"/>
              <a:gd name="connsiteX755" fmla="*/ 300283 w 12248682"/>
              <a:gd name="connsiteY755" fmla="*/ 594792 h 823468"/>
              <a:gd name="connsiteX756" fmla="*/ 334931 w 12248682"/>
              <a:gd name="connsiteY756" fmla="*/ 629440 h 823468"/>
              <a:gd name="connsiteX757" fmla="*/ 300283 w 12248682"/>
              <a:gd name="connsiteY757" fmla="*/ 664088 h 823468"/>
              <a:gd name="connsiteX758" fmla="*/ 265635 w 12248682"/>
              <a:gd name="connsiteY758" fmla="*/ 629440 h 823468"/>
              <a:gd name="connsiteX759" fmla="*/ 300283 w 12248682"/>
              <a:gd name="connsiteY759" fmla="*/ 594792 h 823468"/>
              <a:gd name="connsiteX760" fmla="*/ 11143410 w 12248682"/>
              <a:gd name="connsiteY760" fmla="*/ 589016 h 823468"/>
              <a:gd name="connsiteX761" fmla="*/ 11183832 w 12248682"/>
              <a:gd name="connsiteY761" fmla="*/ 629440 h 823468"/>
              <a:gd name="connsiteX762" fmla="*/ 11143410 w 12248682"/>
              <a:gd name="connsiteY762" fmla="*/ 669862 h 823468"/>
              <a:gd name="connsiteX763" fmla="*/ 11102987 w 12248682"/>
              <a:gd name="connsiteY763" fmla="*/ 629440 h 823468"/>
              <a:gd name="connsiteX764" fmla="*/ 11143410 w 12248682"/>
              <a:gd name="connsiteY764" fmla="*/ 589016 h 823468"/>
              <a:gd name="connsiteX765" fmla="*/ 10873155 w 12248682"/>
              <a:gd name="connsiteY765" fmla="*/ 589016 h 823468"/>
              <a:gd name="connsiteX766" fmla="*/ 10913577 w 12248682"/>
              <a:gd name="connsiteY766" fmla="*/ 629440 h 823468"/>
              <a:gd name="connsiteX767" fmla="*/ 10873155 w 12248682"/>
              <a:gd name="connsiteY767" fmla="*/ 669862 h 823468"/>
              <a:gd name="connsiteX768" fmla="*/ 10832732 w 12248682"/>
              <a:gd name="connsiteY768" fmla="*/ 629440 h 823468"/>
              <a:gd name="connsiteX769" fmla="*/ 10873155 w 12248682"/>
              <a:gd name="connsiteY769" fmla="*/ 589016 h 823468"/>
              <a:gd name="connsiteX770" fmla="*/ 10060082 w 12248682"/>
              <a:gd name="connsiteY770" fmla="*/ 589016 h 823468"/>
              <a:gd name="connsiteX771" fmla="*/ 10100504 w 12248682"/>
              <a:gd name="connsiteY771" fmla="*/ 629440 h 823468"/>
              <a:gd name="connsiteX772" fmla="*/ 10060082 w 12248682"/>
              <a:gd name="connsiteY772" fmla="*/ 669862 h 823468"/>
              <a:gd name="connsiteX773" fmla="*/ 10019658 w 12248682"/>
              <a:gd name="connsiteY773" fmla="*/ 629440 h 823468"/>
              <a:gd name="connsiteX774" fmla="*/ 10060082 w 12248682"/>
              <a:gd name="connsiteY774" fmla="*/ 589016 h 823468"/>
              <a:gd name="connsiteX775" fmla="*/ 9653545 w 12248682"/>
              <a:gd name="connsiteY775" fmla="*/ 589016 h 823468"/>
              <a:gd name="connsiteX776" fmla="*/ 9693967 w 12248682"/>
              <a:gd name="connsiteY776" fmla="*/ 629440 h 823468"/>
              <a:gd name="connsiteX777" fmla="*/ 9653545 w 12248682"/>
              <a:gd name="connsiteY777" fmla="*/ 669862 h 823468"/>
              <a:gd name="connsiteX778" fmla="*/ 9613122 w 12248682"/>
              <a:gd name="connsiteY778" fmla="*/ 629440 h 823468"/>
              <a:gd name="connsiteX779" fmla="*/ 9653545 w 12248682"/>
              <a:gd name="connsiteY779" fmla="*/ 589016 h 823468"/>
              <a:gd name="connsiteX780" fmla="*/ 8841022 w 12248682"/>
              <a:gd name="connsiteY780" fmla="*/ 589016 h 823468"/>
              <a:gd name="connsiteX781" fmla="*/ 8881444 w 12248682"/>
              <a:gd name="connsiteY781" fmla="*/ 629440 h 823468"/>
              <a:gd name="connsiteX782" fmla="*/ 8841022 w 12248682"/>
              <a:gd name="connsiteY782" fmla="*/ 669862 h 823468"/>
              <a:gd name="connsiteX783" fmla="*/ 8800599 w 12248682"/>
              <a:gd name="connsiteY783" fmla="*/ 629440 h 823468"/>
              <a:gd name="connsiteX784" fmla="*/ 8841022 w 12248682"/>
              <a:gd name="connsiteY784" fmla="*/ 589016 h 823468"/>
              <a:gd name="connsiteX785" fmla="*/ 8570767 w 12248682"/>
              <a:gd name="connsiteY785" fmla="*/ 589016 h 823468"/>
              <a:gd name="connsiteX786" fmla="*/ 8611190 w 12248682"/>
              <a:gd name="connsiteY786" fmla="*/ 629440 h 823468"/>
              <a:gd name="connsiteX787" fmla="*/ 8570767 w 12248682"/>
              <a:gd name="connsiteY787" fmla="*/ 669862 h 823468"/>
              <a:gd name="connsiteX788" fmla="*/ 8530344 w 12248682"/>
              <a:gd name="connsiteY788" fmla="*/ 629440 h 823468"/>
              <a:gd name="connsiteX789" fmla="*/ 8570767 w 12248682"/>
              <a:gd name="connsiteY789" fmla="*/ 589016 h 823468"/>
              <a:gd name="connsiteX790" fmla="*/ 6538083 w 12248682"/>
              <a:gd name="connsiteY790" fmla="*/ 589016 h 823468"/>
              <a:gd name="connsiteX791" fmla="*/ 6578507 w 12248682"/>
              <a:gd name="connsiteY791" fmla="*/ 629440 h 823468"/>
              <a:gd name="connsiteX792" fmla="*/ 6538083 w 12248682"/>
              <a:gd name="connsiteY792" fmla="*/ 669862 h 823468"/>
              <a:gd name="connsiteX793" fmla="*/ 6497661 w 12248682"/>
              <a:gd name="connsiteY793" fmla="*/ 629440 h 823468"/>
              <a:gd name="connsiteX794" fmla="*/ 6538083 w 12248682"/>
              <a:gd name="connsiteY794" fmla="*/ 589016 h 823468"/>
              <a:gd name="connsiteX795" fmla="*/ 6267830 w 12248682"/>
              <a:gd name="connsiteY795" fmla="*/ 589016 h 823468"/>
              <a:gd name="connsiteX796" fmla="*/ 6308251 w 12248682"/>
              <a:gd name="connsiteY796" fmla="*/ 629440 h 823468"/>
              <a:gd name="connsiteX797" fmla="*/ 6267830 w 12248682"/>
              <a:gd name="connsiteY797" fmla="*/ 669862 h 823468"/>
              <a:gd name="connsiteX798" fmla="*/ 6227406 w 12248682"/>
              <a:gd name="connsiteY798" fmla="*/ 629440 h 823468"/>
              <a:gd name="connsiteX799" fmla="*/ 6267830 w 12248682"/>
              <a:gd name="connsiteY799" fmla="*/ 589016 h 823468"/>
              <a:gd name="connsiteX800" fmla="*/ 5454756 w 12248682"/>
              <a:gd name="connsiteY800" fmla="*/ 589016 h 823468"/>
              <a:gd name="connsiteX801" fmla="*/ 5495178 w 12248682"/>
              <a:gd name="connsiteY801" fmla="*/ 629440 h 823468"/>
              <a:gd name="connsiteX802" fmla="*/ 5454756 w 12248682"/>
              <a:gd name="connsiteY802" fmla="*/ 669862 h 823468"/>
              <a:gd name="connsiteX803" fmla="*/ 5414332 w 12248682"/>
              <a:gd name="connsiteY803" fmla="*/ 629440 h 823468"/>
              <a:gd name="connsiteX804" fmla="*/ 5454756 w 12248682"/>
              <a:gd name="connsiteY804" fmla="*/ 589016 h 823468"/>
              <a:gd name="connsiteX805" fmla="*/ 5048218 w 12248682"/>
              <a:gd name="connsiteY805" fmla="*/ 589016 h 823468"/>
              <a:gd name="connsiteX806" fmla="*/ 5088641 w 12248682"/>
              <a:gd name="connsiteY806" fmla="*/ 629440 h 823468"/>
              <a:gd name="connsiteX807" fmla="*/ 5048218 w 12248682"/>
              <a:gd name="connsiteY807" fmla="*/ 669862 h 823468"/>
              <a:gd name="connsiteX808" fmla="*/ 5007796 w 12248682"/>
              <a:gd name="connsiteY808" fmla="*/ 629440 h 823468"/>
              <a:gd name="connsiteX809" fmla="*/ 5048218 w 12248682"/>
              <a:gd name="connsiteY809" fmla="*/ 589016 h 823468"/>
              <a:gd name="connsiteX810" fmla="*/ 4228216 w 12248682"/>
              <a:gd name="connsiteY810" fmla="*/ 589016 h 823468"/>
              <a:gd name="connsiteX811" fmla="*/ 4268637 w 12248682"/>
              <a:gd name="connsiteY811" fmla="*/ 629440 h 823468"/>
              <a:gd name="connsiteX812" fmla="*/ 4228216 w 12248682"/>
              <a:gd name="connsiteY812" fmla="*/ 669862 h 823468"/>
              <a:gd name="connsiteX813" fmla="*/ 4187792 w 12248682"/>
              <a:gd name="connsiteY813" fmla="*/ 629440 h 823468"/>
              <a:gd name="connsiteX814" fmla="*/ 4228216 w 12248682"/>
              <a:gd name="connsiteY814" fmla="*/ 589016 h 823468"/>
              <a:gd name="connsiteX815" fmla="*/ 3957960 w 12248682"/>
              <a:gd name="connsiteY815" fmla="*/ 589016 h 823468"/>
              <a:gd name="connsiteX816" fmla="*/ 3998382 w 12248682"/>
              <a:gd name="connsiteY816" fmla="*/ 629440 h 823468"/>
              <a:gd name="connsiteX817" fmla="*/ 3957960 w 12248682"/>
              <a:gd name="connsiteY817" fmla="*/ 669862 h 823468"/>
              <a:gd name="connsiteX818" fmla="*/ 3917537 w 12248682"/>
              <a:gd name="connsiteY818" fmla="*/ 629440 h 823468"/>
              <a:gd name="connsiteX819" fmla="*/ 3957960 w 12248682"/>
              <a:gd name="connsiteY819" fmla="*/ 589016 h 823468"/>
              <a:gd name="connsiteX820" fmla="*/ 1925276 w 12248682"/>
              <a:gd name="connsiteY820" fmla="*/ 589016 h 823468"/>
              <a:gd name="connsiteX821" fmla="*/ 1965698 w 12248682"/>
              <a:gd name="connsiteY821" fmla="*/ 629440 h 823468"/>
              <a:gd name="connsiteX822" fmla="*/ 1925276 w 12248682"/>
              <a:gd name="connsiteY822" fmla="*/ 669862 h 823468"/>
              <a:gd name="connsiteX823" fmla="*/ 1884853 w 12248682"/>
              <a:gd name="connsiteY823" fmla="*/ 629440 h 823468"/>
              <a:gd name="connsiteX824" fmla="*/ 1925276 w 12248682"/>
              <a:gd name="connsiteY824" fmla="*/ 589016 h 823468"/>
              <a:gd name="connsiteX825" fmla="*/ 1655022 w 12248682"/>
              <a:gd name="connsiteY825" fmla="*/ 589016 h 823468"/>
              <a:gd name="connsiteX826" fmla="*/ 1695444 w 12248682"/>
              <a:gd name="connsiteY826" fmla="*/ 629440 h 823468"/>
              <a:gd name="connsiteX827" fmla="*/ 1655022 w 12248682"/>
              <a:gd name="connsiteY827" fmla="*/ 669862 h 823468"/>
              <a:gd name="connsiteX828" fmla="*/ 1614598 w 12248682"/>
              <a:gd name="connsiteY828" fmla="*/ 629440 h 823468"/>
              <a:gd name="connsiteX829" fmla="*/ 1655022 w 12248682"/>
              <a:gd name="connsiteY829" fmla="*/ 589016 h 823468"/>
              <a:gd name="connsiteX830" fmla="*/ 841948 w 12248682"/>
              <a:gd name="connsiteY830" fmla="*/ 589016 h 823468"/>
              <a:gd name="connsiteX831" fmla="*/ 882370 w 12248682"/>
              <a:gd name="connsiteY831" fmla="*/ 629440 h 823468"/>
              <a:gd name="connsiteX832" fmla="*/ 841948 w 12248682"/>
              <a:gd name="connsiteY832" fmla="*/ 669862 h 823468"/>
              <a:gd name="connsiteX833" fmla="*/ 801525 w 12248682"/>
              <a:gd name="connsiteY833" fmla="*/ 629440 h 823468"/>
              <a:gd name="connsiteX834" fmla="*/ 841948 w 12248682"/>
              <a:gd name="connsiteY834" fmla="*/ 589016 h 823468"/>
              <a:gd name="connsiteX835" fmla="*/ 435411 w 12248682"/>
              <a:gd name="connsiteY835" fmla="*/ 589016 h 823468"/>
              <a:gd name="connsiteX836" fmla="*/ 475833 w 12248682"/>
              <a:gd name="connsiteY836" fmla="*/ 629440 h 823468"/>
              <a:gd name="connsiteX837" fmla="*/ 435411 w 12248682"/>
              <a:gd name="connsiteY837" fmla="*/ 669862 h 823468"/>
              <a:gd name="connsiteX838" fmla="*/ 394988 w 12248682"/>
              <a:gd name="connsiteY838" fmla="*/ 629440 h 823468"/>
              <a:gd name="connsiteX839" fmla="*/ 435411 w 12248682"/>
              <a:gd name="connsiteY839" fmla="*/ 589016 h 823468"/>
              <a:gd name="connsiteX840" fmla="*/ 11008282 w 12248682"/>
              <a:gd name="connsiteY840" fmla="*/ 577467 h 823468"/>
              <a:gd name="connsiteX841" fmla="*/ 11059099 w 12248682"/>
              <a:gd name="connsiteY841" fmla="*/ 628284 h 823468"/>
              <a:gd name="connsiteX842" fmla="*/ 11008282 w 12248682"/>
              <a:gd name="connsiteY842" fmla="*/ 679101 h 823468"/>
              <a:gd name="connsiteX843" fmla="*/ 10957465 w 12248682"/>
              <a:gd name="connsiteY843" fmla="*/ 628284 h 823468"/>
              <a:gd name="connsiteX844" fmla="*/ 11008282 w 12248682"/>
              <a:gd name="connsiteY844" fmla="*/ 577467 h 823468"/>
              <a:gd name="connsiteX845" fmla="*/ 9924954 w 12248682"/>
              <a:gd name="connsiteY845" fmla="*/ 577467 h 823468"/>
              <a:gd name="connsiteX846" fmla="*/ 9975771 w 12248682"/>
              <a:gd name="connsiteY846" fmla="*/ 628284 h 823468"/>
              <a:gd name="connsiteX847" fmla="*/ 9924954 w 12248682"/>
              <a:gd name="connsiteY847" fmla="*/ 679101 h 823468"/>
              <a:gd name="connsiteX848" fmla="*/ 9874137 w 12248682"/>
              <a:gd name="connsiteY848" fmla="*/ 628284 h 823468"/>
              <a:gd name="connsiteX849" fmla="*/ 9924954 w 12248682"/>
              <a:gd name="connsiteY849" fmla="*/ 577467 h 823468"/>
              <a:gd name="connsiteX850" fmla="*/ 9788672 w 12248682"/>
              <a:gd name="connsiteY850" fmla="*/ 577467 h 823468"/>
              <a:gd name="connsiteX851" fmla="*/ 9839489 w 12248682"/>
              <a:gd name="connsiteY851" fmla="*/ 629440 h 823468"/>
              <a:gd name="connsiteX852" fmla="*/ 9788672 w 12248682"/>
              <a:gd name="connsiteY852" fmla="*/ 680257 h 823468"/>
              <a:gd name="connsiteX853" fmla="*/ 9737854 w 12248682"/>
              <a:gd name="connsiteY853" fmla="*/ 629440 h 823468"/>
              <a:gd name="connsiteX854" fmla="*/ 9788672 w 12248682"/>
              <a:gd name="connsiteY854" fmla="*/ 577467 h 823468"/>
              <a:gd name="connsiteX855" fmla="*/ 8705894 w 12248682"/>
              <a:gd name="connsiteY855" fmla="*/ 577467 h 823468"/>
              <a:gd name="connsiteX856" fmla="*/ 8756711 w 12248682"/>
              <a:gd name="connsiteY856" fmla="*/ 628284 h 823468"/>
              <a:gd name="connsiteX857" fmla="*/ 8705894 w 12248682"/>
              <a:gd name="connsiteY857" fmla="*/ 679101 h 823468"/>
              <a:gd name="connsiteX858" fmla="*/ 8655077 w 12248682"/>
              <a:gd name="connsiteY858" fmla="*/ 628284 h 823468"/>
              <a:gd name="connsiteX859" fmla="*/ 8705894 w 12248682"/>
              <a:gd name="connsiteY859" fmla="*/ 577467 h 823468"/>
              <a:gd name="connsiteX860" fmla="*/ 6402956 w 12248682"/>
              <a:gd name="connsiteY860" fmla="*/ 577467 h 823468"/>
              <a:gd name="connsiteX861" fmla="*/ 6453773 w 12248682"/>
              <a:gd name="connsiteY861" fmla="*/ 628284 h 823468"/>
              <a:gd name="connsiteX862" fmla="*/ 6402956 w 12248682"/>
              <a:gd name="connsiteY862" fmla="*/ 679101 h 823468"/>
              <a:gd name="connsiteX863" fmla="*/ 6352139 w 12248682"/>
              <a:gd name="connsiteY863" fmla="*/ 628284 h 823468"/>
              <a:gd name="connsiteX864" fmla="*/ 6402956 w 12248682"/>
              <a:gd name="connsiteY864" fmla="*/ 577467 h 823468"/>
              <a:gd name="connsiteX865" fmla="*/ 5319627 w 12248682"/>
              <a:gd name="connsiteY865" fmla="*/ 577467 h 823468"/>
              <a:gd name="connsiteX866" fmla="*/ 5370444 w 12248682"/>
              <a:gd name="connsiteY866" fmla="*/ 628284 h 823468"/>
              <a:gd name="connsiteX867" fmla="*/ 5319627 w 12248682"/>
              <a:gd name="connsiteY867" fmla="*/ 679101 h 823468"/>
              <a:gd name="connsiteX868" fmla="*/ 5268810 w 12248682"/>
              <a:gd name="connsiteY868" fmla="*/ 628284 h 823468"/>
              <a:gd name="connsiteX869" fmla="*/ 5319627 w 12248682"/>
              <a:gd name="connsiteY869" fmla="*/ 577467 h 823468"/>
              <a:gd name="connsiteX870" fmla="*/ 5183345 w 12248682"/>
              <a:gd name="connsiteY870" fmla="*/ 577467 h 823468"/>
              <a:gd name="connsiteX871" fmla="*/ 5234162 w 12248682"/>
              <a:gd name="connsiteY871" fmla="*/ 628284 h 823468"/>
              <a:gd name="connsiteX872" fmla="*/ 5183345 w 12248682"/>
              <a:gd name="connsiteY872" fmla="*/ 679101 h 823468"/>
              <a:gd name="connsiteX873" fmla="*/ 5132528 w 12248682"/>
              <a:gd name="connsiteY873" fmla="*/ 628284 h 823468"/>
              <a:gd name="connsiteX874" fmla="*/ 5183345 w 12248682"/>
              <a:gd name="connsiteY874" fmla="*/ 577467 h 823468"/>
              <a:gd name="connsiteX875" fmla="*/ 4093087 w 12248682"/>
              <a:gd name="connsiteY875" fmla="*/ 577467 h 823468"/>
              <a:gd name="connsiteX876" fmla="*/ 4143904 w 12248682"/>
              <a:gd name="connsiteY876" fmla="*/ 628284 h 823468"/>
              <a:gd name="connsiteX877" fmla="*/ 4093087 w 12248682"/>
              <a:gd name="connsiteY877" fmla="*/ 679101 h 823468"/>
              <a:gd name="connsiteX878" fmla="*/ 4042270 w 12248682"/>
              <a:gd name="connsiteY878" fmla="*/ 628284 h 823468"/>
              <a:gd name="connsiteX879" fmla="*/ 4093087 w 12248682"/>
              <a:gd name="connsiteY879" fmla="*/ 577467 h 823468"/>
              <a:gd name="connsiteX880" fmla="*/ 1790148 w 12248682"/>
              <a:gd name="connsiteY880" fmla="*/ 577467 h 823468"/>
              <a:gd name="connsiteX881" fmla="*/ 1840965 w 12248682"/>
              <a:gd name="connsiteY881" fmla="*/ 628284 h 823468"/>
              <a:gd name="connsiteX882" fmla="*/ 1790148 w 12248682"/>
              <a:gd name="connsiteY882" fmla="*/ 679101 h 823468"/>
              <a:gd name="connsiteX883" fmla="*/ 1739331 w 12248682"/>
              <a:gd name="connsiteY883" fmla="*/ 628284 h 823468"/>
              <a:gd name="connsiteX884" fmla="*/ 1790148 w 12248682"/>
              <a:gd name="connsiteY884" fmla="*/ 577467 h 823468"/>
              <a:gd name="connsiteX885" fmla="*/ 706820 w 12248682"/>
              <a:gd name="connsiteY885" fmla="*/ 577467 h 823468"/>
              <a:gd name="connsiteX886" fmla="*/ 757637 w 12248682"/>
              <a:gd name="connsiteY886" fmla="*/ 628284 h 823468"/>
              <a:gd name="connsiteX887" fmla="*/ 706820 w 12248682"/>
              <a:gd name="connsiteY887" fmla="*/ 679101 h 823468"/>
              <a:gd name="connsiteX888" fmla="*/ 656003 w 12248682"/>
              <a:gd name="connsiteY888" fmla="*/ 628284 h 823468"/>
              <a:gd name="connsiteX889" fmla="*/ 706820 w 12248682"/>
              <a:gd name="connsiteY889" fmla="*/ 577467 h 823468"/>
              <a:gd name="connsiteX890" fmla="*/ 570538 w 12248682"/>
              <a:gd name="connsiteY890" fmla="*/ 577467 h 823468"/>
              <a:gd name="connsiteX891" fmla="*/ 621355 w 12248682"/>
              <a:gd name="connsiteY891" fmla="*/ 629440 h 823468"/>
              <a:gd name="connsiteX892" fmla="*/ 570538 w 12248682"/>
              <a:gd name="connsiteY892" fmla="*/ 680257 h 823468"/>
              <a:gd name="connsiteX893" fmla="*/ 519721 w 12248682"/>
              <a:gd name="connsiteY893" fmla="*/ 629440 h 823468"/>
              <a:gd name="connsiteX894" fmla="*/ 570538 w 12248682"/>
              <a:gd name="connsiteY894" fmla="*/ 577467 h 823468"/>
              <a:gd name="connsiteX895" fmla="*/ 12180541 w 12248682"/>
              <a:gd name="connsiteY895" fmla="*/ 464284 h 823468"/>
              <a:gd name="connsiteX896" fmla="*/ 12201330 w 12248682"/>
              <a:gd name="connsiteY896" fmla="*/ 485072 h 823468"/>
              <a:gd name="connsiteX897" fmla="*/ 12180541 w 12248682"/>
              <a:gd name="connsiteY897" fmla="*/ 505861 h 823468"/>
              <a:gd name="connsiteX898" fmla="*/ 12159752 w 12248682"/>
              <a:gd name="connsiteY898" fmla="*/ 485072 h 823468"/>
              <a:gd name="connsiteX899" fmla="*/ 12180541 w 12248682"/>
              <a:gd name="connsiteY899" fmla="*/ 464284 h 823468"/>
              <a:gd name="connsiteX900" fmla="*/ 12040793 w 12248682"/>
              <a:gd name="connsiteY900" fmla="*/ 464284 h 823468"/>
              <a:gd name="connsiteX901" fmla="*/ 12061582 w 12248682"/>
              <a:gd name="connsiteY901" fmla="*/ 485072 h 823468"/>
              <a:gd name="connsiteX902" fmla="*/ 12040793 w 12248682"/>
              <a:gd name="connsiteY902" fmla="*/ 505861 h 823468"/>
              <a:gd name="connsiteX903" fmla="*/ 12020004 w 12248682"/>
              <a:gd name="connsiteY903" fmla="*/ 485072 h 823468"/>
              <a:gd name="connsiteX904" fmla="*/ 12040793 w 12248682"/>
              <a:gd name="connsiteY904" fmla="*/ 464284 h 823468"/>
              <a:gd name="connsiteX905" fmla="*/ 11901047 w 12248682"/>
              <a:gd name="connsiteY905" fmla="*/ 464284 h 823468"/>
              <a:gd name="connsiteX906" fmla="*/ 11921836 w 12248682"/>
              <a:gd name="connsiteY906" fmla="*/ 485072 h 823468"/>
              <a:gd name="connsiteX907" fmla="*/ 11901047 w 12248682"/>
              <a:gd name="connsiteY907" fmla="*/ 505861 h 823468"/>
              <a:gd name="connsiteX908" fmla="*/ 11880258 w 12248682"/>
              <a:gd name="connsiteY908" fmla="*/ 485072 h 823468"/>
              <a:gd name="connsiteX909" fmla="*/ 11901047 w 12248682"/>
              <a:gd name="connsiteY909" fmla="*/ 464284 h 823468"/>
              <a:gd name="connsiteX910" fmla="*/ 11761299 w 12248682"/>
              <a:gd name="connsiteY910" fmla="*/ 464284 h 823468"/>
              <a:gd name="connsiteX911" fmla="*/ 11782088 w 12248682"/>
              <a:gd name="connsiteY911" fmla="*/ 485072 h 823468"/>
              <a:gd name="connsiteX912" fmla="*/ 11761299 w 12248682"/>
              <a:gd name="connsiteY912" fmla="*/ 505861 h 823468"/>
              <a:gd name="connsiteX913" fmla="*/ 11740510 w 12248682"/>
              <a:gd name="connsiteY913" fmla="*/ 485072 h 823468"/>
              <a:gd name="connsiteX914" fmla="*/ 11761299 w 12248682"/>
              <a:gd name="connsiteY914" fmla="*/ 464284 h 823468"/>
              <a:gd name="connsiteX915" fmla="*/ 11621553 w 12248682"/>
              <a:gd name="connsiteY915" fmla="*/ 464284 h 823468"/>
              <a:gd name="connsiteX916" fmla="*/ 11642342 w 12248682"/>
              <a:gd name="connsiteY916" fmla="*/ 485072 h 823468"/>
              <a:gd name="connsiteX917" fmla="*/ 11621553 w 12248682"/>
              <a:gd name="connsiteY917" fmla="*/ 505861 h 823468"/>
              <a:gd name="connsiteX918" fmla="*/ 11600764 w 12248682"/>
              <a:gd name="connsiteY918" fmla="*/ 485072 h 823468"/>
              <a:gd name="connsiteX919" fmla="*/ 11621553 w 12248682"/>
              <a:gd name="connsiteY919" fmla="*/ 464284 h 823468"/>
              <a:gd name="connsiteX920" fmla="*/ 11481805 w 12248682"/>
              <a:gd name="connsiteY920" fmla="*/ 464284 h 823468"/>
              <a:gd name="connsiteX921" fmla="*/ 11502594 w 12248682"/>
              <a:gd name="connsiteY921" fmla="*/ 485072 h 823468"/>
              <a:gd name="connsiteX922" fmla="*/ 11481805 w 12248682"/>
              <a:gd name="connsiteY922" fmla="*/ 505861 h 823468"/>
              <a:gd name="connsiteX923" fmla="*/ 11461016 w 12248682"/>
              <a:gd name="connsiteY923" fmla="*/ 485072 h 823468"/>
              <a:gd name="connsiteX924" fmla="*/ 11481805 w 12248682"/>
              <a:gd name="connsiteY924" fmla="*/ 464284 h 823468"/>
              <a:gd name="connsiteX925" fmla="*/ 10644478 w 12248682"/>
              <a:gd name="connsiteY925" fmla="*/ 464284 h 823468"/>
              <a:gd name="connsiteX926" fmla="*/ 10665267 w 12248682"/>
              <a:gd name="connsiteY926" fmla="*/ 485072 h 823468"/>
              <a:gd name="connsiteX927" fmla="*/ 10644478 w 12248682"/>
              <a:gd name="connsiteY927" fmla="*/ 505861 h 823468"/>
              <a:gd name="connsiteX928" fmla="*/ 10623690 w 12248682"/>
              <a:gd name="connsiteY928" fmla="*/ 485072 h 823468"/>
              <a:gd name="connsiteX929" fmla="*/ 10644478 w 12248682"/>
              <a:gd name="connsiteY929" fmla="*/ 464284 h 823468"/>
              <a:gd name="connsiteX930" fmla="*/ 10504731 w 12248682"/>
              <a:gd name="connsiteY930" fmla="*/ 464284 h 823468"/>
              <a:gd name="connsiteX931" fmla="*/ 10525520 w 12248682"/>
              <a:gd name="connsiteY931" fmla="*/ 485072 h 823468"/>
              <a:gd name="connsiteX932" fmla="*/ 10504731 w 12248682"/>
              <a:gd name="connsiteY932" fmla="*/ 505861 h 823468"/>
              <a:gd name="connsiteX933" fmla="*/ 10483942 w 12248682"/>
              <a:gd name="connsiteY933" fmla="*/ 485072 h 823468"/>
              <a:gd name="connsiteX934" fmla="*/ 10504731 w 12248682"/>
              <a:gd name="connsiteY934" fmla="*/ 464284 h 823468"/>
              <a:gd name="connsiteX935" fmla="*/ 10364984 w 12248682"/>
              <a:gd name="connsiteY935" fmla="*/ 464284 h 823468"/>
              <a:gd name="connsiteX936" fmla="*/ 10385773 w 12248682"/>
              <a:gd name="connsiteY936" fmla="*/ 485072 h 823468"/>
              <a:gd name="connsiteX937" fmla="*/ 10364984 w 12248682"/>
              <a:gd name="connsiteY937" fmla="*/ 505861 h 823468"/>
              <a:gd name="connsiteX938" fmla="*/ 10344196 w 12248682"/>
              <a:gd name="connsiteY938" fmla="*/ 485072 h 823468"/>
              <a:gd name="connsiteX939" fmla="*/ 10364984 w 12248682"/>
              <a:gd name="connsiteY939" fmla="*/ 464284 h 823468"/>
              <a:gd name="connsiteX940" fmla="*/ 7854709 w 12248682"/>
              <a:gd name="connsiteY940" fmla="*/ 464284 h 823468"/>
              <a:gd name="connsiteX941" fmla="*/ 7875498 w 12248682"/>
              <a:gd name="connsiteY941" fmla="*/ 485072 h 823468"/>
              <a:gd name="connsiteX942" fmla="*/ 7854709 w 12248682"/>
              <a:gd name="connsiteY942" fmla="*/ 505861 h 823468"/>
              <a:gd name="connsiteX943" fmla="*/ 7833921 w 12248682"/>
              <a:gd name="connsiteY943" fmla="*/ 485072 h 823468"/>
              <a:gd name="connsiteX944" fmla="*/ 7854709 w 12248682"/>
              <a:gd name="connsiteY944" fmla="*/ 464284 h 823468"/>
              <a:gd name="connsiteX945" fmla="*/ 7714960 w 12248682"/>
              <a:gd name="connsiteY945" fmla="*/ 464284 h 823468"/>
              <a:gd name="connsiteX946" fmla="*/ 7735749 w 12248682"/>
              <a:gd name="connsiteY946" fmla="*/ 485072 h 823468"/>
              <a:gd name="connsiteX947" fmla="*/ 7714960 w 12248682"/>
              <a:gd name="connsiteY947" fmla="*/ 505861 h 823468"/>
              <a:gd name="connsiteX948" fmla="*/ 7694172 w 12248682"/>
              <a:gd name="connsiteY948" fmla="*/ 485072 h 823468"/>
              <a:gd name="connsiteX949" fmla="*/ 7714960 w 12248682"/>
              <a:gd name="connsiteY949" fmla="*/ 464284 h 823468"/>
              <a:gd name="connsiteX950" fmla="*/ 7575214 w 12248682"/>
              <a:gd name="connsiteY950" fmla="*/ 464284 h 823468"/>
              <a:gd name="connsiteX951" fmla="*/ 7596004 w 12248682"/>
              <a:gd name="connsiteY951" fmla="*/ 485072 h 823468"/>
              <a:gd name="connsiteX952" fmla="*/ 7575214 w 12248682"/>
              <a:gd name="connsiteY952" fmla="*/ 505861 h 823468"/>
              <a:gd name="connsiteX953" fmla="*/ 7554427 w 12248682"/>
              <a:gd name="connsiteY953" fmla="*/ 485072 h 823468"/>
              <a:gd name="connsiteX954" fmla="*/ 7575214 w 12248682"/>
              <a:gd name="connsiteY954" fmla="*/ 464284 h 823468"/>
              <a:gd name="connsiteX955" fmla="*/ 7435467 w 12248682"/>
              <a:gd name="connsiteY955" fmla="*/ 464284 h 823468"/>
              <a:gd name="connsiteX956" fmla="*/ 7456257 w 12248682"/>
              <a:gd name="connsiteY956" fmla="*/ 485072 h 823468"/>
              <a:gd name="connsiteX957" fmla="*/ 7435467 w 12248682"/>
              <a:gd name="connsiteY957" fmla="*/ 505861 h 823468"/>
              <a:gd name="connsiteX958" fmla="*/ 7414678 w 12248682"/>
              <a:gd name="connsiteY958" fmla="*/ 485072 h 823468"/>
              <a:gd name="connsiteX959" fmla="*/ 7435467 w 12248682"/>
              <a:gd name="connsiteY959" fmla="*/ 464284 h 823468"/>
              <a:gd name="connsiteX960" fmla="*/ 7295720 w 12248682"/>
              <a:gd name="connsiteY960" fmla="*/ 464284 h 823468"/>
              <a:gd name="connsiteX961" fmla="*/ 7316509 w 12248682"/>
              <a:gd name="connsiteY961" fmla="*/ 485072 h 823468"/>
              <a:gd name="connsiteX962" fmla="*/ 7295720 w 12248682"/>
              <a:gd name="connsiteY962" fmla="*/ 505861 h 823468"/>
              <a:gd name="connsiteX963" fmla="*/ 7274932 w 12248682"/>
              <a:gd name="connsiteY963" fmla="*/ 485072 h 823468"/>
              <a:gd name="connsiteX964" fmla="*/ 7295720 w 12248682"/>
              <a:gd name="connsiteY964" fmla="*/ 464284 h 823468"/>
              <a:gd name="connsiteX965" fmla="*/ 7155974 w 12248682"/>
              <a:gd name="connsiteY965" fmla="*/ 464284 h 823468"/>
              <a:gd name="connsiteX966" fmla="*/ 7176762 w 12248682"/>
              <a:gd name="connsiteY966" fmla="*/ 485072 h 823468"/>
              <a:gd name="connsiteX967" fmla="*/ 7155974 w 12248682"/>
              <a:gd name="connsiteY967" fmla="*/ 505861 h 823468"/>
              <a:gd name="connsiteX968" fmla="*/ 7135183 w 12248682"/>
              <a:gd name="connsiteY968" fmla="*/ 485072 h 823468"/>
              <a:gd name="connsiteX969" fmla="*/ 7155974 w 12248682"/>
              <a:gd name="connsiteY969" fmla="*/ 464284 h 823468"/>
              <a:gd name="connsiteX970" fmla="*/ 7016227 w 12248682"/>
              <a:gd name="connsiteY970" fmla="*/ 464284 h 823468"/>
              <a:gd name="connsiteX971" fmla="*/ 7037016 w 12248682"/>
              <a:gd name="connsiteY971" fmla="*/ 485072 h 823468"/>
              <a:gd name="connsiteX972" fmla="*/ 7016227 w 12248682"/>
              <a:gd name="connsiteY972" fmla="*/ 505861 h 823468"/>
              <a:gd name="connsiteX973" fmla="*/ 6995438 w 12248682"/>
              <a:gd name="connsiteY973" fmla="*/ 485072 h 823468"/>
              <a:gd name="connsiteX974" fmla="*/ 7016227 w 12248682"/>
              <a:gd name="connsiteY974" fmla="*/ 464284 h 823468"/>
              <a:gd name="connsiteX975" fmla="*/ 6877634 w 12248682"/>
              <a:gd name="connsiteY975" fmla="*/ 464284 h 823468"/>
              <a:gd name="connsiteX976" fmla="*/ 6898424 w 12248682"/>
              <a:gd name="connsiteY976" fmla="*/ 485072 h 823468"/>
              <a:gd name="connsiteX977" fmla="*/ 6877634 w 12248682"/>
              <a:gd name="connsiteY977" fmla="*/ 505861 h 823468"/>
              <a:gd name="connsiteX978" fmla="*/ 6856845 w 12248682"/>
              <a:gd name="connsiteY978" fmla="*/ 485072 h 823468"/>
              <a:gd name="connsiteX979" fmla="*/ 6877634 w 12248682"/>
              <a:gd name="connsiteY979" fmla="*/ 464284 h 823468"/>
              <a:gd name="connsiteX980" fmla="*/ 6039151 w 12248682"/>
              <a:gd name="connsiteY980" fmla="*/ 464284 h 823468"/>
              <a:gd name="connsiteX981" fmla="*/ 6059942 w 12248682"/>
              <a:gd name="connsiteY981" fmla="*/ 485072 h 823468"/>
              <a:gd name="connsiteX982" fmla="*/ 6039151 w 12248682"/>
              <a:gd name="connsiteY982" fmla="*/ 505861 h 823468"/>
              <a:gd name="connsiteX983" fmla="*/ 6018363 w 12248682"/>
              <a:gd name="connsiteY983" fmla="*/ 485072 h 823468"/>
              <a:gd name="connsiteX984" fmla="*/ 6039151 w 12248682"/>
              <a:gd name="connsiteY984" fmla="*/ 464284 h 823468"/>
              <a:gd name="connsiteX985" fmla="*/ 5899405 w 12248682"/>
              <a:gd name="connsiteY985" fmla="*/ 464284 h 823468"/>
              <a:gd name="connsiteX986" fmla="*/ 5920193 w 12248682"/>
              <a:gd name="connsiteY986" fmla="*/ 485072 h 823468"/>
              <a:gd name="connsiteX987" fmla="*/ 5899405 w 12248682"/>
              <a:gd name="connsiteY987" fmla="*/ 505861 h 823468"/>
              <a:gd name="connsiteX988" fmla="*/ 5878616 w 12248682"/>
              <a:gd name="connsiteY988" fmla="*/ 485072 h 823468"/>
              <a:gd name="connsiteX989" fmla="*/ 5899405 w 12248682"/>
              <a:gd name="connsiteY989" fmla="*/ 464284 h 823468"/>
              <a:gd name="connsiteX990" fmla="*/ 5759658 w 12248682"/>
              <a:gd name="connsiteY990" fmla="*/ 464284 h 823468"/>
              <a:gd name="connsiteX991" fmla="*/ 5780447 w 12248682"/>
              <a:gd name="connsiteY991" fmla="*/ 485072 h 823468"/>
              <a:gd name="connsiteX992" fmla="*/ 5759658 w 12248682"/>
              <a:gd name="connsiteY992" fmla="*/ 505861 h 823468"/>
              <a:gd name="connsiteX993" fmla="*/ 5738869 w 12248682"/>
              <a:gd name="connsiteY993" fmla="*/ 485072 h 823468"/>
              <a:gd name="connsiteX994" fmla="*/ 5759658 w 12248682"/>
              <a:gd name="connsiteY994" fmla="*/ 464284 h 823468"/>
              <a:gd name="connsiteX995" fmla="*/ 3241901 w 12248682"/>
              <a:gd name="connsiteY995" fmla="*/ 464284 h 823468"/>
              <a:gd name="connsiteX996" fmla="*/ 3262690 w 12248682"/>
              <a:gd name="connsiteY996" fmla="*/ 485072 h 823468"/>
              <a:gd name="connsiteX997" fmla="*/ 3241901 w 12248682"/>
              <a:gd name="connsiteY997" fmla="*/ 505861 h 823468"/>
              <a:gd name="connsiteX998" fmla="*/ 3221112 w 12248682"/>
              <a:gd name="connsiteY998" fmla="*/ 485072 h 823468"/>
              <a:gd name="connsiteX999" fmla="*/ 3241901 w 12248682"/>
              <a:gd name="connsiteY999" fmla="*/ 464284 h 823468"/>
              <a:gd name="connsiteX1000" fmla="*/ 3102153 w 12248682"/>
              <a:gd name="connsiteY1000" fmla="*/ 464284 h 823468"/>
              <a:gd name="connsiteX1001" fmla="*/ 3122942 w 12248682"/>
              <a:gd name="connsiteY1001" fmla="*/ 485072 h 823468"/>
              <a:gd name="connsiteX1002" fmla="*/ 3102153 w 12248682"/>
              <a:gd name="connsiteY1002" fmla="*/ 505861 h 823468"/>
              <a:gd name="connsiteX1003" fmla="*/ 3081365 w 12248682"/>
              <a:gd name="connsiteY1003" fmla="*/ 485072 h 823468"/>
              <a:gd name="connsiteX1004" fmla="*/ 3102153 w 12248682"/>
              <a:gd name="connsiteY1004" fmla="*/ 464284 h 823468"/>
              <a:gd name="connsiteX1005" fmla="*/ 2962407 w 12248682"/>
              <a:gd name="connsiteY1005" fmla="*/ 464284 h 823468"/>
              <a:gd name="connsiteX1006" fmla="*/ 2983196 w 12248682"/>
              <a:gd name="connsiteY1006" fmla="*/ 485072 h 823468"/>
              <a:gd name="connsiteX1007" fmla="*/ 2962407 w 12248682"/>
              <a:gd name="connsiteY1007" fmla="*/ 505861 h 823468"/>
              <a:gd name="connsiteX1008" fmla="*/ 2941618 w 12248682"/>
              <a:gd name="connsiteY1008" fmla="*/ 485072 h 823468"/>
              <a:gd name="connsiteX1009" fmla="*/ 2962407 w 12248682"/>
              <a:gd name="connsiteY1009" fmla="*/ 464284 h 823468"/>
              <a:gd name="connsiteX1010" fmla="*/ 2822659 w 12248682"/>
              <a:gd name="connsiteY1010" fmla="*/ 464284 h 823468"/>
              <a:gd name="connsiteX1011" fmla="*/ 2843448 w 12248682"/>
              <a:gd name="connsiteY1011" fmla="*/ 485072 h 823468"/>
              <a:gd name="connsiteX1012" fmla="*/ 2822659 w 12248682"/>
              <a:gd name="connsiteY1012" fmla="*/ 505861 h 823468"/>
              <a:gd name="connsiteX1013" fmla="*/ 2801871 w 12248682"/>
              <a:gd name="connsiteY1013" fmla="*/ 485072 h 823468"/>
              <a:gd name="connsiteX1014" fmla="*/ 2822659 w 12248682"/>
              <a:gd name="connsiteY1014" fmla="*/ 464284 h 823468"/>
              <a:gd name="connsiteX1015" fmla="*/ 2682913 w 12248682"/>
              <a:gd name="connsiteY1015" fmla="*/ 464284 h 823468"/>
              <a:gd name="connsiteX1016" fmla="*/ 2703702 w 12248682"/>
              <a:gd name="connsiteY1016" fmla="*/ 485072 h 823468"/>
              <a:gd name="connsiteX1017" fmla="*/ 2682913 w 12248682"/>
              <a:gd name="connsiteY1017" fmla="*/ 505861 h 823468"/>
              <a:gd name="connsiteX1018" fmla="*/ 2662124 w 12248682"/>
              <a:gd name="connsiteY1018" fmla="*/ 485072 h 823468"/>
              <a:gd name="connsiteX1019" fmla="*/ 2682913 w 12248682"/>
              <a:gd name="connsiteY1019" fmla="*/ 464284 h 823468"/>
              <a:gd name="connsiteX1020" fmla="*/ 2543167 w 12248682"/>
              <a:gd name="connsiteY1020" fmla="*/ 464284 h 823468"/>
              <a:gd name="connsiteX1021" fmla="*/ 2563954 w 12248682"/>
              <a:gd name="connsiteY1021" fmla="*/ 485072 h 823468"/>
              <a:gd name="connsiteX1022" fmla="*/ 2543167 w 12248682"/>
              <a:gd name="connsiteY1022" fmla="*/ 505861 h 823468"/>
              <a:gd name="connsiteX1023" fmla="*/ 2522376 w 12248682"/>
              <a:gd name="connsiteY1023" fmla="*/ 485072 h 823468"/>
              <a:gd name="connsiteX1024" fmla="*/ 2543167 w 12248682"/>
              <a:gd name="connsiteY1024" fmla="*/ 464284 h 823468"/>
              <a:gd name="connsiteX1025" fmla="*/ 2403419 w 12248682"/>
              <a:gd name="connsiteY1025" fmla="*/ 464284 h 823468"/>
              <a:gd name="connsiteX1026" fmla="*/ 2424209 w 12248682"/>
              <a:gd name="connsiteY1026" fmla="*/ 485072 h 823468"/>
              <a:gd name="connsiteX1027" fmla="*/ 2403419 w 12248682"/>
              <a:gd name="connsiteY1027" fmla="*/ 505861 h 823468"/>
              <a:gd name="connsiteX1028" fmla="*/ 2382630 w 12248682"/>
              <a:gd name="connsiteY1028" fmla="*/ 485072 h 823468"/>
              <a:gd name="connsiteX1029" fmla="*/ 2403419 w 12248682"/>
              <a:gd name="connsiteY1029" fmla="*/ 464284 h 823468"/>
              <a:gd name="connsiteX1030" fmla="*/ 2263671 w 12248682"/>
              <a:gd name="connsiteY1030" fmla="*/ 464284 h 823468"/>
              <a:gd name="connsiteX1031" fmla="*/ 2284460 w 12248682"/>
              <a:gd name="connsiteY1031" fmla="*/ 485072 h 823468"/>
              <a:gd name="connsiteX1032" fmla="*/ 2263671 w 12248682"/>
              <a:gd name="connsiteY1032" fmla="*/ 505861 h 823468"/>
              <a:gd name="connsiteX1033" fmla="*/ 2242883 w 12248682"/>
              <a:gd name="connsiteY1033" fmla="*/ 485072 h 823468"/>
              <a:gd name="connsiteX1034" fmla="*/ 2263671 w 12248682"/>
              <a:gd name="connsiteY1034" fmla="*/ 464284 h 823468"/>
              <a:gd name="connsiteX1035" fmla="*/ 1426344 w 12248682"/>
              <a:gd name="connsiteY1035" fmla="*/ 464284 h 823468"/>
              <a:gd name="connsiteX1036" fmla="*/ 1447133 w 12248682"/>
              <a:gd name="connsiteY1036" fmla="*/ 485072 h 823468"/>
              <a:gd name="connsiteX1037" fmla="*/ 1426344 w 12248682"/>
              <a:gd name="connsiteY1037" fmla="*/ 505861 h 823468"/>
              <a:gd name="connsiteX1038" fmla="*/ 1405556 w 12248682"/>
              <a:gd name="connsiteY1038" fmla="*/ 485072 h 823468"/>
              <a:gd name="connsiteX1039" fmla="*/ 1426344 w 12248682"/>
              <a:gd name="connsiteY1039" fmla="*/ 464284 h 823468"/>
              <a:gd name="connsiteX1040" fmla="*/ 1286597 w 12248682"/>
              <a:gd name="connsiteY1040" fmla="*/ 464284 h 823468"/>
              <a:gd name="connsiteX1041" fmla="*/ 1307386 w 12248682"/>
              <a:gd name="connsiteY1041" fmla="*/ 485072 h 823468"/>
              <a:gd name="connsiteX1042" fmla="*/ 1286597 w 12248682"/>
              <a:gd name="connsiteY1042" fmla="*/ 505861 h 823468"/>
              <a:gd name="connsiteX1043" fmla="*/ 1265808 w 12248682"/>
              <a:gd name="connsiteY1043" fmla="*/ 485072 h 823468"/>
              <a:gd name="connsiteX1044" fmla="*/ 1286597 w 12248682"/>
              <a:gd name="connsiteY1044" fmla="*/ 464284 h 823468"/>
              <a:gd name="connsiteX1045" fmla="*/ 1146851 w 12248682"/>
              <a:gd name="connsiteY1045" fmla="*/ 464284 h 823468"/>
              <a:gd name="connsiteX1046" fmla="*/ 1167639 w 12248682"/>
              <a:gd name="connsiteY1046" fmla="*/ 485072 h 823468"/>
              <a:gd name="connsiteX1047" fmla="*/ 1146851 w 12248682"/>
              <a:gd name="connsiteY1047" fmla="*/ 505861 h 823468"/>
              <a:gd name="connsiteX1048" fmla="*/ 1126062 w 12248682"/>
              <a:gd name="connsiteY1048" fmla="*/ 485072 h 823468"/>
              <a:gd name="connsiteX1049" fmla="*/ 1146851 w 12248682"/>
              <a:gd name="connsiteY1049" fmla="*/ 464284 h 823468"/>
              <a:gd name="connsiteX1050" fmla="*/ 11343213 w 12248682"/>
              <a:gd name="connsiteY1050" fmla="*/ 461974 h 823468"/>
              <a:gd name="connsiteX1051" fmla="*/ 11366312 w 12248682"/>
              <a:gd name="connsiteY1051" fmla="*/ 485072 h 823468"/>
              <a:gd name="connsiteX1052" fmla="*/ 11343213 w 12248682"/>
              <a:gd name="connsiteY1052" fmla="*/ 508171 h 823468"/>
              <a:gd name="connsiteX1053" fmla="*/ 11320114 w 12248682"/>
              <a:gd name="connsiteY1053" fmla="*/ 485072 h 823468"/>
              <a:gd name="connsiteX1054" fmla="*/ 11343213 w 12248682"/>
              <a:gd name="connsiteY1054" fmla="*/ 461974 h 823468"/>
              <a:gd name="connsiteX1055" fmla="*/ 10225237 w 12248682"/>
              <a:gd name="connsiteY1055" fmla="*/ 461974 h 823468"/>
              <a:gd name="connsiteX1056" fmla="*/ 10248335 w 12248682"/>
              <a:gd name="connsiteY1056" fmla="*/ 485072 h 823468"/>
              <a:gd name="connsiteX1057" fmla="*/ 10225237 w 12248682"/>
              <a:gd name="connsiteY1057" fmla="*/ 508171 h 823468"/>
              <a:gd name="connsiteX1058" fmla="*/ 10202138 w 12248682"/>
              <a:gd name="connsiteY1058" fmla="*/ 485072 h 823468"/>
              <a:gd name="connsiteX1059" fmla="*/ 10225237 w 12248682"/>
              <a:gd name="connsiteY1059" fmla="*/ 461974 h 823468"/>
              <a:gd name="connsiteX1060" fmla="*/ 9112431 w 12248682"/>
              <a:gd name="connsiteY1060" fmla="*/ 461974 h 823468"/>
              <a:gd name="connsiteX1061" fmla="*/ 9135530 w 12248682"/>
              <a:gd name="connsiteY1061" fmla="*/ 485072 h 823468"/>
              <a:gd name="connsiteX1062" fmla="*/ 9112431 w 12248682"/>
              <a:gd name="connsiteY1062" fmla="*/ 508171 h 823468"/>
              <a:gd name="connsiteX1063" fmla="*/ 9089332 w 12248682"/>
              <a:gd name="connsiteY1063" fmla="*/ 485072 h 823468"/>
              <a:gd name="connsiteX1064" fmla="*/ 9112431 w 12248682"/>
              <a:gd name="connsiteY1064" fmla="*/ 461974 h 823468"/>
              <a:gd name="connsiteX1065" fmla="*/ 7994456 w 12248682"/>
              <a:gd name="connsiteY1065" fmla="*/ 461974 h 823468"/>
              <a:gd name="connsiteX1066" fmla="*/ 8017555 w 12248682"/>
              <a:gd name="connsiteY1066" fmla="*/ 485072 h 823468"/>
              <a:gd name="connsiteX1067" fmla="*/ 7994456 w 12248682"/>
              <a:gd name="connsiteY1067" fmla="*/ 508171 h 823468"/>
              <a:gd name="connsiteX1068" fmla="*/ 7971356 w 12248682"/>
              <a:gd name="connsiteY1068" fmla="*/ 485072 h 823468"/>
              <a:gd name="connsiteX1069" fmla="*/ 7994456 w 12248682"/>
              <a:gd name="connsiteY1069" fmla="*/ 461974 h 823468"/>
              <a:gd name="connsiteX1070" fmla="*/ 6737887 w 12248682"/>
              <a:gd name="connsiteY1070" fmla="*/ 461974 h 823468"/>
              <a:gd name="connsiteX1071" fmla="*/ 6760986 w 12248682"/>
              <a:gd name="connsiteY1071" fmla="*/ 485072 h 823468"/>
              <a:gd name="connsiteX1072" fmla="*/ 6737887 w 12248682"/>
              <a:gd name="connsiteY1072" fmla="*/ 508171 h 823468"/>
              <a:gd name="connsiteX1073" fmla="*/ 6714789 w 12248682"/>
              <a:gd name="connsiteY1073" fmla="*/ 485072 h 823468"/>
              <a:gd name="connsiteX1074" fmla="*/ 6737887 w 12248682"/>
              <a:gd name="connsiteY1074" fmla="*/ 461974 h 823468"/>
              <a:gd name="connsiteX1075" fmla="*/ 5619911 w 12248682"/>
              <a:gd name="connsiteY1075" fmla="*/ 461974 h 823468"/>
              <a:gd name="connsiteX1076" fmla="*/ 5643008 w 12248682"/>
              <a:gd name="connsiteY1076" fmla="*/ 485072 h 823468"/>
              <a:gd name="connsiteX1077" fmla="*/ 5619911 w 12248682"/>
              <a:gd name="connsiteY1077" fmla="*/ 508171 h 823468"/>
              <a:gd name="connsiteX1078" fmla="*/ 5596812 w 12248682"/>
              <a:gd name="connsiteY1078" fmla="*/ 485072 h 823468"/>
              <a:gd name="connsiteX1079" fmla="*/ 5619911 w 12248682"/>
              <a:gd name="connsiteY1079" fmla="*/ 461974 h 823468"/>
              <a:gd name="connsiteX1080" fmla="*/ 4499625 w 12248682"/>
              <a:gd name="connsiteY1080" fmla="*/ 461974 h 823468"/>
              <a:gd name="connsiteX1081" fmla="*/ 4522722 w 12248682"/>
              <a:gd name="connsiteY1081" fmla="*/ 485072 h 823468"/>
              <a:gd name="connsiteX1082" fmla="*/ 4499625 w 12248682"/>
              <a:gd name="connsiteY1082" fmla="*/ 508171 h 823468"/>
              <a:gd name="connsiteX1083" fmla="*/ 4476525 w 12248682"/>
              <a:gd name="connsiteY1083" fmla="*/ 485072 h 823468"/>
              <a:gd name="connsiteX1084" fmla="*/ 4499625 w 12248682"/>
              <a:gd name="connsiteY1084" fmla="*/ 461974 h 823468"/>
              <a:gd name="connsiteX1085" fmla="*/ 3381648 w 12248682"/>
              <a:gd name="connsiteY1085" fmla="*/ 461974 h 823468"/>
              <a:gd name="connsiteX1086" fmla="*/ 3404746 w 12248682"/>
              <a:gd name="connsiteY1086" fmla="*/ 485072 h 823468"/>
              <a:gd name="connsiteX1087" fmla="*/ 3381648 w 12248682"/>
              <a:gd name="connsiteY1087" fmla="*/ 508171 h 823468"/>
              <a:gd name="connsiteX1088" fmla="*/ 3358549 w 12248682"/>
              <a:gd name="connsiteY1088" fmla="*/ 485072 h 823468"/>
              <a:gd name="connsiteX1089" fmla="*/ 3381648 w 12248682"/>
              <a:gd name="connsiteY1089" fmla="*/ 461974 h 823468"/>
              <a:gd name="connsiteX1090" fmla="*/ 2125079 w 12248682"/>
              <a:gd name="connsiteY1090" fmla="*/ 461974 h 823468"/>
              <a:gd name="connsiteX1091" fmla="*/ 2148178 w 12248682"/>
              <a:gd name="connsiteY1091" fmla="*/ 485072 h 823468"/>
              <a:gd name="connsiteX1092" fmla="*/ 2125079 w 12248682"/>
              <a:gd name="connsiteY1092" fmla="*/ 508171 h 823468"/>
              <a:gd name="connsiteX1093" fmla="*/ 2101980 w 12248682"/>
              <a:gd name="connsiteY1093" fmla="*/ 485072 h 823468"/>
              <a:gd name="connsiteX1094" fmla="*/ 2125079 w 12248682"/>
              <a:gd name="connsiteY1094" fmla="*/ 461974 h 823468"/>
              <a:gd name="connsiteX1095" fmla="*/ 1007103 w 12248682"/>
              <a:gd name="connsiteY1095" fmla="*/ 461974 h 823468"/>
              <a:gd name="connsiteX1096" fmla="*/ 1030201 w 12248682"/>
              <a:gd name="connsiteY1096" fmla="*/ 485072 h 823468"/>
              <a:gd name="connsiteX1097" fmla="*/ 1007103 w 12248682"/>
              <a:gd name="connsiteY1097" fmla="*/ 508171 h 823468"/>
              <a:gd name="connsiteX1098" fmla="*/ 984004 w 12248682"/>
              <a:gd name="connsiteY1098" fmla="*/ 485072 h 823468"/>
              <a:gd name="connsiteX1099" fmla="*/ 1007103 w 12248682"/>
              <a:gd name="connsiteY1099" fmla="*/ 461974 h 823468"/>
              <a:gd name="connsiteX1100" fmla="*/ 11203466 w 12248682"/>
              <a:gd name="connsiteY1100" fmla="*/ 456200 h 823468"/>
              <a:gd name="connsiteX1101" fmla="*/ 11232339 w 12248682"/>
              <a:gd name="connsiteY1101" fmla="*/ 485072 h 823468"/>
              <a:gd name="connsiteX1102" fmla="*/ 11203466 w 12248682"/>
              <a:gd name="connsiteY1102" fmla="*/ 513946 h 823468"/>
              <a:gd name="connsiteX1103" fmla="*/ 11174593 w 12248682"/>
              <a:gd name="connsiteY1103" fmla="*/ 485072 h 823468"/>
              <a:gd name="connsiteX1104" fmla="*/ 11203466 w 12248682"/>
              <a:gd name="connsiteY1104" fmla="*/ 456200 h 823468"/>
              <a:gd name="connsiteX1105" fmla="*/ 10085490 w 12248682"/>
              <a:gd name="connsiteY1105" fmla="*/ 456200 h 823468"/>
              <a:gd name="connsiteX1106" fmla="*/ 10114363 w 12248682"/>
              <a:gd name="connsiteY1106" fmla="*/ 485072 h 823468"/>
              <a:gd name="connsiteX1107" fmla="*/ 10085490 w 12248682"/>
              <a:gd name="connsiteY1107" fmla="*/ 513946 h 823468"/>
              <a:gd name="connsiteX1108" fmla="*/ 10056616 w 12248682"/>
              <a:gd name="connsiteY1108" fmla="*/ 485072 h 823468"/>
              <a:gd name="connsiteX1109" fmla="*/ 10085490 w 12248682"/>
              <a:gd name="connsiteY1109" fmla="*/ 456200 h 823468"/>
              <a:gd name="connsiteX1110" fmla="*/ 9247008 w 12248682"/>
              <a:gd name="connsiteY1110" fmla="*/ 456200 h 823468"/>
              <a:gd name="connsiteX1111" fmla="*/ 9275881 w 12248682"/>
              <a:gd name="connsiteY1111" fmla="*/ 485072 h 823468"/>
              <a:gd name="connsiteX1112" fmla="*/ 9247008 w 12248682"/>
              <a:gd name="connsiteY1112" fmla="*/ 513946 h 823468"/>
              <a:gd name="connsiteX1113" fmla="*/ 9218134 w 12248682"/>
              <a:gd name="connsiteY1113" fmla="*/ 485072 h 823468"/>
              <a:gd name="connsiteX1114" fmla="*/ 9247008 w 12248682"/>
              <a:gd name="connsiteY1114" fmla="*/ 456200 h 823468"/>
              <a:gd name="connsiteX1115" fmla="*/ 8972685 w 12248682"/>
              <a:gd name="connsiteY1115" fmla="*/ 456200 h 823468"/>
              <a:gd name="connsiteX1116" fmla="*/ 9001557 w 12248682"/>
              <a:gd name="connsiteY1116" fmla="*/ 485072 h 823468"/>
              <a:gd name="connsiteX1117" fmla="*/ 8972685 w 12248682"/>
              <a:gd name="connsiteY1117" fmla="*/ 513946 h 823468"/>
              <a:gd name="connsiteX1118" fmla="*/ 8943811 w 12248682"/>
              <a:gd name="connsiteY1118" fmla="*/ 485072 h 823468"/>
              <a:gd name="connsiteX1119" fmla="*/ 8972685 w 12248682"/>
              <a:gd name="connsiteY1119" fmla="*/ 456200 h 823468"/>
              <a:gd name="connsiteX1120" fmla="*/ 8134203 w 12248682"/>
              <a:gd name="connsiteY1120" fmla="*/ 456200 h 823468"/>
              <a:gd name="connsiteX1121" fmla="*/ 8163075 w 12248682"/>
              <a:gd name="connsiteY1121" fmla="*/ 485072 h 823468"/>
              <a:gd name="connsiteX1122" fmla="*/ 8134203 w 12248682"/>
              <a:gd name="connsiteY1122" fmla="*/ 513946 h 823468"/>
              <a:gd name="connsiteX1123" fmla="*/ 8105330 w 12248682"/>
              <a:gd name="connsiteY1123" fmla="*/ 485072 h 823468"/>
              <a:gd name="connsiteX1124" fmla="*/ 8134203 w 12248682"/>
              <a:gd name="connsiteY1124" fmla="*/ 456200 h 823468"/>
              <a:gd name="connsiteX1125" fmla="*/ 6598140 w 12248682"/>
              <a:gd name="connsiteY1125" fmla="*/ 456200 h 823468"/>
              <a:gd name="connsiteX1126" fmla="*/ 6627013 w 12248682"/>
              <a:gd name="connsiteY1126" fmla="*/ 485072 h 823468"/>
              <a:gd name="connsiteX1127" fmla="*/ 6598140 w 12248682"/>
              <a:gd name="connsiteY1127" fmla="*/ 513946 h 823468"/>
              <a:gd name="connsiteX1128" fmla="*/ 6569267 w 12248682"/>
              <a:gd name="connsiteY1128" fmla="*/ 485072 h 823468"/>
              <a:gd name="connsiteX1129" fmla="*/ 6598140 w 12248682"/>
              <a:gd name="connsiteY1129" fmla="*/ 456200 h 823468"/>
              <a:gd name="connsiteX1130" fmla="*/ 5480165 w 12248682"/>
              <a:gd name="connsiteY1130" fmla="*/ 456200 h 823468"/>
              <a:gd name="connsiteX1131" fmla="*/ 5509037 w 12248682"/>
              <a:gd name="connsiteY1131" fmla="*/ 485072 h 823468"/>
              <a:gd name="connsiteX1132" fmla="*/ 5480165 w 12248682"/>
              <a:gd name="connsiteY1132" fmla="*/ 513946 h 823468"/>
              <a:gd name="connsiteX1133" fmla="*/ 5451289 w 12248682"/>
              <a:gd name="connsiteY1133" fmla="*/ 485072 h 823468"/>
              <a:gd name="connsiteX1134" fmla="*/ 5480165 w 12248682"/>
              <a:gd name="connsiteY1134" fmla="*/ 456200 h 823468"/>
              <a:gd name="connsiteX1135" fmla="*/ 4641682 w 12248682"/>
              <a:gd name="connsiteY1135" fmla="*/ 456200 h 823468"/>
              <a:gd name="connsiteX1136" fmla="*/ 4670555 w 12248682"/>
              <a:gd name="connsiteY1136" fmla="*/ 485072 h 823468"/>
              <a:gd name="connsiteX1137" fmla="*/ 4641682 w 12248682"/>
              <a:gd name="connsiteY1137" fmla="*/ 513946 h 823468"/>
              <a:gd name="connsiteX1138" fmla="*/ 4612809 w 12248682"/>
              <a:gd name="connsiteY1138" fmla="*/ 485072 h 823468"/>
              <a:gd name="connsiteX1139" fmla="*/ 4641682 w 12248682"/>
              <a:gd name="connsiteY1139" fmla="*/ 456200 h 823468"/>
              <a:gd name="connsiteX1140" fmla="*/ 4359878 w 12248682"/>
              <a:gd name="connsiteY1140" fmla="*/ 456200 h 823468"/>
              <a:gd name="connsiteX1141" fmla="*/ 4388751 w 12248682"/>
              <a:gd name="connsiteY1141" fmla="*/ 485072 h 823468"/>
              <a:gd name="connsiteX1142" fmla="*/ 4359878 w 12248682"/>
              <a:gd name="connsiteY1142" fmla="*/ 513946 h 823468"/>
              <a:gd name="connsiteX1143" fmla="*/ 4331003 w 12248682"/>
              <a:gd name="connsiteY1143" fmla="*/ 485072 h 823468"/>
              <a:gd name="connsiteX1144" fmla="*/ 4359878 w 12248682"/>
              <a:gd name="connsiteY1144" fmla="*/ 456200 h 823468"/>
              <a:gd name="connsiteX1145" fmla="*/ 3521396 w 12248682"/>
              <a:gd name="connsiteY1145" fmla="*/ 456200 h 823468"/>
              <a:gd name="connsiteX1146" fmla="*/ 3550268 w 12248682"/>
              <a:gd name="connsiteY1146" fmla="*/ 485072 h 823468"/>
              <a:gd name="connsiteX1147" fmla="*/ 3521396 w 12248682"/>
              <a:gd name="connsiteY1147" fmla="*/ 513946 h 823468"/>
              <a:gd name="connsiteX1148" fmla="*/ 3492521 w 12248682"/>
              <a:gd name="connsiteY1148" fmla="*/ 485072 h 823468"/>
              <a:gd name="connsiteX1149" fmla="*/ 3521396 w 12248682"/>
              <a:gd name="connsiteY1149" fmla="*/ 456200 h 823468"/>
              <a:gd name="connsiteX1150" fmla="*/ 1985333 w 12248682"/>
              <a:gd name="connsiteY1150" fmla="*/ 456200 h 823468"/>
              <a:gd name="connsiteX1151" fmla="*/ 2014205 w 12248682"/>
              <a:gd name="connsiteY1151" fmla="*/ 485072 h 823468"/>
              <a:gd name="connsiteX1152" fmla="*/ 1985333 w 12248682"/>
              <a:gd name="connsiteY1152" fmla="*/ 513946 h 823468"/>
              <a:gd name="connsiteX1153" fmla="*/ 1956459 w 12248682"/>
              <a:gd name="connsiteY1153" fmla="*/ 485072 h 823468"/>
              <a:gd name="connsiteX1154" fmla="*/ 1985333 w 12248682"/>
              <a:gd name="connsiteY1154" fmla="*/ 456200 h 823468"/>
              <a:gd name="connsiteX1155" fmla="*/ 867356 w 12248682"/>
              <a:gd name="connsiteY1155" fmla="*/ 456200 h 823468"/>
              <a:gd name="connsiteX1156" fmla="*/ 896229 w 12248682"/>
              <a:gd name="connsiteY1156" fmla="*/ 485072 h 823468"/>
              <a:gd name="connsiteX1157" fmla="*/ 867356 w 12248682"/>
              <a:gd name="connsiteY1157" fmla="*/ 513946 h 823468"/>
              <a:gd name="connsiteX1158" fmla="*/ 838482 w 12248682"/>
              <a:gd name="connsiteY1158" fmla="*/ 485072 h 823468"/>
              <a:gd name="connsiteX1159" fmla="*/ 867356 w 12248682"/>
              <a:gd name="connsiteY1159" fmla="*/ 456200 h 823468"/>
              <a:gd name="connsiteX1160" fmla="*/ 28874 w 12248682"/>
              <a:gd name="connsiteY1160" fmla="*/ 456200 h 823468"/>
              <a:gd name="connsiteX1161" fmla="*/ 57747 w 12248682"/>
              <a:gd name="connsiteY1161" fmla="*/ 485072 h 823468"/>
              <a:gd name="connsiteX1162" fmla="*/ 28874 w 12248682"/>
              <a:gd name="connsiteY1162" fmla="*/ 513946 h 823468"/>
              <a:gd name="connsiteX1163" fmla="*/ 0 w 12248682"/>
              <a:gd name="connsiteY1163" fmla="*/ 485072 h 823468"/>
              <a:gd name="connsiteX1164" fmla="*/ 28874 w 12248682"/>
              <a:gd name="connsiteY1164" fmla="*/ 456200 h 823468"/>
              <a:gd name="connsiteX1165" fmla="*/ 11063719 w 12248682"/>
              <a:gd name="connsiteY1165" fmla="*/ 449270 h 823468"/>
              <a:gd name="connsiteX1166" fmla="*/ 11098367 w 12248682"/>
              <a:gd name="connsiteY1166" fmla="*/ 483918 h 823468"/>
              <a:gd name="connsiteX1167" fmla="*/ 11063719 w 12248682"/>
              <a:gd name="connsiteY1167" fmla="*/ 518566 h 823468"/>
              <a:gd name="connsiteX1168" fmla="*/ 11029071 w 12248682"/>
              <a:gd name="connsiteY1168" fmla="*/ 483918 h 823468"/>
              <a:gd name="connsiteX1169" fmla="*/ 11063719 w 12248682"/>
              <a:gd name="connsiteY1169" fmla="*/ 449270 h 823468"/>
              <a:gd name="connsiteX1170" fmla="*/ 9945743 w 12248682"/>
              <a:gd name="connsiteY1170" fmla="*/ 449270 h 823468"/>
              <a:gd name="connsiteX1171" fmla="*/ 9980391 w 12248682"/>
              <a:gd name="connsiteY1171" fmla="*/ 483918 h 823468"/>
              <a:gd name="connsiteX1172" fmla="*/ 9945743 w 12248682"/>
              <a:gd name="connsiteY1172" fmla="*/ 518566 h 823468"/>
              <a:gd name="connsiteX1173" fmla="*/ 9911094 w 12248682"/>
              <a:gd name="connsiteY1173" fmla="*/ 483918 h 823468"/>
              <a:gd name="connsiteX1174" fmla="*/ 9945743 w 12248682"/>
              <a:gd name="connsiteY1174" fmla="*/ 449270 h 823468"/>
              <a:gd name="connsiteX1175" fmla="*/ 9386754 w 12248682"/>
              <a:gd name="connsiteY1175" fmla="*/ 449270 h 823468"/>
              <a:gd name="connsiteX1176" fmla="*/ 9421402 w 12248682"/>
              <a:gd name="connsiteY1176" fmla="*/ 483918 h 823468"/>
              <a:gd name="connsiteX1177" fmla="*/ 9386754 w 12248682"/>
              <a:gd name="connsiteY1177" fmla="*/ 518566 h 823468"/>
              <a:gd name="connsiteX1178" fmla="*/ 9352106 w 12248682"/>
              <a:gd name="connsiteY1178" fmla="*/ 483918 h 823468"/>
              <a:gd name="connsiteX1179" fmla="*/ 9386754 w 12248682"/>
              <a:gd name="connsiteY1179" fmla="*/ 449270 h 823468"/>
              <a:gd name="connsiteX1180" fmla="*/ 8832937 w 12248682"/>
              <a:gd name="connsiteY1180" fmla="*/ 449270 h 823468"/>
              <a:gd name="connsiteX1181" fmla="*/ 8867585 w 12248682"/>
              <a:gd name="connsiteY1181" fmla="*/ 483918 h 823468"/>
              <a:gd name="connsiteX1182" fmla="*/ 8832937 w 12248682"/>
              <a:gd name="connsiteY1182" fmla="*/ 518566 h 823468"/>
              <a:gd name="connsiteX1183" fmla="*/ 8798289 w 12248682"/>
              <a:gd name="connsiteY1183" fmla="*/ 483918 h 823468"/>
              <a:gd name="connsiteX1184" fmla="*/ 8832937 w 12248682"/>
              <a:gd name="connsiteY1184" fmla="*/ 449270 h 823468"/>
              <a:gd name="connsiteX1185" fmla="*/ 8273949 w 12248682"/>
              <a:gd name="connsiteY1185" fmla="*/ 449270 h 823468"/>
              <a:gd name="connsiteX1186" fmla="*/ 8308598 w 12248682"/>
              <a:gd name="connsiteY1186" fmla="*/ 483918 h 823468"/>
              <a:gd name="connsiteX1187" fmla="*/ 8273949 w 12248682"/>
              <a:gd name="connsiteY1187" fmla="*/ 518566 h 823468"/>
              <a:gd name="connsiteX1188" fmla="*/ 8239301 w 12248682"/>
              <a:gd name="connsiteY1188" fmla="*/ 483918 h 823468"/>
              <a:gd name="connsiteX1189" fmla="*/ 8273949 w 12248682"/>
              <a:gd name="connsiteY1189" fmla="*/ 449270 h 823468"/>
              <a:gd name="connsiteX1190" fmla="*/ 6458393 w 12248682"/>
              <a:gd name="connsiteY1190" fmla="*/ 449270 h 823468"/>
              <a:gd name="connsiteX1191" fmla="*/ 6493041 w 12248682"/>
              <a:gd name="connsiteY1191" fmla="*/ 483918 h 823468"/>
              <a:gd name="connsiteX1192" fmla="*/ 6458393 w 12248682"/>
              <a:gd name="connsiteY1192" fmla="*/ 518566 h 823468"/>
              <a:gd name="connsiteX1193" fmla="*/ 6423745 w 12248682"/>
              <a:gd name="connsiteY1193" fmla="*/ 483918 h 823468"/>
              <a:gd name="connsiteX1194" fmla="*/ 6458393 w 12248682"/>
              <a:gd name="connsiteY1194" fmla="*/ 449270 h 823468"/>
              <a:gd name="connsiteX1195" fmla="*/ 5340416 w 12248682"/>
              <a:gd name="connsiteY1195" fmla="*/ 449270 h 823468"/>
              <a:gd name="connsiteX1196" fmla="*/ 5375064 w 12248682"/>
              <a:gd name="connsiteY1196" fmla="*/ 483918 h 823468"/>
              <a:gd name="connsiteX1197" fmla="*/ 5340416 w 12248682"/>
              <a:gd name="connsiteY1197" fmla="*/ 518566 h 823468"/>
              <a:gd name="connsiteX1198" fmla="*/ 5305769 w 12248682"/>
              <a:gd name="connsiteY1198" fmla="*/ 483918 h 823468"/>
              <a:gd name="connsiteX1199" fmla="*/ 5340416 w 12248682"/>
              <a:gd name="connsiteY1199" fmla="*/ 449270 h 823468"/>
              <a:gd name="connsiteX1200" fmla="*/ 4781429 w 12248682"/>
              <a:gd name="connsiteY1200" fmla="*/ 449270 h 823468"/>
              <a:gd name="connsiteX1201" fmla="*/ 4816075 w 12248682"/>
              <a:gd name="connsiteY1201" fmla="*/ 483918 h 823468"/>
              <a:gd name="connsiteX1202" fmla="*/ 4781429 w 12248682"/>
              <a:gd name="connsiteY1202" fmla="*/ 518566 h 823468"/>
              <a:gd name="connsiteX1203" fmla="*/ 4746781 w 12248682"/>
              <a:gd name="connsiteY1203" fmla="*/ 483918 h 823468"/>
              <a:gd name="connsiteX1204" fmla="*/ 4781429 w 12248682"/>
              <a:gd name="connsiteY1204" fmla="*/ 449270 h 823468"/>
              <a:gd name="connsiteX1205" fmla="*/ 4220129 w 12248682"/>
              <a:gd name="connsiteY1205" fmla="*/ 449270 h 823468"/>
              <a:gd name="connsiteX1206" fmla="*/ 4254779 w 12248682"/>
              <a:gd name="connsiteY1206" fmla="*/ 483918 h 823468"/>
              <a:gd name="connsiteX1207" fmla="*/ 4220129 w 12248682"/>
              <a:gd name="connsiteY1207" fmla="*/ 518566 h 823468"/>
              <a:gd name="connsiteX1208" fmla="*/ 4185482 w 12248682"/>
              <a:gd name="connsiteY1208" fmla="*/ 483918 h 823468"/>
              <a:gd name="connsiteX1209" fmla="*/ 4220129 w 12248682"/>
              <a:gd name="connsiteY1209" fmla="*/ 449270 h 823468"/>
              <a:gd name="connsiteX1210" fmla="*/ 3661142 w 12248682"/>
              <a:gd name="connsiteY1210" fmla="*/ 449270 h 823468"/>
              <a:gd name="connsiteX1211" fmla="*/ 3695791 w 12248682"/>
              <a:gd name="connsiteY1211" fmla="*/ 483918 h 823468"/>
              <a:gd name="connsiteX1212" fmla="*/ 3661142 w 12248682"/>
              <a:gd name="connsiteY1212" fmla="*/ 518566 h 823468"/>
              <a:gd name="connsiteX1213" fmla="*/ 3626494 w 12248682"/>
              <a:gd name="connsiteY1213" fmla="*/ 483918 h 823468"/>
              <a:gd name="connsiteX1214" fmla="*/ 3661142 w 12248682"/>
              <a:gd name="connsiteY1214" fmla="*/ 449270 h 823468"/>
              <a:gd name="connsiteX1215" fmla="*/ 1845585 w 12248682"/>
              <a:gd name="connsiteY1215" fmla="*/ 449270 h 823468"/>
              <a:gd name="connsiteX1216" fmla="*/ 1880233 w 12248682"/>
              <a:gd name="connsiteY1216" fmla="*/ 483918 h 823468"/>
              <a:gd name="connsiteX1217" fmla="*/ 1845585 w 12248682"/>
              <a:gd name="connsiteY1217" fmla="*/ 518566 h 823468"/>
              <a:gd name="connsiteX1218" fmla="*/ 1810937 w 12248682"/>
              <a:gd name="connsiteY1218" fmla="*/ 483918 h 823468"/>
              <a:gd name="connsiteX1219" fmla="*/ 1845585 w 12248682"/>
              <a:gd name="connsiteY1219" fmla="*/ 449270 h 823468"/>
              <a:gd name="connsiteX1220" fmla="*/ 727609 w 12248682"/>
              <a:gd name="connsiteY1220" fmla="*/ 449270 h 823468"/>
              <a:gd name="connsiteX1221" fmla="*/ 762257 w 12248682"/>
              <a:gd name="connsiteY1221" fmla="*/ 483918 h 823468"/>
              <a:gd name="connsiteX1222" fmla="*/ 727609 w 12248682"/>
              <a:gd name="connsiteY1222" fmla="*/ 518566 h 823468"/>
              <a:gd name="connsiteX1223" fmla="*/ 692961 w 12248682"/>
              <a:gd name="connsiteY1223" fmla="*/ 483918 h 823468"/>
              <a:gd name="connsiteX1224" fmla="*/ 727609 w 12248682"/>
              <a:gd name="connsiteY1224" fmla="*/ 449270 h 823468"/>
              <a:gd name="connsiteX1225" fmla="*/ 168621 w 12248682"/>
              <a:gd name="connsiteY1225" fmla="*/ 449270 h 823468"/>
              <a:gd name="connsiteX1226" fmla="*/ 203269 w 12248682"/>
              <a:gd name="connsiteY1226" fmla="*/ 483918 h 823468"/>
              <a:gd name="connsiteX1227" fmla="*/ 168621 w 12248682"/>
              <a:gd name="connsiteY1227" fmla="*/ 518566 h 823468"/>
              <a:gd name="connsiteX1228" fmla="*/ 133973 w 12248682"/>
              <a:gd name="connsiteY1228" fmla="*/ 483918 h 823468"/>
              <a:gd name="connsiteX1229" fmla="*/ 168621 w 12248682"/>
              <a:gd name="connsiteY1229" fmla="*/ 449270 h 823468"/>
              <a:gd name="connsiteX1230" fmla="*/ 10923972 w 12248682"/>
              <a:gd name="connsiteY1230" fmla="*/ 443495 h 823468"/>
              <a:gd name="connsiteX1231" fmla="*/ 10964394 w 12248682"/>
              <a:gd name="connsiteY1231" fmla="*/ 483918 h 823468"/>
              <a:gd name="connsiteX1232" fmla="*/ 10923972 w 12248682"/>
              <a:gd name="connsiteY1232" fmla="*/ 524340 h 823468"/>
              <a:gd name="connsiteX1233" fmla="*/ 10883549 w 12248682"/>
              <a:gd name="connsiteY1233" fmla="*/ 483918 h 823468"/>
              <a:gd name="connsiteX1234" fmla="*/ 10923972 w 12248682"/>
              <a:gd name="connsiteY1234" fmla="*/ 443495 h 823468"/>
              <a:gd name="connsiteX1235" fmla="*/ 9805996 w 12248682"/>
              <a:gd name="connsiteY1235" fmla="*/ 443495 h 823468"/>
              <a:gd name="connsiteX1236" fmla="*/ 9846418 w 12248682"/>
              <a:gd name="connsiteY1236" fmla="*/ 483918 h 823468"/>
              <a:gd name="connsiteX1237" fmla="*/ 9805996 w 12248682"/>
              <a:gd name="connsiteY1237" fmla="*/ 524340 h 823468"/>
              <a:gd name="connsiteX1238" fmla="*/ 9765573 w 12248682"/>
              <a:gd name="connsiteY1238" fmla="*/ 483918 h 823468"/>
              <a:gd name="connsiteX1239" fmla="*/ 9805996 w 12248682"/>
              <a:gd name="connsiteY1239" fmla="*/ 443495 h 823468"/>
              <a:gd name="connsiteX1240" fmla="*/ 9526502 w 12248682"/>
              <a:gd name="connsiteY1240" fmla="*/ 443495 h 823468"/>
              <a:gd name="connsiteX1241" fmla="*/ 9566924 w 12248682"/>
              <a:gd name="connsiteY1241" fmla="*/ 483918 h 823468"/>
              <a:gd name="connsiteX1242" fmla="*/ 9526502 w 12248682"/>
              <a:gd name="connsiteY1242" fmla="*/ 524340 h 823468"/>
              <a:gd name="connsiteX1243" fmla="*/ 9486079 w 12248682"/>
              <a:gd name="connsiteY1243" fmla="*/ 483918 h 823468"/>
              <a:gd name="connsiteX1244" fmla="*/ 9526502 w 12248682"/>
              <a:gd name="connsiteY1244" fmla="*/ 443495 h 823468"/>
              <a:gd name="connsiteX1245" fmla="*/ 8693190 w 12248682"/>
              <a:gd name="connsiteY1245" fmla="*/ 443495 h 823468"/>
              <a:gd name="connsiteX1246" fmla="*/ 8733613 w 12248682"/>
              <a:gd name="connsiteY1246" fmla="*/ 483918 h 823468"/>
              <a:gd name="connsiteX1247" fmla="*/ 8693190 w 12248682"/>
              <a:gd name="connsiteY1247" fmla="*/ 524340 h 823468"/>
              <a:gd name="connsiteX1248" fmla="*/ 8652767 w 12248682"/>
              <a:gd name="connsiteY1248" fmla="*/ 483918 h 823468"/>
              <a:gd name="connsiteX1249" fmla="*/ 8693190 w 12248682"/>
              <a:gd name="connsiteY1249" fmla="*/ 443495 h 823468"/>
              <a:gd name="connsiteX1250" fmla="*/ 8413696 w 12248682"/>
              <a:gd name="connsiteY1250" fmla="*/ 443495 h 823468"/>
              <a:gd name="connsiteX1251" fmla="*/ 8454118 w 12248682"/>
              <a:gd name="connsiteY1251" fmla="*/ 483918 h 823468"/>
              <a:gd name="connsiteX1252" fmla="*/ 8413696 w 12248682"/>
              <a:gd name="connsiteY1252" fmla="*/ 524340 h 823468"/>
              <a:gd name="connsiteX1253" fmla="*/ 8373274 w 12248682"/>
              <a:gd name="connsiteY1253" fmla="*/ 483918 h 823468"/>
              <a:gd name="connsiteX1254" fmla="*/ 8413696 w 12248682"/>
              <a:gd name="connsiteY1254" fmla="*/ 443495 h 823468"/>
              <a:gd name="connsiteX1255" fmla="*/ 6318647 w 12248682"/>
              <a:gd name="connsiteY1255" fmla="*/ 443495 h 823468"/>
              <a:gd name="connsiteX1256" fmla="*/ 6359068 w 12248682"/>
              <a:gd name="connsiteY1256" fmla="*/ 483918 h 823468"/>
              <a:gd name="connsiteX1257" fmla="*/ 6318647 w 12248682"/>
              <a:gd name="connsiteY1257" fmla="*/ 524340 h 823468"/>
              <a:gd name="connsiteX1258" fmla="*/ 6278223 w 12248682"/>
              <a:gd name="connsiteY1258" fmla="*/ 483918 h 823468"/>
              <a:gd name="connsiteX1259" fmla="*/ 6318647 w 12248682"/>
              <a:gd name="connsiteY1259" fmla="*/ 443495 h 823468"/>
              <a:gd name="connsiteX1260" fmla="*/ 5200669 w 12248682"/>
              <a:gd name="connsiteY1260" fmla="*/ 443495 h 823468"/>
              <a:gd name="connsiteX1261" fmla="*/ 5241093 w 12248682"/>
              <a:gd name="connsiteY1261" fmla="*/ 483918 h 823468"/>
              <a:gd name="connsiteX1262" fmla="*/ 5200669 w 12248682"/>
              <a:gd name="connsiteY1262" fmla="*/ 524340 h 823468"/>
              <a:gd name="connsiteX1263" fmla="*/ 5160247 w 12248682"/>
              <a:gd name="connsiteY1263" fmla="*/ 483918 h 823468"/>
              <a:gd name="connsiteX1264" fmla="*/ 5200669 w 12248682"/>
              <a:gd name="connsiteY1264" fmla="*/ 443495 h 823468"/>
              <a:gd name="connsiteX1265" fmla="*/ 4921176 w 12248682"/>
              <a:gd name="connsiteY1265" fmla="*/ 443495 h 823468"/>
              <a:gd name="connsiteX1266" fmla="*/ 4961597 w 12248682"/>
              <a:gd name="connsiteY1266" fmla="*/ 483918 h 823468"/>
              <a:gd name="connsiteX1267" fmla="*/ 4921176 w 12248682"/>
              <a:gd name="connsiteY1267" fmla="*/ 524340 h 823468"/>
              <a:gd name="connsiteX1268" fmla="*/ 4880752 w 12248682"/>
              <a:gd name="connsiteY1268" fmla="*/ 483918 h 823468"/>
              <a:gd name="connsiteX1269" fmla="*/ 4921176 w 12248682"/>
              <a:gd name="connsiteY1269" fmla="*/ 443495 h 823468"/>
              <a:gd name="connsiteX1270" fmla="*/ 4080383 w 12248682"/>
              <a:gd name="connsiteY1270" fmla="*/ 443495 h 823468"/>
              <a:gd name="connsiteX1271" fmla="*/ 4120806 w 12248682"/>
              <a:gd name="connsiteY1271" fmla="*/ 483918 h 823468"/>
              <a:gd name="connsiteX1272" fmla="*/ 4080383 w 12248682"/>
              <a:gd name="connsiteY1272" fmla="*/ 524340 h 823468"/>
              <a:gd name="connsiteX1273" fmla="*/ 4039961 w 12248682"/>
              <a:gd name="connsiteY1273" fmla="*/ 483918 h 823468"/>
              <a:gd name="connsiteX1274" fmla="*/ 4080383 w 12248682"/>
              <a:gd name="connsiteY1274" fmla="*/ 443495 h 823468"/>
              <a:gd name="connsiteX1275" fmla="*/ 3800889 w 12248682"/>
              <a:gd name="connsiteY1275" fmla="*/ 443495 h 823468"/>
              <a:gd name="connsiteX1276" fmla="*/ 3841311 w 12248682"/>
              <a:gd name="connsiteY1276" fmla="*/ 483918 h 823468"/>
              <a:gd name="connsiteX1277" fmla="*/ 3800889 w 12248682"/>
              <a:gd name="connsiteY1277" fmla="*/ 524340 h 823468"/>
              <a:gd name="connsiteX1278" fmla="*/ 3760466 w 12248682"/>
              <a:gd name="connsiteY1278" fmla="*/ 483918 h 823468"/>
              <a:gd name="connsiteX1279" fmla="*/ 3800889 w 12248682"/>
              <a:gd name="connsiteY1279" fmla="*/ 443495 h 823468"/>
              <a:gd name="connsiteX1280" fmla="*/ 1705839 w 12248682"/>
              <a:gd name="connsiteY1280" fmla="*/ 443495 h 823468"/>
              <a:gd name="connsiteX1281" fmla="*/ 1746261 w 12248682"/>
              <a:gd name="connsiteY1281" fmla="*/ 483918 h 823468"/>
              <a:gd name="connsiteX1282" fmla="*/ 1705839 w 12248682"/>
              <a:gd name="connsiteY1282" fmla="*/ 524340 h 823468"/>
              <a:gd name="connsiteX1283" fmla="*/ 1665415 w 12248682"/>
              <a:gd name="connsiteY1283" fmla="*/ 483918 h 823468"/>
              <a:gd name="connsiteX1284" fmla="*/ 1705839 w 12248682"/>
              <a:gd name="connsiteY1284" fmla="*/ 443495 h 823468"/>
              <a:gd name="connsiteX1285" fmla="*/ 587862 w 12248682"/>
              <a:gd name="connsiteY1285" fmla="*/ 443495 h 823468"/>
              <a:gd name="connsiteX1286" fmla="*/ 628284 w 12248682"/>
              <a:gd name="connsiteY1286" fmla="*/ 483918 h 823468"/>
              <a:gd name="connsiteX1287" fmla="*/ 587862 w 12248682"/>
              <a:gd name="connsiteY1287" fmla="*/ 524340 h 823468"/>
              <a:gd name="connsiteX1288" fmla="*/ 547439 w 12248682"/>
              <a:gd name="connsiteY1288" fmla="*/ 483918 h 823468"/>
              <a:gd name="connsiteX1289" fmla="*/ 587862 w 12248682"/>
              <a:gd name="connsiteY1289" fmla="*/ 443495 h 823468"/>
              <a:gd name="connsiteX1290" fmla="*/ 308368 w 12248682"/>
              <a:gd name="connsiteY1290" fmla="*/ 443495 h 823468"/>
              <a:gd name="connsiteX1291" fmla="*/ 348790 w 12248682"/>
              <a:gd name="connsiteY1291" fmla="*/ 483918 h 823468"/>
              <a:gd name="connsiteX1292" fmla="*/ 308368 w 12248682"/>
              <a:gd name="connsiteY1292" fmla="*/ 524340 h 823468"/>
              <a:gd name="connsiteX1293" fmla="*/ 267945 w 12248682"/>
              <a:gd name="connsiteY1293" fmla="*/ 483918 h 823468"/>
              <a:gd name="connsiteX1294" fmla="*/ 308368 w 12248682"/>
              <a:gd name="connsiteY1294" fmla="*/ 443495 h 823468"/>
              <a:gd name="connsiteX1295" fmla="*/ 10784225 w 12248682"/>
              <a:gd name="connsiteY1295" fmla="*/ 433101 h 823468"/>
              <a:gd name="connsiteX1296" fmla="*/ 10835042 w 12248682"/>
              <a:gd name="connsiteY1296" fmla="*/ 483918 h 823468"/>
              <a:gd name="connsiteX1297" fmla="*/ 10784225 w 12248682"/>
              <a:gd name="connsiteY1297" fmla="*/ 534735 h 823468"/>
              <a:gd name="connsiteX1298" fmla="*/ 10733408 w 12248682"/>
              <a:gd name="connsiteY1298" fmla="*/ 483918 h 823468"/>
              <a:gd name="connsiteX1299" fmla="*/ 10784225 w 12248682"/>
              <a:gd name="connsiteY1299" fmla="*/ 433101 h 823468"/>
              <a:gd name="connsiteX1300" fmla="*/ 9666248 w 12248682"/>
              <a:gd name="connsiteY1300" fmla="*/ 433101 h 823468"/>
              <a:gd name="connsiteX1301" fmla="*/ 9717066 w 12248682"/>
              <a:gd name="connsiteY1301" fmla="*/ 483918 h 823468"/>
              <a:gd name="connsiteX1302" fmla="*/ 9666248 w 12248682"/>
              <a:gd name="connsiteY1302" fmla="*/ 534735 h 823468"/>
              <a:gd name="connsiteX1303" fmla="*/ 9615431 w 12248682"/>
              <a:gd name="connsiteY1303" fmla="*/ 483918 h 823468"/>
              <a:gd name="connsiteX1304" fmla="*/ 9666248 w 12248682"/>
              <a:gd name="connsiteY1304" fmla="*/ 433101 h 823468"/>
              <a:gd name="connsiteX1305" fmla="*/ 8553443 w 12248682"/>
              <a:gd name="connsiteY1305" fmla="*/ 433101 h 823468"/>
              <a:gd name="connsiteX1306" fmla="*/ 8604260 w 12248682"/>
              <a:gd name="connsiteY1306" fmla="*/ 483918 h 823468"/>
              <a:gd name="connsiteX1307" fmla="*/ 8553443 w 12248682"/>
              <a:gd name="connsiteY1307" fmla="*/ 534735 h 823468"/>
              <a:gd name="connsiteX1308" fmla="*/ 8502626 w 12248682"/>
              <a:gd name="connsiteY1308" fmla="*/ 483918 h 823468"/>
              <a:gd name="connsiteX1309" fmla="*/ 8553443 w 12248682"/>
              <a:gd name="connsiteY1309" fmla="*/ 433101 h 823468"/>
              <a:gd name="connsiteX1310" fmla="*/ 6178898 w 12248682"/>
              <a:gd name="connsiteY1310" fmla="*/ 433101 h 823468"/>
              <a:gd name="connsiteX1311" fmla="*/ 6229715 w 12248682"/>
              <a:gd name="connsiteY1311" fmla="*/ 483918 h 823468"/>
              <a:gd name="connsiteX1312" fmla="*/ 6178898 w 12248682"/>
              <a:gd name="connsiteY1312" fmla="*/ 534735 h 823468"/>
              <a:gd name="connsiteX1313" fmla="*/ 6128081 w 12248682"/>
              <a:gd name="connsiteY1313" fmla="*/ 483918 h 823468"/>
              <a:gd name="connsiteX1314" fmla="*/ 6178898 w 12248682"/>
              <a:gd name="connsiteY1314" fmla="*/ 433101 h 823468"/>
              <a:gd name="connsiteX1315" fmla="*/ 5060922 w 12248682"/>
              <a:gd name="connsiteY1315" fmla="*/ 433101 h 823468"/>
              <a:gd name="connsiteX1316" fmla="*/ 5111739 w 12248682"/>
              <a:gd name="connsiteY1316" fmla="*/ 483918 h 823468"/>
              <a:gd name="connsiteX1317" fmla="*/ 5060922 w 12248682"/>
              <a:gd name="connsiteY1317" fmla="*/ 534735 h 823468"/>
              <a:gd name="connsiteX1318" fmla="*/ 5010105 w 12248682"/>
              <a:gd name="connsiteY1318" fmla="*/ 483918 h 823468"/>
              <a:gd name="connsiteX1319" fmla="*/ 5060922 w 12248682"/>
              <a:gd name="connsiteY1319" fmla="*/ 433101 h 823468"/>
              <a:gd name="connsiteX1320" fmla="*/ 3940636 w 12248682"/>
              <a:gd name="connsiteY1320" fmla="*/ 433101 h 823468"/>
              <a:gd name="connsiteX1321" fmla="*/ 3991453 w 12248682"/>
              <a:gd name="connsiteY1321" fmla="*/ 483918 h 823468"/>
              <a:gd name="connsiteX1322" fmla="*/ 3940636 w 12248682"/>
              <a:gd name="connsiteY1322" fmla="*/ 534735 h 823468"/>
              <a:gd name="connsiteX1323" fmla="*/ 3889819 w 12248682"/>
              <a:gd name="connsiteY1323" fmla="*/ 483918 h 823468"/>
              <a:gd name="connsiteX1324" fmla="*/ 3940636 w 12248682"/>
              <a:gd name="connsiteY1324" fmla="*/ 433101 h 823468"/>
              <a:gd name="connsiteX1325" fmla="*/ 1566091 w 12248682"/>
              <a:gd name="connsiteY1325" fmla="*/ 433101 h 823468"/>
              <a:gd name="connsiteX1326" fmla="*/ 1616908 w 12248682"/>
              <a:gd name="connsiteY1326" fmla="*/ 483918 h 823468"/>
              <a:gd name="connsiteX1327" fmla="*/ 1566091 w 12248682"/>
              <a:gd name="connsiteY1327" fmla="*/ 534735 h 823468"/>
              <a:gd name="connsiteX1328" fmla="*/ 1515274 w 12248682"/>
              <a:gd name="connsiteY1328" fmla="*/ 483918 h 823468"/>
              <a:gd name="connsiteX1329" fmla="*/ 1566091 w 12248682"/>
              <a:gd name="connsiteY1329" fmla="*/ 433101 h 823468"/>
              <a:gd name="connsiteX1330" fmla="*/ 448115 w 12248682"/>
              <a:gd name="connsiteY1330" fmla="*/ 433101 h 823468"/>
              <a:gd name="connsiteX1331" fmla="*/ 498932 w 12248682"/>
              <a:gd name="connsiteY1331" fmla="*/ 483918 h 823468"/>
              <a:gd name="connsiteX1332" fmla="*/ 448115 w 12248682"/>
              <a:gd name="connsiteY1332" fmla="*/ 534735 h 823468"/>
              <a:gd name="connsiteX1333" fmla="*/ 397298 w 12248682"/>
              <a:gd name="connsiteY1333" fmla="*/ 483918 h 823468"/>
              <a:gd name="connsiteX1334" fmla="*/ 448115 w 12248682"/>
              <a:gd name="connsiteY1334" fmla="*/ 433101 h 823468"/>
              <a:gd name="connsiteX1335" fmla="*/ 12210569 w 12248682"/>
              <a:gd name="connsiteY1335" fmla="*/ 319917 h 823468"/>
              <a:gd name="connsiteX1336" fmla="*/ 12231358 w 12248682"/>
              <a:gd name="connsiteY1336" fmla="*/ 340706 h 823468"/>
              <a:gd name="connsiteX1337" fmla="*/ 12210569 w 12248682"/>
              <a:gd name="connsiteY1337" fmla="*/ 361495 h 823468"/>
              <a:gd name="connsiteX1338" fmla="*/ 12189780 w 12248682"/>
              <a:gd name="connsiteY1338" fmla="*/ 340706 h 823468"/>
              <a:gd name="connsiteX1339" fmla="*/ 12210569 w 12248682"/>
              <a:gd name="connsiteY1339" fmla="*/ 319917 h 823468"/>
              <a:gd name="connsiteX1340" fmla="*/ 12071977 w 12248682"/>
              <a:gd name="connsiteY1340" fmla="*/ 319917 h 823468"/>
              <a:gd name="connsiteX1341" fmla="*/ 12092766 w 12248682"/>
              <a:gd name="connsiteY1341" fmla="*/ 340706 h 823468"/>
              <a:gd name="connsiteX1342" fmla="*/ 12071977 w 12248682"/>
              <a:gd name="connsiteY1342" fmla="*/ 361495 h 823468"/>
              <a:gd name="connsiteX1343" fmla="*/ 12051188 w 12248682"/>
              <a:gd name="connsiteY1343" fmla="*/ 340706 h 823468"/>
              <a:gd name="connsiteX1344" fmla="*/ 12071977 w 12248682"/>
              <a:gd name="connsiteY1344" fmla="*/ 319917 h 823468"/>
              <a:gd name="connsiteX1345" fmla="*/ 11934539 w 12248682"/>
              <a:gd name="connsiteY1345" fmla="*/ 319917 h 823468"/>
              <a:gd name="connsiteX1346" fmla="*/ 11955328 w 12248682"/>
              <a:gd name="connsiteY1346" fmla="*/ 340706 h 823468"/>
              <a:gd name="connsiteX1347" fmla="*/ 11934539 w 12248682"/>
              <a:gd name="connsiteY1347" fmla="*/ 361495 h 823468"/>
              <a:gd name="connsiteX1348" fmla="*/ 11913750 w 12248682"/>
              <a:gd name="connsiteY1348" fmla="*/ 340706 h 823468"/>
              <a:gd name="connsiteX1349" fmla="*/ 11934539 w 12248682"/>
              <a:gd name="connsiteY1349" fmla="*/ 319917 h 823468"/>
              <a:gd name="connsiteX1350" fmla="*/ 11797103 w 12248682"/>
              <a:gd name="connsiteY1350" fmla="*/ 319917 h 823468"/>
              <a:gd name="connsiteX1351" fmla="*/ 11817892 w 12248682"/>
              <a:gd name="connsiteY1351" fmla="*/ 340706 h 823468"/>
              <a:gd name="connsiteX1352" fmla="*/ 11797103 w 12248682"/>
              <a:gd name="connsiteY1352" fmla="*/ 361495 h 823468"/>
              <a:gd name="connsiteX1353" fmla="*/ 11776314 w 12248682"/>
              <a:gd name="connsiteY1353" fmla="*/ 340706 h 823468"/>
              <a:gd name="connsiteX1354" fmla="*/ 11797103 w 12248682"/>
              <a:gd name="connsiteY1354" fmla="*/ 319917 h 823468"/>
              <a:gd name="connsiteX1355" fmla="*/ 10645633 w 12248682"/>
              <a:gd name="connsiteY1355" fmla="*/ 319917 h 823468"/>
              <a:gd name="connsiteX1356" fmla="*/ 10666422 w 12248682"/>
              <a:gd name="connsiteY1356" fmla="*/ 340706 h 823468"/>
              <a:gd name="connsiteX1357" fmla="*/ 10645633 w 12248682"/>
              <a:gd name="connsiteY1357" fmla="*/ 361495 h 823468"/>
              <a:gd name="connsiteX1358" fmla="*/ 10624844 w 12248682"/>
              <a:gd name="connsiteY1358" fmla="*/ 340706 h 823468"/>
              <a:gd name="connsiteX1359" fmla="*/ 10645633 w 12248682"/>
              <a:gd name="connsiteY1359" fmla="*/ 319917 h 823468"/>
              <a:gd name="connsiteX1360" fmla="*/ 9247008 w 12248682"/>
              <a:gd name="connsiteY1360" fmla="*/ 319917 h 823468"/>
              <a:gd name="connsiteX1361" fmla="*/ 9267797 w 12248682"/>
              <a:gd name="connsiteY1361" fmla="*/ 340706 h 823468"/>
              <a:gd name="connsiteX1362" fmla="*/ 9247008 w 12248682"/>
              <a:gd name="connsiteY1362" fmla="*/ 361495 h 823468"/>
              <a:gd name="connsiteX1363" fmla="*/ 9226219 w 12248682"/>
              <a:gd name="connsiteY1363" fmla="*/ 340706 h 823468"/>
              <a:gd name="connsiteX1364" fmla="*/ 9247008 w 12248682"/>
              <a:gd name="connsiteY1364" fmla="*/ 319917 h 823468"/>
              <a:gd name="connsiteX1365" fmla="*/ 8148062 w 12248682"/>
              <a:gd name="connsiteY1365" fmla="*/ 319917 h 823468"/>
              <a:gd name="connsiteX1366" fmla="*/ 8168851 w 12248682"/>
              <a:gd name="connsiteY1366" fmla="*/ 340706 h 823468"/>
              <a:gd name="connsiteX1367" fmla="*/ 8148062 w 12248682"/>
              <a:gd name="connsiteY1367" fmla="*/ 361495 h 823468"/>
              <a:gd name="connsiteX1368" fmla="*/ 8127274 w 12248682"/>
              <a:gd name="connsiteY1368" fmla="*/ 340706 h 823468"/>
              <a:gd name="connsiteX1369" fmla="*/ 8148062 w 12248682"/>
              <a:gd name="connsiteY1369" fmla="*/ 319917 h 823468"/>
              <a:gd name="connsiteX1370" fmla="*/ 8009471 w 12248682"/>
              <a:gd name="connsiteY1370" fmla="*/ 319917 h 823468"/>
              <a:gd name="connsiteX1371" fmla="*/ 8030259 w 12248682"/>
              <a:gd name="connsiteY1371" fmla="*/ 340706 h 823468"/>
              <a:gd name="connsiteX1372" fmla="*/ 8009471 w 12248682"/>
              <a:gd name="connsiteY1372" fmla="*/ 361495 h 823468"/>
              <a:gd name="connsiteX1373" fmla="*/ 7988682 w 12248682"/>
              <a:gd name="connsiteY1373" fmla="*/ 340706 h 823468"/>
              <a:gd name="connsiteX1374" fmla="*/ 8009471 w 12248682"/>
              <a:gd name="connsiteY1374" fmla="*/ 319917 h 823468"/>
              <a:gd name="connsiteX1375" fmla="*/ 7872031 w 12248682"/>
              <a:gd name="connsiteY1375" fmla="*/ 319917 h 823468"/>
              <a:gd name="connsiteX1376" fmla="*/ 7892822 w 12248682"/>
              <a:gd name="connsiteY1376" fmla="*/ 340706 h 823468"/>
              <a:gd name="connsiteX1377" fmla="*/ 7872031 w 12248682"/>
              <a:gd name="connsiteY1377" fmla="*/ 361495 h 823468"/>
              <a:gd name="connsiteX1378" fmla="*/ 7851244 w 12248682"/>
              <a:gd name="connsiteY1378" fmla="*/ 340706 h 823468"/>
              <a:gd name="connsiteX1379" fmla="*/ 7872031 w 12248682"/>
              <a:gd name="connsiteY1379" fmla="*/ 319917 h 823468"/>
              <a:gd name="connsiteX1380" fmla="*/ 7713807 w 12248682"/>
              <a:gd name="connsiteY1380" fmla="*/ 319917 h 823468"/>
              <a:gd name="connsiteX1381" fmla="*/ 7734596 w 12248682"/>
              <a:gd name="connsiteY1381" fmla="*/ 340706 h 823468"/>
              <a:gd name="connsiteX1382" fmla="*/ 7713807 w 12248682"/>
              <a:gd name="connsiteY1382" fmla="*/ 361495 h 823468"/>
              <a:gd name="connsiteX1383" fmla="*/ 7693019 w 12248682"/>
              <a:gd name="connsiteY1383" fmla="*/ 340706 h 823468"/>
              <a:gd name="connsiteX1384" fmla="*/ 7713807 w 12248682"/>
              <a:gd name="connsiteY1384" fmla="*/ 319917 h 823468"/>
              <a:gd name="connsiteX1385" fmla="*/ 7605244 w 12248682"/>
              <a:gd name="connsiteY1385" fmla="*/ 319917 h 823468"/>
              <a:gd name="connsiteX1386" fmla="*/ 7626031 w 12248682"/>
              <a:gd name="connsiteY1386" fmla="*/ 340706 h 823468"/>
              <a:gd name="connsiteX1387" fmla="*/ 7605244 w 12248682"/>
              <a:gd name="connsiteY1387" fmla="*/ 361495 h 823468"/>
              <a:gd name="connsiteX1388" fmla="*/ 7584454 w 12248682"/>
              <a:gd name="connsiteY1388" fmla="*/ 340706 h 823468"/>
              <a:gd name="connsiteX1389" fmla="*/ 7605244 w 12248682"/>
              <a:gd name="connsiteY1389" fmla="*/ 319917 h 823468"/>
              <a:gd name="connsiteX1390" fmla="*/ 7466651 w 12248682"/>
              <a:gd name="connsiteY1390" fmla="*/ 319917 h 823468"/>
              <a:gd name="connsiteX1391" fmla="*/ 7487439 w 12248682"/>
              <a:gd name="connsiteY1391" fmla="*/ 340706 h 823468"/>
              <a:gd name="connsiteX1392" fmla="*/ 7466651 w 12248682"/>
              <a:gd name="connsiteY1392" fmla="*/ 361495 h 823468"/>
              <a:gd name="connsiteX1393" fmla="*/ 7445863 w 12248682"/>
              <a:gd name="connsiteY1393" fmla="*/ 340706 h 823468"/>
              <a:gd name="connsiteX1394" fmla="*/ 7466651 w 12248682"/>
              <a:gd name="connsiteY1394" fmla="*/ 319917 h 823468"/>
              <a:gd name="connsiteX1395" fmla="*/ 7329213 w 12248682"/>
              <a:gd name="connsiteY1395" fmla="*/ 319917 h 823468"/>
              <a:gd name="connsiteX1396" fmla="*/ 7350002 w 12248682"/>
              <a:gd name="connsiteY1396" fmla="*/ 340706 h 823468"/>
              <a:gd name="connsiteX1397" fmla="*/ 7329213 w 12248682"/>
              <a:gd name="connsiteY1397" fmla="*/ 361495 h 823468"/>
              <a:gd name="connsiteX1398" fmla="*/ 7308425 w 12248682"/>
              <a:gd name="connsiteY1398" fmla="*/ 340706 h 823468"/>
              <a:gd name="connsiteX1399" fmla="*/ 7329213 w 12248682"/>
              <a:gd name="connsiteY1399" fmla="*/ 319917 h 823468"/>
              <a:gd name="connsiteX1400" fmla="*/ 7191777 w 12248682"/>
              <a:gd name="connsiteY1400" fmla="*/ 319917 h 823468"/>
              <a:gd name="connsiteX1401" fmla="*/ 7212566 w 12248682"/>
              <a:gd name="connsiteY1401" fmla="*/ 340706 h 823468"/>
              <a:gd name="connsiteX1402" fmla="*/ 7191777 w 12248682"/>
              <a:gd name="connsiteY1402" fmla="*/ 361495 h 823468"/>
              <a:gd name="connsiteX1403" fmla="*/ 7170987 w 12248682"/>
              <a:gd name="connsiteY1403" fmla="*/ 340706 h 823468"/>
              <a:gd name="connsiteX1404" fmla="*/ 7191777 w 12248682"/>
              <a:gd name="connsiteY1404" fmla="*/ 319917 h 823468"/>
              <a:gd name="connsiteX1405" fmla="*/ 6040307 w 12248682"/>
              <a:gd name="connsiteY1405" fmla="*/ 319917 h 823468"/>
              <a:gd name="connsiteX1406" fmla="*/ 6061095 w 12248682"/>
              <a:gd name="connsiteY1406" fmla="*/ 340706 h 823468"/>
              <a:gd name="connsiteX1407" fmla="*/ 6040307 w 12248682"/>
              <a:gd name="connsiteY1407" fmla="*/ 361495 h 823468"/>
              <a:gd name="connsiteX1408" fmla="*/ 6019518 w 12248682"/>
              <a:gd name="connsiteY1408" fmla="*/ 340706 h 823468"/>
              <a:gd name="connsiteX1409" fmla="*/ 6040307 w 12248682"/>
              <a:gd name="connsiteY1409" fmla="*/ 319917 h 823468"/>
              <a:gd name="connsiteX1410" fmla="*/ 4641682 w 12248682"/>
              <a:gd name="connsiteY1410" fmla="*/ 319917 h 823468"/>
              <a:gd name="connsiteX1411" fmla="*/ 4662471 w 12248682"/>
              <a:gd name="connsiteY1411" fmla="*/ 340706 h 823468"/>
              <a:gd name="connsiteX1412" fmla="*/ 4641682 w 12248682"/>
              <a:gd name="connsiteY1412" fmla="*/ 361495 h 823468"/>
              <a:gd name="connsiteX1413" fmla="*/ 4620893 w 12248682"/>
              <a:gd name="connsiteY1413" fmla="*/ 340706 h 823468"/>
              <a:gd name="connsiteX1414" fmla="*/ 4641682 w 12248682"/>
              <a:gd name="connsiteY1414" fmla="*/ 319917 h 823468"/>
              <a:gd name="connsiteX1415" fmla="*/ 3535254 w 12248682"/>
              <a:gd name="connsiteY1415" fmla="*/ 319917 h 823468"/>
              <a:gd name="connsiteX1416" fmla="*/ 3556043 w 12248682"/>
              <a:gd name="connsiteY1416" fmla="*/ 340706 h 823468"/>
              <a:gd name="connsiteX1417" fmla="*/ 3535254 w 12248682"/>
              <a:gd name="connsiteY1417" fmla="*/ 361495 h 823468"/>
              <a:gd name="connsiteX1418" fmla="*/ 3514466 w 12248682"/>
              <a:gd name="connsiteY1418" fmla="*/ 340706 h 823468"/>
              <a:gd name="connsiteX1419" fmla="*/ 3535254 w 12248682"/>
              <a:gd name="connsiteY1419" fmla="*/ 319917 h 823468"/>
              <a:gd name="connsiteX1420" fmla="*/ 3396662 w 12248682"/>
              <a:gd name="connsiteY1420" fmla="*/ 319917 h 823468"/>
              <a:gd name="connsiteX1421" fmla="*/ 3417451 w 12248682"/>
              <a:gd name="connsiteY1421" fmla="*/ 340706 h 823468"/>
              <a:gd name="connsiteX1422" fmla="*/ 3396662 w 12248682"/>
              <a:gd name="connsiteY1422" fmla="*/ 361495 h 823468"/>
              <a:gd name="connsiteX1423" fmla="*/ 3375874 w 12248682"/>
              <a:gd name="connsiteY1423" fmla="*/ 340706 h 823468"/>
              <a:gd name="connsiteX1424" fmla="*/ 3396662 w 12248682"/>
              <a:gd name="connsiteY1424" fmla="*/ 319917 h 823468"/>
              <a:gd name="connsiteX1425" fmla="*/ 3259224 w 12248682"/>
              <a:gd name="connsiteY1425" fmla="*/ 319917 h 823468"/>
              <a:gd name="connsiteX1426" fmla="*/ 3280013 w 12248682"/>
              <a:gd name="connsiteY1426" fmla="*/ 340706 h 823468"/>
              <a:gd name="connsiteX1427" fmla="*/ 3259224 w 12248682"/>
              <a:gd name="connsiteY1427" fmla="*/ 361495 h 823468"/>
              <a:gd name="connsiteX1428" fmla="*/ 3238436 w 12248682"/>
              <a:gd name="connsiteY1428" fmla="*/ 340706 h 823468"/>
              <a:gd name="connsiteX1429" fmla="*/ 3259224 w 12248682"/>
              <a:gd name="connsiteY1429" fmla="*/ 319917 h 823468"/>
              <a:gd name="connsiteX1430" fmla="*/ 3100999 w 12248682"/>
              <a:gd name="connsiteY1430" fmla="*/ 319917 h 823468"/>
              <a:gd name="connsiteX1431" fmla="*/ 3121789 w 12248682"/>
              <a:gd name="connsiteY1431" fmla="*/ 340706 h 823468"/>
              <a:gd name="connsiteX1432" fmla="*/ 3100999 w 12248682"/>
              <a:gd name="connsiteY1432" fmla="*/ 361495 h 823468"/>
              <a:gd name="connsiteX1433" fmla="*/ 3080212 w 12248682"/>
              <a:gd name="connsiteY1433" fmla="*/ 340706 h 823468"/>
              <a:gd name="connsiteX1434" fmla="*/ 3100999 w 12248682"/>
              <a:gd name="connsiteY1434" fmla="*/ 319917 h 823468"/>
              <a:gd name="connsiteX1435" fmla="*/ 2992435 w 12248682"/>
              <a:gd name="connsiteY1435" fmla="*/ 319917 h 823468"/>
              <a:gd name="connsiteX1436" fmla="*/ 3013224 w 12248682"/>
              <a:gd name="connsiteY1436" fmla="*/ 340706 h 823468"/>
              <a:gd name="connsiteX1437" fmla="*/ 2992435 w 12248682"/>
              <a:gd name="connsiteY1437" fmla="*/ 361495 h 823468"/>
              <a:gd name="connsiteX1438" fmla="*/ 2971647 w 12248682"/>
              <a:gd name="connsiteY1438" fmla="*/ 340706 h 823468"/>
              <a:gd name="connsiteX1439" fmla="*/ 2992435 w 12248682"/>
              <a:gd name="connsiteY1439" fmla="*/ 319917 h 823468"/>
              <a:gd name="connsiteX1440" fmla="*/ 2853843 w 12248682"/>
              <a:gd name="connsiteY1440" fmla="*/ 319917 h 823468"/>
              <a:gd name="connsiteX1441" fmla="*/ 2874633 w 12248682"/>
              <a:gd name="connsiteY1441" fmla="*/ 340706 h 823468"/>
              <a:gd name="connsiteX1442" fmla="*/ 2853843 w 12248682"/>
              <a:gd name="connsiteY1442" fmla="*/ 361495 h 823468"/>
              <a:gd name="connsiteX1443" fmla="*/ 2833056 w 12248682"/>
              <a:gd name="connsiteY1443" fmla="*/ 340706 h 823468"/>
              <a:gd name="connsiteX1444" fmla="*/ 2853843 w 12248682"/>
              <a:gd name="connsiteY1444" fmla="*/ 319917 h 823468"/>
              <a:gd name="connsiteX1445" fmla="*/ 2716405 w 12248682"/>
              <a:gd name="connsiteY1445" fmla="*/ 319917 h 823468"/>
              <a:gd name="connsiteX1446" fmla="*/ 2737195 w 12248682"/>
              <a:gd name="connsiteY1446" fmla="*/ 340706 h 823468"/>
              <a:gd name="connsiteX1447" fmla="*/ 2716405 w 12248682"/>
              <a:gd name="connsiteY1447" fmla="*/ 361495 h 823468"/>
              <a:gd name="connsiteX1448" fmla="*/ 2695618 w 12248682"/>
              <a:gd name="connsiteY1448" fmla="*/ 340706 h 823468"/>
              <a:gd name="connsiteX1449" fmla="*/ 2716405 w 12248682"/>
              <a:gd name="connsiteY1449" fmla="*/ 319917 h 823468"/>
              <a:gd name="connsiteX1450" fmla="*/ 2578969 w 12248682"/>
              <a:gd name="connsiteY1450" fmla="*/ 319917 h 823468"/>
              <a:gd name="connsiteX1451" fmla="*/ 2599758 w 12248682"/>
              <a:gd name="connsiteY1451" fmla="*/ 340706 h 823468"/>
              <a:gd name="connsiteX1452" fmla="*/ 2578969 w 12248682"/>
              <a:gd name="connsiteY1452" fmla="*/ 361495 h 823468"/>
              <a:gd name="connsiteX1453" fmla="*/ 2558180 w 12248682"/>
              <a:gd name="connsiteY1453" fmla="*/ 340706 h 823468"/>
              <a:gd name="connsiteX1454" fmla="*/ 2578969 w 12248682"/>
              <a:gd name="connsiteY1454" fmla="*/ 319917 h 823468"/>
              <a:gd name="connsiteX1455" fmla="*/ 1427499 w 12248682"/>
              <a:gd name="connsiteY1455" fmla="*/ 319917 h 823468"/>
              <a:gd name="connsiteX1456" fmla="*/ 1448288 w 12248682"/>
              <a:gd name="connsiteY1456" fmla="*/ 340706 h 823468"/>
              <a:gd name="connsiteX1457" fmla="*/ 1427499 w 12248682"/>
              <a:gd name="connsiteY1457" fmla="*/ 361495 h 823468"/>
              <a:gd name="connsiteX1458" fmla="*/ 1406710 w 12248682"/>
              <a:gd name="connsiteY1458" fmla="*/ 340706 h 823468"/>
              <a:gd name="connsiteX1459" fmla="*/ 1427499 w 12248682"/>
              <a:gd name="connsiteY1459" fmla="*/ 319917 h 823468"/>
              <a:gd name="connsiteX1460" fmla="*/ 28874 w 12248682"/>
              <a:gd name="connsiteY1460" fmla="*/ 319917 h 823468"/>
              <a:gd name="connsiteX1461" fmla="*/ 49663 w 12248682"/>
              <a:gd name="connsiteY1461" fmla="*/ 340706 h 823468"/>
              <a:gd name="connsiteX1462" fmla="*/ 28874 w 12248682"/>
              <a:gd name="connsiteY1462" fmla="*/ 361495 h 823468"/>
              <a:gd name="connsiteX1463" fmla="*/ 8085 w 12248682"/>
              <a:gd name="connsiteY1463" fmla="*/ 340706 h 823468"/>
              <a:gd name="connsiteX1464" fmla="*/ 28874 w 12248682"/>
              <a:gd name="connsiteY1464" fmla="*/ 319917 h 823468"/>
              <a:gd name="connsiteX1465" fmla="*/ 11658510 w 12248682"/>
              <a:gd name="connsiteY1465" fmla="*/ 316452 h 823468"/>
              <a:gd name="connsiteX1466" fmla="*/ 11681609 w 12248682"/>
              <a:gd name="connsiteY1466" fmla="*/ 339551 h 823468"/>
              <a:gd name="connsiteX1467" fmla="*/ 11658510 w 12248682"/>
              <a:gd name="connsiteY1467" fmla="*/ 362649 h 823468"/>
              <a:gd name="connsiteX1468" fmla="*/ 11635412 w 12248682"/>
              <a:gd name="connsiteY1468" fmla="*/ 339551 h 823468"/>
              <a:gd name="connsiteX1469" fmla="*/ 11658510 w 12248682"/>
              <a:gd name="connsiteY1469" fmla="*/ 316452 h 823468"/>
              <a:gd name="connsiteX1470" fmla="*/ 10508196 w 12248682"/>
              <a:gd name="connsiteY1470" fmla="*/ 316452 h 823468"/>
              <a:gd name="connsiteX1471" fmla="*/ 10531295 w 12248682"/>
              <a:gd name="connsiteY1471" fmla="*/ 339551 h 823468"/>
              <a:gd name="connsiteX1472" fmla="*/ 10508196 w 12248682"/>
              <a:gd name="connsiteY1472" fmla="*/ 362649 h 823468"/>
              <a:gd name="connsiteX1473" fmla="*/ 10485098 w 12248682"/>
              <a:gd name="connsiteY1473" fmla="*/ 339551 h 823468"/>
              <a:gd name="connsiteX1474" fmla="*/ 10508196 w 12248682"/>
              <a:gd name="connsiteY1474" fmla="*/ 316452 h 823468"/>
              <a:gd name="connsiteX1475" fmla="*/ 9405233 w 12248682"/>
              <a:gd name="connsiteY1475" fmla="*/ 316452 h 823468"/>
              <a:gd name="connsiteX1476" fmla="*/ 9428332 w 12248682"/>
              <a:gd name="connsiteY1476" fmla="*/ 339551 h 823468"/>
              <a:gd name="connsiteX1477" fmla="*/ 9405233 w 12248682"/>
              <a:gd name="connsiteY1477" fmla="*/ 362649 h 823468"/>
              <a:gd name="connsiteX1478" fmla="*/ 9382135 w 12248682"/>
              <a:gd name="connsiteY1478" fmla="*/ 339551 h 823468"/>
              <a:gd name="connsiteX1479" fmla="*/ 9405233 w 12248682"/>
              <a:gd name="connsiteY1479" fmla="*/ 316452 h 823468"/>
              <a:gd name="connsiteX1480" fmla="*/ 8285498 w 12248682"/>
              <a:gd name="connsiteY1480" fmla="*/ 316452 h 823468"/>
              <a:gd name="connsiteX1481" fmla="*/ 8308598 w 12248682"/>
              <a:gd name="connsiteY1481" fmla="*/ 339551 h 823468"/>
              <a:gd name="connsiteX1482" fmla="*/ 8285498 w 12248682"/>
              <a:gd name="connsiteY1482" fmla="*/ 362649 h 823468"/>
              <a:gd name="connsiteX1483" fmla="*/ 8262401 w 12248682"/>
              <a:gd name="connsiteY1483" fmla="*/ 339551 h 823468"/>
              <a:gd name="connsiteX1484" fmla="*/ 8285498 w 12248682"/>
              <a:gd name="connsiteY1484" fmla="*/ 316452 h 823468"/>
              <a:gd name="connsiteX1485" fmla="*/ 7053184 w 12248682"/>
              <a:gd name="connsiteY1485" fmla="*/ 316452 h 823468"/>
              <a:gd name="connsiteX1486" fmla="*/ 7076283 w 12248682"/>
              <a:gd name="connsiteY1486" fmla="*/ 339551 h 823468"/>
              <a:gd name="connsiteX1487" fmla="*/ 7053184 w 12248682"/>
              <a:gd name="connsiteY1487" fmla="*/ 362649 h 823468"/>
              <a:gd name="connsiteX1488" fmla="*/ 7030086 w 12248682"/>
              <a:gd name="connsiteY1488" fmla="*/ 339551 h 823468"/>
              <a:gd name="connsiteX1489" fmla="*/ 7053184 w 12248682"/>
              <a:gd name="connsiteY1489" fmla="*/ 316452 h 823468"/>
              <a:gd name="connsiteX1490" fmla="*/ 5902869 w 12248682"/>
              <a:gd name="connsiteY1490" fmla="*/ 316452 h 823468"/>
              <a:gd name="connsiteX1491" fmla="*/ 5925969 w 12248682"/>
              <a:gd name="connsiteY1491" fmla="*/ 339551 h 823468"/>
              <a:gd name="connsiteX1492" fmla="*/ 5902869 w 12248682"/>
              <a:gd name="connsiteY1492" fmla="*/ 362649 h 823468"/>
              <a:gd name="connsiteX1493" fmla="*/ 5879771 w 12248682"/>
              <a:gd name="connsiteY1493" fmla="*/ 339551 h 823468"/>
              <a:gd name="connsiteX1494" fmla="*/ 5902869 w 12248682"/>
              <a:gd name="connsiteY1494" fmla="*/ 316452 h 823468"/>
              <a:gd name="connsiteX1495" fmla="*/ 4799906 w 12248682"/>
              <a:gd name="connsiteY1495" fmla="*/ 316452 h 823468"/>
              <a:gd name="connsiteX1496" fmla="*/ 4823006 w 12248682"/>
              <a:gd name="connsiteY1496" fmla="*/ 339551 h 823468"/>
              <a:gd name="connsiteX1497" fmla="*/ 4799906 w 12248682"/>
              <a:gd name="connsiteY1497" fmla="*/ 362649 h 823468"/>
              <a:gd name="connsiteX1498" fmla="*/ 4776809 w 12248682"/>
              <a:gd name="connsiteY1498" fmla="*/ 339551 h 823468"/>
              <a:gd name="connsiteX1499" fmla="*/ 4799906 w 12248682"/>
              <a:gd name="connsiteY1499" fmla="*/ 316452 h 823468"/>
              <a:gd name="connsiteX1500" fmla="*/ 3672691 w 12248682"/>
              <a:gd name="connsiteY1500" fmla="*/ 316452 h 823468"/>
              <a:gd name="connsiteX1501" fmla="*/ 3695791 w 12248682"/>
              <a:gd name="connsiteY1501" fmla="*/ 339551 h 823468"/>
              <a:gd name="connsiteX1502" fmla="*/ 3672691 w 12248682"/>
              <a:gd name="connsiteY1502" fmla="*/ 362649 h 823468"/>
              <a:gd name="connsiteX1503" fmla="*/ 3649592 w 12248682"/>
              <a:gd name="connsiteY1503" fmla="*/ 339551 h 823468"/>
              <a:gd name="connsiteX1504" fmla="*/ 3672691 w 12248682"/>
              <a:gd name="connsiteY1504" fmla="*/ 316452 h 823468"/>
              <a:gd name="connsiteX1505" fmla="*/ 2440377 w 12248682"/>
              <a:gd name="connsiteY1505" fmla="*/ 316452 h 823468"/>
              <a:gd name="connsiteX1506" fmla="*/ 2463475 w 12248682"/>
              <a:gd name="connsiteY1506" fmla="*/ 339551 h 823468"/>
              <a:gd name="connsiteX1507" fmla="*/ 2440377 w 12248682"/>
              <a:gd name="connsiteY1507" fmla="*/ 362649 h 823468"/>
              <a:gd name="connsiteX1508" fmla="*/ 2417278 w 12248682"/>
              <a:gd name="connsiteY1508" fmla="*/ 339551 h 823468"/>
              <a:gd name="connsiteX1509" fmla="*/ 2440377 w 12248682"/>
              <a:gd name="connsiteY1509" fmla="*/ 316452 h 823468"/>
              <a:gd name="connsiteX1510" fmla="*/ 1290062 w 12248682"/>
              <a:gd name="connsiteY1510" fmla="*/ 316452 h 823468"/>
              <a:gd name="connsiteX1511" fmla="*/ 1313161 w 12248682"/>
              <a:gd name="connsiteY1511" fmla="*/ 339551 h 823468"/>
              <a:gd name="connsiteX1512" fmla="*/ 1290062 w 12248682"/>
              <a:gd name="connsiteY1512" fmla="*/ 362649 h 823468"/>
              <a:gd name="connsiteX1513" fmla="*/ 1266964 w 12248682"/>
              <a:gd name="connsiteY1513" fmla="*/ 339551 h 823468"/>
              <a:gd name="connsiteX1514" fmla="*/ 1290062 w 12248682"/>
              <a:gd name="connsiteY1514" fmla="*/ 316452 h 823468"/>
              <a:gd name="connsiteX1515" fmla="*/ 187100 w 12248682"/>
              <a:gd name="connsiteY1515" fmla="*/ 316452 h 823468"/>
              <a:gd name="connsiteX1516" fmla="*/ 210198 w 12248682"/>
              <a:gd name="connsiteY1516" fmla="*/ 339551 h 823468"/>
              <a:gd name="connsiteX1517" fmla="*/ 187100 w 12248682"/>
              <a:gd name="connsiteY1517" fmla="*/ 362649 h 823468"/>
              <a:gd name="connsiteX1518" fmla="*/ 164001 w 12248682"/>
              <a:gd name="connsiteY1518" fmla="*/ 339551 h 823468"/>
              <a:gd name="connsiteX1519" fmla="*/ 187100 w 12248682"/>
              <a:gd name="connsiteY1519" fmla="*/ 316452 h 823468"/>
              <a:gd name="connsiteX1520" fmla="*/ 11521073 w 12248682"/>
              <a:gd name="connsiteY1520" fmla="*/ 310678 h 823468"/>
              <a:gd name="connsiteX1521" fmla="*/ 11549947 w 12248682"/>
              <a:gd name="connsiteY1521" fmla="*/ 339551 h 823468"/>
              <a:gd name="connsiteX1522" fmla="*/ 11521073 w 12248682"/>
              <a:gd name="connsiteY1522" fmla="*/ 368425 h 823468"/>
              <a:gd name="connsiteX1523" fmla="*/ 11492200 w 12248682"/>
              <a:gd name="connsiteY1523" fmla="*/ 339551 h 823468"/>
              <a:gd name="connsiteX1524" fmla="*/ 11521073 w 12248682"/>
              <a:gd name="connsiteY1524" fmla="*/ 310678 h 823468"/>
              <a:gd name="connsiteX1525" fmla="*/ 10369604 w 12248682"/>
              <a:gd name="connsiteY1525" fmla="*/ 310678 h 823468"/>
              <a:gd name="connsiteX1526" fmla="*/ 10398477 w 12248682"/>
              <a:gd name="connsiteY1526" fmla="*/ 339551 h 823468"/>
              <a:gd name="connsiteX1527" fmla="*/ 10369604 w 12248682"/>
              <a:gd name="connsiteY1527" fmla="*/ 368425 h 823468"/>
              <a:gd name="connsiteX1528" fmla="*/ 10340730 w 12248682"/>
              <a:gd name="connsiteY1528" fmla="*/ 339551 h 823468"/>
              <a:gd name="connsiteX1529" fmla="*/ 10369604 w 12248682"/>
              <a:gd name="connsiteY1529" fmla="*/ 310678 h 823468"/>
              <a:gd name="connsiteX1530" fmla="*/ 9543825 w 12248682"/>
              <a:gd name="connsiteY1530" fmla="*/ 310678 h 823468"/>
              <a:gd name="connsiteX1531" fmla="*/ 9572699 w 12248682"/>
              <a:gd name="connsiteY1531" fmla="*/ 339551 h 823468"/>
              <a:gd name="connsiteX1532" fmla="*/ 9543825 w 12248682"/>
              <a:gd name="connsiteY1532" fmla="*/ 368425 h 823468"/>
              <a:gd name="connsiteX1533" fmla="*/ 9514953 w 12248682"/>
              <a:gd name="connsiteY1533" fmla="*/ 339551 h 823468"/>
              <a:gd name="connsiteX1534" fmla="*/ 9543825 w 12248682"/>
              <a:gd name="connsiteY1534" fmla="*/ 310678 h 823468"/>
              <a:gd name="connsiteX1535" fmla="*/ 8422936 w 12248682"/>
              <a:gd name="connsiteY1535" fmla="*/ 310678 h 823468"/>
              <a:gd name="connsiteX1536" fmla="*/ 8451809 w 12248682"/>
              <a:gd name="connsiteY1536" fmla="*/ 339551 h 823468"/>
              <a:gd name="connsiteX1537" fmla="*/ 8422936 w 12248682"/>
              <a:gd name="connsiteY1537" fmla="*/ 368425 h 823468"/>
              <a:gd name="connsiteX1538" fmla="*/ 8394062 w 12248682"/>
              <a:gd name="connsiteY1538" fmla="*/ 339551 h 823468"/>
              <a:gd name="connsiteX1539" fmla="*/ 8422936 w 12248682"/>
              <a:gd name="connsiteY1539" fmla="*/ 310678 h 823468"/>
              <a:gd name="connsiteX1540" fmla="*/ 6915746 w 12248682"/>
              <a:gd name="connsiteY1540" fmla="*/ 310678 h 823468"/>
              <a:gd name="connsiteX1541" fmla="*/ 6944621 w 12248682"/>
              <a:gd name="connsiteY1541" fmla="*/ 339551 h 823468"/>
              <a:gd name="connsiteX1542" fmla="*/ 6915746 w 12248682"/>
              <a:gd name="connsiteY1542" fmla="*/ 368425 h 823468"/>
              <a:gd name="connsiteX1543" fmla="*/ 6886873 w 12248682"/>
              <a:gd name="connsiteY1543" fmla="*/ 339551 h 823468"/>
              <a:gd name="connsiteX1544" fmla="*/ 6915746 w 12248682"/>
              <a:gd name="connsiteY1544" fmla="*/ 310678 h 823468"/>
              <a:gd name="connsiteX1545" fmla="*/ 5764278 w 12248682"/>
              <a:gd name="connsiteY1545" fmla="*/ 310678 h 823468"/>
              <a:gd name="connsiteX1546" fmla="*/ 5793151 w 12248682"/>
              <a:gd name="connsiteY1546" fmla="*/ 339551 h 823468"/>
              <a:gd name="connsiteX1547" fmla="*/ 5764278 w 12248682"/>
              <a:gd name="connsiteY1547" fmla="*/ 368425 h 823468"/>
              <a:gd name="connsiteX1548" fmla="*/ 5735405 w 12248682"/>
              <a:gd name="connsiteY1548" fmla="*/ 339551 h 823468"/>
              <a:gd name="connsiteX1549" fmla="*/ 5764278 w 12248682"/>
              <a:gd name="connsiteY1549" fmla="*/ 310678 h 823468"/>
              <a:gd name="connsiteX1550" fmla="*/ 4938500 w 12248682"/>
              <a:gd name="connsiteY1550" fmla="*/ 310678 h 823468"/>
              <a:gd name="connsiteX1551" fmla="*/ 4967373 w 12248682"/>
              <a:gd name="connsiteY1551" fmla="*/ 339551 h 823468"/>
              <a:gd name="connsiteX1552" fmla="*/ 4938500 w 12248682"/>
              <a:gd name="connsiteY1552" fmla="*/ 368425 h 823468"/>
              <a:gd name="connsiteX1553" fmla="*/ 4909627 w 12248682"/>
              <a:gd name="connsiteY1553" fmla="*/ 339551 h 823468"/>
              <a:gd name="connsiteX1554" fmla="*/ 4938500 w 12248682"/>
              <a:gd name="connsiteY1554" fmla="*/ 310678 h 823468"/>
              <a:gd name="connsiteX1555" fmla="*/ 3810129 w 12248682"/>
              <a:gd name="connsiteY1555" fmla="*/ 310678 h 823468"/>
              <a:gd name="connsiteX1556" fmla="*/ 3839002 w 12248682"/>
              <a:gd name="connsiteY1556" fmla="*/ 339551 h 823468"/>
              <a:gd name="connsiteX1557" fmla="*/ 3810129 w 12248682"/>
              <a:gd name="connsiteY1557" fmla="*/ 368425 h 823468"/>
              <a:gd name="connsiteX1558" fmla="*/ 3781255 w 12248682"/>
              <a:gd name="connsiteY1558" fmla="*/ 339551 h 823468"/>
              <a:gd name="connsiteX1559" fmla="*/ 3810129 w 12248682"/>
              <a:gd name="connsiteY1559" fmla="*/ 310678 h 823468"/>
              <a:gd name="connsiteX1560" fmla="*/ 2302939 w 12248682"/>
              <a:gd name="connsiteY1560" fmla="*/ 310678 h 823468"/>
              <a:gd name="connsiteX1561" fmla="*/ 2331813 w 12248682"/>
              <a:gd name="connsiteY1561" fmla="*/ 339551 h 823468"/>
              <a:gd name="connsiteX1562" fmla="*/ 2302939 w 12248682"/>
              <a:gd name="connsiteY1562" fmla="*/ 368425 h 823468"/>
              <a:gd name="connsiteX1563" fmla="*/ 2274067 w 12248682"/>
              <a:gd name="connsiteY1563" fmla="*/ 339551 h 823468"/>
              <a:gd name="connsiteX1564" fmla="*/ 2302939 w 12248682"/>
              <a:gd name="connsiteY1564" fmla="*/ 310678 h 823468"/>
              <a:gd name="connsiteX1565" fmla="*/ 1151470 w 12248682"/>
              <a:gd name="connsiteY1565" fmla="*/ 310678 h 823468"/>
              <a:gd name="connsiteX1566" fmla="*/ 1180343 w 12248682"/>
              <a:gd name="connsiteY1566" fmla="*/ 339551 h 823468"/>
              <a:gd name="connsiteX1567" fmla="*/ 1151470 w 12248682"/>
              <a:gd name="connsiteY1567" fmla="*/ 368425 h 823468"/>
              <a:gd name="connsiteX1568" fmla="*/ 1122596 w 12248682"/>
              <a:gd name="connsiteY1568" fmla="*/ 339551 h 823468"/>
              <a:gd name="connsiteX1569" fmla="*/ 1151470 w 12248682"/>
              <a:gd name="connsiteY1569" fmla="*/ 310678 h 823468"/>
              <a:gd name="connsiteX1570" fmla="*/ 325692 w 12248682"/>
              <a:gd name="connsiteY1570" fmla="*/ 310678 h 823468"/>
              <a:gd name="connsiteX1571" fmla="*/ 354566 w 12248682"/>
              <a:gd name="connsiteY1571" fmla="*/ 339551 h 823468"/>
              <a:gd name="connsiteX1572" fmla="*/ 325692 w 12248682"/>
              <a:gd name="connsiteY1572" fmla="*/ 368425 h 823468"/>
              <a:gd name="connsiteX1573" fmla="*/ 296819 w 12248682"/>
              <a:gd name="connsiteY1573" fmla="*/ 339551 h 823468"/>
              <a:gd name="connsiteX1574" fmla="*/ 325692 w 12248682"/>
              <a:gd name="connsiteY1574" fmla="*/ 310678 h 823468"/>
              <a:gd name="connsiteX1575" fmla="*/ 11383636 w 12248682"/>
              <a:gd name="connsiteY1575" fmla="*/ 304903 h 823468"/>
              <a:gd name="connsiteX1576" fmla="*/ 11418284 w 12248682"/>
              <a:gd name="connsiteY1576" fmla="*/ 339551 h 823468"/>
              <a:gd name="connsiteX1577" fmla="*/ 11383636 w 12248682"/>
              <a:gd name="connsiteY1577" fmla="*/ 374199 h 823468"/>
              <a:gd name="connsiteX1578" fmla="*/ 11348988 w 12248682"/>
              <a:gd name="connsiteY1578" fmla="*/ 339551 h 823468"/>
              <a:gd name="connsiteX1579" fmla="*/ 11383636 w 12248682"/>
              <a:gd name="connsiteY1579" fmla="*/ 304903 h 823468"/>
              <a:gd name="connsiteX1580" fmla="*/ 10811943 w 12248682"/>
              <a:gd name="connsiteY1580" fmla="*/ 304903 h 823468"/>
              <a:gd name="connsiteX1581" fmla="*/ 10846591 w 12248682"/>
              <a:gd name="connsiteY1581" fmla="*/ 339551 h 823468"/>
              <a:gd name="connsiteX1582" fmla="*/ 10811943 w 12248682"/>
              <a:gd name="connsiteY1582" fmla="*/ 374199 h 823468"/>
              <a:gd name="connsiteX1583" fmla="*/ 10777295 w 12248682"/>
              <a:gd name="connsiteY1583" fmla="*/ 339551 h 823468"/>
              <a:gd name="connsiteX1584" fmla="*/ 10811943 w 12248682"/>
              <a:gd name="connsiteY1584" fmla="*/ 304903 h 823468"/>
              <a:gd name="connsiteX1585" fmla="*/ 10232166 w 12248682"/>
              <a:gd name="connsiteY1585" fmla="*/ 304903 h 823468"/>
              <a:gd name="connsiteX1586" fmla="*/ 10266814 w 12248682"/>
              <a:gd name="connsiteY1586" fmla="*/ 339551 h 823468"/>
              <a:gd name="connsiteX1587" fmla="*/ 10232166 w 12248682"/>
              <a:gd name="connsiteY1587" fmla="*/ 374199 h 823468"/>
              <a:gd name="connsiteX1588" fmla="*/ 10197518 w 12248682"/>
              <a:gd name="connsiteY1588" fmla="*/ 339551 h 823468"/>
              <a:gd name="connsiteX1589" fmla="*/ 10232166 w 12248682"/>
              <a:gd name="connsiteY1589" fmla="*/ 304903 h 823468"/>
              <a:gd name="connsiteX1590" fmla="*/ 9681263 w 12248682"/>
              <a:gd name="connsiteY1590" fmla="*/ 304903 h 823468"/>
              <a:gd name="connsiteX1591" fmla="*/ 9715911 w 12248682"/>
              <a:gd name="connsiteY1591" fmla="*/ 339551 h 823468"/>
              <a:gd name="connsiteX1592" fmla="*/ 9681263 w 12248682"/>
              <a:gd name="connsiteY1592" fmla="*/ 374199 h 823468"/>
              <a:gd name="connsiteX1593" fmla="*/ 9646615 w 12248682"/>
              <a:gd name="connsiteY1593" fmla="*/ 339551 h 823468"/>
              <a:gd name="connsiteX1594" fmla="*/ 9681263 w 12248682"/>
              <a:gd name="connsiteY1594" fmla="*/ 304903 h 823468"/>
              <a:gd name="connsiteX1595" fmla="*/ 9112431 w 12248682"/>
              <a:gd name="connsiteY1595" fmla="*/ 304903 h 823468"/>
              <a:gd name="connsiteX1596" fmla="*/ 9147079 w 12248682"/>
              <a:gd name="connsiteY1596" fmla="*/ 339551 h 823468"/>
              <a:gd name="connsiteX1597" fmla="*/ 9112431 w 12248682"/>
              <a:gd name="connsiteY1597" fmla="*/ 374199 h 823468"/>
              <a:gd name="connsiteX1598" fmla="*/ 9077783 w 12248682"/>
              <a:gd name="connsiteY1598" fmla="*/ 339551 h 823468"/>
              <a:gd name="connsiteX1599" fmla="*/ 9112431 w 12248682"/>
              <a:gd name="connsiteY1599" fmla="*/ 304903 h 823468"/>
              <a:gd name="connsiteX1600" fmla="*/ 8561528 w 12248682"/>
              <a:gd name="connsiteY1600" fmla="*/ 304903 h 823468"/>
              <a:gd name="connsiteX1601" fmla="*/ 8596176 w 12248682"/>
              <a:gd name="connsiteY1601" fmla="*/ 339551 h 823468"/>
              <a:gd name="connsiteX1602" fmla="*/ 8561528 w 12248682"/>
              <a:gd name="connsiteY1602" fmla="*/ 374199 h 823468"/>
              <a:gd name="connsiteX1603" fmla="*/ 8526880 w 12248682"/>
              <a:gd name="connsiteY1603" fmla="*/ 339551 h 823468"/>
              <a:gd name="connsiteX1604" fmla="*/ 8561528 w 12248682"/>
              <a:gd name="connsiteY1604" fmla="*/ 304903 h 823468"/>
              <a:gd name="connsiteX1605" fmla="*/ 6778310 w 12248682"/>
              <a:gd name="connsiteY1605" fmla="*/ 304903 h 823468"/>
              <a:gd name="connsiteX1606" fmla="*/ 6812959 w 12248682"/>
              <a:gd name="connsiteY1606" fmla="*/ 339551 h 823468"/>
              <a:gd name="connsiteX1607" fmla="*/ 6778310 w 12248682"/>
              <a:gd name="connsiteY1607" fmla="*/ 374199 h 823468"/>
              <a:gd name="connsiteX1608" fmla="*/ 6743662 w 12248682"/>
              <a:gd name="connsiteY1608" fmla="*/ 339551 h 823468"/>
              <a:gd name="connsiteX1609" fmla="*/ 6778310 w 12248682"/>
              <a:gd name="connsiteY1609" fmla="*/ 304903 h 823468"/>
              <a:gd name="connsiteX1610" fmla="*/ 6206618 w 12248682"/>
              <a:gd name="connsiteY1610" fmla="*/ 304903 h 823468"/>
              <a:gd name="connsiteX1611" fmla="*/ 6241265 w 12248682"/>
              <a:gd name="connsiteY1611" fmla="*/ 339551 h 823468"/>
              <a:gd name="connsiteX1612" fmla="*/ 6206618 w 12248682"/>
              <a:gd name="connsiteY1612" fmla="*/ 374199 h 823468"/>
              <a:gd name="connsiteX1613" fmla="*/ 6171969 w 12248682"/>
              <a:gd name="connsiteY1613" fmla="*/ 339551 h 823468"/>
              <a:gd name="connsiteX1614" fmla="*/ 6206618 w 12248682"/>
              <a:gd name="connsiteY1614" fmla="*/ 304903 h 823468"/>
              <a:gd name="connsiteX1615" fmla="*/ 5626840 w 12248682"/>
              <a:gd name="connsiteY1615" fmla="*/ 304903 h 823468"/>
              <a:gd name="connsiteX1616" fmla="*/ 5661488 w 12248682"/>
              <a:gd name="connsiteY1616" fmla="*/ 339551 h 823468"/>
              <a:gd name="connsiteX1617" fmla="*/ 5626840 w 12248682"/>
              <a:gd name="connsiteY1617" fmla="*/ 374199 h 823468"/>
              <a:gd name="connsiteX1618" fmla="*/ 5592192 w 12248682"/>
              <a:gd name="connsiteY1618" fmla="*/ 339551 h 823468"/>
              <a:gd name="connsiteX1619" fmla="*/ 5626840 w 12248682"/>
              <a:gd name="connsiteY1619" fmla="*/ 304903 h 823468"/>
              <a:gd name="connsiteX1620" fmla="*/ 5075938 w 12248682"/>
              <a:gd name="connsiteY1620" fmla="*/ 304903 h 823468"/>
              <a:gd name="connsiteX1621" fmla="*/ 5110584 w 12248682"/>
              <a:gd name="connsiteY1621" fmla="*/ 339551 h 823468"/>
              <a:gd name="connsiteX1622" fmla="*/ 5075938 w 12248682"/>
              <a:gd name="connsiteY1622" fmla="*/ 374199 h 823468"/>
              <a:gd name="connsiteX1623" fmla="*/ 5041289 w 12248682"/>
              <a:gd name="connsiteY1623" fmla="*/ 339551 h 823468"/>
              <a:gd name="connsiteX1624" fmla="*/ 5075938 w 12248682"/>
              <a:gd name="connsiteY1624" fmla="*/ 304903 h 823468"/>
              <a:gd name="connsiteX1625" fmla="*/ 4499625 w 12248682"/>
              <a:gd name="connsiteY1625" fmla="*/ 304903 h 823468"/>
              <a:gd name="connsiteX1626" fmla="*/ 4534273 w 12248682"/>
              <a:gd name="connsiteY1626" fmla="*/ 339551 h 823468"/>
              <a:gd name="connsiteX1627" fmla="*/ 4499625 w 12248682"/>
              <a:gd name="connsiteY1627" fmla="*/ 374199 h 823468"/>
              <a:gd name="connsiteX1628" fmla="*/ 4464976 w 12248682"/>
              <a:gd name="connsiteY1628" fmla="*/ 339551 h 823468"/>
              <a:gd name="connsiteX1629" fmla="*/ 4499625 w 12248682"/>
              <a:gd name="connsiteY1629" fmla="*/ 304903 h 823468"/>
              <a:gd name="connsiteX1630" fmla="*/ 3948721 w 12248682"/>
              <a:gd name="connsiteY1630" fmla="*/ 304903 h 823468"/>
              <a:gd name="connsiteX1631" fmla="*/ 3983369 w 12248682"/>
              <a:gd name="connsiteY1631" fmla="*/ 339551 h 823468"/>
              <a:gd name="connsiteX1632" fmla="*/ 3948721 w 12248682"/>
              <a:gd name="connsiteY1632" fmla="*/ 374199 h 823468"/>
              <a:gd name="connsiteX1633" fmla="*/ 3914073 w 12248682"/>
              <a:gd name="connsiteY1633" fmla="*/ 339551 h 823468"/>
              <a:gd name="connsiteX1634" fmla="*/ 3948721 w 12248682"/>
              <a:gd name="connsiteY1634" fmla="*/ 304903 h 823468"/>
              <a:gd name="connsiteX1635" fmla="*/ 2165502 w 12248682"/>
              <a:gd name="connsiteY1635" fmla="*/ 304903 h 823468"/>
              <a:gd name="connsiteX1636" fmla="*/ 2200150 w 12248682"/>
              <a:gd name="connsiteY1636" fmla="*/ 339551 h 823468"/>
              <a:gd name="connsiteX1637" fmla="*/ 2165502 w 12248682"/>
              <a:gd name="connsiteY1637" fmla="*/ 374199 h 823468"/>
              <a:gd name="connsiteX1638" fmla="*/ 2130854 w 12248682"/>
              <a:gd name="connsiteY1638" fmla="*/ 339551 h 823468"/>
              <a:gd name="connsiteX1639" fmla="*/ 2165502 w 12248682"/>
              <a:gd name="connsiteY1639" fmla="*/ 304903 h 823468"/>
              <a:gd name="connsiteX1640" fmla="*/ 1593810 w 12248682"/>
              <a:gd name="connsiteY1640" fmla="*/ 304903 h 823468"/>
              <a:gd name="connsiteX1641" fmla="*/ 1628457 w 12248682"/>
              <a:gd name="connsiteY1641" fmla="*/ 339551 h 823468"/>
              <a:gd name="connsiteX1642" fmla="*/ 1593810 w 12248682"/>
              <a:gd name="connsiteY1642" fmla="*/ 374199 h 823468"/>
              <a:gd name="connsiteX1643" fmla="*/ 1559161 w 12248682"/>
              <a:gd name="connsiteY1643" fmla="*/ 339551 h 823468"/>
              <a:gd name="connsiteX1644" fmla="*/ 1593810 w 12248682"/>
              <a:gd name="connsiteY1644" fmla="*/ 304903 h 823468"/>
              <a:gd name="connsiteX1645" fmla="*/ 1014032 w 12248682"/>
              <a:gd name="connsiteY1645" fmla="*/ 304903 h 823468"/>
              <a:gd name="connsiteX1646" fmla="*/ 1048681 w 12248682"/>
              <a:gd name="connsiteY1646" fmla="*/ 339551 h 823468"/>
              <a:gd name="connsiteX1647" fmla="*/ 1014032 w 12248682"/>
              <a:gd name="connsiteY1647" fmla="*/ 374199 h 823468"/>
              <a:gd name="connsiteX1648" fmla="*/ 979384 w 12248682"/>
              <a:gd name="connsiteY1648" fmla="*/ 339551 h 823468"/>
              <a:gd name="connsiteX1649" fmla="*/ 1014032 w 12248682"/>
              <a:gd name="connsiteY1649" fmla="*/ 304903 h 823468"/>
              <a:gd name="connsiteX1650" fmla="*/ 463129 w 12248682"/>
              <a:gd name="connsiteY1650" fmla="*/ 304903 h 823468"/>
              <a:gd name="connsiteX1651" fmla="*/ 497778 w 12248682"/>
              <a:gd name="connsiteY1651" fmla="*/ 339551 h 823468"/>
              <a:gd name="connsiteX1652" fmla="*/ 463129 w 12248682"/>
              <a:gd name="connsiteY1652" fmla="*/ 374199 h 823468"/>
              <a:gd name="connsiteX1653" fmla="*/ 428481 w 12248682"/>
              <a:gd name="connsiteY1653" fmla="*/ 339551 h 823468"/>
              <a:gd name="connsiteX1654" fmla="*/ 463129 w 12248682"/>
              <a:gd name="connsiteY1654" fmla="*/ 304903 h 823468"/>
              <a:gd name="connsiteX1655" fmla="*/ 11245044 w 12248682"/>
              <a:gd name="connsiteY1655" fmla="*/ 299129 h 823468"/>
              <a:gd name="connsiteX1656" fmla="*/ 11285466 w 12248682"/>
              <a:gd name="connsiteY1656" fmla="*/ 339551 h 823468"/>
              <a:gd name="connsiteX1657" fmla="*/ 11245044 w 12248682"/>
              <a:gd name="connsiteY1657" fmla="*/ 379974 h 823468"/>
              <a:gd name="connsiteX1658" fmla="*/ 11204621 w 12248682"/>
              <a:gd name="connsiteY1658" fmla="*/ 339551 h 823468"/>
              <a:gd name="connsiteX1659" fmla="*/ 11245044 w 12248682"/>
              <a:gd name="connsiteY1659" fmla="*/ 299129 h 823468"/>
              <a:gd name="connsiteX1660" fmla="*/ 10970170 w 12248682"/>
              <a:gd name="connsiteY1660" fmla="*/ 299129 h 823468"/>
              <a:gd name="connsiteX1661" fmla="*/ 11010592 w 12248682"/>
              <a:gd name="connsiteY1661" fmla="*/ 339551 h 823468"/>
              <a:gd name="connsiteX1662" fmla="*/ 10970170 w 12248682"/>
              <a:gd name="connsiteY1662" fmla="*/ 379974 h 823468"/>
              <a:gd name="connsiteX1663" fmla="*/ 10929746 w 12248682"/>
              <a:gd name="connsiteY1663" fmla="*/ 339551 h 823468"/>
              <a:gd name="connsiteX1664" fmla="*/ 10970170 w 12248682"/>
              <a:gd name="connsiteY1664" fmla="*/ 299129 h 823468"/>
              <a:gd name="connsiteX1665" fmla="*/ 10094730 w 12248682"/>
              <a:gd name="connsiteY1665" fmla="*/ 299129 h 823468"/>
              <a:gd name="connsiteX1666" fmla="*/ 10135152 w 12248682"/>
              <a:gd name="connsiteY1666" fmla="*/ 339551 h 823468"/>
              <a:gd name="connsiteX1667" fmla="*/ 10094730 w 12248682"/>
              <a:gd name="connsiteY1667" fmla="*/ 379974 h 823468"/>
              <a:gd name="connsiteX1668" fmla="*/ 10054306 w 12248682"/>
              <a:gd name="connsiteY1668" fmla="*/ 339551 h 823468"/>
              <a:gd name="connsiteX1669" fmla="*/ 10094730 w 12248682"/>
              <a:gd name="connsiteY1669" fmla="*/ 299129 h 823468"/>
              <a:gd name="connsiteX1670" fmla="*/ 9818700 w 12248682"/>
              <a:gd name="connsiteY1670" fmla="*/ 299129 h 823468"/>
              <a:gd name="connsiteX1671" fmla="*/ 9859123 w 12248682"/>
              <a:gd name="connsiteY1671" fmla="*/ 340706 h 823468"/>
              <a:gd name="connsiteX1672" fmla="*/ 9818700 w 12248682"/>
              <a:gd name="connsiteY1672" fmla="*/ 381128 h 823468"/>
              <a:gd name="connsiteX1673" fmla="*/ 9778278 w 12248682"/>
              <a:gd name="connsiteY1673" fmla="*/ 339551 h 823468"/>
              <a:gd name="connsiteX1674" fmla="*/ 9818700 w 12248682"/>
              <a:gd name="connsiteY1674" fmla="*/ 299129 h 823468"/>
              <a:gd name="connsiteX1675" fmla="*/ 8974994 w 12248682"/>
              <a:gd name="connsiteY1675" fmla="*/ 299129 h 823468"/>
              <a:gd name="connsiteX1676" fmla="*/ 9015416 w 12248682"/>
              <a:gd name="connsiteY1676" fmla="*/ 339551 h 823468"/>
              <a:gd name="connsiteX1677" fmla="*/ 8974994 w 12248682"/>
              <a:gd name="connsiteY1677" fmla="*/ 379974 h 823468"/>
              <a:gd name="connsiteX1678" fmla="*/ 8934571 w 12248682"/>
              <a:gd name="connsiteY1678" fmla="*/ 339551 h 823468"/>
              <a:gd name="connsiteX1679" fmla="*/ 8974994 w 12248682"/>
              <a:gd name="connsiteY1679" fmla="*/ 299129 h 823468"/>
              <a:gd name="connsiteX1680" fmla="*/ 8698965 w 12248682"/>
              <a:gd name="connsiteY1680" fmla="*/ 299129 h 823468"/>
              <a:gd name="connsiteX1681" fmla="*/ 8739388 w 12248682"/>
              <a:gd name="connsiteY1681" fmla="*/ 339551 h 823468"/>
              <a:gd name="connsiteX1682" fmla="*/ 8698965 w 12248682"/>
              <a:gd name="connsiteY1682" fmla="*/ 379974 h 823468"/>
              <a:gd name="connsiteX1683" fmla="*/ 8658542 w 12248682"/>
              <a:gd name="connsiteY1683" fmla="*/ 339551 h 823468"/>
              <a:gd name="connsiteX1684" fmla="*/ 8698965 w 12248682"/>
              <a:gd name="connsiteY1684" fmla="*/ 299129 h 823468"/>
              <a:gd name="connsiteX1685" fmla="*/ 6639717 w 12248682"/>
              <a:gd name="connsiteY1685" fmla="*/ 299129 h 823468"/>
              <a:gd name="connsiteX1686" fmla="*/ 6680139 w 12248682"/>
              <a:gd name="connsiteY1686" fmla="*/ 339551 h 823468"/>
              <a:gd name="connsiteX1687" fmla="*/ 6639717 w 12248682"/>
              <a:gd name="connsiteY1687" fmla="*/ 379974 h 823468"/>
              <a:gd name="connsiteX1688" fmla="*/ 6599295 w 12248682"/>
              <a:gd name="connsiteY1688" fmla="*/ 339551 h 823468"/>
              <a:gd name="connsiteX1689" fmla="*/ 6639717 w 12248682"/>
              <a:gd name="connsiteY1689" fmla="*/ 299129 h 823468"/>
              <a:gd name="connsiteX1690" fmla="*/ 6364844 w 12248682"/>
              <a:gd name="connsiteY1690" fmla="*/ 299129 h 823468"/>
              <a:gd name="connsiteX1691" fmla="*/ 6405265 w 12248682"/>
              <a:gd name="connsiteY1691" fmla="*/ 339551 h 823468"/>
              <a:gd name="connsiteX1692" fmla="*/ 6364844 w 12248682"/>
              <a:gd name="connsiteY1692" fmla="*/ 379974 h 823468"/>
              <a:gd name="connsiteX1693" fmla="*/ 6324420 w 12248682"/>
              <a:gd name="connsiteY1693" fmla="*/ 339551 h 823468"/>
              <a:gd name="connsiteX1694" fmla="*/ 6364844 w 12248682"/>
              <a:gd name="connsiteY1694" fmla="*/ 299129 h 823468"/>
              <a:gd name="connsiteX1695" fmla="*/ 5489404 w 12248682"/>
              <a:gd name="connsiteY1695" fmla="*/ 299129 h 823468"/>
              <a:gd name="connsiteX1696" fmla="*/ 5529826 w 12248682"/>
              <a:gd name="connsiteY1696" fmla="*/ 339551 h 823468"/>
              <a:gd name="connsiteX1697" fmla="*/ 5489404 w 12248682"/>
              <a:gd name="connsiteY1697" fmla="*/ 379974 h 823468"/>
              <a:gd name="connsiteX1698" fmla="*/ 5448980 w 12248682"/>
              <a:gd name="connsiteY1698" fmla="*/ 339551 h 823468"/>
              <a:gd name="connsiteX1699" fmla="*/ 5489404 w 12248682"/>
              <a:gd name="connsiteY1699" fmla="*/ 299129 h 823468"/>
              <a:gd name="connsiteX1700" fmla="*/ 5213373 w 12248682"/>
              <a:gd name="connsiteY1700" fmla="*/ 299129 h 823468"/>
              <a:gd name="connsiteX1701" fmla="*/ 5253797 w 12248682"/>
              <a:gd name="connsiteY1701" fmla="*/ 339551 h 823468"/>
              <a:gd name="connsiteX1702" fmla="*/ 5213373 w 12248682"/>
              <a:gd name="connsiteY1702" fmla="*/ 379974 h 823468"/>
              <a:gd name="connsiteX1703" fmla="*/ 5172952 w 12248682"/>
              <a:gd name="connsiteY1703" fmla="*/ 339551 h 823468"/>
              <a:gd name="connsiteX1704" fmla="*/ 5213373 w 12248682"/>
              <a:gd name="connsiteY1704" fmla="*/ 299129 h 823468"/>
              <a:gd name="connsiteX1705" fmla="*/ 4361031 w 12248682"/>
              <a:gd name="connsiteY1705" fmla="*/ 299129 h 823468"/>
              <a:gd name="connsiteX1706" fmla="*/ 4401455 w 12248682"/>
              <a:gd name="connsiteY1706" fmla="*/ 339551 h 823468"/>
              <a:gd name="connsiteX1707" fmla="*/ 4361031 w 12248682"/>
              <a:gd name="connsiteY1707" fmla="*/ 379974 h 823468"/>
              <a:gd name="connsiteX1708" fmla="*/ 4320610 w 12248682"/>
              <a:gd name="connsiteY1708" fmla="*/ 339551 h 823468"/>
              <a:gd name="connsiteX1709" fmla="*/ 4361031 w 12248682"/>
              <a:gd name="connsiteY1709" fmla="*/ 299129 h 823468"/>
              <a:gd name="connsiteX1710" fmla="*/ 4086158 w 12248682"/>
              <a:gd name="connsiteY1710" fmla="*/ 299129 h 823468"/>
              <a:gd name="connsiteX1711" fmla="*/ 4126582 w 12248682"/>
              <a:gd name="connsiteY1711" fmla="*/ 339551 h 823468"/>
              <a:gd name="connsiteX1712" fmla="*/ 4086158 w 12248682"/>
              <a:gd name="connsiteY1712" fmla="*/ 379974 h 823468"/>
              <a:gd name="connsiteX1713" fmla="*/ 4045735 w 12248682"/>
              <a:gd name="connsiteY1713" fmla="*/ 339551 h 823468"/>
              <a:gd name="connsiteX1714" fmla="*/ 4086158 w 12248682"/>
              <a:gd name="connsiteY1714" fmla="*/ 299129 h 823468"/>
              <a:gd name="connsiteX1715" fmla="*/ 2026910 w 12248682"/>
              <a:gd name="connsiteY1715" fmla="*/ 299129 h 823468"/>
              <a:gd name="connsiteX1716" fmla="*/ 2067332 w 12248682"/>
              <a:gd name="connsiteY1716" fmla="*/ 339551 h 823468"/>
              <a:gd name="connsiteX1717" fmla="*/ 2026910 w 12248682"/>
              <a:gd name="connsiteY1717" fmla="*/ 379974 h 823468"/>
              <a:gd name="connsiteX1718" fmla="*/ 1986487 w 12248682"/>
              <a:gd name="connsiteY1718" fmla="*/ 339551 h 823468"/>
              <a:gd name="connsiteX1719" fmla="*/ 2026910 w 12248682"/>
              <a:gd name="connsiteY1719" fmla="*/ 299129 h 823468"/>
              <a:gd name="connsiteX1720" fmla="*/ 1752036 w 12248682"/>
              <a:gd name="connsiteY1720" fmla="*/ 299129 h 823468"/>
              <a:gd name="connsiteX1721" fmla="*/ 1792458 w 12248682"/>
              <a:gd name="connsiteY1721" fmla="*/ 339551 h 823468"/>
              <a:gd name="connsiteX1722" fmla="*/ 1752036 w 12248682"/>
              <a:gd name="connsiteY1722" fmla="*/ 379974 h 823468"/>
              <a:gd name="connsiteX1723" fmla="*/ 1711613 w 12248682"/>
              <a:gd name="connsiteY1723" fmla="*/ 339551 h 823468"/>
              <a:gd name="connsiteX1724" fmla="*/ 1752036 w 12248682"/>
              <a:gd name="connsiteY1724" fmla="*/ 299129 h 823468"/>
              <a:gd name="connsiteX1725" fmla="*/ 876596 w 12248682"/>
              <a:gd name="connsiteY1725" fmla="*/ 299129 h 823468"/>
              <a:gd name="connsiteX1726" fmla="*/ 917018 w 12248682"/>
              <a:gd name="connsiteY1726" fmla="*/ 339551 h 823468"/>
              <a:gd name="connsiteX1727" fmla="*/ 876596 w 12248682"/>
              <a:gd name="connsiteY1727" fmla="*/ 379974 h 823468"/>
              <a:gd name="connsiteX1728" fmla="*/ 836172 w 12248682"/>
              <a:gd name="connsiteY1728" fmla="*/ 339551 h 823468"/>
              <a:gd name="connsiteX1729" fmla="*/ 876596 w 12248682"/>
              <a:gd name="connsiteY1729" fmla="*/ 299129 h 823468"/>
              <a:gd name="connsiteX1730" fmla="*/ 600566 w 12248682"/>
              <a:gd name="connsiteY1730" fmla="*/ 299129 h 823468"/>
              <a:gd name="connsiteX1731" fmla="*/ 640989 w 12248682"/>
              <a:gd name="connsiteY1731" fmla="*/ 340706 h 823468"/>
              <a:gd name="connsiteX1732" fmla="*/ 600566 w 12248682"/>
              <a:gd name="connsiteY1732" fmla="*/ 381128 h 823468"/>
              <a:gd name="connsiteX1733" fmla="*/ 560144 w 12248682"/>
              <a:gd name="connsiteY1733" fmla="*/ 339551 h 823468"/>
              <a:gd name="connsiteX1734" fmla="*/ 600566 w 12248682"/>
              <a:gd name="connsiteY1734" fmla="*/ 299129 h 823468"/>
              <a:gd name="connsiteX1735" fmla="*/ 11107606 w 12248682"/>
              <a:gd name="connsiteY1735" fmla="*/ 288734 h 823468"/>
              <a:gd name="connsiteX1736" fmla="*/ 11158424 w 12248682"/>
              <a:gd name="connsiteY1736" fmla="*/ 339551 h 823468"/>
              <a:gd name="connsiteX1737" fmla="*/ 11107606 w 12248682"/>
              <a:gd name="connsiteY1737" fmla="*/ 390368 h 823468"/>
              <a:gd name="connsiteX1738" fmla="*/ 11056789 w 12248682"/>
              <a:gd name="connsiteY1738" fmla="*/ 339551 h 823468"/>
              <a:gd name="connsiteX1739" fmla="*/ 11107606 w 12248682"/>
              <a:gd name="connsiteY1739" fmla="*/ 288734 h 823468"/>
              <a:gd name="connsiteX1740" fmla="*/ 9957292 w 12248682"/>
              <a:gd name="connsiteY1740" fmla="*/ 288734 h 823468"/>
              <a:gd name="connsiteX1741" fmla="*/ 10008109 w 12248682"/>
              <a:gd name="connsiteY1741" fmla="*/ 339551 h 823468"/>
              <a:gd name="connsiteX1742" fmla="*/ 9957292 w 12248682"/>
              <a:gd name="connsiteY1742" fmla="*/ 390368 h 823468"/>
              <a:gd name="connsiteX1743" fmla="*/ 9906475 w 12248682"/>
              <a:gd name="connsiteY1743" fmla="*/ 339551 h 823468"/>
              <a:gd name="connsiteX1744" fmla="*/ 9957292 w 12248682"/>
              <a:gd name="connsiteY1744" fmla="*/ 288734 h 823468"/>
              <a:gd name="connsiteX1745" fmla="*/ 8836402 w 12248682"/>
              <a:gd name="connsiteY1745" fmla="*/ 288734 h 823468"/>
              <a:gd name="connsiteX1746" fmla="*/ 8887219 w 12248682"/>
              <a:gd name="connsiteY1746" fmla="*/ 339551 h 823468"/>
              <a:gd name="connsiteX1747" fmla="*/ 8836402 w 12248682"/>
              <a:gd name="connsiteY1747" fmla="*/ 390368 h 823468"/>
              <a:gd name="connsiteX1748" fmla="*/ 8785585 w 12248682"/>
              <a:gd name="connsiteY1748" fmla="*/ 339551 h 823468"/>
              <a:gd name="connsiteX1749" fmla="*/ 8836402 w 12248682"/>
              <a:gd name="connsiteY1749" fmla="*/ 288734 h 823468"/>
              <a:gd name="connsiteX1750" fmla="*/ 6502281 w 12248682"/>
              <a:gd name="connsiteY1750" fmla="*/ 288734 h 823468"/>
              <a:gd name="connsiteX1751" fmla="*/ 6553098 w 12248682"/>
              <a:gd name="connsiteY1751" fmla="*/ 339551 h 823468"/>
              <a:gd name="connsiteX1752" fmla="*/ 6502281 w 12248682"/>
              <a:gd name="connsiteY1752" fmla="*/ 390368 h 823468"/>
              <a:gd name="connsiteX1753" fmla="*/ 6451462 w 12248682"/>
              <a:gd name="connsiteY1753" fmla="*/ 339551 h 823468"/>
              <a:gd name="connsiteX1754" fmla="*/ 6502281 w 12248682"/>
              <a:gd name="connsiteY1754" fmla="*/ 288734 h 823468"/>
              <a:gd name="connsiteX1755" fmla="*/ 5351966 w 12248682"/>
              <a:gd name="connsiteY1755" fmla="*/ 288734 h 823468"/>
              <a:gd name="connsiteX1756" fmla="*/ 5402784 w 12248682"/>
              <a:gd name="connsiteY1756" fmla="*/ 339551 h 823468"/>
              <a:gd name="connsiteX1757" fmla="*/ 5351966 w 12248682"/>
              <a:gd name="connsiteY1757" fmla="*/ 390368 h 823468"/>
              <a:gd name="connsiteX1758" fmla="*/ 5301149 w 12248682"/>
              <a:gd name="connsiteY1758" fmla="*/ 339551 h 823468"/>
              <a:gd name="connsiteX1759" fmla="*/ 5351966 w 12248682"/>
              <a:gd name="connsiteY1759" fmla="*/ 288734 h 823468"/>
              <a:gd name="connsiteX1760" fmla="*/ 4223596 w 12248682"/>
              <a:gd name="connsiteY1760" fmla="*/ 288734 h 823468"/>
              <a:gd name="connsiteX1761" fmla="*/ 4274413 w 12248682"/>
              <a:gd name="connsiteY1761" fmla="*/ 339551 h 823468"/>
              <a:gd name="connsiteX1762" fmla="*/ 4223596 w 12248682"/>
              <a:gd name="connsiteY1762" fmla="*/ 390368 h 823468"/>
              <a:gd name="connsiteX1763" fmla="*/ 4172779 w 12248682"/>
              <a:gd name="connsiteY1763" fmla="*/ 339551 h 823468"/>
              <a:gd name="connsiteX1764" fmla="*/ 4223596 w 12248682"/>
              <a:gd name="connsiteY1764" fmla="*/ 288734 h 823468"/>
              <a:gd name="connsiteX1765" fmla="*/ 1889473 w 12248682"/>
              <a:gd name="connsiteY1765" fmla="*/ 288734 h 823468"/>
              <a:gd name="connsiteX1766" fmla="*/ 1940290 w 12248682"/>
              <a:gd name="connsiteY1766" fmla="*/ 339551 h 823468"/>
              <a:gd name="connsiteX1767" fmla="*/ 1889473 w 12248682"/>
              <a:gd name="connsiteY1767" fmla="*/ 390368 h 823468"/>
              <a:gd name="connsiteX1768" fmla="*/ 1838656 w 12248682"/>
              <a:gd name="connsiteY1768" fmla="*/ 339551 h 823468"/>
              <a:gd name="connsiteX1769" fmla="*/ 1889473 w 12248682"/>
              <a:gd name="connsiteY1769" fmla="*/ 288734 h 823468"/>
              <a:gd name="connsiteX1770" fmla="*/ 739158 w 12248682"/>
              <a:gd name="connsiteY1770" fmla="*/ 288734 h 823468"/>
              <a:gd name="connsiteX1771" fmla="*/ 789975 w 12248682"/>
              <a:gd name="connsiteY1771" fmla="*/ 339551 h 823468"/>
              <a:gd name="connsiteX1772" fmla="*/ 739158 w 12248682"/>
              <a:gd name="connsiteY1772" fmla="*/ 390368 h 823468"/>
              <a:gd name="connsiteX1773" fmla="*/ 688341 w 12248682"/>
              <a:gd name="connsiteY1773" fmla="*/ 339551 h 823468"/>
              <a:gd name="connsiteX1774" fmla="*/ 739158 w 12248682"/>
              <a:gd name="connsiteY1774" fmla="*/ 288734 h 823468"/>
              <a:gd name="connsiteX1775" fmla="*/ 12227892 w 12248682"/>
              <a:gd name="connsiteY1775" fmla="*/ 175550 h 823468"/>
              <a:gd name="connsiteX1776" fmla="*/ 12248682 w 12248682"/>
              <a:gd name="connsiteY1776" fmla="*/ 196339 h 823468"/>
              <a:gd name="connsiteX1777" fmla="*/ 12227892 w 12248682"/>
              <a:gd name="connsiteY1777" fmla="*/ 217128 h 823468"/>
              <a:gd name="connsiteX1778" fmla="*/ 12207104 w 12248682"/>
              <a:gd name="connsiteY1778" fmla="*/ 196339 h 823468"/>
              <a:gd name="connsiteX1779" fmla="*/ 12227892 w 12248682"/>
              <a:gd name="connsiteY1779" fmla="*/ 175550 h 823468"/>
              <a:gd name="connsiteX1780" fmla="*/ 12091610 w 12248682"/>
              <a:gd name="connsiteY1780" fmla="*/ 175550 h 823468"/>
              <a:gd name="connsiteX1781" fmla="*/ 12112399 w 12248682"/>
              <a:gd name="connsiteY1781" fmla="*/ 196339 h 823468"/>
              <a:gd name="connsiteX1782" fmla="*/ 12091610 w 12248682"/>
              <a:gd name="connsiteY1782" fmla="*/ 217128 h 823468"/>
              <a:gd name="connsiteX1783" fmla="*/ 12070822 w 12248682"/>
              <a:gd name="connsiteY1783" fmla="*/ 196339 h 823468"/>
              <a:gd name="connsiteX1784" fmla="*/ 12091610 w 12248682"/>
              <a:gd name="connsiteY1784" fmla="*/ 175550 h 823468"/>
              <a:gd name="connsiteX1785" fmla="*/ 11956484 w 12248682"/>
              <a:gd name="connsiteY1785" fmla="*/ 175550 h 823468"/>
              <a:gd name="connsiteX1786" fmla="*/ 11977272 w 12248682"/>
              <a:gd name="connsiteY1786" fmla="*/ 196339 h 823468"/>
              <a:gd name="connsiteX1787" fmla="*/ 11956484 w 12248682"/>
              <a:gd name="connsiteY1787" fmla="*/ 217128 h 823468"/>
              <a:gd name="connsiteX1788" fmla="*/ 11935695 w 12248682"/>
              <a:gd name="connsiteY1788" fmla="*/ 196339 h 823468"/>
              <a:gd name="connsiteX1789" fmla="*/ 11956484 w 12248682"/>
              <a:gd name="connsiteY1789" fmla="*/ 175550 h 823468"/>
              <a:gd name="connsiteX1790" fmla="*/ 11821356 w 12248682"/>
              <a:gd name="connsiteY1790" fmla="*/ 175550 h 823468"/>
              <a:gd name="connsiteX1791" fmla="*/ 11842144 w 12248682"/>
              <a:gd name="connsiteY1791" fmla="*/ 196339 h 823468"/>
              <a:gd name="connsiteX1792" fmla="*/ 11821356 w 12248682"/>
              <a:gd name="connsiteY1792" fmla="*/ 217128 h 823468"/>
              <a:gd name="connsiteX1793" fmla="*/ 11800567 w 12248682"/>
              <a:gd name="connsiteY1793" fmla="*/ 196339 h 823468"/>
              <a:gd name="connsiteX1794" fmla="*/ 11821356 w 12248682"/>
              <a:gd name="connsiteY1794" fmla="*/ 175550 h 823468"/>
              <a:gd name="connsiteX1795" fmla="*/ 11685074 w 12248682"/>
              <a:gd name="connsiteY1795" fmla="*/ 175550 h 823468"/>
              <a:gd name="connsiteX1796" fmla="*/ 11705862 w 12248682"/>
              <a:gd name="connsiteY1796" fmla="*/ 196339 h 823468"/>
              <a:gd name="connsiteX1797" fmla="*/ 11685074 w 12248682"/>
              <a:gd name="connsiteY1797" fmla="*/ 217128 h 823468"/>
              <a:gd name="connsiteX1798" fmla="*/ 11664285 w 12248682"/>
              <a:gd name="connsiteY1798" fmla="*/ 196339 h 823468"/>
              <a:gd name="connsiteX1799" fmla="*/ 11685074 w 12248682"/>
              <a:gd name="connsiteY1799" fmla="*/ 175550 h 823468"/>
              <a:gd name="connsiteX1800" fmla="*/ 10736873 w 12248682"/>
              <a:gd name="connsiteY1800" fmla="*/ 175550 h 823468"/>
              <a:gd name="connsiteX1801" fmla="*/ 10757662 w 12248682"/>
              <a:gd name="connsiteY1801" fmla="*/ 196339 h 823468"/>
              <a:gd name="connsiteX1802" fmla="*/ 10736873 w 12248682"/>
              <a:gd name="connsiteY1802" fmla="*/ 217128 h 823468"/>
              <a:gd name="connsiteX1803" fmla="*/ 10716084 w 12248682"/>
              <a:gd name="connsiteY1803" fmla="*/ 196339 h 823468"/>
              <a:gd name="connsiteX1804" fmla="*/ 10736873 w 12248682"/>
              <a:gd name="connsiteY1804" fmla="*/ 175550 h 823468"/>
              <a:gd name="connsiteX1805" fmla="*/ 10601745 w 12248682"/>
              <a:gd name="connsiteY1805" fmla="*/ 175550 h 823468"/>
              <a:gd name="connsiteX1806" fmla="*/ 10622534 w 12248682"/>
              <a:gd name="connsiteY1806" fmla="*/ 196339 h 823468"/>
              <a:gd name="connsiteX1807" fmla="*/ 10601745 w 12248682"/>
              <a:gd name="connsiteY1807" fmla="*/ 217128 h 823468"/>
              <a:gd name="connsiteX1808" fmla="*/ 10580956 w 12248682"/>
              <a:gd name="connsiteY1808" fmla="*/ 196339 h 823468"/>
              <a:gd name="connsiteX1809" fmla="*/ 10601745 w 12248682"/>
              <a:gd name="connsiteY1809" fmla="*/ 175550 h 823468"/>
              <a:gd name="connsiteX1810" fmla="*/ 8027949 w 12248682"/>
              <a:gd name="connsiteY1810" fmla="*/ 175550 h 823468"/>
              <a:gd name="connsiteX1811" fmla="*/ 8048737 w 12248682"/>
              <a:gd name="connsiteY1811" fmla="*/ 196339 h 823468"/>
              <a:gd name="connsiteX1812" fmla="*/ 8027949 w 12248682"/>
              <a:gd name="connsiteY1812" fmla="*/ 217128 h 823468"/>
              <a:gd name="connsiteX1813" fmla="*/ 8007160 w 12248682"/>
              <a:gd name="connsiteY1813" fmla="*/ 196339 h 823468"/>
              <a:gd name="connsiteX1814" fmla="*/ 8027949 w 12248682"/>
              <a:gd name="connsiteY1814" fmla="*/ 175550 h 823468"/>
              <a:gd name="connsiteX1815" fmla="*/ 7892822 w 12248682"/>
              <a:gd name="connsiteY1815" fmla="*/ 175550 h 823468"/>
              <a:gd name="connsiteX1816" fmla="*/ 7913611 w 12248682"/>
              <a:gd name="connsiteY1816" fmla="*/ 196339 h 823468"/>
              <a:gd name="connsiteX1817" fmla="*/ 7892822 w 12248682"/>
              <a:gd name="connsiteY1817" fmla="*/ 217128 h 823468"/>
              <a:gd name="connsiteX1818" fmla="*/ 7872031 w 12248682"/>
              <a:gd name="connsiteY1818" fmla="*/ 196339 h 823468"/>
              <a:gd name="connsiteX1819" fmla="*/ 7892822 w 12248682"/>
              <a:gd name="connsiteY1819" fmla="*/ 175550 h 823468"/>
              <a:gd name="connsiteX1820" fmla="*/ 7757693 w 12248682"/>
              <a:gd name="connsiteY1820" fmla="*/ 175550 h 823468"/>
              <a:gd name="connsiteX1821" fmla="*/ 7778483 w 12248682"/>
              <a:gd name="connsiteY1821" fmla="*/ 196339 h 823468"/>
              <a:gd name="connsiteX1822" fmla="*/ 7757693 w 12248682"/>
              <a:gd name="connsiteY1822" fmla="*/ 217128 h 823468"/>
              <a:gd name="connsiteX1823" fmla="*/ 7736906 w 12248682"/>
              <a:gd name="connsiteY1823" fmla="*/ 196339 h 823468"/>
              <a:gd name="connsiteX1824" fmla="*/ 7757693 w 12248682"/>
              <a:gd name="connsiteY1824" fmla="*/ 175550 h 823468"/>
              <a:gd name="connsiteX1825" fmla="*/ 7622566 w 12248682"/>
              <a:gd name="connsiteY1825" fmla="*/ 175550 h 823468"/>
              <a:gd name="connsiteX1826" fmla="*/ 7643355 w 12248682"/>
              <a:gd name="connsiteY1826" fmla="*/ 196339 h 823468"/>
              <a:gd name="connsiteX1827" fmla="*/ 7622566 w 12248682"/>
              <a:gd name="connsiteY1827" fmla="*/ 217128 h 823468"/>
              <a:gd name="connsiteX1828" fmla="*/ 7601778 w 12248682"/>
              <a:gd name="connsiteY1828" fmla="*/ 196339 h 823468"/>
              <a:gd name="connsiteX1829" fmla="*/ 7622566 w 12248682"/>
              <a:gd name="connsiteY1829" fmla="*/ 175550 h 823468"/>
              <a:gd name="connsiteX1830" fmla="*/ 7486284 w 12248682"/>
              <a:gd name="connsiteY1830" fmla="*/ 175550 h 823468"/>
              <a:gd name="connsiteX1831" fmla="*/ 7507074 w 12248682"/>
              <a:gd name="connsiteY1831" fmla="*/ 196339 h 823468"/>
              <a:gd name="connsiteX1832" fmla="*/ 7486284 w 12248682"/>
              <a:gd name="connsiteY1832" fmla="*/ 217128 h 823468"/>
              <a:gd name="connsiteX1833" fmla="*/ 7465495 w 12248682"/>
              <a:gd name="connsiteY1833" fmla="*/ 196339 h 823468"/>
              <a:gd name="connsiteX1834" fmla="*/ 7486284 w 12248682"/>
              <a:gd name="connsiteY1834" fmla="*/ 175550 h 823468"/>
              <a:gd name="connsiteX1835" fmla="*/ 7351157 w 12248682"/>
              <a:gd name="connsiteY1835" fmla="*/ 175550 h 823468"/>
              <a:gd name="connsiteX1836" fmla="*/ 7371946 w 12248682"/>
              <a:gd name="connsiteY1836" fmla="*/ 196339 h 823468"/>
              <a:gd name="connsiteX1837" fmla="*/ 7351157 w 12248682"/>
              <a:gd name="connsiteY1837" fmla="*/ 217128 h 823468"/>
              <a:gd name="connsiteX1838" fmla="*/ 7330369 w 12248682"/>
              <a:gd name="connsiteY1838" fmla="*/ 196339 h 823468"/>
              <a:gd name="connsiteX1839" fmla="*/ 7351157 w 12248682"/>
              <a:gd name="connsiteY1839" fmla="*/ 175550 h 823468"/>
              <a:gd name="connsiteX1840" fmla="*/ 7216030 w 12248682"/>
              <a:gd name="connsiteY1840" fmla="*/ 175550 h 823468"/>
              <a:gd name="connsiteX1841" fmla="*/ 7236819 w 12248682"/>
              <a:gd name="connsiteY1841" fmla="*/ 196339 h 823468"/>
              <a:gd name="connsiteX1842" fmla="*/ 7216030 w 12248682"/>
              <a:gd name="connsiteY1842" fmla="*/ 217128 h 823468"/>
              <a:gd name="connsiteX1843" fmla="*/ 7195241 w 12248682"/>
              <a:gd name="connsiteY1843" fmla="*/ 196339 h 823468"/>
              <a:gd name="connsiteX1844" fmla="*/ 7216030 w 12248682"/>
              <a:gd name="connsiteY1844" fmla="*/ 175550 h 823468"/>
              <a:gd name="connsiteX1845" fmla="*/ 7079748 w 12248682"/>
              <a:gd name="connsiteY1845" fmla="*/ 175550 h 823468"/>
              <a:gd name="connsiteX1846" fmla="*/ 7100537 w 12248682"/>
              <a:gd name="connsiteY1846" fmla="*/ 196339 h 823468"/>
              <a:gd name="connsiteX1847" fmla="*/ 7079748 w 12248682"/>
              <a:gd name="connsiteY1847" fmla="*/ 217128 h 823468"/>
              <a:gd name="connsiteX1848" fmla="*/ 7058959 w 12248682"/>
              <a:gd name="connsiteY1848" fmla="*/ 196339 h 823468"/>
              <a:gd name="connsiteX1849" fmla="*/ 7079748 w 12248682"/>
              <a:gd name="connsiteY1849" fmla="*/ 175550 h 823468"/>
              <a:gd name="connsiteX1850" fmla="*/ 6131548 w 12248682"/>
              <a:gd name="connsiteY1850" fmla="*/ 175550 h 823468"/>
              <a:gd name="connsiteX1851" fmla="*/ 6152336 w 12248682"/>
              <a:gd name="connsiteY1851" fmla="*/ 196339 h 823468"/>
              <a:gd name="connsiteX1852" fmla="*/ 6131548 w 12248682"/>
              <a:gd name="connsiteY1852" fmla="*/ 217128 h 823468"/>
              <a:gd name="connsiteX1853" fmla="*/ 6110759 w 12248682"/>
              <a:gd name="connsiteY1853" fmla="*/ 196339 h 823468"/>
              <a:gd name="connsiteX1854" fmla="*/ 6131548 w 12248682"/>
              <a:gd name="connsiteY1854" fmla="*/ 175550 h 823468"/>
              <a:gd name="connsiteX1855" fmla="*/ 5996418 w 12248682"/>
              <a:gd name="connsiteY1855" fmla="*/ 175550 h 823468"/>
              <a:gd name="connsiteX1856" fmla="*/ 6017209 w 12248682"/>
              <a:gd name="connsiteY1856" fmla="*/ 196339 h 823468"/>
              <a:gd name="connsiteX1857" fmla="*/ 5996418 w 12248682"/>
              <a:gd name="connsiteY1857" fmla="*/ 217128 h 823468"/>
              <a:gd name="connsiteX1858" fmla="*/ 5975630 w 12248682"/>
              <a:gd name="connsiteY1858" fmla="*/ 196339 h 823468"/>
              <a:gd name="connsiteX1859" fmla="*/ 5996418 w 12248682"/>
              <a:gd name="connsiteY1859" fmla="*/ 175550 h 823468"/>
              <a:gd name="connsiteX1860" fmla="*/ 3415142 w 12248682"/>
              <a:gd name="connsiteY1860" fmla="*/ 175550 h 823468"/>
              <a:gd name="connsiteX1861" fmla="*/ 3435930 w 12248682"/>
              <a:gd name="connsiteY1861" fmla="*/ 196339 h 823468"/>
              <a:gd name="connsiteX1862" fmla="*/ 3415142 w 12248682"/>
              <a:gd name="connsiteY1862" fmla="*/ 217128 h 823468"/>
              <a:gd name="connsiteX1863" fmla="*/ 3394352 w 12248682"/>
              <a:gd name="connsiteY1863" fmla="*/ 196339 h 823468"/>
              <a:gd name="connsiteX1864" fmla="*/ 3415142 w 12248682"/>
              <a:gd name="connsiteY1864" fmla="*/ 175550 h 823468"/>
              <a:gd name="connsiteX1865" fmla="*/ 3280013 w 12248682"/>
              <a:gd name="connsiteY1865" fmla="*/ 175550 h 823468"/>
              <a:gd name="connsiteX1866" fmla="*/ 3300802 w 12248682"/>
              <a:gd name="connsiteY1866" fmla="*/ 196339 h 823468"/>
              <a:gd name="connsiteX1867" fmla="*/ 3280013 w 12248682"/>
              <a:gd name="connsiteY1867" fmla="*/ 217128 h 823468"/>
              <a:gd name="connsiteX1868" fmla="*/ 3259224 w 12248682"/>
              <a:gd name="connsiteY1868" fmla="*/ 196339 h 823468"/>
              <a:gd name="connsiteX1869" fmla="*/ 3280013 w 12248682"/>
              <a:gd name="connsiteY1869" fmla="*/ 175550 h 823468"/>
              <a:gd name="connsiteX1870" fmla="*/ 3144887 w 12248682"/>
              <a:gd name="connsiteY1870" fmla="*/ 175550 h 823468"/>
              <a:gd name="connsiteX1871" fmla="*/ 3165675 w 12248682"/>
              <a:gd name="connsiteY1871" fmla="*/ 196339 h 823468"/>
              <a:gd name="connsiteX1872" fmla="*/ 3144887 w 12248682"/>
              <a:gd name="connsiteY1872" fmla="*/ 217128 h 823468"/>
              <a:gd name="connsiteX1873" fmla="*/ 3124098 w 12248682"/>
              <a:gd name="connsiteY1873" fmla="*/ 196339 h 823468"/>
              <a:gd name="connsiteX1874" fmla="*/ 3144887 w 12248682"/>
              <a:gd name="connsiteY1874" fmla="*/ 175550 h 823468"/>
              <a:gd name="connsiteX1875" fmla="*/ 3009759 w 12248682"/>
              <a:gd name="connsiteY1875" fmla="*/ 175550 h 823468"/>
              <a:gd name="connsiteX1876" fmla="*/ 3030548 w 12248682"/>
              <a:gd name="connsiteY1876" fmla="*/ 196339 h 823468"/>
              <a:gd name="connsiteX1877" fmla="*/ 3009759 w 12248682"/>
              <a:gd name="connsiteY1877" fmla="*/ 217128 h 823468"/>
              <a:gd name="connsiteX1878" fmla="*/ 2988971 w 12248682"/>
              <a:gd name="connsiteY1878" fmla="*/ 196339 h 823468"/>
              <a:gd name="connsiteX1879" fmla="*/ 3009759 w 12248682"/>
              <a:gd name="connsiteY1879" fmla="*/ 175550 h 823468"/>
              <a:gd name="connsiteX1880" fmla="*/ 2873476 w 12248682"/>
              <a:gd name="connsiteY1880" fmla="*/ 175550 h 823468"/>
              <a:gd name="connsiteX1881" fmla="*/ 2894265 w 12248682"/>
              <a:gd name="connsiteY1881" fmla="*/ 196339 h 823468"/>
              <a:gd name="connsiteX1882" fmla="*/ 2873476 w 12248682"/>
              <a:gd name="connsiteY1882" fmla="*/ 217128 h 823468"/>
              <a:gd name="connsiteX1883" fmla="*/ 2852688 w 12248682"/>
              <a:gd name="connsiteY1883" fmla="*/ 196339 h 823468"/>
              <a:gd name="connsiteX1884" fmla="*/ 2873476 w 12248682"/>
              <a:gd name="connsiteY1884" fmla="*/ 175550 h 823468"/>
              <a:gd name="connsiteX1885" fmla="*/ 2738350 w 12248682"/>
              <a:gd name="connsiteY1885" fmla="*/ 175550 h 823468"/>
              <a:gd name="connsiteX1886" fmla="*/ 2759139 w 12248682"/>
              <a:gd name="connsiteY1886" fmla="*/ 196339 h 823468"/>
              <a:gd name="connsiteX1887" fmla="*/ 2738350 w 12248682"/>
              <a:gd name="connsiteY1887" fmla="*/ 217128 h 823468"/>
              <a:gd name="connsiteX1888" fmla="*/ 2717562 w 12248682"/>
              <a:gd name="connsiteY1888" fmla="*/ 196339 h 823468"/>
              <a:gd name="connsiteX1889" fmla="*/ 2738350 w 12248682"/>
              <a:gd name="connsiteY1889" fmla="*/ 175550 h 823468"/>
              <a:gd name="connsiteX1890" fmla="*/ 2603222 w 12248682"/>
              <a:gd name="connsiteY1890" fmla="*/ 175550 h 823468"/>
              <a:gd name="connsiteX1891" fmla="*/ 2624011 w 12248682"/>
              <a:gd name="connsiteY1891" fmla="*/ 196339 h 823468"/>
              <a:gd name="connsiteX1892" fmla="*/ 2603222 w 12248682"/>
              <a:gd name="connsiteY1892" fmla="*/ 217128 h 823468"/>
              <a:gd name="connsiteX1893" fmla="*/ 2582433 w 12248682"/>
              <a:gd name="connsiteY1893" fmla="*/ 196339 h 823468"/>
              <a:gd name="connsiteX1894" fmla="*/ 2603222 w 12248682"/>
              <a:gd name="connsiteY1894" fmla="*/ 175550 h 823468"/>
              <a:gd name="connsiteX1895" fmla="*/ 2466940 w 12248682"/>
              <a:gd name="connsiteY1895" fmla="*/ 175550 h 823468"/>
              <a:gd name="connsiteX1896" fmla="*/ 2487729 w 12248682"/>
              <a:gd name="connsiteY1896" fmla="*/ 196339 h 823468"/>
              <a:gd name="connsiteX1897" fmla="*/ 2466940 w 12248682"/>
              <a:gd name="connsiteY1897" fmla="*/ 217128 h 823468"/>
              <a:gd name="connsiteX1898" fmla="*/ 2446151 w 12248682"/>
              <a:gd name="connsiteY1898" fmla="*/ 196339 h 823468"/>
              <a:gd name="connsiteX1899" fmla="*/ 2466940 w 12248682"/>
              <a:gd name="connsiteY1899" fmla="*/ 175550 h 823468"/>
              <a:gd name="connsiteX1900" fmla="*/ 1518739 w 12248682"/>
              <a:gd name="connsiteY1900" fmla="*/ 175550 h 823468"/>
              <a:gd name="connsiteX1901" fmla="*/ 1539528 w 12248682"/>
              <a:gd name="connsiteY1901" fmla="*/ 196339 h 823468"/>
              <a:gd name="connsiteX1902" fmla="*/ 1518739 w 12248682"/>
              <a:gd name="connsiteY1902" fmla="*/ 217128 h 823468"/>
              <a:gd name="connsiteX1903" fmla="*/ 1497951 w 12248682"/>
              <a:gd name="connsiteY1903" fmla="*/ 196339 h 823468"/>
              <a:gd name="connsiteX1904" fmla="*/ 1518739 w 12248682"/>
              <a:gd name="connsiteY1904" fmla="*/ 175550 h 823468"/>
              <a:gd name="connsiteX1905" fmla="*/ 1383611 w 12248682"/>
              <a:gd name="connsiteY1905" fmla="*/ 175550 h 823468"/>
              <a:gd name="connsiteX1906" fmla="*/ 1404400 w 12248682"/>
              <a:gd name="connsiteY1906" fmla="*/ 196339 h 823468"/>
              <a:gd name="connsiteX1907" fmla="*/ 1383611 w 12248682"/>
              <a:gd name="connsiteY1907" fmla="*/ 217128 h 823468"/>
              <a:gd name="connsiteX1908" fmla="*/ 1362823 w 12248682"/>
              <a:gd name="connsiteY1908" fmla="*/ 196339 h 823468"/>
              <a:gd name="connsiteX1909" fmla="*/ 1383611 w 12248682"/>
              <a:gd name="connsiteY1909" fmla="*/ 175550 h 823468"/>
              <a:gd name="connsiteX1910" fmla="*/ 11549947 w 12248682"/>
              <a:gd name="connsiteY1910" fmla="*/ 172086 h 823468"/>
              <a:gd name="connsiteX1911" fmla="*/ 11573046 w 12248682"/>
              <a:gd name="connsiteY1911" fmla="*/ 195185 h 823468"/>
              <a:gd name="connsiteX1912" fmla="*/ 11549947 w 12248682"/>
              <a:gd name="connsiteY1912" fmla="*/ 218283 h 823468"/>
              <a:gd name="connsiteX1913" fmla="*/ 11526848 w 12248682"/>
              <a:gd name="connsiteY1913" fmla="*/ 195185 h 823468"/>
              <a:gd name="connsiteX1914" fmla="*/ 11549947 w 12248682"/>
              <a:gd name="connsiteY1914" fmla="*/ 172086 h 823468"/>
              <a:gd name="connsiteX1915" fmla="*/ 10466618 w 12248682"/>
              <a:gd name="connsiteY1915" fmla="*/ 172086 h 823468"/>
              <a:gd name="connsiteX1916" fmla="*/ 10489717 w 12248682"/>
              <a:gd name="connsiteY1916" fmla="*/ 195185 h 823468"/>
              <a:gd name="connsiteX1917" fmla="*/ 10466618 w 12248682"/>
              <a:gd name="connsiteY1917" fmla="*/ 218283 h 823468"/>
              <a:gd name="connsiteX1918" fmla="*/ 10443520 w 12248682"/>
              <a:gd name="connsiteY1918" fmla="*/ 195185 h 823468"/>
              <a:gd name="connsiteX1919" fmla="*/ 10466618 w 12248682"/>
              <a:gd name="connsiteY1919" fmla="*/ 172086 h 823468"/>
              <a:gd name="connsiteX1920" fmla="*/ 9244698 w 12248682"/>
              <a:gd name="connsiteY1920" fmla="*/ 172086 h 823468"/>
              <a:gd name="connsiteX1921" fmla="*/ 9270107 w 12248682"/>
              <a:gd name="connsiteY1921" fmla="*/ 194029 h 823468"/>
              <a:gd name="connsiteX1922" fmla="*/ 9249318 w 12248682"/>
              <a:gd name="connsiteY1922" fmla="*/ 219438 h 823468"/>
              <a:gd name="connsiteX1923" fmla="*/ 9223909 w 12248682"/>
              <a:gd name="connsiteY1923" fmla="*/ 197494 h 823468"/>
              <a:gd name="connsiteX1924" fmla="*/ 9244698 w 12248682"/>
              <a:gd name="connsiteY1924" fmla="*/ 172086 h 823468"/>
              <a:gd name="connsiteX1925" fmla="*/ 8164231 w 12248682"/>
              <a:gd name="connsiteY1925" fmla="*/ 172086 h 823468"/>
              <a:gd name="connsiteX1926" fmla="*/ 8187331 w 12248682"/>
              <a:gd name="connsiteY1926" fmla="*/ 195185 h 823468"/>
              <a:gd name="connsiteX1927" fmla="*/ 8164231 w 12248682"/>
              <a:gd name="connsiteY1927" fmla="*/ 218283 h 823468"/>
              <a:gd name="connsiteX1928" fmla="*/ 8141133 w 12248682"/>
              <a:gd name="connsiteY1928" fmla="*/ 195185 h 823468"/>
              <a:gd name="connsiteX1929" fmla="*/ 8164231 w 12248682"/>
              <a:gd name="connsiteY1929" fmla="*/ 172086 h 823468"/>
              <a:gd name="connsiteX1930" fmla="*/ 6944621 w 12248682"/>
              <a:gd name="connsiteY1930" fmla="*/ 172086 h 823468"/>
              <a:gd name="connsiteX1931" fmla="*/ 6967719 w 12248682"/>
              <a:gd name="connsiteY1931" fmla="*/ 195185 h 823468"/>
              <a:gd name="connsiteX1932" fmla="*/ 6944621 w 12248682"/>
              <a:gd name="connsiteY1932" fmla="*/ 218283 h 823468"/>
              <a:gd name="connsiteX1933" fmla="*/ 6921522 w 12248682"/>
              <a:gd name="connsiteY1933" fmla="*/ 195185 h 823468"/>
              <a:gd name="connsiteX1934" fmla="*/ 6944621 w 12248682"/>
              <a:gd name="connsiteY1934" fmla="*/ 172086 h 823468"/>
              <a:gd name="connsiteX1935" fmla="*/ 5861292 w 12248682"/>
              <a:gd name="connsiteY1935" fmla="*/ 172086 h 823468"/>
              <a:gd name="connsiteX1936" fmla="*/ 5884392 w 12248682"/>
              <a:gd name="connsiteY1936" fmla="*/ 195185 h 823468"/>
              <a:gd name="connsiteX1937" fmla="*/ 5861292 w 12248682"/>
              <a:gd name="connsiteY1937" fmla="*/ 218283 h 823468"/>
              <a:gd name="connsiteX1938" fmla="*/ 5838194 w 12248682"/>
              <a:gd name="connsiteY1938" fmla="*/ 195185 h 823468"/>
              <a:gd name="connsiteX1939" fmla="*/ 5861292 w 12248682"/>
              <a:gd name="connsiteY1939" fmla="*/ 172086 h 823468"/>
              <a:gd name="connsiteX1940" fmla="*/ 4639373 w 12248682"/>
              <a:gd name="connsiteY1940" fmla="*/ 172086 h 823468"/>
              <a:gd name="connsiteX1941" fmla="*/ 4664780 w 12248682"/>
              <a:gd name="connsiteY1941" fmla="*/ 192875 h 823468"/>
              <a:gd name="connsiteX1942" fmla="*/ 4643991 w 12248682"/>
              <a:gd name="connsiteY1942" fmla="*/ 218283 h 823468"/>
              <a:gd name="connsiteX1943" fmla="*/ 4618583 w 12248682"/>
              <a:gd name="connsiteY1943" fmla="*/ 197494 h 823468"/>
              <a:gd name="connsiteX1944" fmla="*/ 4639373 w 12248682"/>
              <a:gd name="connsiteY1944" fmla="*/ 172086 h 823468"/>
              <a:gd name="connsiteX1945" fmla="*/ 3551423 w 12248682"/>
              <a:gd name="connsiteY1945" fmla="*/ 172086 h 823468"/>
              <a:gd name="connsiteX1946" fmla="*/ 3574522 w 12248682"/>
              <a:gd name="connsiteY1946" fmla="*/ 195185 h 823468"/>
              <a:gd name="connsiteX1947" fmla="*/ 3551423 w 12248682"/>
              <a:gd name="connsiteY1947" fmla="*/ 218283 h 823468"/>
              <a:gd name="connsiteX1948" fmla="*/ 3528325 w 12248682"/>
              <a:gd name="connsiteY1948" fmla="*/ 195185 h 823468"/>
              <a:gd name="connsiteX1949" fmla="*/ 3551423 w 12248682"/>
              <a:gd name="connsiteY1949" fmla="*/ 172086 h 823468"/>
              <a:gd name="connsiteX1950" fmla="*/ 2331813 w 12248682"/>
              <a:gd name="connsiteY1950" fmla="*/ 172086 h 823468"/>
              <a:gd name="connsiteX1951" fmla="*/ 2354912 w 12248682"/>
              <a:gd name="connsiteY1951" fmla="*/ 195185 h 823468"/>
              <a:gd name="connsiteX1952" fmla="*/ 2331813 w 12248682"/>
              <a:gd name="connsiteY1952" fmla="*/ 218283 h 823468"/>
              <a:gd name="connsiteX1953" fmla="*/ 2308714 w 12248682"/>
              <a:gd name="connsiteY1953" fmla="*/ 195185 h 823468"/>
              <a:gd name="connsiteX1954" fmla="*/ 2331813 w 12248682"/>
              <a:gd name="connsiteY1954" fmla="*/ 172086 h 823468"/>
              <a:gd name="connsiteX1955" fmla="*/ 1248485 w 12248682"/>
              <a:gd name="connsiteY1955" fmla="*/ 172086 h 823468"/>
              <a:gd name="connsiteX1956" fmla="*/ 1271583 w 12248682"/>
              <a:gd name="connsiteY1956" fmla="*/ 195185 h 823468"/>
              <a:gd name="connsiteX1957" fmla="*/ 1248485 w 12248682"/>
              <a:gd name="connsiteY1957" fmla="*/ 218283 h 823468"/>
              <a:gd name="connsiteX1958" fmla="*/ 1225386 w 12248682"/>
              <a:gd name="connsiteY1958" fmla="*/ 195185 h 823468"/>
              <a:gd name="connsiteX1959" fmla="*/ 1248485 w 12248682"/>
              <a:gd name="connsiteY1959" fmla="*/ 172086 h 823468"/>
              <a:gd name="connsiteX1960" fmla="*/ 26564 w 12248682"/>
              <a:gd name="connsiteY1960" fmla="*/ 172086 h 823468"/>
              <a:gd name="connsiteX1961" fmla="*/ 51973 w 12248682"/>
              <a:gd name="connsiteY1961" fmla="*/ 194029 h 823468"/>
              <a:gd name="connsiteX1962" fmla="*/ 31184 w 12248682"/>
              <a:gd name="connsiteY1962" fmla="*/ 219438 h 823468"/>
              <a:gd name="connsiteX1963" fmla="*/ 5776 w 12248682"/>
              <a:gd name="connsiteY1963" fmla="*/ 197494 h 823468"/>
              <a:gd name="connsiteX1964" fmla="*/ 26564 w 12248682"/>
              <a:gd name="connsiteY1964" fmla="*/ 172086 h 823468"/>
              <a:gd name="connsiteX1965" fmla="*/ 11414819 w 12248682"/>
              <a:gd name="connsiteY1965" fmla="*/ 166311 h 823468"/>
              <a:gd name="connsiteX1966" fmla="*/ 11443693 w 12248682"/>
              <a:gd name="connsiteY1966" fmla="*/ 195185 h 823468"/>
              <a:gd name="connsiteX1967" fmla="*/ 11414819 w 12248682"/>
              <a:gd name="connsiteY1967" fmla="*/ 224057 h 823468"/>
              <a:gd name="connsiteX1968" fmla="*/ 11385946 w 12248682"/>
              <a:gd name="connsiteY1968" fmla="*/ 195185 h 823468"/>
              <a:gd name="connsiteX1969" fmla="*/ 11414819 w 12248682"/>
              <a:gd name="connsiteY1969" fmla="*/ 166311 h 823468"/>
              <a:gd name="connsiteX1970" fmla="*/ 10330336 w 12248682"/>
              <a:gd name="connsiteY1970" fmla="*/ 166311 h 823468"/>
              <a:gd name="connsiteX1971" fmla="*/ 10359209 w 12248682"/>
              <a:gd name="connsiteY1971" fmla="*/ 195185 h 823468"/>
              <a:gd name="connsiteX1972" fmla="*/ 10330336 w 12248682"/>
              <a:gd name="connsiteY1972" fmla="*/ 224057 h 823468"/>
              <a:gd name="connsiteX1973" fmla="*/ 10301462 w 12248682"/>
              <a:gd name="connsiteY1973" fmla="*/ 195185 h 823468"/>
              <a:gd name="connsiteX1974" fmla="*/ 10330336 w 12248682"/>
              <a:gd name="connsiteY1974" fmla="*/ 166311 h 823468"/>
              <a:gd name="connsiteX1975" fmla="*/ 9382135 w 12248682"/>
              <a:gd name="connsiteY1975" fmla="*/ 166311 h 823468"/>
              <a:gd name="connsiteX1976" fmla="*/ 9411009 w 12248682"/>
              <a:gd name="connsiteY1976" fmla="*/ 195185 h 823468"/>
              <a:gd name="connsiteX1977" fmla="*/ 9382135 w 12248682"/>
              <a:gd name="connsiteY1977" fmla="*/ 224057 h 823468"/>
              <a:gd name="connsiteX1978" fmla="*/ 9353262 w 12248682"/>
              <a:gd name="connsiteY1978" fmla="*/ 195185 h 823468"/>
              <a:gd name="connsiteX1979" fmla="*/ 9382135 w 12248682"/>
              <a:gd name="connsiteY1979" fmla="*/ 166311 h 823468"/>
              <a:gd name="connsiteX1980" fmla="*/ 9112431 w 12248682"/>
              <a:gd name="connsiteY1980" fmla="*/ 166311 h 823468"/>
              <a:gd name="connsiteX1981" fmla="*/ 9141305 w 12248682"/>
              <a:gd name="connsiteY1981" fmla="*/ 195185 h 823468"/>
              <a:gd name="connsiteX1982" fmla="*/ 9112431 w 12248682"/>
              <a:gd name="connsiteY1982" fmla="*/ 224057 h 823468"/>
              <a:gd name="connsiteX1983" fmla="*/ 9083558 w 12248682"/>
              <a:gd name="connsiteY1983" fmla="*/ 195185 h 823468"/>
              <a:gd name="connsiteX1984" fmla="*/ 9112431 w 12248682"/>
              <a:gd name="connsiteY1984" fmla="*/ 166311 h 823468"/>
              <a:gd name="connsiteX1985" fmla="*/ 8299358 w 12248682"/>
              <a:gd name="connsiteY1985" fmla="*/ 166311 h 823468"/>
              <a:gd name="connsiteX1986" fmla="*/ 8328231 w 12248682"/>
              <a:gd name="connsiteY1986" fmla="*/ 195185 h 823468"/>
              <a:gd name="connsiteX1987" fmla="*/ 8299358 w 12248682"/>
              <a:gd name="connsiteY1987" fmla="*/ 224057 h 823468"/>
              <a:gd name="connsiteX1988" fmla="*/ 8270485 w 12248682"/>
              <a:gd name="connsiteY1988" fmla="*/ 195185 h 823468"/>
              <a:gd name="connsiteX1989" fmla="*/ 8299358 w 12248682"/>
              <a:gd name="connsiteY1989" fmla="*/ 166311 h 823468"/>
              <a:gd name="connsiteX1990" fmla="*/ 6809492 w 12248682"/>
              <a:gd name="connsiteY1990" fmla="*/ 166311 h 823468"/>
              <a:gd name="connsiteX1991" fmla="*/ 6838367 w 12248682"/>
              <a:gd name="connsiteY1991" fmla="*/ 195185 h 823468"/>
              <a:gd name="connsiteX1992" fmla="*/ 6809492 w 12248682"/>
              <a:gd name="connsiteY1992" fmla="*/ 224057 h 823468"/>
              <a:gd name="connsiteX1993" fmla="*/ 6780620 w 12248682"/>
              <a:gd name="connsiteY1993" fmla="*/ 195185 h 823468"/>
              <a:gd name="connsiteX1994" fmla="*/ 6809492 w 12248682"/>
              <a:gd name="connsiteY1994" fmla="*/ 166311 h 823468"/>
              <a:gd name="connsiteX1995" fmla="*/ 5726165 w 12248682"/>
              <a:gd name="connsiteY1995" fmla="*/ 166311 h 823468"/>
              <a:gd name="connsiteX1996" fmla="*/ 5755038 w 12248682"/>
              <a:gd name="connsiteY1996" fmla="*/ 195185 h 823468"/>
              <a:gd name="connsiteX1997" fmla="*/ 5726165 w 12248682"/>
              <a:gd name="connsiteY1997" fmla="*/ 224057 h 823468"/>
              <a:gd name="connsiteX1998" fmla="*/ 5697292 w 12248682"/>
              <a:gd name="connsiteY1998" fmla="*/ 195185 h 823468"/>
              <a:gd name="connsiteX1999" fmla="*/ 5726165 w 12248682"/>
              <a:gd name="connsiteY1999" fmla="*/ 166311 h 823468"/>
              <a:gd name="connsiteX2000" fmla="*/ 4776809 w 12248682"/>
              <a:gd name="connsiteY2000" fmla="*/ 166311 h 823468"/>
              <a:gd name="connsiteX2001" fmla="*/ 4805682 w 12248682"/>
              <a:gd name="connsiteY2001" fmla="*/ 195185 h 823468"/>
              <a:gd name="connsiteX2002" fmla="*/ 4776809 w 12248682"/>
              <a:gd name="connsiteY2002" fmla="*/ 224057 h 823468"/>
              <a:gd name="connsiteX2003" fmla="*/ 4747936 w 12248682"/>
              <a:gd name="connsiteY2003" fmla="*/ 195185 h 823468"/>
              <a:gd name="connsiteX2004" fmla="*/ 4776809 w 12248682"/>
              <a:gd name="connsiteY2004" fmla="*/ 166311 h 823468"/>
              <a:gd name="connsiteX2005" fmla="*/ 4499625 w 12248682"/>
              <a:gd name="connsiteY2005" fmla="*/ 166311 h 823468"/>
              <a:gd name="connsiteX2006" fmla="*/ 4528499 w 12248682"/>
              <a:gd name="connsiteY2006" fmla="*/ 195185 h 823468"/>
              <a:gd name="connsiteX2007" fmla="*/ 4499625 w 12248682"/>
              <a:gd name="connsiteY2007" fmla="*/ 224057 h 823468"/>
              <a:gd name="connsiteX2008" fmla="*/ 4470752 w 12248682"/>
              <a:gd name="connsiteY2008" fmla="*/ 195185 h 823468"/>
              <a:gd name="connsiteX2009" fmla="*/ 4499625 w 12248682"/>
              <a:gd name="connsiteY2009" fmla="*/ 166311 h 823468"/>
              <a:gd name="connsiteX2010" fmla="*/ 3686551 w 12248682"/>
              <a:gd name="connsiteY2010" fmla="*/ 166311 h 823468"/>
              <a:gd name="connsiteX2011" fmla="*/ 3715424 w 12248682"/>
              <a:gd name="connsiteY2011" fmla="*/ 195185 h 823468"/>
              <a:gd name="connsiteX2012" fmla="*/ 3686551 w 12248682"/>
              <a:gd name="connsiteY2012" fmla="*/ 224057 h 823468"/>
              <a:gd name="connsiteX2013" fmla="*/ 3657677 w 12248682"/>
              <a:gd name="connsiteY2013" fmla="*/ 195185 h 823468"/>
              <a:gd name="connsiteX2014" fmla="*/ 3686551 w 12248682"/>
              <a:gd name="connsiteY2014" fmla="*/ 166311 h 823468"/>
              <a:gd name="connsiteX2015" fmla="*/ 2196685 w 12248682"/>
              <a:gd name="connsiteY2015" fmla="*/ 166311 h 823468"/>
              <a:gd name="connsiteX2016" fmla="*/ 2225559 w 12248682"/>
              <a:gd name="connsiteY2016" fmla="*/ 195185 h 823468"/>
              <a:gd name="connsiteX2017" fmla="*/ 2196685 w 12248682"/>
              <a:gd name="connsiteY2017" fmla="*/ 224057 h 823468"/>
              <a:gd name="connsiteX2018" fmla="*/ 2167813 w 12248682"/>
              <a:gd name="connsiteY2018" fmla="*/ 195185 h 823468"/>
              <a:gd name="connsiteX2019" fmla="*/ 2196685 w 12248682"/>
              <a:gd name="connsiteY2019" fmla="*/ 166311 h 823468"/>
              <a:gd name="connsiteX2020" fmla="*/ 1112202 w 12248682"/>
              <a:gd name="connsiteY2020" fmla="*/ 166311 h 823468"/>
              <a:gd name="connsiteX2021" fmla="*/ 1141075 w 12248682"/>
              <a:gd name="connsiteY2021" fmla="*/ 195185 h 823468"/>
              <a:gd name="connsiteX2022" fmla="*/ 1112202 w 12248682"/>
              <a:gd name="connsiteY2022" fmla="*/ 224057 h 823468"/>
              <a:gd name="connsiteX2023" fmla="*/ 1083328 w 12248682"/>
              <a:gd name="connsiteY2023" fmla="*/ 195185 h 823468"/>
              <a:gd name="connsiteX2024" fmla="*/ 1112202 w 12248682"/>
              <a:gd name="connsiteY2024" fmla="*/ 166311 h 823468"/>
              <a:gd name="connsiteX2025" fmla="*/ 164001 w 12248682"/>
              <a:gd name="connsiteY2025" fmla="*/ 166311 h 823468"/>
              <a:gd name="connsiteX2026" fmla="*/ 192875 w 12248682"/>
              <a:gd name="connsiteY2026" fmla="*/ 195185 h 823468"/>
              <a:gd name="connsiteX2027" fmla="*/ 164001 w 12248682"/>
              <a:gd name="connsiteY2027" fmla="*/ 224057 h 823468"/>
              <a:gd name="connsiteX2028" fmla="*/ 135128 w 12248682"/>
              <a:gd name="connsiteY2028" fmla="*/ 195185 h 823468"/>
              <a:gd name="connsiteX2029" fmla="*/ 164001 w 12248682"/>
              <a:gd name="connsiteY2029" fmla="*/ 166311 h 823468"/>
              <a:gd name="connsiteX2030" fmla="*/ 11279692 w 12248682"/>
              <a:gd name="connsiteY2030" fmla="*/ 160537 h 823468"/>
              <a:gd name="connsiteX2031" fmla="*/ 11314340 w 12248682"/>
              <a:gd name="connsiteY2031" fmla="*/ 195185 h 823468"/>
              <a:gd name="connsiteX2032" fmla="*/ 11279692 w 12248682"/>
              <a:gd name="connsiteY2032" fmla="*/ 229833 h 823468"/>
              <a:gd name="connsiteX2033" fmla="*/ 11245044 w 12248682"/>
              <a:gd name="connsiteY2033" fmla="*/ 195185 h 823468"/>
              <a:gd name="connsiteX2034" fmla="*/ 11279692 w 12248682"/>
              <a:gd name="connsiteY2034" fmla="*/ 160537 h 823468"/>
              <a:gd name="connsiteX2035" fmla="*/ 10195208 w 12248682"/>
              <a:gd name="connsiteY2035" fmla="*/ 160537 h 823468"/>
              <a:gd name="connsiteX2036" fmla="*/ 10229856 w 12248682"/>
              <a:gd name="connsiteY2036" fmla="*/ 195185 h 823468"/>
              <a:gd name="connsiteX2037" fmla="*/ 10195208 w 12248682"/>
              <a:gd name="connsiteY2037" fmla="*/ 229833 h 823468"/>
              <a:gd name="connsiteX2038" fmla="*/ 10160560 w 12248682"/>
              <a:gd name="connsiteY2038" fmla="*/ 195185 h 823468"/>
              <a:gd name="connsiteX2039" fmla="*/ 10195208 w 12248682"/>
              <a:gd name="connsiteY2039" fmla="*/ 160537 h 823468"/>
              <a:gd name="connsiteX2040" fmla="*/ 9518417 w 12248682"/>
              <a:gd name="connsiteY2040" fmla="*/ 160537 h 823468"/>
              <a:gd name="connsiteX2041" fmla="*/ 9553065 w 12248682"/>
              <a:gd name="connsiteY2041" fmla="*/ 195185 h 823468"/>
              <a:gd name="connsiteX2042" fmla="*/ 9518417 w 12248682"/>
              <a:gd name="connsiteY2042" fmla="*/ 229833 h 823468"/>
              <a:gd name="connsiteX2043" fmla="*/ 9483769 w 12248682"/>
              <a:gd name="connsiteY2043" fmla="*/ 195185 h 823468"/>
              <a:gd name="connsiteX2044" fmla="*/ 9518417 w 12248682"/>
              <a:gd name="connsiteY2044" fmla="*/ 160537 h 823468"/>
              <a:gd name="connsiteX2045" fmla="*/ 8977304 w 12248682"/>
              <a:gd name="connsiteY2045" fmla="*/ 160537 h 823468"/>
              <a:gd name="connsiteX2046" fmla="*/ 9011952 w 12248682"/>
              <a:gd name="connsiteY2046" fmla="*/ 195185 h 823468"/>
              <a:gd name="connsiteX2047" fmla="*/ 8977304 w 12248682"/>
              <a:gd name="connsiteY2047" fmla="*/ 229833 h 823468"/>
              <a:gd name="connsiteX2048" fmla="*/ 8942656 w 12248682"/>
              <a:gd name="connsiteY2048" fmla="*/ 195185 h 823468"/>
              <a:gd name="connsiteX2049" fmla="*/ 8977304 w 12248682"/>
              <a:gd name="connsiteY2049" fmla="*/ 160537 h 823468"/>
              <a:gd name="connsiteX2050" fmla="*/ 8434485 w 12248682"/>
              <a:gd name="connsiteY2050" fmla="*/ 160537 h 823468"/>
              <a:gd name="connsiteX2051" fmla="*/ 8469133 w 12248682"/>
              <a:gd name="connsiteY2051" fmla="*/ 195185 h 823468"/>
              <a:gd name="connsiteX2052" fmla="*/ 8434485 w 12248682"/>
              <a:gd name="connsiteY2052" fmla="*/ 229833 h 823468"/>
              <a:gd name="connsiteX2053" fmla="*/ 8399837 w 12248682"/>
              <a:gd name="connsiteY2053" fmla="*/ 195185 h 823468"/>
              <a:gd name="connsiteX2054" fmla="*/ 8434485 w 12248682"/>
              <a:gd name="connsiteY2054" fmla="*/ 160537 h 823468"/>
              <a:gd name="connsiteX2055" fmla="*/ 6674366 w 12248682"/>
              <a:gd name="connsiteY2055" fmla="*/ 160537 h 823468"/>
              <a:gd name="connsiteX2056" fmla="*/ 6709014 w 12248682"/>
              <a:gd name="connsiteY2056" fmla="*/ 195185 h 823468"/>
              <a:gd name="connsiteX2057" fmla="*/ 6674366 w 12248682"/>
              <a:gd name="connsiteY2057" fmla="*/ 229833 h 823468"/>
              <a:gd name="connsiteX2058" fmla="*/ 6639717 w 12248682"/>
              <a:gd name="connsiteY2058" fmla="*/ 195185 h 823468"/>
              <a:gd name="connsiteX2059" fmla="*/ 6674366 w 12248682"/>
              <a:gd name="connsiteY2059" fmla="*/ 160537 h 823468"/>
              <a:gd name="connsiteX2060" fmla="*/ 5589882 w 12248682"/>
              <a:gd name="connsiteY2060" fmla="*/ 160537 h 823468"/>
              <a:gd name="connsiteX2061" fmla="*/ 5624531 w 12248682"/>
              <a:gd name="connsiteY2061" fmla="*/ 195185 h 823468"/>
              <a:gd name="connsiteX2062" fmla="*/ 5589882 w 12248682"/>
              <a:gd name="connsiteY2062" fmla="*/ 229833 h 823468"/>
              <a:gd name="connsiteX2063" fmla="*/ 5555234 w 12248682"/>
              <a:gd name="connsiteY2063" fmla="*/ 195185 h 823468"/>
              <a:gd name="connsiteX2064" fmla="*/ 5589882 w 12248682"/>
              <a:gd name="connsiteY2064" fmla="*/ 160537 h 823468"/>
              <a:gd name="connsiteX2065" fmla="*/ 4913091 w 12248682"/>
              <a:gd name="connsiteY2065" fmla="*/ 160537 h 823468"/>
              <a:gd name="connsiteX2066" fmla="*/ 4947739 w 12248682"/>
              <a:gd name="connsiteY2066" fmla="*/ 195185 h 823468"/>
              <a:gd name="connsiteX2067" fmla="*/ 4913091 w 12248682"/>
              <a:gd name="connsiteY2067" fmla="*/ 229833 h 823468"/>
              <a:gd name="connsiteX2068" fmla="*/ 4878443 w 12248682"/>
              <a:gd name="connsiteY2068" fmla="*/ 195185 h 823468"/>
              <a:gd name="connsiteX2069" fmla="*/ 4913091 w 12248682"/>
              <a:gd name="connsiteY2069" fmla="*/ 160537 h 823468"/>
              <a:gd name="connsiteX2070" fmla="*/ 4364498 w 12248682"/>
              <a:gd name="connsiteY2070" fmla="*/ 160537 h 823468"/>
              <a:gd name="connsiteX2071" fmla="*/ 4399146 w 12248682"/>
              <a:gd name="connsiteY2071" fmla="*/ 195185 h 823468"/>
              <a:gd name="connsiteX2072" fmla="*/ 4364498 w 12248682"/>
              <a:gd name="connsiteY2072" fmla="*/ 229833 h 823468"/>
              <a:gd name="connsiteX2073" fmla="*/ 4329850 w 12248682"/>
              <a:gd name="connsiteY2073" fmla="*/ 195185 h 823468"/>
              <a:gd name="connsiteX2074" fmla="*/ 4364498 w 12248682"/>
              <a:gd name="connsiteY2074" fmla="*/ 160537 h 823468"/>
              <a:gd name="connsiteX2075" fmla="*/ 3821678 w 12248682"/>
              <a:gd name="connsiteY2075" fmla="*/ 160537 h 823468"/>
              <a:gd name="connsiteX2076" fmla="*/ 3856326 w 12248682"/>
              <a:gd name="connsiteY2076" fmla="*/ 195185 h 823468"/>
              <a:gd name="connsiteX2077" fmla="*/ 3821678 w 12248682"/>
              <a:gd name="connsiteY2077" fmla="*/ 229833 h 823468"/>
              <a:gd name="connsiteX2078" fmla="*/ 3787030 w 12248682"/>
              <a:gd name="connsiteY2078" fmla="*/ 195185 h 823468"/>
              <a:gd name="connsiteX2079" fmla="*/ 3821678 w 12248682"/>
              <a:gd name="connsiteY2079" fmla="*/ 160537 h 823468"/>
              <a:gd name="connsiteX2080" fmla="*/ 2061558 w 12248682"/>
              <a:gd name="connsiteY2080" fmla="*/ 160537 h 823468"/>
              <a:gd name="connsiteX2081" fmla="*/ 2096206 w 12248682"/>
              <a:gd name="connsiteY2081" fmla="*/ 195185 h 823468"/>
              <a:gd name="connsiteX2082" fmla="*/ 2061558 w 12248682"/>
              <a:gd name="connsiteY2082" fmla="*/ 229833 h 823468"/>
              <a:gd name="connsiteX2083" fmla="*/ 2026910 w 12248682"/>
              <a:gd name="connsiteY2083" fmla="*/ 195185 h 823468"/>
              <a:gd name="connsiteX2084" fmla="*/ 2061558 w 12248682"/>
              <a:gd name="connsiteY2084" fmla="*/ 160537 h 823468"/>
              <a:gd name="connsiteX2085" fmla="*/ 977075 w 12248682"/>
              <a:gd name="connsiteY2085" fmla="*/ 160537 h 823468"/>
              <a:gd name="connsiteX2086" fmla="*/ 1011723 w 12248682"/>
              <a:gd name="connsiteY2086" fmla="*/ 195185 h 823468"/>
              <a:gd name="connsiteX2087" fmla="*/ 977075 w 12248682"/>
              <a:gd name="connsiteY2087" fmla="*/ 229833 h 823468"/>
              <a:gd name="connsiteX2088" fmla="*/ 942427 w 12248682"/>
              <a:gd name="connsiteY2088" fmla="*/ 195185 h 823468"/>
              <a:gd name="connsiteX2089" fmla="*/ 977075 w 12248682"/>
              <a:gd name="connsiteY2089" fmla="*/ 160537 h 823468"/>
              <a:gd name="connsiteX2090" fmla="*/ 300283 w 12248682"/>
              <a:gd name="connsiteY2090" fmla="*/ 160537 h 823468"/>
              <a:gd name="connsiteX2091" fmla="*/ 334931 w 12248682"/>
              <a:gd name="connsiteY2091" fmla="*/ 195185 h 823468"/>
              <a:gd name="connsiteX2092" fmla="*/ 300283 w 12248682"/>
              <a:gd name="connsiteY2092" fmla="*/ 229833 h 823468"/>
              <a:gd name="connsiteX2093" fmla="*/ 265635 w 12248682"/>
              <a:gd name="connsiteY2093" fmla="*/ 195185 h 823468"/>
              <a:gd name="connsiteX2094" fmla="*/ 300283 w 12248682"/>
              <a:gd name="connsiteY2094" fmla="*/ 160537 h 823468"/>
              <a:gd name="connsiteX2095" fmla="*/ 11143410 w 12248682"/>
              <a:gd name="connsiteY2095" fmla="*/ 154761 h 823468"/>
              <a:gd name="connsiteX2096" fmla="*/ 11183832 w 12248682"/>
              <a:gd name="connsiteY2096" fmla="*/ 195185 h 823468"/>
              <a:gd name="connsiteX2097" fmla="*/ 11143410 w 12248682"/>
              <a:gd name="connsiteY2097" fmla="*/ 235607 h 823468"/>
              <a:gd name="connsiteX2098" fmla="*/ 11102987 w 12248682"/>
              <a:gd name="connsiteY2098" fmla="*/ 195185 h 823468"/>
              <a:gd name="connsiteX2099" fmla="*/ 11143410 w 12248682"/>
              <a:gd name="connsiteY2099" fmla="*/ 154761 h 823468"/>
              <a:gd name="connsiteX2100" fmla="*/ 10873155 w 12248682"/>
              <a:gd name="connsiteY2100" fmla="*/ 154761 h 823468"/>
              <a:gd name="connsiteX2101" fmla="*/ 10913577 w 12248682"/>
              <a:gd name="connsiteY2101" fmla="*/ 195185 h 823468"/>
              <a:gd name="connsiteX2102" fmla="*/ 10873155 w 12248682"/>
              <a:gd name="connsiteY2102" fmla="*/ 235607 h 823468"/>
              <a:gd name="connsiteX2103" fmla="*/ 10832732 w 12248682"/>
              <a:gd name="connsiteY2103" fmla="*/ 195185 h 823468"/>
              <a:gd name="connsiteX2104" fmla="*/ 10873155 w 12248682"/>
              <a:gd name="connsiteY2104" fmla="*/ 154761 h 823468"/>
              <a:gd name="connsiteX2105" fmla="*/ 10060082 w 12248682"/>
              <a:gd name="connsiteY2105" fmla="*/ 154761 h 823468"/>
              <a:gd name="connsiteX2106" fmla="*/ 10100504 w 12248682"/>
              <a:gd name="connsiteY2106" fmla="*/ 195185 h 823468"/>
              <a:gd name="connsiteX2107" fmla="*/ 10060082 w 12248682"/>
              <a:gd name="connsiteY2107" fmla="*/ 235607 h 823468"/>
              <a:gd name="connsiteX2108" fmla="*/ 10019658 w 12248682"/>
              <a:gd name="connsiteY2108" fmla="*/ 195185 h 823468"/>
              <a:gd name="connsiteX2109" fmla="*/ 10060082 w 12248682"/>
              <a:gd name="connsiteY2109" fmla="*/ 154761 h 823468"/>
              <a:gd name="connsiteX2110" fmla="*/ 9653545 w 12248682"/>
              <a:gd name="connsiteY2110" fmla="*/ 154761 h 823468"/>
              <a:gd name="connsiteX2111" fmla="*/ 9693967 w 12248682"/>
              <a:gd name="connsiteY2111" fmla="*/ 195185 h 823468"/>
              <a:gd name="connsiteX2112" fmla="*/ 9653545 w 12248682"/>
              <a:gd name="connsiteY2112" fmla="*/ 235607 h 823468"/>
              <a:gd name="connsiteX2113" fmla="*/ 9613122 w 12248682"/>
              <a:gd name="connsiteY2113" fmla="*/ 195185 h 823468"/>
              <a:gd name="connsiteX2114" fmla="*/ 9653545 w 12248682"/>
              <a:gd name="connsiteY2114" fmla="*/ 154761 h 823468"/>
              <a:gd name="connsiteX2115" fmla="*/ 8841022 w 12248682"/>
              <a:gd name="connsiteY2115" fmla="*/ 154761 h 823468"/>
              <a:gd name="connsiteX2116" fmla="*/ 8881444 w 12248682"/>
              <a:gd name="connsiteY2116" fmla="*/ 195185 h 823468"/>
              <a:gd name="connsiteX2117" fmla="*/ 8841022 w 12248682"/>
              <a:gd name="connsiteY2117" fmla="*/ 235607 h 823468"/>
              <a:gd name="connsiteX2118" fmla="*/ 8800599 w 12248682"/>
              <a:gd name="connsiteY2118" fmla="*/ 195185 h 823468"/>
              <a:gd name="connsiteX2119" fmla="*/ 8841022 w 12248682"/>
              <a:gd name="connsiteY2119" fmla="*/ 154761 h 823468"/>
              <a:gd name="connsiteX2120" fmla="*/ 8570767 w 12248682"/>
              <a:gd name="connsiteY2120" fmla="*/ 154761 h 823468"/>
              <a:gd name="connsiteX2121" fmla="*/ 8611190 w 12248682"/>
              <a:gd name="connsiteY2121" fmla="*/ 195185 h 823468"/>
              <a:gd name="connsiteX2122" fmla="*/ 8570767 w 12248682"/>
              <a:gd name="connsiteY2122" fmla="*/ 235607 h 823468"/>
              <a:gd name="connsiteX2123" fmla="*/ 8530344 w 12248682"/>
              <a:gd name="connsiteY2123" fmla="*/ 195185 h 823468"/>
              <a:gd name="connsiteX2124" fmla="*/ 8570767 w 12248682"/>
              <a:gd name="connsiteY2124" fmla="*/ 154761 h 823468"/>
              <a:gd name="connsiteX2125" fmla="*/ 6538083 w 12248682"/>
              <a:gd name="connsiteY2125" fmla="*/ 154761 h 823468"/>
              <a:gd name="connsiteX2126" fmla="*/ 6578507 w 12248682"/>
              <a:gd name="connsiteY2126" fmla="*/ 195185 h 823468"/>
              <a:gd name="connsiteX2127" fmla="*/ 6538083 w 12248682"/>
              <a:gd name="connsiteY2127" fmla="*/ 235607 h 823468"/>
              <a:gd name="connsiteX2128" fmla="*/ 6497661 w 12248682"/>
              <a:gd name="connsiteY2128" fmla="*/ 195185 h 823468"/>
              <a:gd name="connsiteX2129" fmla="*/ 6538083 w 12248682"/>
              <a:gd name="connsiteY2129" fmla="*/ 154761 h 823468"/>
              <a:gd name="connsiteX2130" fmla="*/ 6267830 w 12248682"/>
              <a:gd name="connsiteY2130" fmla="*/ 154761 h 823468"/>
              <a:gd name="connsiteX2131" fmla="*/ 6308251 w 12248682"/>
              <a:gd name="connsiteY2131" fmla="*/ 195185 h 823468"/>
              <a:gd name="connsiteX2132" fmla="*/ 6267830 w 12248682"/>
              <a:gd name="connsiteY2132" fmla="*/ 235607 h 823468"/>
              <a:gd name="connsiteX2133" fmla="*/ 6227406 w 12248682"/>
              <a:gd name="connsiteY2133" fmla="*/ 195185 h 823468"/>
              <a:gd name="connsiteX2134" fmla="*/ 6267830 w 12248682"/>
              <a:gd name="connsiteY2134" fmla="*/ 154761 h 823468"/>
              <a:gd name="connsiteX2135" fmla="*/ 5454756 w 12248682"/>
              <a:gd name="connsiteY2135" fmla="*/ 154761 h 823468"/>
              <a:gd name="connsiteX2136" fmla="*/ 5495178 w 12248682"/>
              <a:gd name="connsiteY2136" fmla="*/ 195185 h 823468"/>
              <a:gd name="connsiteX2137" fmla="*/ 5454756 w 12248682"/>
              <a:gd name="connsiteY2137" fmla="*/ 235607 h 823468"/>
              <a:gd name="connsiteX2138" fmla="*/ 5414332 w 12248682"/>
              <a:gd name="connsiteY2138" fmla="*/ 195185 h 823468"/>
              <a:gd name="connsiteX2139" fmla="*/ 5454756 w 12248682"/>
              <a:gd name="connsiteY2139" fmla="*/ 154761 h 823468"/>
              <a:gd name="connsiteX2140" fmla="*/ 5048218 w 12248682"/>
              <a:gd name="connsiteY2140" fmla="*/ 154761 h 823468"/>
              <a:gd name="connsiteX2141" fmla="*/ 5088641 w 12248682"/>
              <a:gd name="connsiteY2141" fmla="*/ 195185 h 823468"/>
              <a:gd name="connsiteX2142" fmla="*/ 5048218 w 12248682"/>
              <a:gd name="connsiteY2142" fmla="*/ 235607 h 823468"/>
              <a:gd name="connsiteX2143" fmla="*/ 5007796 w 12248682"/>
              <a:gd name="connsiteY2143" fmla="*/ 195185 h 823468"/>
              <a:gd name="connsiteX2144" fmla="*/ 5048218 w 12248682"/>
              <a:gd name="connsiteY2144" fmla="*/ 154761 h 823468"/>
              <a:gd name="connsiteX2145" fmla="*/ 4228216 w 12248682"/>
              <a:gd name="connsiteY2145" fmla="*/ 154761 h 823468"/>
              <a:gd name="connsiteX2146" fmla="*/ 4268637 w 12248682"/>
              <a:gd name="connsiteY2146" fmla="*/ 195185 h 823468"/>
              <a:gd name="connsiteX2147" fmla="*/ 4228216 w 12248682"/>
              <a:gd name="connsiteY2147" fmla="*/ 235607 h 823468"/>
              <a:gd name="connsiteX2148" fmla="*/ 4187792 w 12248682"/>
              <a:gd name="connsiteY2148" fmla="*/ 195185 h 823468"/>
              <a:gd name="connsiteX2149" fmla="*/ 4228216 w 12248682"/>
              <a:gd name="connsiteY2149" fmla="*/ 154761 h 823468"/>
              <a:gd name="connsiteX2150" fmla="*/ 3957960 w 12248682"/>
              <a:gd name="connsiteY2150" fmla="*/ 154761 h 823468"/>
              <a:gd name="connsiteX2151" fmla="*/ 3998382 w 12248682"/>
              <a:gd name="connsiteY2151" fmla="*/ 195185 h 823468"/>
              <a:gd name="connsiteX2152" fmla="*/ 3957960 w 12248682"/>
              <a:gd name="connsiteY2152" fmla="*/ 235607 h 823468"/>
              <a:gd name="connsiteX2153" fmla="*/ 3917537 w 12248682"/>
              <a:gd name="connsiteY2153" fmla="*/ 195185 h 823468"/>
              <a:gd name="connsiteX2154" fmla="*/ 3957960 w 12248682"/>
              <a:gd name="connsiteY2154" fmla="*/ 154761 h 823468"/>
              <a:gd name="connsiteX2155" fmla="*/ 1925276 w 12248682"/>
              <a:gd name="connsiteY2155" fmla="*/ 154761 h 823468"/>
              <a:gd name="connsiteX2156" fmla="*/ 1965698 w 12248682"/>
              <a:gd name="connsiteY2156" fmla="*/ 195185 h 823468"/>
              <a:gd name="connsiteX2157" fmla="*/ 1925276 w 12248682"/>
              <a:gd name="connsiteY2157" fmla="*/ 235607 h 823468"/>
              <a:gd name="connsiteX2158" fmla="*/ 1884853 w 12248682"/>
              <a:gd name="connsiteY2158" fmla="*/ 195185 h 823468"/>
              <a:gd name="connsiteX2159" fmla="*/ 1925276 w 12248682"/>
              <a:gd name="connsiteY2159" fmla="*/ 154761 h 823468"/>
              <a:gd name="connsiteX2160" fmla="*/ 1655022 w 12248682"/>
              <a:gd name="connsiteY2160" fmla="*/ 154761 h 823468"/>
              <a:gd name="connsiteX2161" fmla="*/ 1695444 w 12248682"/>
              <a:gd name="connsiteY2161" fmla="*/ 195185 h 823468"/>
              <a:gd name="connsiteX2162" fmla="*/ 1655022 w 12248682"/>
              <a:gd name="connsiteY2162" fmla="*/ 235607 h 823468"/>
              <a:gd name="connsiteX2163" fmla="*/ 1614598 w 12248682"/>
              <a:gd name="connsiteY2163" fmla="*/ 195185 h 823468"/>
              <a:gd name="connsiteX2164" fmla="*/ 1655022 w 12248682"/>
              <a:gd name="connsiteY2164" fmla="*/ 154761 h 823468"/>
              <a:gd name="connsiteX2165" fmla="*/ 841948 w 12248682"/>
              <a:gd name="connsiteY2165" fmla="*/ 154761 h 823468"/>
              <a:gd name="connsiteX2166" fmla="*/ 882370 w 12248682"/>
              <a:gd name="connsiteY2166" fmla="*/ 195185 h 823468"/>
              <a:gd name="connsiteX2167" fmla="*/ 841948 w 12248682"/>
              <a:gd name="connsiteY2167" fmla="*/ 235607 h 823468"/>
              <a:gd name="connsiteX2168" fmla="*/ 801525 w 12248682"/>
              <a:gd name="connsiteY2168" fmla="*/ 195185 h 823468"/>
              <a:gd name="connsiteX2169" fmla="*/ 841948 w 12248682"/>
              <a:gd name="connsiteY2169" fmla="*/ 154761 h 823468"/>
              <a:gd name="connsiteX2170" fmla="*/ 435411 w 12248682"/>
              <a:gd name="connsiteY2170" fmla="*/ 154761 h 823468"/>
              <a:gd name="connsiteX2171" fmla="*/ 475833 w 12248682"/>
              <a:gd name="connsiteY2171" fmla="*/ 195185 h 823468"/>
              <a:gd name="connsiteX2172" fmla="*/ 435411 w 12248682"/>
              <a:gd name="connsiteY2172" fmla="*/ 235607 h 823468"/>
              <a:gd name="connsiteX2173" fmla="*/ 394988 w 12248682"/>
              <a:gd name="connsiteY2173" fmla="*/ 195185 h 823468"/>
              <a:gd name="connsiteX2174" fmla="*/ 435411 w 12248682"/>
              <a:gd name="connsiteY2174" fmla="*/ 154761 h 823468"/>
              <a:gd name="connsiteX2175" fmla="*/ 11008282 w 12248682"/>
              <a:gd name="connsiteY2175" fmla="*/ 144368 h 823468"/>
              <a:gd name="connsiteX2176" fmla="*/ 11059099 w 12248682"/>
              <a:gd name="connsiteY2176" fmla="*/ 195185 h 823468"/>
              <a:gd name="connsiteX2177" fmla="*/ 11008282 w 12248682"/>
              <a:gd name="connsiteY2177" fmla="*/ 246002 h 823468"/>
              <a:gd name="connsiteX2178" fmla="*/ 10957465 w 12248682"/>
              <a:gd name="connsiteY2178" fmla="*/ 195185 h 823468"/>
              <a:gd name="connsiteX2179" fmla="*/ 11008282 w 12248682"/>
              <a:gd name="connsiteY2179" fmla="*/ 144368 h 823468"/>
              <a:gd name="connsiteX2180" fmla="*/ 9924954 w 12248682"/>
              <a:gd name="connsiteY2180" fmla="*/ 144368 h 823468"/>
              <a:gd name="connsiteX2181" fmla="*/ 9975771 w 12248682"/>
              <a:gd name="connsiteY2181" fmla="*/ 195185 h 823468"/>
              <a:gd name="connsiteX2182" fmla="*/ 9924954 w 12248682"/>
              <a:gd name="connsiteY2182" fmla="*/ 246002 h 823468"/>
              <a:gd name="connsiteX2183" fmla="*/ 9874137 w 12248682"/>
              <a:gd name="connsiteY2183" fmla="*/ 195185 h 823468"/>
              <a:gd name="connsiteX2184" fmla="*/ 9924954 w 12248682"/>
              <a:gd name="connsiteY2184" fmla="*/ 144368 h 823468"/>
              <a:gd name="connsiteX2185" fmla="*/ 9788672 w 12248682"/>
              <a:gd name="connsiteY2185" fmla="*/ 144368 h 823468"/>
              <a:gd name="connsiteX2186" fmla="*/ 9839489 w 12248682"/>
              <a:gd name="connsiteY2186" fmla="*/ 195185 h 823468"/>
              <a:gd name="connsiteX2187" fmla="*/ 9788672 w 12248682"/>
              <a:gd name="connsiteY2187" fmla="*/ 246002 h 823468"/>
              <a:gd name="connsiteX2188" fmla="*/ 9737854 w 12248682"/>
              <a:gd name="connsiteY2188" fmla="*/ 195185 h 823468"/>
              <a:gd name="connsiteX2189" fmla="*/ 9788672 w 12248682"/>
              <a:gd name="connsiteY2189" fmla="*/ 144368 h 823468"/>
              <a:gd name="connsiteX2190" fmla="*/ 8705894 w 12248682"/>
              <a:gd name="connsiteY2190" fmla="*/ 144368 h 823468"/>
              <a:gd name="connsiteX2191" fmla="*/ 8756711 w 12248682"/>
              <a:gd name="connsiteY2191" fmla="*/ 195185 h 823468"/>
              <a:gd name="connsiteX2192" fmla="*/ 8705894 w 12248682"/>
              <a:gd name="connsiteY2192" fmla="*/ 246002 h 823468"/>
              <a:gd name="connsiteX2193" fmla="*/ 8655077 w 12248682"/>
              <a:gd name="connsiteY2193" fmla="*/ 195185 h 823468"/>
              <a:gd name="connsiteX2194" fmla="*/ 8705894 w 12248682"/>
              <a:gd name="connsiteY2194" fmla="*/ 144368 h 823468"/>
              <a:gd name="connsiteX2195" fmla="*/ 6402956 w 12248682"/>
              <a:gd name="connsiteY2195" fmla="*/ 144368 h 823468"/>
              <a:gd name="connsiteX2196" fmla="*/ 6453773 w 12248682"/>
              <a:gd name="connsiteY2196" fmla="*/ 195185 h 823468"/>
              <a:gd name="connsiteX2197" fmla="*/ 6402956 w 12248682"/>
              <a:gd name="connsiteY2197" fmla="*/ 246002 h 823468"/>
              <a:gd name="connsiteX2198" fmla="*/ 6352139 w 12248682"/>
              <a:gd name="connsiteY2198" fmla="*/ 195185 h 823468"/>
              <a:gd name="connsiteX2199" fmla="*/ 6402956 w 12248682"/>
              <a:gd name="connsiteY2199" fmla="*/ 144368 h 823468"/>
              <a:gd name="connsiteX2200" fmla="*/ 5319627 w 12248682"/>
              <a:gd name="connsiteY2200" fmla="*/ 144368 h 823468"/>
              <a:gd name="connsiteX2201" fmla="*/ 5370444 w 12248682"/>
              <a:gd name="connsiteY2201" fmla="*/ 195185 h 823468"/>
              <a:gd name="connsiteX2202" fmla="*/ 5319627 w 12248682"/>
              <a:gd name="connsiteY2202" fmla="*/ 246002 h 823468"/>
              <a:gd name="connsiteX2203" fmla="*/ 5268810 w 12248682"/>
              <a:gd name="connsiteY2203" fmla="*/ 195185 h 823468"/>
              <a:gd name="connsiteX2204" fmla="*/ 5319627 w 12248682"/>
              <a:gd name="connsiteY2204" fmla="*/ 144368 h 823468"/>
              <a:gd name="connsiteX2205" fmla="*/ 5183345 w 12248682"/>
              <a:gd name="connsiteY2205" fmla="*/ 144368 h 823468"/>
              <a:gd name="connsiteX2206" fmla="*/ 5234162 w 12248682"/>
              <a:gd name="connsiteY2206" fmla="*/ 195185 h 823468"/>
              <a:gd name="connsiteX2207" fmla="*/ 5183345 w 12248682"/>
              <a:gd name="connsiteY2207" fmla="*/ 246002 h 823468"/>
              <a:gd name="connsiteX2208" fmla="*/ 5132528 w 12248682"/>
              <a:gd name="connsiteY2208" fmla="*/ 195185 h 823468"/>
              <a:gd name="connsiteX2209" fmla="*/ 5183345 w 12248682"/>
              <a:gd name="connsiteY2209" fmla="*/ 144368 h 823468"/>
              <a:gd name="connsiteX2210" fmla="*/ 4093087 w 12248682"/>
              <a:gd name="connsiteY2210" fmla="*/ 144368 h 823468"/>
              <a:gd name="connsiteX2211" fmla="*/ 4143904 w 12248682"/>
              <a:gd name="connsiteY2211" fmla="*/ 195185 h 823468"/>
              <a:gd name="connsiteX2212" fmla="*/ 4093087 w 12248682"/>
              <a:gd name="connsiteY2212" fmla="*/ 246002 h 823468"/>
              <a:gd name="connsiteX2213" fmla="*/ 4042270 w 12248682"/>
              <a:gd name="connsiteY2213" fmla="*/ 195185 h 823468"/>
              <a:gd name="connsiteX2214" fmla="*/ 4093087 w 12248682"/>
              <a:gd name="connsiteY2214" fmla="*/ 144368 h 823468"/>
              <a:gd name="connsiteX2215" fmla="*/ 1790148 w 12248682"/>
              <a:gd name="connsiteY2215" fmla="*/ 144368 h 823468"/>
              <a:gd name="connsiteX2216" fmla="*/ 1840965 w 12248682"/>
              <a:gd name="connsiteY2216" fmla="*/ 195185 h 823468"/>
              <a:gd name="connsiteX2217" fmla="*/ 1790148 w 12248682"/>
              <a:gd name="connsiteY2217" fmla="*/ 246002 h 823468"/>
              <a:gd name="connsiteX2218" fmla="*/ 1739331 w 12248682"/>
              <a:gd name="connsiteY2218" fmla="*/ 195185 h 823468"/>
              <a:gd name="connsiteX2219" fmla="*/ 1790148 w 12248682"/>
              <a:gd name="connsiteY2219" fmla="*/ 144368 h 823468"/>
              <a:gd name="connsiteX2220" fmla="*/ 706820 w 12248682"/>
              <a:gd name="connsiteY2220" fmla="*/ 144368 h 823468"/>
              <a:gd name="connsiteX2221" fmla="*/ 757637 w 12248682"/>
              <a:gd name="connsiteY2221" fmla="*/ 195185 h 823468"/>
              <a:gd name="connsiteX2222" fmla="*/ 706820 w 12248682"/>
              <a:gd name="connsiteY2222" fmla="*/ 246002 h 823468"/>
              <a:gd name="connsiteX2223" fmla="*/ 656003 w 12248682"/>
              <a:gd name="connsiteY2223" fmla="*/ 195185 h 823468"/>
              <a:gd name="connsiteX2224" fmla="*/ 706820 w 12248682"/>
              <a:gd name="connsiteY2224" fmla="*/ 144368 h 823468"/>
              <a:gd name="connsiteX2225" fmla="*/ 570538 w 12248682"/>
              <a:gd name="connsiteY2225" fmla="*/ 144368 h 823468"/>
              <a:gd name="connsiteX2226" fmla="*/ 621355 w 12248682"/>
              <a:gd name="connsiteY2226" fmla="*/ 195185 h 823468"/>
              <a:gd name="connsiteX2227" fmla="*/ 570538 w 12248682"/>
              <a:gd name="connsiteY2227" fmla="*/ 246002 h 823468"/>
              <a:gd name="connsiteX2228" fmla="*/ 519721 w 12248682"/>
              <a:gd name="connsiteY2228" fmla="*/ 195185 h 823468"/>
              <a:gd name="connsiteX2229" fmla="*/ 570538 w 12248682"/>
              <a:gd name="connsiteY2229" fmla="*/ 144368 h 823468"/>
              <a:gd name="connsiteX2230" fmla="*/ 12180541 w 12248682"/>
              <a:gd name="connsiteY2230" fmla="*/ 31184 h 823468"/>
              <a:gd name="connsiteX2231" fmla="*/ 12201330 w 12248682"/>
              <a:gd name="connsiteY2231" fmla="*/ 51973 h 823468"/>
              <a:gd name="connsiteX2232" fmla="*/ 12180541 w 12248682"/>
              <a:gd name="connsiteY2232" fmla="*/ 72762 h 823468"/>
              <a:gd name="connsiteX2233" fmla="*/ 12159752 w 12248682"/>
              <a:gd name="connsiteY2233" fmla="*/ 51973 h 823468"/>
              <a:gd name="connsiteX2234" fmla="*/ 12180541 w 12248682"/>
              <a:gd name="connsiteY2234" fmla="*/ 31184 h 823468"/>
              <a:gd name="connsiteX2235" fmla="*/ 12040793 w 12248682"/>
              <a:gd name="connsiteY2235" fmla="*/ 31184 h 823468"/>
              <a:gd name="connsiteX2236" fmla="*/ 12061582 w 12248682"/>
              <a:gd name="connsiteY2236" fmla="*/ 51973 h 823468"/>
              <a:gd name="connsiteX2237" fmla="*/ 12040793 w 12248682"/>
              <a:gd name="connsiteY2237" fmla="*/ 72762 h 823468"/>
              <a:gd name="connsiteX2238" fmla="*/ 12020004 w 12248682"/>
              <a:gd name="connsiteY2238" fmla="*/ 51973 h 823468"/>
              <a:gd name="connsiteX2239" fmla="*/ 12040793 w 12248682"/>
              <a:gd name="connsiteY2239" fmla="*/ 31184 h 823468"/>
              <a:gd name="connsiteX2240" fmla="*/ 11901047 w 12248682"/>
              <a:gd name="connsiteY2240" fmla="*/ 31184 h 823468"/>
              <a:gd name="connsiteX2241" fmla="*/ 11921836 w 12248682"/>
              <a:gd name="connsiteY2241" fmla="*/ 51973 h 823468"/>
              <a:gd name="connsiteX2242" fmla="*/ 11901047 w 12248682"/>
              <a:gd name="connsiteY2242" fmla="*/ 72762 h 823468"/>
              <a:gd name="connsiteX2243" fmla="*/ 11880258 w 12248682"/>
              <a:gd name="connsiteY2243" fmla="*/ 51973 h 823468"/>
              <a:gd name="connsiteX2244" fmla="*/ 11901047 w 12248682"/>
              <a:gd name="connsiteY2244" fmla="*/ 31184 h 823468"/>
              <a:gd name="connsiteX2245" fmla="*/ 11761299 w 12248682"/>
              <a:gd name="connsiteY2245" fmla="*/ 31184 h 823468"/>
              <a:gd name="connsiteX2246" fmla="*/ 11782088 w 12248682"/>
              <a:gd name="connsiteY2246" fmla="*/ 51973 h 823468"/>
              <a:gd name="connsiteX2247" fmla="*/ 11761299 w 12248682"/>
              <a:gd name="connsiteY2247" fmla="*/ 72762 h 823468"/>
              <a:gd name="connsiteX2248" fmla="*/ 11740510 w 12248682"/>
              <a:gd name="connsiteY2248" fmla="*/ 51973 h 823468"/>
              <a:gd name="connsiteX2249" fmla="*/ 11761299 w 12248682"/>
              <a:gd name="connsiteY2249" fmla="*/ 31184 h 823468"/>
              <a:gd name="connsiteX2250" fmla="*/ 11621553 w 12248682"/>
              <a:gd name="connsiteY2250" fmla="*/ 31184 h 823468"/>
              <a:gd name="connsiteX2251" fmla="*/ 11642342 w 12248682"/>
              <a:gd name="connsiteY2251" fmla="*/ 51973 h 823468"/>
              <a:gd name="connsiteX2252" fmla="*/ 11621553 w 12248682"/>
              <a:gd name="connsiteY2252" fmla="*/ 72762 h 823468"/>
              <a:gd name="connsiteX2253" fmla="*/ 11600764 w 12248682"/>
              <a:gd name="connsiteY2253" fmla="*/ 51973 h 823468"/>
              <a:gd name="connsiteX2254" fmla="*/ 11621553 w 12248682"/>
              <a:gd name="connsiteY2254" fmla="*/ 31184 h 823468"/>
              <a:gd name="connsiteX2255" fmla="*/ 11481805 w 12248682"/>
              <a:gd name="connsiteY2255" fmla="*/ 31184 h 823468"/>
              <a:gd name="connsiteX2256" fmla="*/ 11502594 w 12248682"/>
              <a:gd name="connsiteY2256" fmla="*/ 51973 h 823468"/>
              <a:gd name="connsiteX2257" fmla="*/ 11481805 w 12248682"/>
              <a:gd name="connsiteY2257" fmla="*/ 72762 h 823468"/>
              <a:gd name="connsiteX2258" fmla="*/ 11461016 w 12248682"/>
              <a:gd name="connsiteY2258" fmla="*/ 51973 h 823468"/>
              <a:gd name="connsiteX2259" fmla="*/ 11481805 w 12248682"/>
              <a:gd name="connsiteY2259" fmla="*/ 31184 h 823468"/>
              <a:gd name="connsiteX2260" fmla="*/ 10644478 w 12248682"/>
              <a:gd name="connsiteY2260" fmla="*/ 31184 h 823468"/>
              <a:gd name="connsiteX2261" fmla="*/ 10665267 w 12248682"/>
              <a:gd name="connsiteY2261" fmla="*/ 51973 h 823468"/>
              <a:gd name="connsiteX2262" fmla="*/ 10644478 w 12248682"/>
              <a:gd name="connsiteY2262" fmla="*/ 72762 h 823468"/>
              <a:gd name="connsiteX2263" fmla="*/ 10623690 w 12248682"/>
              <a:gd name="connsiteY2263" fmla="*/ 51973 h 823468"/>
              <a:gd name="connsiteX2264" fmla="*/ 10644478 w 12248682"/>
              <a:gd name="connsiteY2264" fmla="*/ 31184 h 823468"/>
              <a:gd name="connsiteX2265" fmla="*/ 10504731 w 12248682"/>
              <a:gd name="connsiteY2265" fmla="*/ 31184 h 823468"/>
              <a:gd name="connsiteX2266" fmla="*/ 10525520 w 12248682"/>
              <a:gd name="connsiteY2266" fmla="*/ 51973 h 823468"/>
              <a:gd name="connsiteX2267" fmla="*/ 10504731 w 12248682"/>
              <a:gd name="connsiteY2267" fmla="*/ 72762 h 823468"/>
              <a:gd name="connsiteX2268" fmla="*/ 10483942 w 12248682"/>
              <a:gd name="connsiteY2268" fmla="*/ 51973 h 823468"/>
              <a:gd name="connsiteX2269" fmla="*/ 10504731 w 12248682"/>
              <a:gd name="connsiteY2269" fmla="*/ 31184 h 823468"/>
              <a:gd name="connsiteX2270" fmla="*/ 10364984 w 12248682"/>
              <a:gd name="connsiteY2270" fmla="*/ 31184 h 823468"/>
              <a:gd name="connsiteX2271" fmla="*/ 10385773 w 12248682"/>
              <a:gd name="connsiteY2271" fmla="*/ 51973 h 823468"/>
              <a:gd name="connsiteX2272" fmla="*/ 10364984 w 12248682"/>
              <a:gd name="connsiteY2272" fmla="*/ 72762 h 823468"/>
              <a:gd name="connsiteX2273" fmla="*/ 10344196 w 12248682"/>
              <a:gd name="connsiteY2273" fmla="*/ 51973 h 823468"/>
              <a:gd name="connsiteX2274" fmla="*/ 10364984 w 12248682"/>
              <a:gd name="connsiteY2274" fmla="*/ 31184 h 823468"/>
              <a:gd name="connsiteX2275" fmla="*/ 7854709 w 12248682"/>
              <a:gd name="connsiteY2275" fmla="*/ 31184 h 823468"/>
              <a:gd name="connsiteX2276" fmla="*/ 7875498 w 12248682"/>
              <a:gd name="connsiteY2276" fmla="*/ 51973 h 823468"/>
              <a:gd name="connsiteX2277" fmla="*/ 7854709 w 12248682"/>
              <a:gd name="connsiteY2277" fmla="*/ 72762 h 823468"/>
              <a:gd name="connsiteX2278" fmla="*/ 7833921 w 12248682"/>
              <a:gd name="connsiteY2278" fmla="*/ 51973 h 823468"/>
              <a:gd name="connsiteX2279" fmla="*/ 7854709 w 12248682"/>
              <a:gd name="connsiteY2279" fmla="*/ 31184 h 823468"/>
              <a:gd name="connsiteX2280" fmla="*/ 7714960 w 12248682"/>
              <a:gd name="connsiteY2280" fmla="*/ 31184 h 823468"/>
              <a:gd name="connsiteX2281" fmla="*/ 7735749 w 12248682"/>
              <a:gd name="connsiteY2281" fmla="*/ 51973 h 823468"/>
              <a:gd name="connsiteX2282" fmla="*/ 7714960 w 12248682"/>
              <a:gd name="connsiteY2282" fmla="*/ 72762 h 823468"/>
              <a:gd name="connsiteX2283" fmla="*/ 7694172 w 12248682"/>
              <a:gd name="connsiteY2283" fmla="*/ 51973 h 823468"/>
              <a:gd name="connsiteX2284" fmla="*/ 7714960 w 12248682"/>
              <a:gd name="connsiteY2284" fmla="*/ 31184 h 823468"/>
              <a:gd name="connsiteX2285" fmla="*/ 7575214 w 12248682"/>
              <a:gd name="connsiteY2285" fmla="*/ 31184 h 823468"/>
              <a:gd name="connsiteX2286" fmla="*/ 7596004 w 12248682"/>
              <a:gd name="connsiteY2286" fmla="*/ 51973 h 823468"/>
              <a:gd name="connsiteX2287" fmla="*/ 7575214 w 12248682"/>
              <a:gd name="connsiteY2287" fmla="*/ 72762 h 823468"/>
              <a:gd name="connsiteX2288" fmla="*/ 7554427 w 12248682"/>
              <a:gd name="connsiteY2288" fmla="*/ 51973 h 823468"/>
              <a:gd name="connsiteX2289" fmla="*/ 7575214 w 12248682"/>
              <a:gd name="connsiteY2289" fmla="*/ 31184 h 823468"/>
              <a:gd name="connsiteX2290" fmla="*/ 7435467 w 12248682"/>
              <a:gd name="connsiteY2290" fmla="*/ 31184 h 823468"/>
              <a:gd name="connsiteX2291" fmla="*/ 7456257 w 12248682"/>
              <a:gd name="connsiteY2291" fmla="*/ 51973 h 823468"/>
              <a:gd name="connsiteX2292" fmla="*/ 7435467 w 12248682"/>
              <a:gd name="connsiteY2292" fmla="*/ 72762 h 823468"/>
              <a:gd name="connsiteX2293" fmla="*/ 7414678 w 12248682"/>
              <a:gd name="connsiteY2293" fmla="*/ 51973 h 823468"/>
              <a:gd name="connsiteX2294" fmla="*/ 7435467 w 12248682"/>
              <a:gd name="connsiteY2294" fmla="*/ 31184 h 823468"/>
              <a:gd name="connsiteX2295" fmla="*/ 7295720 w 12248682"/>
              <a:gd name="connsiteY2295" fmla="*/ 31184 h 823468"/>
              <a:gd name="connsiteX2296" fmla="*/ 7316509 w 12248682"/>
              <a:gd name="connsiteY2296" fmla="*/ 51973 h 823468"/>
              <a:gd name="connsiteX2297" fmla="*/ 7295720 w 12248682"/>
              <a:gd name="connsiteY2297" fmla="*/ 72762 h 823468"/>
              <a:gd name="connsiteX2298" fmla="*/ 7274932 w 12248682"/>
              <a:gd name="connsiteY2298" fmla="*/ 51973 h 823468"/>
              <a:gd name="connsiteX2299" fmla="*/ 7295720 w 12248682"/>
              <a:gd name="connsiteY2299" fmla="*/ 31184 h 823468"/>
              <a:gd name="connsiteX2300" fmla="*/ 7155974 w 12248682"/>
              <a:gd name="connsiteY2300" fmla="*/ 31184 h 823468"/>
              <a:gd name="connsiteX2301" fmla="*/ 7176762 w 12248682"/>
              <a:gd name="connsiteY2301" fmla="*/ 51973 h 823468"/>
              <a:gd name="connsiteX2302" fmla="*/ 7155974 w 12248682"/>
              <a:gd name="connsiteY2302" fmla="*/ 72762 h 823468"/>
              <a:gd name="connsiteX2303" fmla="*/ 7135183 w 12248682"/>
              <a:gd name="connsiteY2303" fmla="*/ 51973 h 823468"/>
              <a:gd name="connsiteX2304" fmla="*/ 7155974 w 12248682"/>
              <a:gd name="connsiteY2304" fmla="*/ 31184 h 823468"/>
              <a:gd name="connsiteX2305" fmla="*/ 7016227 w 12248682"/>
              <a:gd name="connsiteY2305" fmla="*/ 31184 h 823468"/>
              <a:gd name="connsiteX2306" fmla="*/ 7037016 w 12248682"/>
              <a:gd name="connsiteY2306" fmla="*/ 51973 h 823468"/>
              <a:gd name="connsiteX2307" fmla="*/ 7016227 w 12248682"/>
              <a:gd name="connsiteY2307" fmla="*/ 72762 h 823468"/>
              <a:gd name="connsiteX2308" fmla="*/ 6995438 w 12248682"/>
              <a:gd name="connsiteY2308" fmla="*/ 51973 h 823468"/>
              <a:gd name="connsiteX2309" fmla="*/ 7016227 w 12248682"/>
              <a:gd name="connsiteY2309" fmla="*/ 31184 h 823468"/>
              <a:gd name="connsiteX2310" fmla="*/ 6877634 w 12248682"/>
              <a:gd name="connsiteY2310" fmla="*/ 31184 h 823468"/>
              <a:gd name="connsiteX2311" fmla="*/ 6898424 w 12248682"/>
              <a:gd name="connsiteY2311" fmla="*/ 51973 h 823468"/>
              <a:gd name="connsiteX2312" fmla="*/ 6877634 w 12248682"/>
              <a:gd name="connsiteY2312" fmla="*/ 72762 h 823468"/>
              <a:gd name="connsiteX2313" fmla="*/ 6856845 w 12248682"/>
              <a:gd name="connsiteY2313" fmla="*/ 51973 h 823468"/>
              <a:gd name="connsiteX2314" fmla="*/ 6877634 w 12248682"/>
              <a:gd name="connsiteY2314" fmla="*/ 31184 h 823468"/>
              <a:gd name="connsiteX2315" fmla="*/ 6039151 w 12248682"/>
              <a:gd name="connsiteY2315" fmla="*/ 31184 h 823468"/>
              <a:gd name="connsiteX2316" fmla="*/ 6059942 w 12248682"/>
              <a:gd name="connsiteY2316" fmla="*/ 51973 h 823468"/>
              <a:gd name="connsiteX2317" fmla="*/ 6039151 w 12248682"/>
              <a:gd name="connsiteY2317" fmla="*/ 72762 h 823468"/>
              <a:gd name="connsiteX2318" fmla="*/ 6018363 w 12248682"/>
              <a:gd name="connsiteY2318" fmla="*/ 51973 h 823468"/>
              <a:gd name="connsiteX2319" fmla="*/ 6039151 w 12248682"/>
              <a:gd name="connsiteY2319" fmla="*/ 31184 h 823468"/>
              <a:gd name="connsiteX2320" fmla="*/ 5899405 w 12248682"/>
              <a:gd name="connsiteY2320" fmla="*/ 31184 h 823468"/>
              <a:gd name="connsiteX2321" fmla="*/ 5920193 w 12248682"/>
              <a:gd name="connsiteY2321" fmla="*/ 51973 h 823468"/>
              <a:gd name="connsiteX2322" fmla="*/ 5899405 w 12248682"/>
              <a:gd name="connsiteY2322" fmla="*/ 72762 h 823468"/>
              <a:gd name="connsiteX2323" fmla="*/ 5878616 w 12248682"/>
              <a:gd name="connsiteY2323" fmla="*/ 51973 h 823468"/>
              <a:gd name="connsiteX2324" fmla="*/ 5899405 w 12248682"/>
              <a:gd name="connsiteY2324" fmla="*/ 31184 h 823468"/>
              <a:gd name="connsiteX2325" fmla="*/ 5759658 w 12248682"/>
              <a:gd name="connsiteY2325" fmla="*/ 31184 h 823468"/>
              <a:gd name="connsiteX2326" fmla="*/ 5780447 w 12248682"/>
              <a:gd name="connsiteY2326" fmla="*/ 51973 h 823468"/>
              <a:gd name="connsiteX2327" fmla="*/ 5759658 w 12248682"/>
              <a:gd name="connsiteY2327" fmla="*/ 72762 h 823468"/>
              <a:gd name="connsiteX2328" fmla="*/ 5738869 w 12248682"/>
              <a:gd name="connsiteY2328" fmla="*/ 51973 h 823468"/>
              <a:gd name="connsiteX2329" fmla="*/ 5759658 w 12248682"/>
              <a:gd name="connsiteY2329" fmla="*/ 31184 h 823468"/>
              <a:gd name="connsiteX2330" fmla="*/ 3241901 w 12248682"/>
              <a:gd name="connsiteY2330" fmla="*/ 31184 h 823468"/>
              <a:gd name="connsiteX2331" fmla="*/ 3262690 w 12248682"/>
              <a:gd name="connsiteY2331" fmla="*/ 51973 h 823468"/>
              <a:gd name="connsiteX2332" fmla="*/ 3241901 w 12248682"/>
              <a:gd name="connsiteY2332" fmla="*/ 72762 h 823468"/>
              <a:gd name="connsiteX2333" fmla="*/ 3221112 w 12248682"/>
              <a:gd name="connsiteY2333" fmla="*/ 51973 h 823468"/>
              <a:gd name="connsiteX2334" fmla="*/ 3241901 w 12248682"/>
              <a:gd name="connsiteY2334" fmla="*/ 31184 h 823468"/>
              <a:gd name="connsiteX2335" fmla="*/ 3102153 w 12248682"/>
              <a:gd name="connsiteY2335" fmla="*/ 31184 h 823468"/>
              <a:gd name="connsiteX2336" fmla="*/ 3122942 w 12248682"/>
              <a:gd name="connsiteY2336" fmla="*/ 51973 h 823468"/>
              <a:gd name="connsiteX2337" fmla="*/ 3102153 w 12248682"/>
              <a:gd name="connsiteY2337" fmla="*/ 72762 h 823468"/>
              <a:gd name="connsiteX2338" fmla="*/ 3081365 w 12248682"/>
              <a:gd name="connsiteY2338" fmla="*/ 51973 h 823468"/>
              <a:gd name="connsiteX2339" fmla="*/ 3102153 w 12248682"/>
              <a:gd name="connsiteY2339" fmla="*/ 31184 h 823468"/>
              <a:gd name="connsiteX2340" fmla="*/ 2962407 w 12248682"/>
              <a:gd name="connsiteY2340" fmla="*/ 31184 h 823468"/>
              <a:gd name="connsiteX2341" fmla="*/ 2983196 w 12248682"/>
              <a:gd name="connsiteY2341" fmla="*/ 51973 h 823468"/>
              <a:gd name="connsiteX2342" fmla="*/ 2962407 w 12248682"/>
              <a:gd name="connsiteY2342" fmla="*/ 72762 h 823468"/>
              <a:gd name="connsiteX2343" fmla="*/ 2941618 w 12248682"/>
              <a:gd name="connsiteY2343" fmla="*/ 51973 h 823468"/>
              <a:gd name="connsiteX2344" fmla="*/ 2962407 w 12248682"/>
              <a:gd name="connsiteY2344" fmla="*/ 31184 h 823468"/>
              <a:gd name="connsiteX2345" fmla="*/ 2822659 w 12248682"/>
              <a:gd name="connsiteY2345" fmla="*/ 31184 h 823468"/>
              <a:gd name="connsiteX2346" fmla="*/ 2843448 w 12248682"/>
              <a:gd name="connsiteY2346" fmla="*/ 51973 h 823468"/>
              <a:gd name="connsiteX2347" fmla="*/ 2822659 w 12248682"/>
              <a:gd name="connsiteY2347" fmla="*/ 72762 h 823468"/>
              <a:gd name="connsiteX2348" fmla="*/ 2801871 w 12248682"/>
              <a:gd name="connsiteY2348" fmla="*/ 51973 h 823468"/>
              <a:gd name="connsiteX2349" fmla="*/ 2822659 w 12248682"/>
              <a:gd name="connsiteY2349" fmla="*/ 31184 h 823468"/>
              <a:gd name="connsiteX2350" fmla="*/ 2682913 w 12248682"/>
              <a:gd name="connsiteY2350" fmla="*/ 31184 h 823468"/>
              <a:gd name="connsiteX2351" fmla="*/ 2703702 w 12248682"/>
              <a:gd name="connsiteY2351" fmla="*/ 51973 h 823468"/>
              <a:gd name="connsiteX2352" fmla="*/ 2682913 w 12248682"/>
              <a:gd name="connsiteY2352" fmla="*/ 72762 h 823468"/>
              <a:gd name="connsiteX2353" fmla="*/ 2662124 w 12248682"/>
              <a:gd name="connsiteY2353" fmla="*/ 51973 h 823468"/>
              <a:gd name="connsiteX2354" fmla="*/ 2682913 w 12248682"/>
              <a:gd name="connsiteY2354" fmla="*/ 31184 h 823468"/>
              <a:gd name="connsiteX2355" fmla="*/ 2543167 w 12248682"/>
              <a:gd name="connsiteY2355" fmla="*/ 31184 h 823468"/>
              <a:gd name="connsiteX2356" fmla="*/ 2563954 w 12248682"/>
              <a:gd name="connsiteY2356" fmla="*/ 51973 h 823468"/>
              <a:gd name="connsiteX2357" fmla="*/ 2543167 w 12248682"/>
              <a:gd name="connsiteY2357" fmla="*/ 72762 h 823468"/>
              <a:gd name="connsiteX2358" fmla="*/ 2522376 w 12248682"/>
              <a:gd name="connsiteY2358" fmla="*/ 51973 h 823468"/>
              <a:gd name="connsiteX2359" fmla="*/ 2543167 w 12248682"/>
              <a:gd name="connsiteY2359" fmla="*/ 31184 h 823468"/>
              <a:gd name="connsiteX2360" fmla="*/ 2403419 w 12248682"/>
              <a:gd name="connsiteY2360" fmla="*/ 31184 h 823468"/>
              <a:gd name="connsiteX2361" fmla="*/ 2424209 w 12248682"/>
              <a:gd name="connsiteY2361" fmla="*/ 51973 h 823468"/>
              <a:gd name="connsiteX2362" fmla="*/ 2403419 w 12248682"/>
              <a:gd name="connsiteY2362" fmla="*/ 72762 h 823468"/>
              <a:gd name="connsiteX2363" fmla="*/ 2382630 w 12248682"/>
              <a:gd name="connsiteY2363" fmla="*/ 51973 h 823468"/>
              <a:gd name="connsiteX2364" fmla="*/ 2403419 w 12248682"/>
              <a:gd name="connsiteY2364" fmla="*/ 31184 h 823468"/>
              <a:gd name="connsiteX2365" fmla="*/ 2263671 w 12248682"/>
              <a:gd name="connsiteY2365" fmla="*/ 31184 h 823468"/>
              <a:gd name="connsiteX2366" fmla="*/ 2284460 w 12248682"/>
              <a:gd name="connsiteY2366" fmla="*/ 51973 h 823468"/>
              <a:gd name="connsiteX2367" fmla="*/ 2263671 w 12248682"/>
              <a:gd name="connsiteY2367" fmla="*/ 72762 h 823468"/>
              <a:gd name="connsiteX2368" fmla="*/ 2242883 w 12248682"/>
              <a:gd name="connsiteY2368" fmla="*/ 51973 h 823468"/>
              <a:gd name="connsiteX2369" fmla="*/ 2263671 w 12248682"/>
              <a:gd name="connsiteY2369" fmla="*/ 31184 h 823468"/>
              <a:gd name="connsiteX2370" fmla="*/ 1426344 w 12248682"/>
              <a:gd name="connsiteY2370" fmla="*/ 31184 h 823468"/>
              <a:gd name="connsiteX2371" fmla="*/ 1447133 w 12248682"/>
              <a:gd name="connsiteY2371" fmla="*/ 51973 h 823468"/>
              <a:gd name="connsiteX2372" fmla="*/ 1426344 w 12248682"/>
              <a:gd name="connsiteY2372" fmla="*/ 72762 h 823468"/>
              <a:gd name="connsiteX2373" fmla="*/ 1405556 w 12248682"/>
              <a:gd name="connsiteY2373" fmla="*/ 51973 h 823468"/>
              <a:gd name="connsiteX2374" fmla="*/ 1426344 w 12248682"/>
              <a:gd name="connsiteY2374" fmla="*/ 31184 h 823468"/>
              <a:gd name="connsiteX2375" fmla="*/ 1286597 w 12248682"/>
              <a:gd name="connsiteY2375" fmla="*/ 31184 h 823468"/>
              <a:gd name="connsiteX2376" fmla="*/ 1307386 w 12248682"/>
              <a:gd name="connsiteY2376" fmla="*/ 51973 h 823468"/>
              <a:gd name="connsiteX2377" fmla="*/ 1286597 w 12248682"/>
              <a:gd name="connsiteY2377" fmla="*/ 72762 h 823468"/>
              <a:gd name="connsiteX2378" fmla="*/ 1265808 w 12248682"/>
              <a:gd name="connsiteY2378" fmla="*/ 51973 h 823468"/>
              <a:gd name="connsiteX2379" fmla="*/ 1286597 w 12248682"/>
              <a:gd name="connsiteY2379" fmla="*/ 31184 h 823468"/>
              <a:gd name="connsiteX2380" fmla="*/ 1146851 w 12248682"/>
              <a:gd name="connsiteY2380" fmla="*/ 31184 h 823468"/>
              <a:gd name="connsiteX2381" fmla="*/ 1167639 w 12248682"/>
              <a:gd name="connsiteY2381" fmla="*/ 51973 h 823468"/>
              <a:gd name="connsiteX2382" fmla="*/ 1146851 w 12248682"/>
              <a:gd name="connsiteY2382" fmla="*/ 72762 h 823468"/>
              <a:gd name="connsiteX2383" fmla="*/ 1126062 w 12248682"/>
              <a:gd name="connsiteY2383" fmla="*/ 51973 h 823468"/>
              <a:gd name="connsiteX2384" fmla="*/ 1146851 w 12248682"/>
              <a:gd name="connsiteY2384" fmla="*/ 31184 h 823468"/>
              <a:gd name="connsiteX2385" fmla="*/ 11343213 w 12248682"/>
              <a:gd name="connsiteY2385" fmla="*/ 27719 h 823468"/>
              <a:gd name="connsiteX2386" fmla="*/ 11366312 w 12248682"/>
              <a:gd name="connsiteY2386" fmla="*/ 50817 h 823468"/>
              <a:gd name="connsiteX2387" fmla="*/ 11343213 w 12248682"/>
              <a:gd name="connsiteY2387" fmla="*/ 73916 h 823468"/>
              <a:gd name="connsiteX2388" fmla="*/ 11320114 w 12248682"/>
              <a:gd name="connsiteY2388" fmla="*/ 50817 h 823468"/>
              <a:gd name="connsiteX2389" fmla="*/ 11343213 w 12248682"/>
              <a:gd name="connsiteY2389" fmla="*/ 27719 h 823468"/>
              <a:gd name="connsiteX2390" fmla="*/ 10225237 w 12248682"/>
              <a:gd name="connsiteY2390" fmla="*/ 27719 h 823468"/>
              <a:gd name="connsiteX2391" fmla="*/ 10248335 w 12248682"/>
              <a:gd name="connsiteY2391" fmla="*/ 50817 h 823468"/>
              <a:gd name="connsiteX2392" fmla="*/ 10225237 w 12248682"/>
              <a:gd name="connsiteY2392" fmla="*/ 73916 h 823468"/>
              <a:gd name="connsiteX2393" fmla="*/ 10202138 w 12248682"/>
              <a:gd name="connsiteY2393" fmla="*/ 50817 h 823468"/>
              <a:gd name="connsiteX2394" fmla="*/ 10225237 w 12248682"/>
              <a:gd name="connsiteY2394" fmla="*/ 27719 h 823468"/>
              <a:gd name="connsiteX2395" fmla="*/ 9112431 w 12248682"/>
              <a:gd name="connsiteY2395" fmla="*/ 27719 h 823468"/>
              <a:gd name="connsiteX2396" fmla="*/ 9135530 w 12248682"/>
              <a:gd name="connsiteY2396" fmla="*/ 50817 h 823468"/>
              <a:gd name="connsiteX2397" fmla="*/ 9112431 w 12248682"/>
              <a:gd name="connsiteY2397" fmla="*/ 73916 h 823468"/>
              <a:gd name="connsiteX2398" fmla="*/ 9089332 w 12248682"/>
              <a:gd name="connsiteY2398" fmla="*/ 50817 h 823468"/>
              <a:gd name="connsiteX2399" fmla="*/ 9112431 w 12248682"/>
              <a:gd name="connsiteY2399" fmla="*/ 27719 h 823468"/>
              <a:gd name="connsiteX2400" fmla="*/ 7994456 w 12248682"/>
              <a:gd name="connsiteY2400" fmla="*/ 27719 h 823468"/>
              <a:gd name="connsiteX2401" fmla="*/ 8017555 w 12248682"/>
              <a:gd name="connsiteY2401" fmla="*/ 50817 h 823468"/>
              <a:gd name="connsiteX2402" fmla="*/ 7994456 w 12248682"/>
              <a:gd name="connsiteY2402" fmla="*/ 73916 h 823468"/>
              <a:gd name="connsiteX2403" fmla="*/ 7971356 w 12248682"/>
              <a:gd name="connsiteY2403" fmla="*/ 50817 h 823468"/>
              <a:gd name="connsiteX2404" fmla="*/ 7994456 w 12248682"/>
              <a:gd name="connsiteY2404" fmla="*/ 27719 h 823468"/>
              <a:gd name="connsiteX2405" fmla="*/ 6737887 w 12248682"/>
              <a:gd name="connsiteY2405" fmla="*/ 27719 h 823468"/>
              <a:gd name="connsiteX2406" fmla="*/ 6760986 w 12248682"/>
              <a:gd name="connsiteY2406" fmla="*/ 50817 h 823468"/>
              <a:gd name="connsiteX2407" fmla="*/ 6737887 w 12248682"/>
              <a:gd name="connsiteY2407" fmla="*/ 73916 h 823468"/>
              <a:gd name="connsiteX2408" fmla="*/ 6714789 w 12248682"/>
              <a:gd name="connsiteY2408" fmla="*/ 50817 h 823468"/>
              <a:gd name="connsiteX2409" fmla="*/ 6737887 w 12248682"/>
              <a:gd name="connsiteY2409" fmla="*/ 27719 h 823468"/>
              <a:gd name="connsiteX2410" fmla="*/ 5619911 w 12248682"/>
              <a:gd name="connsiteY2410" fmla="*/ 27719 h 823468"/>
              <a:gd name="connsiteX2411" fmla="*/ 5643008 w 12248682"/>
              <a:gd name="connsiteY2411" fmla="*/ 50817 h 823468"/>
              <a:gd name="connsiteX2412" fmla="*/ 5619911 w 12248682"/>
              <a:gd name="connsiteY2412" fmla="*/ 73916 h 823468"/>
              <a:gd name="connsiteX2413" fmla="*/ 5596812 w 12248682"/>
              <a:gd name="connsiteY2413" fmla="*/ 50817 h 823468"/>
              <a:gd name="connsiteX2414" fmla="*/ 5619911 w 12248682"/>
              <a:gd name="connsiteY2414" fmla="*/ 27719 h 823468"/>
              <a:gd name="connsiteX2415" fmla="*/ 4499625 w 12248682"/>
              <a:gd name="connsiteY2415" fmla="*/ 27719 h 823468"/>
              <a:gd name="connsiteX2416" fmla="*/ 4522722 w 12248682"/>
              <a:gd name="connsiteY2416" fmla="*/ 50817 h 823468"/>
              <a:gd name="connsiteX2417" fmla="*/ 4499625 w 12248682"/>
              <a:gd name="connsiteY2417" fmla="*/ 73916 h 823468"/>
              <a:gd name="connsiteX2418" fmla="*/ 4476525 w 12248682"/>
              <a:gd name="connsiteY2418" fmla="*/ 50817 h 823468"/>
              <a:gd name="connsiteX2419" fmla="*/ 4499625 w 12248682"/>
              <a:gd name="connsiteY2419" fmla="*/ 27719 h 823468"/>
              <a:gd name="connsiteX2420" fmla="*/ 3381648 w 12248682"/>
              <a:gd name="connsiteY2420" fmla="*/ 27719 h 823468"/>
              <a:gd name="connsiteX2421" fmla="*/ 3404746 w 12248682"/>
              <a:gd name="connsiteY2421" fmla="*/ 50817 h 823468"/>
              <a:gd name="connsiteX2422" fmla="*/ 3381648 w 12248682"/>
              <a:gd name="connsiteY2422" fmla="*/ 73916 h 823468"/>
              <a:gd name="connsiteX2423" fmla="*/ 3358549 w 12248682"/>
              <a:gd name="connsiteY2423" fmla="*/ 50817 h 823468"/>
              <a:gd name="connsiteX2424" fmla="*/ 3381648 w 12248682"/>
              <a:gd name="connsiteY2424" fmla="*/ 27719 h 823468"/>
              <a:gd name="connsiteX2425" fmla="*/ 2125079 w 12248682"/>
              <a:gd name="connsiteY2425" fmla="*/ 27719 h 823468"/>
              <a:gd name="connsiteX2426" fmla="*/ 2148178 w 12248682"/>
              <a:gd name="connsiteY2426" fmla="*/ 50817 h 823468"/>
              <a:gd name="connsiteX2427" fmla="*/ 2125079 w 12248682"/>
              <a:gd name="connsiteY2427" fmla="*/ 73916 h 823468"/>
              <a:gd name="connsiteX2428" fmla="*/ 2101980 w 12248682"/>
              <a:gd name="connsiteY2428" fmla="*/ 50817 h 823468"/>
              <a:gd name="connsiteX2429" fmla="*/ 2125079 w 12248682"/>
              <a:gd name="connsiteY2429" fmla="*/ 27719 h 823468"/>
              <a:gd name="connsiteX2430" fmla="*/ 1007103 w 12248682"/>
              <a:gd name="connsiteY2430" fmla="*/ 27719 h 823468"/>
              <a:gd name="connsiteX2431" fmla="*/ 1030201 w 12248682"/>
              <a:gd name="connsiteY2431" fmla="*/ 50817 h 823468"/>
              <a:gd name="connsiteX2432" fmla="*/ 1007103 w 12248682"/>
              <a:gd name="connsiteY2432" fmla="*/ 73916 h 823468"/>
              <a:gd name="connsiteX2433" fmla="*/ 984004 w 12248682"/>
              <a:gd name="connsiteY2433" fmla="*/ 50817 h 823468"/>
              <a:gd name="connsiteX2434" fmla="*/ 1007103 w 12248682"/>
              <a:gd name="connsiteY2434" fmla="*/ 27719 h 823468"/>
              <a:gd name="connsiteX2435" fmla="*/ 11203466 w 12248682"/>
              <a:gd name="connsiteY2435" fmla="*/ 21945 h 823468"/>
              <a:gd name="connsiteX2436" fmla="*/ 11232339 w 12248682"/>
              <a:gd name="connsiteY2436" fmla="*/ 50817 h 823468"/>
              <a:gd name="connsiteX2437" fmla="*/ 11203466 w 12248682"/>
              <a:gd name="connsiteY2437" fmla="*/ 79691 h 823468"/>
              <a:gd name="connsiteX2438" fmla="*/ 11174593 w 12248682"/>
              <a:gd name="connsiteY2438" fmla="*/ 50817 h 823468"/>
              <a:gd name="connsiteX2439" fmla="*/ 11203466 w 12248682"/>
              <a:gd name="connsiteY2439" fmla="*/ 21945 h 823468"/>
              <a:gd name="connsiteX2440" fmla="*/ 10085490 w 12248682"/>
              <a:gd name="connsiteY2440" fmla="*/ 21945 h 823468"/>
              <a:gd name="connsiteX2441" fmla="*/ 10114363 w 12248682"/>
              <a:gd name="connsiteY2441" fmla="*/ 51973 h 823468"/>
              <a:gd name="connsiteX2442" fmla="*/ 10085490 w 12248682"/>
              <a:gd name="connsiteY2442" fmla="*/ 80846 h 823468"/>
              <a:gd name="connsiteX2443" fmla="*/ 10056616 w 12248682"/>
              <a:gd name="connsiteY2443" fmla="*/ 50817 h 823468"/>
              <a:gd name="connsiteX2444" fmla="*/ 10085490 w 12248682"/>
              <a:gd name="connsiteY2444" fmla="*/ 21945 h 823468"/>
              <a:gd name="connsiteX2445" fmla="*/ 9247008 w 12248682"/>
              <a:gd name="connsiteY2445" fmla="*/ 21945 h 823468"/>
              <a:gd name="connsiteX2446" fmla="*/ 9275881 w 12248682"/>
              <a:gd name="connsiteY2446" fmla="*/ 50817 h 823468"/>
              <a:gd name="connsiteX2447" fmla="*/ 9247008 w 12248682"/>
              <a:gd name="connsiteY2447" fmla="*/ 80846 h 823468"/>
              <a:gd name="connsiteX2448" fmla="*/ 9218134 w 12248682"/>
              <a:gd name="connsiteY2448" fmla="*/ 50817 h 823468"/>
              <a:gd name="connsiteX2449" fmla="*/ 9247008 w 12248682"/>
              <a:gd name="connsiteY2449" fmla="*/ 21945 h 823468"/>
              <a:gd name="connsiteX2450" fmla="*/ 8972685 w 12248682"/>
              <a:gd name="connsiteY2450" fmla="*/ 21945 h 823468"/>
              <a:gd name="connsiteX2451" fmla="*/ 9001557 w 12248682"/>
              <a:gd name="connsiteY2451" fmla="*/ 50817 h 823468"/>
              <a:gd name="connsiteX2452" fmla="*/ 8972685 w 12248682"/>
              <a:gd name="connsiteY2452" fmla="*/ 79691 h 823468"/>
              <a:gd name="connsiteX2453" fmla="*/ 8943811 w 12248682"/>
              <a:gd name="connsiteY2453" fmla="*/ 50817 h 823468"/>
              <a:gd name="connsiteX2454" fmla="*/ 8972685 w 12248682"/>
              <a:gd name="connsiteY2454" fmla="*/ 21945 h 823468"/>
              <a:gd name="connsiteX2455" fmla="*/ 8134203 w 12248682"/>
              <a:gd name="connsiteY2455" fmla="*/ 21945 h 823468"/>
              <a:gd name="connsiteX2456" fmla="*/ 8163075 w 12248682"/>
              <a:gd name="connsiteY2456" fmla="*/ 50817 h 823468"/>
              <a:gd name="connsiteX2457" fmla="*/ 8134203 w 12248682"/>
              <a:gd name="connsiteY2457" fmla="*/ 79691 h 823468"/>
              <a:gd name="connsiteX2458" fmla="*/ 8105330 w 12248682"/>
              <a:gd name="connsiteY2458" fmla="*/ 50817 h 823468"/>
              <a:gd name="connsiteX2459" fmla="*/ 8134203 w 12248682"/>
              <a:gd name="connsiteY2459" fmla="*/ 21945 h 823468"/>
              <a:gd name="connsiteX2460" fmla="*/ 6598140 w 12248682"/>
              <a:gd name="connsiteY2460" fmla="*/ 21945 h 823468"/>
              <a:gd name="connsiteX2461" fmla="*/ 6627013 w 12248682"/>
              <a:gd name="connsiteY2461" fmla="*/ 50817 h 823468"/>
              <a:gd name="connsiteX2462" fmla="*/ 6598140 w 12248682"/>
              <a:gd name="connsiteY2462" fmla="*/ 79691 h 823468"/>
              <a:gd name="connsiteX2463" fmla="*/ 6569267 w 12248682"/>
              <a:gd name="connsiteY2463" fmla="*/ 50817 h 823468"/>
              <a:gd name="connsiteX2464" fmla="*/ 6598140 w 12248682"/>
              <a:gd name="connsiteY2464" fmla="*/ 21945 h 823468"/>
              <a:gd name="connsiteX2465" fmla="*/ 5480165 w 12248682"/>
              <a:gd name="connsiteY2465" fmla="*/ 21945 h 823468"/>
              <a:gd name="connsiteX2466" fmla="*/ 5509037 w 12248682"/>
              <a:gd name="connsiteY2466" fmla="*/ 50817 h 823468"/>
              <a:gd name="connsiteX2467" fmla="*/ 5480165 w 12248682"/>
              <a:gd name="connsiteY2467" fmla="*/ 79691 h 823468"/>
              <a:gd name="connsiteX2468" fmla="*/ 5451289 w 12248682"/>
              <a:gd name="connsiteY2468" fmla="*/ 50817 h 823468"/>
              <a:gd name="connsiteX2469" fmla="*/ 5480165 w 12248682"/>
              <a:gd name="connsiteY2469" fmla="*/ 21945 h 823468"/>
              <a:gd name="connsiteX2470" fmla="*/ 4641682 w 12248682"/>
              <a:gd name="connsiteY2470" fmla="*/ 21945 h 823468"/>
              <a:gd name="connsiteX2471" fmla="*/ 4670555 w 12248682"/>
              <a:gd name="connsiteY2471" fmla="*/ 50817 h 823468"/>
              <a:gd name="connsiteX2472" fmla="*/ 4641682 w 12248682"/>
              <a:gd name="connsiteY2472" fmla="*/ 79691 h 823468"/>
              <a:gd name="connsiteX2473" fmla="*/ 4612809 w 12248682"/>
              <a:gd name="connsiteY2473" fmla="*/ 50817 h 823468"/>
              <a:gd name="connsiteX2474" fmla="*/ 4641682 w 12248682"/>
              <a:gd name="connsiteY2474" fmla="*/ 21945 h 823468"/>
              <a:gd name="connsiteX2475" fmla="*/ 4359878 w 12248682"/>
              <a:gd name="connsiteY2475" fmla="*/ 21945 h 823468"/>
              <a:gd name="connsiteX2476" fmla="*/ 4388751 w 12248682"/>
              <a:gd name="connsiteY2476" fmla="*/ 50817 h 823468"/>
              <a:gd name="connsiteX2477" fmla="*/ 4359878 w 12248682"/>
              <a:gd name="connsiteY2477" fmla="*/ 79691 h 823468"/>
              <a:gd name="connsiteX2478" fmla="*/ 4331003 w 12248682"/>
              <a:gd name="connsiteY2478" fmla="*/ 50817 h 823468"/>
              <a:gd name="connsiteX2479" fmla="*/ 4359878 w 12248682"/>
              <a:gd name="connsiteY2479" fmla="*/ 21945 h 823468"/>
              <a:gd name="connsiteX2480" fmla="*/ 3521396 w 12248682"/>
              <a:gd name="connsiteY2480" fmla="*/ 21945 h 823468"/>
              <a:gd name="connsiteX2481" fmla="*/ 3550268 w 12248682"/>
              <a:gd name="connsiteY2481" fmla="*/ 50817 h 823468"/>
              <a:gd name="connsiteX2482" fmla="*/ 3521396 w 12248682"/>
              <a:gd name="connsiteY2482" fmla="*/ 79691 h 823468"/>
              <a:gd name="connsiteX2483" fmla="*/ 3492521 w 12248682"/>
              <a:gd name="connsiteY2483" fmla="*/ 50817 h 823468"/>
              <a:gd name="connsiteX2484" fmla="*/ 3521396 w 12248682"/>
              <a:gd name="connsiteY2484" fmla="*/ 21945 h 823468"/>
              <a:gd name="connsiteX2485" fmla="*/ 1985333 w 12248682"/>
              <a:gd name="connsiteY2485" fmla="*/ 21945 h 823468"/>
              <a:gd name="connsiteX2486" fmla="*/ 2014205 w 12248682"/>
              <a:gd name="connsiteY2486" fmla="*/ 50817 h 823468"/>
              <a:gd name="connsiteX2487" fmla="*/ 1985333 w 12248682"/>
              <a:gd name="connsiteY2487" fmla="*/ 79691 h 823468"/>
              <a:gd name="connsiteX2488" fmla="*/ 1956459 w 12248682"/>
              <a:gd name="connsiteY2488" fmla="*/ 50817 h 823468"/>
              <a:gd name="connsiteX2489" fmla="*/ 1985333 w 12248682"/>
              <a:gd name="connsiteY2489" fmla="*/ 21945 h 823468"/>
              <a:gd name="connsiteX2490" fmla="*/ 867356 w 12248682"/>
              <a:gd name="connsiteY2490" fmla="*/ 21945 h 823468"/>
              <a:gd name="connsiteX2491" fmla="*/ 896229 w 12248682"/>
              <a:gd name="connsiteY2491" fmla="*/ 51973 h 823468"/>
              <a:gd name="connsiteX2492" fmla="*/ 867356 w 12248682"/>
              <a:gd name="connsiteY2492" fmla="*/ 80846 h 823468"/>
              <a:gd name="connsiteX2493" fmla="*/ 838482 w 12248682"/>
              <a:gd name="connsiteY2493" fmla="*/ 50817 h 823468"/>
              <a:gd name="connsiteX2494" fmla="*/ 867356 w 12248682"/>
              <a:gd name="connsiteY2494" fmla="*/ 21945 h 823468"/>
              <a:gd name="connsiteX2495" fmla="*/ 28874 w 12248682"/>
              <a:gd name="connsiteY2495" fmla="*/ 21945 h 823468"/>
              <a:gd name="connsiteX2496" fmla="*/ 57747 w 12248682"/>
              <a:gd name="connsiteY2496" fmla="*/ 50817 h 823468"/>
              <a:gd name="connsiteX2497" fmla="*/ 28874 w 12248682"/>
              <a:gd name="connsiteY2497" fmla="*/ 80846 h 823468"/>
              <a:gd name="connsiteX2498" fmla="*/ 0 w 12248682"/>
              <a:gd name="connsiteY2498" fmla="*/ 50817 h 823468"/>
              <a:gd name="connsiteX2499" fmla="*/ 28874 w 12248682"/>
              <a:gd name="connsiteY2499" fmla="*/ 21945 h 823468"/>
              <a:gd name="connsiteX2500" fmla="*/ 11063719 w 12248682"/>
              <a:gd name="connsiteY2500" fmla="*/ 16169 h 823468"/>
              <a:gd name="connsiteX2501" fmla="*/ 11098367 w 12248682"/>
              <a:gd name="connsiteY2501" fmla="*/ 50817 h 823468"/>
              <a:gd name="connsiteX2502" fmla="*/ 11063719 w 12248682"/>
              <a:gd name="connsiteY2502" fmla="*/ 85465 h 823468"/>
              <a:gd name="connsiteX2503" fmla="*/ 11029071 w 12248682"/>
              <a:gd name="connsiteY2503" fmla="*/ 50817 h 823468"/>
              <a:gd name="connsiteX2504" fmla="*/ 11063719 w 12248682"/>
              <a:gd name="connsiteY2504" fmla="*/ 16169 h 823468"/>
              <a:gd name="connsiteX2505" fmla="*/ 9945743 w 12248682"/>
              <a:gd name="connsiteY2505" fmla="*/ 16169 h 823468"/>
              <a:gd name="connsiteX2506" fmla="*/ 9980391 w 12248682"/>
              <a:gd name="connsiteY2506" fmla="*/ 50817 h 823468"/>
              <a:gd name="connsiteX2507" fmla="*/ 9945743 w 12248682"/>
              <a:gd name="connsiteY2507" fmla="*/ 85465 h 823468"/>
              <a:gd name="connsiteX2508" fmla="*/ 9911094 w 12248682"/>
              <a:gd name="connsiteY2508" fmla="*/ 50817 h 823468"/>
              <a:gd name="connsiteX2509" fmla="*/ 9945743 w 12248682"/>
              <a:gd name="connsiteY2509" fmla="*/ 16169 h 823468"/>
              <a:gd name="connsiteX2510" fmla="*/ 9386754 w 12248682"/>
              <a:gd name="connsiteY2510" fmla="*/ 16169 h 823468"/>
              <a:gd name="connsiteX2511" fmla="*/ 9421402 w 12248682"/>
              <a:gd name="connsiteY2511" fmla="*/ 50817 h 823468"/>
              <a:gd name="connsiteX2512" fmla="*/ 9386754 w 12248682"/>
              <a:gd name="connsiteY2512" fmla="*/ 85465 h 823468"/>
              <a:gd name="connsiteX2513" fmla="*/ 9352106 w 12248682"/>
              <a:gd name="connsiteY2513" fmla="*/ 50817 h 823468"/>
              <a:gd name="connsiteX2514" fmla="*/ 9386754 w 12248682"/>
              <a:gd name="connsiteY2514" fmla="*/ 16169 h 823468"/>
              <a:gd name="connsiteX2515" fmla="*/ 8832937 w 12248682"/>
              <a:gd name="connsiteY2515" fmla="*/ 16169 h 823468"/>
              <a:gd name="connsiteX2516" fmla="*/ 8867585 w 12248682"/>
              <a:gd name="connsiteY2516" fmla="*/ 50817 h 823468"/>
              <a:gd name="connsiteX2517" fmla="*/ 8832937 w 12248682"/>
              <a:gd name="connsiteY2517" fmla="*/ 85465 h 823468"/>
              <a:gd name="connsiteX2518" fmla="*/ 8798289 w 12248682"/>
              <a:gd name="connsiteY2518" fmla="*/ 50817 h 823468"/>
              <a:gd name="connsiteX2519" fmla="*/ 8832937 w 12248682"/>
              <a:gd name="connsiteY2519" fmla="*/ 16169 h 823468"/>
              <a:gd name="connsiteX2520" fmla="*/ 8273949 w 12248682"/>
              <a:gd name="connsiteY2520" fmla="*/ 16169 h 823468"/>
              <a:gd name="connsiteX2521" fmla="*/ 8308598 w 12248682"/>
              <a:gd name="connsiteY2521" fmla="*/ 50817 h 823468"/>
              <a:gd name="connsiteX2522" fmla="*/ 8273949 w 12248682"/>
              <a:gd name="connsiteY2522" fmla="*/ 85465 h 823468"/>
              <a:gd name="connsiteX2523" fmla="*/ 8239301 w 12248682"/>
              <a:gd name="connsiteY2523" fmla="*/ 50817 h 823468"/>
              <a:gd name="connsiteX2524" fmla="*/ 8273949 w 12248682"/>
              <a:gd name="connsiteY2524" fmla="*/ 16169 h 823468"/>
              <a:gd name="connsiteX2525" fmla="*/ 6458393 w 12248682"/>
              <a:gd name="connsiteY2525" fmla="*/ 16169 h 823468"/>
              <a:gd name="connsiteX2526" fmla="*/ 6493041 w 12248682"/>
              <a:gd name="connsiteY2526" fmla="*/ 50817 h 823468"/>
              <a:gd name="connsiteX2527" fmla="*/ 6458393 w 12248682"/>
              <a:gd name="connsiteY2527" fmla="*/ 85465 h 823468"/>
              <a:gd name="connsiteX2528" fmla="*/ 6423745 w 12248682"/>
              <a:gd name="connsiteY2528" fmla="*/ 50817 h 823468"/>
              <a:gd name="connsiteX2529" fmla="*/ 6458393 w 12248682"/>
              <a:gd name="connsiteY2529" fmla="*/ 16169 h 823468"/>
              <a:gd name="connsiteX2530" fmla="*/ 5340416 w 12248682"/>
              <a:gd name="connsiteY2530" fmla="*/ 16169 h 823468"/>
              <a:gd name="connsiteX2531" fmla="*/ 5375064 w 12248682"/>
              <a:gd name="connsiteY2531" fmla="*/ 50817 h 823468"/>
              <a:gd name="connsiteX2532" fmla="*/ 5340416 w 12248682"/>
              <a:gd name="connsiteY2532" fmla="*/ 85465 h 823468"/>
              <a:gd name="connsiteX2533" fmla="*/ 5305769 w 12248682"/>
              <a:gd name="connsiteY2533" fmla="*/ 50817 h 823468"/>
              <a:gd name="connsiteX2534" fmla="*/ 5340416 w 12248682"/>
              <a:gd name="connsiteY2534" fmla="*/ 16169 h 823468"/>
              <a:gd name="connsiteX2535" fmla="*/ 4781429 w 12248682"/>
              <a:gd name="connsiteY2535" fmla="*/ 16169 h 823468"/>
              <a:gd name="connsiteX2536" fmla="*/ 4816075 w 12248682"/>
              <a:gd name="connsiteY2536" fmla="*/ 50817 h 823468"/>
              <a:gd name="connsiteX2537" fmla="*/ 4781429 w 12248682"/>
              <a:gd name="connsiteY2537" fmla="*/ 85465 h 823468"/>
              <a:gd name="connsiteX2538" fmla="*/ 4746781 w 12248682"/>
              <a:gd name="connsiteY2538" fmla="*/ 50817 h 823468"/>
              <a:gd name="connsiteX2539" fmla="*/ 4781429 w 12248682"/>
              <a:gd name="connsiteY2539" fmla="*/ 16169 h 823468"/>
              <a:gd name="connsiteX2540" fmla="*/ 4220129 w 12248682"/>
              <a:gd name="connsiteY2540" fmla="*/ 16169 h 823468"/>
              <a:gd name="connsiteX2541" fmla="*/ 4254779 w 12248682"/>
              <a:gd name="connsiteY2541" fmla="*/ 50817 h 823468"/>
              <a:gd name="connsiteX2542" fmla="*/ 4220129 w 12248682"/>
              <a:gd name="connsiteY2542" fmla="*/ 85465 h 823468"/>
              <a:gd name="connsiteX2543" fmla="*/ 4185482 w 12248682"/>
              <a:gd name="connsiteY2543" fmla="*/ 50817 h 823468"/>
              <a:gd name="connsiteX2544" fmla="*/ 4220129 w 12248682"/>
              <a:gd name="connsiteY2544" fmla="*/ 16169 h 823468"/>
              <a:gd name="connsiteX2545" fmla="*/ 3661142 w 12248682"/>
              <a:gd name="connsiteY2545" fmla="*/ 16169 h 823468"/>
              <a:gd name="connsiteX2546" fmla="*/ 3695791 w 12248682"/>
              <a:gd name="connsiteY2546" fmla="*/ 50817 h 823468"/>
              <a:gd name="connsiteX2547" fmla="*/ 3661142 w 12248682"/>
              <a:gd name="connsiteY2547" fmla="*/ 85465 h 823468"/>
              <a:gd name="connsiteX2548" fmla="*/ 3626494 w 12248682"/>
              <a:gd name="connsiteY2548" fmla="*/ 50817 h 823468"/>
              <a:gd name="connsiteX2549" fmla="*/ 3661142 w 12248682"/>
              <a:gd name="connsiteY2549" fmla="*/ 16169 h 823468"/>
              <a:gd name="connsiteX2550" fmla="*/ 1845585 w 12248682"/>
              <a:gd name="connsiteY2550" fmla="*/ 16169 h 823468"/>
              <a:gd name="connsiteX2551" fmla="*/ 1880233 w 12248682"/>
              <a:gd name="connsiteY2551" fmla="*/ 50817 h 823468"/>
              <a:gd name="connsiteX2552" fmla="*/ 1845585 w 12248682"/>
              <a:gd name="connsiteY2552" fmla="*/ 85465 h 823468"/>
              <a:gd name="connsiteX2553" fmla="*/ 1810937 w 12248682"/>
              <a:gd name="connsiteY2553" fmla="*/ 50817 h 823468"/>
              <a:gd name="connsiteX2554" fmla="*/ 1845585 w 12248682"/>
              <a:gd name="connsiteY2554" fmla="*/ 16169 h 823468"/>
              <a:gd name="connsiteX2555" fmla="*/ 727609 w 12248682"/>
              <a:gd name="connsiteY2555" fmla="*/ 16169 h 823468"/>
              <a:gd name="connsiteX2556" fmla="*/ 762257 w 12248682"/>
              <a:gd name="connsiteY2556" fmla="*/ 50817 h 823468"/>
              <a:gd name="connsiteX2557" fmla="*/ 727609 w 12248682"/>
              <a:gd name="connsiteY2557" fmla="*/ 85465 h 823468"/>
              <a:gd name="connsiteX2558" fmla="*/ 692961 w 12248682"/>
              <a:gd name="connsiteY2558" fmla="*/ 50817 h 823468"/>
              <a:gd name="connsiteX2559" fmla="*/ 727609 w 12248682"/>
              <a:gd name="connsiteY2559" fmla="*/ 16169 h 823468"/>
              <a:gd name="connsiteX2560" fmla="*/ 168621 w 12248682"/>
              <a:gd name="connsiteY2560" fmla="*/ 16169 h 823468"/>
              <a:gd name="connsiteX2561" fmla="*/ 203269 w 12248682"/>
              <a:gd name="connsiteY2561" fmla="*/ 50817 h 823468"/>
              <a:gd name="connsiteX2562" fmla="*/ 168621 w 12248682"/>
              <a:gd name="connsiteY2562" fmla="*/ 85465 h 823468"/>
              <a:gd name="connsiteX2563" fmla="*/ 133973 w 12248682"/>
              <a:gd name="connsiteY2563" fmla="*/ 50817 h 823468"/>
              <a:gd name="connsiteX2564" fmla="*/ 168621 w 12248682"/>
              <a:gd name="connsiteY2564" fmla="*/ 16169 h 823468"/>
              <a:gd name="connsiteX2565" fmla="*/ 10923972 w 12248682"/>
              <a:gd name="connsiteY2565" fmla="*/ 10395 h 823468"/>
              <a:gd name="connsiteX2566" fmla="*/ 10964394 w 12248682"/>
              <a:gd name="connsiteY2566" fmla="*/ 50817 h 823468"/>
              <a:gd name="connsiteX2567" fmla="*/ 10923972 w 12248682"/>
              <a:gd name="connsiteY2567" fmla="*/ 91241 h 823468"/>
              <a:gd name="connsiteX2568" fmla="*/ 10883549 w 12248682"/>
              <a:gd name="connsiteY2568" fmla="*/ 50817 h 823468"/>
              <a:gd name="connsiteX2569" fmla="*/ 10923972 w 12248682"/>
              <a:gd name="connsiteY2569" fmla="*/ 10395 h 823468"/>
              <a:gd name="connsiteX2570" fmla="*/ 9805996 w 12248682"/>
              <a:gd name="connsiteY2570" fmla="*/ 10395 h 823468"/>
              <a:gd name="connsiteX2571" fmla="*/ 9846418 w 12248682"/>
              <a:gd name="connsiteY2571" fmla="*/ 51973 h 823468"/>
              <a:gd name="connsiteX2572" fmla="*/ 9805996 w 12248682"/>
              <a:gd name="connsiteY2572" fmla="*/ 92395 h 823468"/>
              <a:gd name="connsiteX2573" fmla="*/ 9765573 w 12248682"/>
              <a:gd name="connsiteY2573" fmla="*/ 50817 h 823468"/>
              <a:gd name="connsiteX2574" fmla="*/ 9805996 w 12248682"/>
              <a:gd name="connsiteY2574" fmla="*/ 10395 h 823468"/>
              <a:gd name="connsiteX2575" fmla="*/ 9526502 w 12248682"/>
              <a:gd name="connsiteY2575" fmla="*/ 10395 h 823468"/>
              <a:gd name="connsiteX2576" fmla="*/ 9566924 w 12248682"/>
              <a:gd name="connsiteY2576" fmla="*/ 51973 h 823468"/>
              <a:gd name="connsiteX2577" fmla="*/ 9526502 w 12248682"/>
              <a:gd name="connsiteY2577" fmla="*/ 92395 h 823468"/>
              <a:gd name="connsiteX2578" fmla="*/ 9486079 w 12248682"/>
              <a:gd name="connsiteY2578" fmla="*/ 50817 h 823468"/>
              <a:gd name="connsiteX2579" fmla="*/ 9526502 w 12248682"/>
              <a:gd name="connsiteY2579" fmla="*/ 10395 h 823468"/>
              <a:gd name="connsiteX2580" fmla="*/ 8693190 w 12248682"/>
              <a:gd name="connsiteY2580" fmla="*/ 10395 h 823468"/>
              <a:gd name="connsiteX2581" fmla="*/ 8733613 w 12248682"/>
              <a:gd name="connsiteY2581" fmla="*/ 50817 h 823468"/>
              <a:gd name="connsiteX2582" fmla="*/ 8693190 w 12248682"/>
              <a:gd name="connsiteY2582" fmla="*/ 91241 h 823468"/>
              <a:gd name="connsiteX2583" fmla="*/ 8652767 w 12248682"/>
              <a:gd name="connsiteY2583" fmla="*/ 50817 h 823468"/>
              <a:gd name="connsiteX2584" fmla="*/ 8693190 w 12248682"/>
              <a:gd name="connsiteY2584" fmla="*/ 10395 h 823468"/>
              <a:gd name="connsiteX2585" fmla="*/ 8413696 w 12248682"/>
              <a:gd name="connsiteY2585" fmla="*/ 10395 h 823468"/>
              <a:gd name="connsiteX2586" fmla="*/ 8454118 w 12248682"/>
              <a:gd name="connsiteY2586" fmla="*/ 50817 h 823468"/>
              <a:gd name="connsiteX2587" fmla="*/ 8413696 w 12248682"/>
              <a:gd name="connsiteY2587" fmla="*/ 91241 h 823468"/>
              <a:gd name="connsiteX2588" fmla="*/ 8373274 w 12248682"/>
              <a:gd name="connsiteY2588" fmla="*/ 50817 h 823468"/>
              <a:gd name="connsiteX2589" fmla="*/ 8413696 w 12248682"/>
              <a:gd name="connsiteY2589" fmla="*/ 10395 h 823468"/>
              <a:gd name="connsiteX2590" fmla="*/ 6318647 w 12248682"/>
              <a:gd name="connsiteY2590" fmla="*/ 10395 h 823468"/>
              <a:gd name="connsiteX2591" fmla="*/ 6359068 w 12248682"/>
              <a:gd name="connsiteY2591" fmla="*/ 50817 h 823468"/>
              <a:gd name="connsiteX2592" fmla="*/ 6318647 w 12248682"/>
              <a:gd name="connsiteY2592" fmla="*/ 91241 h 823468"/>
              <a:gd name="connsiteX2593" fmla="*/ 6278223 w 12248682"/>
              <a:gd name="connsiteY2593" fmla="*/ 50817 h 823468"/>
              <a:gd name="connsiteX2594" fmla="*/ 6318647 w 12248682"/>
              <a:gd name="connsiteY2594" fmla="*/ 10395 h 823468"/>
              <a:gd name="connsiteX2595" fmla="*/ 5200669 w 12248682"/>
              <a:gd name="connsiteY2595" fmla="*/ 10395 h 823468"/>
              <a:gd name="connsiteX2596" fmla="*/ 5241093 w 12248682"/>
              <a:gd name="connsiteY2596" fmla="*/ 50817 h 823468"/>
              <a:gd name="connsiteX2597" fmla="*/ 5200669 w 12248682"/>
              <a:gd name="connsiteY2597" fmla="*/ 91241 h 823468"/>
              <a:gd name="connsiteX2598" fmla="*/ 5160247 w 12248682"/>
              <a:gd name="connsiteY2598" fmla="*/ 50817 h 823468"/>
              <a:gd name="connsiteX2599" fmla="*/ 5200669 w 12248682"/>
              <a:gd name="connsiteY2599" fmla="*/ 10395 h 823468"/>
              <a:gd name="connsiteX2600" fmla="*/ 4921176 w 12248682"/>
              <a:gd name="connsiteY2600" fmla="*/ 10395 h 823468"/>
              <a:gd name="connsiteX2601" fmla="*/ 4961597 w 12248682"/>
              <a:gd name="connsiteY2601" fmla="*/ 50817 h 823468"/>
              <a:gd name="connsiteX2602" fmla="*/ 4921176 w 12248682"/>
              <a:gd name="connsiteY2602" fmla="*/ 91241 h 823468"/>
              <a:gd name="connsiteX2603" fmla="*/ 4880752 w 12248682"/>
              <a:gd name="connsiteY2603" fmla="*/ 50817 h 823468"/>
              <a:gd name="connsiteX2604" fmla="*/ 4921176 w 12248682"/>
              <a:gd name="connsiteY2604" fmla="*/ 10395 h 823468"/>
              <a:gd name="connsiteX2605" fmla="*/ 4080383 w 12248682"/>
              <a:gd name="connsiteY2605" fmla="*/ 10395 h 823468"/>
              <a:gd name="connsiteX2606" fmla="*/ 4120806 w 12248682"/>
              <a:gd name="connsiteY2606" fmla="*/ 50817 h 823468"/>
              <a:gd name="connsiteX2607" fmla="*/ 4080383 w 12248682"/>
              <a:gd name="connsiteY2607" fmla="*/ 91241 h 823468"/>
              <a:gd name="connsiteX2608" fmla="*/ 4039961 w 12248682"/>
              <a:gd name="connsiteY2608" fmla="*/ 50817 h 823468"/>
              <a:gd name="connsiteX2609" fmla="*/ 4080383 w 12248682"/>
              <a:gd name="connsiteY2609" fmla="*/ 10395 h 823468"/>
              <a:gd name="connsiteX2610" fmla="*/ 3800889 w 12248682"/>
              <a:gd name="connsiteY2610" fmla="*/ 10395 h 823468"/>
              <a:gd name="connsiteX2611" fmla="*/ 3841311 w 12248682"/>
              <a:gd name="connsiteY2611" fmla="*/ 50817 h 823468"/>
              <a:gd name="connsiteX2612" fmla="*/ 3800889 w 12248682"/>
              <a:gd name="connsiteY2612" fmla="*/ 91241 h 823468"/>
              <a:gd name="connsiteX2613" fmla="*/ 3760466 w 12248682"/>
              <a:gd name="connsiteY2613" fmla="*/ 50817 h 823468"/>
              <a:gd name="connsiteX2614" fmla="*/ 3800889 w 12248682"/>
              <a:gd name="connsiteY2614" fmla="*/ 10395 h 823468"/>
              <a:gd name="connsiteX2615" fmla="*/ 1705839 w 12248682"/>
              <a:gd name="connsiteY2615" fmla="*/ 10395 h 823468"/>
              <a:gd name="connsiteX2616" fmla="*/ 1746261 w 12248682"/>
              <a:gd name="connsiteY2616" fmla="*/ 50817 h 823468"/>
              <a:gd name="connsiteX2617" fmla="*/ 1705839 w 12248682"/>
              <a:gd name="connsiteY2617" fmla="*/ 91241 h 823468"/>
              <a:gd name="connsiteX2618" fmla="*/ 1665415 w 12248682"/>
              <a:gd name="connsiteY2618" fmla="*/ 50817 h 823468"/>
              <a:gd name="connsiteX2619" fmla="*/ 1705839 w 12248682"/>
              <a:gd name="connsiteY2619" fmla="*/ 10395 h 823468"/>
              <a:gd name="connsiteX2620" fmla="*/ 587862 w 12248682"/>
              <a:gd name="connsiteY2620" fmla="*/ 10395 h 823468"/>
              <a:gd name="connsiteX2621" fmla="*/ 628284 w 12248682"/>
              <a:gd name="connsiteY2621" fmla="*/ 51973 h 823468"/>
              <a:gd name="connsiteX2622" fmla="*/ 587862 w 12248682"/>
              <a:gd name="connsiteY2622" fmla="*/ 92395 h 823468"/>
              <a:gd name="connsiteX2623" fmla="*/ 547439 w 12248682"/>
              <a:gd name="connsiteY2623" fmla="*/ 50817 h 823468"/>
              <a:gd name="connsiteX2624" fmla="*/ 587862 w 12248682"/>
              <a:gd name="connsiteY2624" fmla="*/ 10395 h 823468"/>
              <a:gd name="connsiteX2625" fmla="*/ 308368 w 12248682"/>
              <a:gd name="connsiteY2625" fmla="*/ 10395 h 823468"/>
              <a:gd name="connsiteX2626" fmla="*/ 348790 w 12248682"/>
              <a:gd name="connsiteY2626" fmla="*/ 51973 h 823468"/>
              <a:gd name="connsiteX2627" fmla="*/ 308368 w 12248682"/>
              <a:gd name="connsiteY2627" fmla="*/ 92395 h 823468"/>
              <a:gd name="connsiteX2628" fmla="*/ 267945 w 12248682"/>
              <a:gd name="connsiteY2628" fmla="*/ 50817 h 823468"/>
              <a:gd name="connsiteX2629" fmla="*/ 308368 w 12248682"/>
              <a:gd name="connsiteY2629" fmla="*/ 10395 h 823468"/>
              <a:gd name="connsiteX2630" fmla="*/ 10784225 w 12248682"/>
              <a:gd name="connsiteY2630" fmla="*/ 0 h 823468"/>
              <a:gd name="connsiteX2631" fmla="*/ 10835042 w 12248682"/>
              <a:gd name="connsiteY2631" fmla="*/ 50817 h 823468"/>
              <a:gd name="connsiteX2632" fmla="*/ 10784225 w 12248682"/>
              <a:gd name="connsiteY2632" fmla="*/ 101634 h 823468"/>
              <a:gd name="connsiteX2633" fmla="*/ 10733408 w 12248682"/>
              <a:gd name="connsiteY2633" fmla="*/ 50817 h 823468"/>
              <a:gd name="connsiteX2634" fmla="*/ 10784225 w 12248682"/>
              <a:gd name="connsiteY2634" fmla="*/ 0 h 823468"/>
              <a:gd name="connsiteX2635" fmla="*/ 9666248 w 12248682"/>
              <a:gd name="connsiteY2635" fmla="*/ 0 h 823468"/>
              <a:gd name="connsiteX2636" fmla="*/ 9717066 w 12248682"/>
              <a:gd name="connsiteY2636" fmla="*/ 50817 h 823468"/>
              <a:gd name="connsiteX2637" fmla="*/ 9666248 w 12248682"/>
              <a:gd name="connsiteY2637" fmla="*/ 101634 h 823468"/>
              <a:gd name="connsiteX2638" fmla="*/ 9615431 w 12248682"/>
              <a:gd name="connsiteY2638" fmla="*/ 50817 h 823468"/>
              <a:gd name="connsiteX2639" fmla="*/ 9666248 w 12248682"/>
              <a:gd name="connsiteY2639" fmla="*/ 0 h 823468"/>
              <a:gd name="connsiteX2640" fmla="*/ 8553443 w 12248682"/>
              <a:gd name="connsiteY2640" fmla="*/ 0 h 823468"/>
              <a:gd name="connsiteX2641" fmla="*/ 8604260 w 12248682"/>
              <a:gd name="connsiteY2641" fmla="*/ 50817 h 823468"/>
              <a:gd name="connsiteX2642" fmla="*/ 8553443 w 12248682"/>
              <a:gd name="connsiteY2642" fmla="*/ 101634 h 823468"/>
              <a:gd name="connsiteX2643" fmla="*/ 8502626 w 12248682"/>
              <a:gd name="connsiteY2643" fmla="*/ 50817 h 823468"/>
              <a:gd name="connsiteX2644" fmla="*/ 8553443 w 12248682"/>
              <a:gd name="connsiteY2644" fmla="*/ 0 h 823468"/>
              <a:gd name="connsiteX2645" fmla="*/ 6178898 w 12248682"/>
              <a:gd name="connsiteY2645" fmla="*/ 0 h 823468"/>
              <a:gd name="connsiteX2646" fmla="*/ 6229715 w 12248682"/>
              <a:gd name="connsiteY2646" fmla="*/ 50817 h 823468"/>
              <a:gd name="connsiteX2647" fmla="*/ 6178898 w 12248682"/>
              <a:gd name="connsiteY2647" fmla="*/ 101634 h 823468"/>
              <a:gd name="connsiteX2648" fmla="*/ 6128081 w 12248682"/>
              <a:gd name="connsiteY2648" fmla="*/ 50817 h 823468"/>
              <a:gd name="connsiteX2649" fmla="*/ 6178898 w 12248682"/>
              <a:gd name="connsiteY2649" fmla="*/ 0 h 823468"/>
              <a:gd name="connsiteX2650" fmla="*/ 5060922 w 12248682"/>
              <a:gd name="connsiteY2650" fmla="*/ 0 h 823468"/>
              <a:gd name="connsiteX2651" fmla="*/ 5111739 w 12248682"/>
              <a:gd name="connsiteY2651" fmla="*/ 50817 h 823468"/>
              <a:gd name="connsiteX2652" fmla="*/ 5060922 w 12248682"/>
              <a:gd name="connsiteY2652" fmla="*/ 101634 h 823468"/>
              <a:gd name="connsiteX2653" fmla="*/ 5010105 w 12248682"/>
              <a:gd name="connsiteY2653" fmla="*/ 50817 h 823468"/>
              <a:gd name="connsiteX2654" fmla="*/ 5060922 w 12248682"/>
              <a:gd name="connsiteY2654" fmla="*/ 0 h 823468"/>
              <a:gd name="connsiteX2655" fmla="*/ 3940636 w 12248682"/>
              <a:gd name="connsiteY2655" fmla="*/ 0 h 823468"/>
              <a:gd name="connsiteX2656" fmla="*/ 3991453 w 12248682"/>
              <a:gd name="connsiteY2656" fmla="*/ 50817 h 823468"/>
              <a:gd name="connsiteX2657" fmla="*/ 3940636 w 12248682"/>
              <a:gd name="connsiteY2657" fmla="*/ 101634 h 823468"/>
              <a:gd name="connsiteX2658" fmla="*/ 3889819 w 12248682"/>
              <a:gd name="connsiteY2658" fmla="*/ 50817 h 823468"/>
              <a:gd name="connsiteX2659" fmla="*/ 3940636 w 12248682"/>
              <a:gd name="connsiteY2659" fmla="*/ 0 h 823468"/>
              <a:gd name="connsiteX2660" fmla="*/ 1566091 w 12248682"/>
              <a:gd name="connsiteY2660" fmla="*/ 0 h 823468"/>
              <a:gd name="connsiteX2661" fmla="*/ 1616908 w 12248682"/>
              <a:gd name="connsiteY2661" fmla="*/ 50817 h 823468"/>
              <a:gd name="connsiteX2662" fmla="*/ 1566091 w 12248682"/>
              <a:gd name="connsiteY2662" fmla="*/ 101634 h 823468"/>
              <a:gd name="connsiteX2663" fmla="*/ 1515274 w 12248682"/>
              <a:gd name="connsiteY2663" fmla="*/ 50817 h 823468"/>
              <a:gd name="connsiteX2664" fmla="*/ 1566091 w 12248682"/>
              <a:gd name="connsiteY2664" fmla="*/ 0 h 823468"/>
              <a:gd name="connsiteX2665" fmla="*/ 448115 w 12248682"/>
              <a:gd name="connsiteY2665" fmla="*/ 0 h 823468"/>
              <a:gd name="connsiteX2666" fmla="*/ 498932 w 12248682"/>
              <a:gd name="connsiteY2666" fmla="*/ 50817 h 823468"/>
              <a:gd name="connsiteX2667" fmla="*/ 448115 w 12248682"/>
              <a:gd name="connsiteY2667" fmla="*/ 101634 h 823468"/>
              <a:gd name="connsiteX2668" fmla="*/ 397298 w 12248682"/>
              <a:gd name="connsiteY2668" fmla="*/ 50817 h 823468"/>
              <a:gd name="connsiteX2669" fmla="*/ 448115 w 12248682"/>
              <a:gd name="connsiteY2669" fmla="*/ 0 h 8234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</a:cxnLst>
            <a:rect l="l" t="t" r="r" b="b"/>
            <a:pathLst>
              <a:path w="12248682" h="823468">
                <a:moveTo>
                  <a:pt x="12210569" y="753017"/>
                </a:moveTo>
                <a:cubicBezTo>
                  <a:pt x="12220963" y="753017"/>
                  <a:pt x="12230202" y="762256"/>
                  <a:pt x="12231358" y="773806"/>
                </a:cubicBezTo>
                <a:cubicBezTo>
                  <a:pt x="12231358" y="785355"/>
                  <a:pt x="12222118" y="794594"/>
                  <a:pt x="12210569" y="794594"/>
                </a:cubicBezTo>
                <a:cubicBezTo>
                  <a:pt x="12199020" y="794594"/>
                  <a:pt x="12189780" y="785355"/>
                  <a:pt x="12189780" y="773806"/>
                </a:cubicBezTo>
                <a:cubicBezTo>
                  <a:pt x="12189780" y="762256"/>
                  <a:pt x="12199020" y="753017"/>
                  <a:pt x="12210569" y="753017"/>
                </a:cubicBezTo>
                <a:close/>
                <a:moveTo>
                  <a:pt x="12071977" y="753017"/>
                </a:moveTo>
                <a:cubicBezTo>
                  <a:pt x="12083526" y="753017"/>
                  <a:pt x="12092766" y="762256"/>
                  <a:pt x="12092766" y="773806"/>
                </a:cubicBezTo>
                <a:cubicBezTo>
                  <a:pt x="12092766" y="785355"/>
                  <a:pt x="12083526" y="794594"/>
                  <a:pt x="12071977" y="794594"/>
                </a:cubicBezTo>
                <a:cubicBezTo>
                  <a:pt x="12060428" y="794594"/>
                  <a:pt x="12051188" y="785355"/>
                  <a:pt x="12051188" y="773806"/>
                </a:cubicBezTo>
                <a:cubicBezTo>
                  <a:pt x="12051188" y="762256"/>
                  <a:pt x="12060428" y="753017"/>
                  <a:pt x="12071977" y="753017"/>
                </a:cubicBezTo>
                <a:close/>
                <a:moveTo>
                  <a:pt x="11934539" y="753017"/>
                </a:moveTo>
                <a:cubicBezTo>
                  <a:pt x="11946088" y="753017"/>
                  <a:pt x="11955328" y="762256"/>
                  <a:pt x="11955328" y="773806"/>
                </a:cubicBezTo>
                <a:cubicBezTo>
                  <a:pt x="11955328" y="785355"/>
                  <a:pt x="11946088" y="794594"/>
                  <a:pt x="11934539" y="794594"/>
                </a:cubicBezTo>
                <a:cubicBezTo>
                  <a:pt x="11922990" y="794594"/>
                  <a:pt x="11913750" y="785355"/>
                  <a:pt x="11913750" y="773806"/>
                </a:cubicBezTo>
                <a:cubicBezTo>
                  <a:pt x="11913750" y="762256"/>
                  <a:pt x="11922990" y="753017"/>
                  <a:pt x="11934539" y="753017"/>
                </a:cubicBezTo>
                <a:close/>
                <a:moveTo>
                  <a:pt x="11797103" y="753017"/>
                </a:moveTo>
                <a:cubicBezTo>
                  <a:pt x="11808652" y="753017"/>
                  <a:pt x="11816736" y="762256"/>
                  <a:pt x="11816736" y="773806"/>
                </a:cubicBezTo>
                <a:cubicBezTo>
                  <a:pt x="11816736" y="785355"/>
                  <a:pt x="11808652" y="794594"/>
                  <a:pt x="11797103" y="794594"/>
                </a:cubicBezTo>
                <a:cubicBezTo>
                  <a:pt x="11785553" y="794594"/>
                  <a:pt x="11776314" y="785355"/>
                  <a:pt x="11776314" y="773806"/>
                </a:cubicBezTo>
                <a:cubicBezTo>
                  <a:pt x="11776314" y="762256"/>
                  <a:pt x="11785553" y="753017"/>
                  <a:pt x="11797103" y="753017"/>
                </a:cubicBezTo>
                <a:close/>
                <a:moveTo>
                  <a:pt x="10645633" y="753017"/>
                </a:moveTo>
                <a:cubicBezTo>
                  <a:pt x="10657182" y="753017"/>
                  <a:pt x="10666422" y="762256"/>
                  <a:pt x="10666422" y="773806"/>
                </a:cubicBezTo>
                <a:cubicBezTo>
                  <a:pt x="10666422" y="785355"/>
                  <a:pt x="10657182" y="794594"/>
                  <a:pt x="10645633" y="794594"/>
                </a:cubicBezTo>
                <a:cubicBezTo>
                  <a:pt x="10634083" y="794594"/>
                  <a:pt x="10624844" y="785355"/>
                  <a:pt x="10624844" y="773806"/>
                </a:cubicBezTo>
                <a:cubicBezTo>
                  <a:pt x="10624844" y="762256"/>
                  <a:pt x="10634083" y="753017"/>
                  <a:pt x="10645633" y="753017"/>
                </a:cubicBezTo>
                <a:close/>
                <a:moveTo>
                  <a:pt x="9247008" y="753017"/>
                </a:moveTo>
                <a:cubicBezTo>
                  <a:pt x="9258557" y="753017"/>
                  <a:pt x="9267797" y="762256"/>
                  <a:pt x="9267797" y="773806"/>
                </a:cubicBezTo>
                <a:cubicBezTo>
                  <a:pt x="9267797" y="785355"/>
                  <a:pt x="9258557" y="794594"/>
                  <a:pt x="9247008" y="794594"/>
                </a:cubicBezTo>
                <a:cubicBezTo>
                  <a:pt x="9235459" y="794594"/>
                  <a:pt x="9226219" y="785355"/>
                  <a:pt x="9226219" y="773806"/>
                </a:cubicBezTo>
                <a:cubicBezTo>
                  <a:pt x="9226219" y="762256"/>
                  <a:pt x="9235459" y="753017"/>
                  <a:pt x="9247008" y="753017"/>
                </a:cubicBezTo>
                <a:close/>
                <a:moveTo>
                  <a:pt x="8148062" y="753017"/>
                </a:moveTo>
                <a:cubicBezTo>
                  <a:pt x="8158457" y="753017"/>
                  <a:pt x="8167695" y="762256"/>
                  <a:pt x="8168851" y="773806"/>
                </a:cubicBezTo>
                <a:cubicBezTo>
                  <a:pt x="8168851" y="785355"/>
                  <a:pt x="8159611" y="794594"/>
                  <a:pt x="8148062" y="794594"/>
                </a:cubicBezTo>
                <a:cubicBezTo>
                  <a:pt x="8136513" y="794594"/>
                  <a:pt x="8127274" y="785355"/>
                  <a:pt x="8127274" y="773806"/>
                </a:cubicBezTo>
                <a:cubicBezTo>
                  <a:pt x="8127274" y="762256"/>
                  <a:pt x="8136513" y="753017"/>
                  <a:pt x="8148062" y="753017"/>
                </a:cubicBezTo>
                <a:close/>
                <a:moveTo>
                  <a:pt x="8009471" y="753017"/>
                </a:moveTo>
                <a:cubicBezTo>
                  <a:pt x="8021020" y="753017"/>
                  <a:pt x="8030259" y="762256"/>
                  <a:pt x="8030259" y="773806"/>
                </a:cubicBezTo>
                <a:cubicBezTo>
                  <a:pt x="8030259" y="785355"/>
                  <a:pt x="8021020" y="794594"/>
                  <a:pt x="8009471" y="794594"/>
                </a:cubicBezTo>
                <a:cubicBezTo>
                  <a:pt x="7997920" y="794594"/>
                  <a:pt x="7988682" y="785355"/>
                  <a:pt x="7988682" y="773806"/>
                </a:cubicBezTo>
                <a:cubicBezTo>
                  <a:pt x="7988682" y="762256"/>
                  <a:pt x="7997920" y="753017"/>
                  <a:pt x="8009471" y="753017"/>
                </a:cubicBezTo>
                <a:close/>
                <a:moveTo>
                  <a:pt x="7872031" y="753017"/>
                </a:moveTo>
                <a:cubicBezTo>
                  <a:pt x="7883582" y="753017"/>
                  <a:pt x="7892822" y="762256"/>
                  <a:pt x="7892822" y="773806"/>
                </a:cubicBezTo>
                <a:cubicBezTo>
                  <a:pt x="7892822" y="785355"/>
                  <a:pt x="7883582" y="794594"/>
                  <a:pt x="7872031" y="794594"/>
                </a:cubicBezTo>
                <a:cubicBezTo>
                  <a:pt x="7860484" y="794594"/>
                  <a:pt x="7851244" y="785355"/>
                  <a:pt x="7851244" y="773806"/>
                </a:cubicBezTo>
                <a:cubicBezTo>
                  <a:pt x="7851244" y="762256"/>
                  <a:pt x="7860484" y="753017"/>
                  <a:pt x="7872031" y="753017"/>
                </a:cubicBezTo>
                <a:close/>
                <a:moveTo>
                  <a:pt x="7713807" y="753017"/>
                </a:moveTo>
                <a:cubicBezTo>
                  <a:pt x="7725356" y="753017"/>
                  <a:pt x="7734596" y="762256"/>
                  <a:pt x="7734596" y="773806"/>
                </a:cubicBezTo>
                <a:cubicBezTo>
                  <a:pt x="7734596" y="785355"/>
                  <a:pt x="7725356" y="794594"/>
                  <a:pt x="7713807" y="794594"/>
                </a:cubicBezTo>
                <a:cubicBezTo>
                  <a:pt x="7702258" y="794594"/>
                  <a:pt x="7693019" y="785355"/>
                  <a:pt x="7693019" y="773806"/>
                </a:cubicBezTo>
                <a:cubicBezTo>
                  <a:pt x="7693019" y="762256"/>
                  <a:pt x="7702258" y="753017"/>
                  <a:pt x="7713807" y="753017"/>
                </a:cubicBezTo>
                <a:close/>
                <a:moveTo>
                  <a:pt x="7605244" y="753017"/>
                </a:moveTo>
                <a:cubicBezTo>
                  <a:pt x="7616793" y="753017"/>
                  <a:pt x="7624875" y="762256"/>
                  <a:pt x="7626031" y="773806"/>
                </a:cubicBezTo>
                <a:cubicBezTo>
                  <a:pt x="7626031" y="785355"/>
                  <a:pt x="7616793" y="794594"/>
                  <a:pt x="7605244" y="794594"/>
                </a:cubicBezTo>
                <a:cubicBezTo>
                  <a:pt x="7593693" y="794594"/>
                  <a:pt x="7584454" y="785355"/>
                  <a:pt x="7584454" y="773806"/>
                </a:cubicBezTo>
                <a:cubicBezTo>
                  <a:pt x="7584454" y="762256"/>
                  <a:pt x="7593693" y="753017"/>
                  <a:pt x="7605244" y="753017"/>
                </a:cubicBezTo>
                <a:close/>
                <a:moveTo>
                  <a:pt x="7466651" y="753017"/>
                </a:moveTo>
                <a:cubicBezTo>
                  <a:pt x="7478200" y="753017"/>
                  <a:pt x="7487439" y="762256"/>
                  <a:pt x="7487439" y="773806"/>
                </a:cubicBezTo>
                <a:cubicBezTo>
                  <a:pt x="7487439" y="785355"/>
                  <a:pt x="7478200" y="794594"/>
                  <a:pt x="7466651" y="794594"/>
                </a:cubicBezTo>
                <a:cubicBezTo>
                  <a:pt x="7455102" y="794594"/>
                  <a:pt x="7445863" y="785355"/>
                  <a:pt x="7445863" y="773806"/>
                </a:cubicBezTo>
                <a:cubicBezTo>
                  <a:pt x="7445863" y="762256"/>
                  <a:pt x="7455102" y="753017"/>
                  <a:pt x="7466651" y="753017"/>
                </a:cubicBezTo>
                <a:close/>
                <a:moveTo>
                  <a:pt x="7329213" y="753017"/>
                </a:moveTo>
                <a:cubicBezTo>
                  <a:pt x="7340762" y="753017"/>
                  <a:pt x="7350002" y="762256"/>
                  <a:pt x="7350002" y="773806"/>
                </a:cubicBezTo>
                <a:cubicBezTo>
                  <a:pt x="7350002" y="785355"/>
                  <a:pt x="7340762" y="794594"/>
                  <a:pt x="7329213" y="794594"/>
                </a:cubicBezTo>
                <a:cubicBezTo>
                  <a:pt x="7317664" y="794594"/>
                  <a:pt x="7308425" y="785355"/>
                  <a:pt x="7308425" y="773806"/>
                </a:cubicBezTo>
                <a:cubicBezTo>
                  <a:pt x="7308425" y="762256"/>
                  <a:pt x="7317664" y="753017"/>
                  <a:pt x="7329213" y="753017"/>
                </a:cubicBezTo>
                <a:close/>
                <a:moveTo>
                  <a:pt x="7191777" y="753017"/>
                </a:moveTo>
                <a:cubicBezTo>
                  <a:pt x="7203326" y="753017"/>
                  <a:pt x="7212566" y="762256"/>
                  <a:pt x="7212566" y="773806"/>
                </a:cubicBezTo>
                <a:cubicBezTo>
                  <a:pt x="7212566" y="785355"/>
                  <a:pt x="7203326" y="794594"/>
                  <a:pt x="7191777" y="794594"/>
                </a:cubicBezTo>
                <a:cubicBezTo>
                  <a:pt x="7180226" y="794594"/>
                  <a:pt x="7170987" y="785355"/>
                  <a:pt x="7170987" y="773806"/>
                </a:cubicBezTo>
                <a:cubicBezTo>
                  <a:pt x="7170987" y="762256"/>
                  <a:pt x="7180226" y="753017"/>
                  <a:pt x="7191777" y="753017"/>
                </a:cubicBezTo>
                <a:close/>
                <a:moveTo>
                  <a:pt x="6040307" y="753017"/>
                </a:moveTo>
                <a:cubicBezTo>
                  <a:pt x="6051855" y="753017"/>
                  <a:pt x="6061095" y="762256"/>
                  <a:pt x="6061095" y="773806"/>
                </a:cubicBezTo>
                <a:cubicBezTo>
                  <a:pt x="6061095" y="785355"/>
                  <a:pt x="6051855" y="794594"/>
                  <a:pt x="6040307" y="794594"/>
                </a:cubicBezTo>
                <a:cubicBezTo>
                  <a:pt x="6028758" y="794594"/>
                  <a:pt x="6019518" y="785355"/>
                  <a:pt x="6019518" y="773806"/>
                </a:cubicBezTo>
                <a:cubicBezTo>
                  <a:pt x="6019518" y="762256"/>
                  <a:pt x="6028758" y="753017"/>
                  <a:pt x="6040307" y="753017"/>
                </a:cubicBezTo>
                <a:close/>
                <a:moveTo>
                  <a:pt x="4641682" y="753017"/>
                </a:moveTo>
                <a:cubicBezTo>
                  <a:pt x="4653231" y="753017"/>
                  <a:pt x="4662471" y="762256"/>
                  <a:pt x="4662471" y="773806"/>
                </a:cubicBezTo>
                <a:cubicBezTo>
                  <a:pt x="4662471" y="785355"/>
                  <a:pt x="4653231" y="794594"/>
                  <a:pt x="4641682" y="794594"/>
                </a:cubicBezTo>
                <a:cubicBezTo>
                  <a:pt x="4630133" y="794594"/>
                  <a:pt x="4620893" y="785355"/>
                  <a:pt x="4620893" y="773806"/>
                </a:cubicBezTo>
                <a:cubicBezTo>
                  <a:pt x="4620893" y="762256"/>
                  <a:pt x="4630133" y="753017"/>
                  <a:pt x="4641682" y="753017"/>
                </a:cubicBezTo>
                <a:close/>
                <a:moveTo>
                  <a:pt x="3535254" y="753017"/>
                </a:moveTo>
                <a:cubicBezTo>
                  <a:pt x="3545648" y="753017"/>
                  <a:pt x="3554888" y="762256"/>
                  <a:pt x="3556043" y="773806"/>
                </a:cubicBezTo>
                <a:cubicBezTo>
                  <a:pt x="3556043" y="785355"/>
                  <a:pt x="3546804" y="794594"/>
                  <a:pt x="3535254" y="794594"/>
                </a:cubicBezTo>
                <a:cubicBezTo>
                  <a:pt x="3523705" y="794594"/>
                  <a:pt x="3514466" y="785355"/>
                  <a:pt x="3514466" y="773806"/>
                </a:cubicBezTo>
                <a:cubicBezTo>
                  <a:pt x="3514466" y="762256"/>
                  <a:pt x="3523705" y="753017"/>
                  <a:pt x="3535254" y="753017"/>
                </a:cubicBezTo>
                <a:close/>
                <a:moveTo>
                  <a:pt x="3396662" y="753017"/>
                </a:moveTo>
                <a:cubicBezTo>
                  <a:pt x="3408212" y="753017"/>
                  <a:pt x="3417451" y="762256"/>
                  <a:pt x="3417451" y="773806"/>
                </a:cubicBezTo>
                <a:cubicBezTo>
                  <a:pt x="3417451" y="785355"/>
                  <a:pt x="3408212" y="794594"/>
                  <a:pt x="3396662" y="794594"/>
                </a:cubicBezTo>
                <a:cubicBezTo>
                  <a:pt x="3385113" y="794594"/>
                  <a:pt x="3375874" y="785355"/>
                  <a:pt x="3375874" y="773806"/>
                </a:cubicBezTo>
                <a:cubicBezTo>
                  <a:pt x="3375874" y="762256"/>
                  <a:pt x="3385113" y="753017"/>
                  <a:pt x="3396662" y="753017"/>
                </a:cubicBezTo>
                <a:close/>
                <a:moveTo>
                  <a:pt x="3259224" y="753017"/>
                </a:moveTo>
                <a:cubicBezTo>
                  <a:pt x="3270774" y="753017"/>
                  <a:pt x="3280013" y="762256"/>
                  <a:pt x="3280013" y="773806"/>
                </a:cubicBezTo>
                <a:cubicBezTo>
                  <a:pt x="3280013" y="785355"/>
                  <a:pt x="3270774" y="794594"/>
                  <a:pt x="3259224" y="794594"/>
                </a:cubicBezTo>
                <a:cubicBezTo>
                  <a:pt x="3247675" y="794594"/>
                  <a:pt x="3238436" y="785355"/>
                  <a:pt x="3238436" y="773806"/>
                </a:cubicBezTo>
                <a:cubicBezTo>
                  <a:pt x="3238436" y="762256"/>
                  <a:pt x="3247675" y="753017"/>
                  <a:pt x="3259224" y="753017"/>
                </a:cubicBezTo>
                <a:close/>
                <a:moveTo>
                  <a:pt x="3100999" y="753017"/>
                </a:moveTo>
                <a:cubicBezTo>
                  <a:pt x="3112549" y="753017"/>
                  <a:pt x="3121789" y="762256"/>
                  <a:pt x="3121789" y="773806"/>
                </a:cubicBezTo>
                <a:cubicBezTo>
                  <a:pt x="3121789" y="785355"/>
                  <a:pt x="3112549" y="794594"/>
                  <a:pt x="3100999" y="794594"/>
                </a:cubicBezTo>
                <a:cubicBezTo>
                  <a:pt x="3089450" y="794594"/>
                  <a:pt x="3080212" y="785355"/>
                  <a:pt x="3080212" y="773806"/>
                </a:cubicBezTo>
                <a:cubicBezTo>
                  <a:pt x="3080212" y="762256"/>
                  <a:pt x="3089450" y="753017"/>
                  <a:pt x="3100999" y="753017"/>
                </a:cubicBezTo>
                <a:close/>
                <a:moveTo>
                  <a:pt x="2992435" y="753017"/>
                </a:moveTo>
                <a:cubicBezTo>
                  <a:pt x="3002829" y="753017"/>
                  <a:pt x="3012069" y="762256"/>
                  <a:pt x="3013224" y="773806"/>
                </a:cubicBezTo>
                <a:cubicBezTo>
                  <a:pt x="3013224" y="785355"/>
                  <a:pt x="3003985" y="794594"/>
                  <a:pt x="2992435" y="794594"/>
                </a:cubicBezTo>
                <a:cubicBezTo>
                  <a:pt x="2980886" y="794594"/>
                  <a:pt x="2971647" y="785355"/>
                  <a:pt x="2971647" y="773806"/>
                </a:cubicBezTo>
                <a:cubicBezTo>
                  <a:pt x="2971647" y="762256"/>
                  <a:pt x="2980886" y="753017"/>
                  <a:pt x="2992435" y="753017"/>
                </a:cubicBezTo>
                <a:close/>
                <a:moveTo>
                  <a:pt x="2853843" y="753017"/>
                </a:moveTo>
                <a:cubicBezTo>
                  <a:pt x="2865393" y="753017"/>
                  <a:pt x="2874633" y="762256"/>
                  <a:pt x="2874633" y="773806"/>
                </a:cubicBezTo>
                <a:cubicBezTo>
                  <a:pt x="2874633" y="785355"/>
                  <a:pt x="2865393" y="794594"/>
                  <a:pt x="2853843" y="794594"/>
                </a:cubicBezTo>
                <a:cubicBezTo>
                  <a:pt x="2842294" y="794594"/>
                  <a:pt x="2833056" y="785355"/>
                  <a:pt x="2833056" y="773806"/>
                </a:cubicBezTo>
                <a:cubicBezTo>
                  <a:pt x="2833056" y="762256"/>
                  <a:pt x="2842294" y="753017"/>
                  <a:pt x="2853843" y="753017"/>
                </a:cubicBezTo>
                <a:close/>
                <a:moveTo>
                  <a:pt x="2716405" y="753017"/>
                </a:moveTo>
                <a:cubicBezTo>
                  <a:pt x="2727955" y="753017"/>
                  <a:pt x="2737195" y="762256"/>
                  <a:pt x="2737195" y="773806"/>
                </a:cubicBezTo>
                <a:cubicBezTo>
                  <a:pt x="2737195" y="785355"/>
                  <a:pt x="2727955" y="794594"/>
                  <a:pt x="2716405" y="794594"/>
                </a:cubicBezTo>
                <a:cubicBezTo>
                  <a:pt x="2704856" y="794594"/>
                  <a:pt x="2695618" y="785355"/>
                  <a:pt x="2695618" y="773806"/>
                </a:cubicBezTo>
                <a:cubicBezTo>
                  <a:pt x="2695618" y="762256"/>
                  <a:pt x="2704856" y="753017"/>
                  <a:pt x="2716405" y="753017"/>
                </a:cubicBezTo>
                <a:close/>
                <a:moveTo>
                  <a:pt x="2578969" y="753017"/>
                </a:moveTo>
                <a:cubicBezTo>
                  <a:pt x="2590518" y="753017"/>
                  <a:pt x="2598602" y="762256"/>
                  <a:pt x="2598602" y="773806"/>
                </a:cubicBezTo>
                <a:cubicBezTo>
                  <a:pt x="2598602" y="785355"/>
                  <a:pt x="2590518" y="794594"/>
                  <a:pt x="2578969" y="794594"/>
                </a:cubicBezTo>
                <a:cubicBezTo>
                  <a:pt x="2567420" y="794594"/>
                  <a:pt x="2558180" y="785355"/>
                  <a:pt x="2558180" y="773806"/>
                </a:cubicBezTo>
                <a:cubicBezTo>
                  <a:pt x="2558180" y="762256"/>
                  <a:pt x="2567420" y="753017"/>
                  <a:pt x="2578969" y="753017"/>
                </a:cubicBezTo>
                <a:close/>
                <a:moveTo>
                  <a:pt x="1427499" y="753017"/>
                </a:moveTo>
                <a:cubicBezTo>
                  <a:pt x="1439048" y="753017"/>
                  <a:pt x="1448288" y="762256"/>
                  <a:pt x="1448288" y="773806"/>
                </a:cubicBezTo>
                <a:cubicBezTo>
                  <a:pt x="1448288" y="785355"/>
                  <a:pt x="1439048" y="794594"/>
                  <a:pt x="1427499" y="794594"/>
                </a:cubicBezTo>
                <a:cubicBezTo>
                  <a:pt x="1415950" y="794594"/>
                  <a:pt x="1406710" y="785355"/>
                  <a:pt x="1406710" y="773806"/>
                </a:cubicBezTo>
                <a:cubicBezTo>
                  <a:pt x="1406710" y="762256"/>
                  <a:pt x="1415950" y="753017"/>
                  <a:pt x="1427499" y="753017"/>
                </a:cubicBezTo>
                <a:close/>
                <a:moveTo>
                  <a:pt x="28874" y="753017"/>
                </a:moveTo>
                <a:cubicBezTo>
                  <a:pt x="40424" y="753017"/>
                  <a:pt x="49663" y="762256"/>
                  <a:pt x="49663" y="773806"/>
                </a:cubicBezTo>
                <a:cubicBezTo>
                  <a:pt x="49663" y="785355"/>
                  <a:pt x="40424" y="794594"/>
                  <a:pt x="28874" y="794594"/>
                </a:cubicBezTo>
                <a:cubicBezTo>
                  <a:pt x="17325" y="794594"/>
                  <a:pt x="8085" y="785355"/>
                  <a:pt x="8085" y="773806"/>
                </a:cubicBezTo>
                <a:cubicBezTo>
                  <a:pt x="8085" y="762256"/>
                  <a:pt x="17325" y="753017"/>
                  <a:pt x="28874" y="753017"/>
                </a:cubicBezTo>
                <a:close/>
                <a:moveTo>
                  <a:pt x="11658510" y="750707"/>
                </a:moveTo>
                <a:cubicBezTo>
                  <a:pt x="11671214" y="750707"/>
                  <a:pt x="11681609" y="761102"/>
                  <a:pt x="11681609" y="773806"/>
                </a:cubicBezTo>
                <a:cubicBezTo>
                  <a:pt x="11681609" y="786511"/>
                  <a:pt x="11671214" y="796904"/>
                  <a:pt x="11658510" y="796904"/>
                </a:cubicBezTo>
                <a:cubicBezTo>
                  <a:pt x="11645806" y="796904"/>
                  <a:pt x="11635412" y="786511"/>
                  <a:pt x="11635412" y="773806"/>
                </a:cubicBezTo>
                <a:cubicBezTo>
                  <a:pt x="11635412" y="761102"/>
                  <a:pt x="11645806" y="750707"/>
                  <a:pt x="11658510" y="750707"/>
                </a:cubicBezTo>
                <a:close/>
                <a:moveTo>
                  <a:pt x="10508196" y="750707"/>
                </a:moveTo>
                <a:cubicBezTo>
                  <a:pt x="10520900" y="750707"/>
                  <a:pt x="10531295" y="761102"/>
                  <a:pt x="10531295" y="773806"/>
                </a:cubicBezTo>
                <a:cubicBezTo>
                  <a:pt x="10531295" y="786511"/>
                  <a:pt x="10520900" y="796904"/>
                  <a:pt x="10508196" y="796904"/>
                </a:cubicBezTo>
                <a:cubicBezTo>
                  <a:pt x="10495491" y="796904"/>
                  <a:pt x="10485098" y="786511"/>
                  <a:pt x="10485098" y="773806"/>
                </a:cubicBezTo>
                <a:cubicBezTo>
                  <a:pt x="10485098" y="761102"/>
                  <a:pt x="10495491" y="750707"/>
                  <a:pt x="10508196" y="750707"/>
                </a:cubicBezTo>
                <a:close/>
                <a:moveTo>
                  <a:pt x="9405233" y="750707"/>
                </a:moveTo>
                <a:cubicBezTo>
                  <a:pt x="9417938" y="750707"/>
                  <a:pt x="9428332" y="761102"/>
                  <a:pt x="9428332" y="773806"/>
                </a:cubicBezTo>
                <a:cubicBezTo>
                  <a:pt x="9428332" y="786511"/>
                  <a:pt x="9417938" y="796904"/>
                  <a:pt x="9405233" y="796904"/>
                </a:cubicBezTo>
                <a:cubicBezTo>
                  <a:pt x="9392530" y="796904"/>
                  <a:pt x="9382135" y="786511"/>
                  <a:pt x="9382135" y="773806"/>
                </a:cubicBezTo>
                <a:cubicBezTo>
                  <a:pt x="9382135" y="761102"/>
                  <a:pt x="9392530" y="750707"/>
                  <a:pt x="9405233" y="750707"/>
                </a:cubicBezTo>
                <a:close/>
                <a:moveTo>
                  <a:pt x="8285498" y="750707"/>
                </a:moveTo>
                <a:cubicBezTo>
                  <a:pt x="8298204" y="750707"/>
                  <a:pt x="8308598" y="761102"/>
                  <a:pt x="8308598" y="773806"/>
                </a:cubicBezTo>
                <a:cubicBezTo>
                  <a:pt x="8308598" y="786511"/>
                  <a:pt x="8298204" y="796904"/>
                  <a:pt x="8285498" y="796904"/>
                </a:cubicBezTo>
                <a:cubicBezTo>
                  <a:pt x="8272794" y="796904"/>
                  <a:pt x="8262401" y="786511"/>
                  <a:pt x="8262401" y="773806"/>
                </a:cubicBezTo>
                <a:cubicBezTo>
                  <a:pt x="8262401" y="761102"/>
                  <a:pt x="8272794" y="750707"/>
                  <a:pt x="8285498" y="750707"/>
                </a:cubicBezTo>
                <a:close/>
                <a:moveTo>
                  <a:pt x="7053184" y="750707"/>
                </a:moveTo>
                <a:cubicBezTo>
                  <a:pt x="7067044" y="750707"/>
                  <a:pt x="7076283" y="761102"/>
                  <a:pt x="7076283" y="773806"/>
                </a:cubicBezTo>
                <a:cubicBezTo>
                  <a:pt x="7076283" y="786511"/>
                  <a:pt x="7065888" y="796904"/>
                  <a:pt x="7053184" y="796904"/>
                </a:cubicBezTo>
                <a:cubicBezTo>
                  <a:pt x="7040480" y="796904"/>
                  <a:pt x="7030086" y="786511"/>
                  <a:pt x="7030086" y="773806"/>
                </a:cubicBezTo>
                <a:cubicBezTo>
                  <a:pt x="7030086" y="761102"/>
                  <a:pt x="7040480" y="750707"/>
                  <a:pt x="7053184" y="750707"/>
                </a:cubicBezTo>
                <a:close/>
                <a:moveTo>
                  <a:pt x="5902869" y="750707"/>
                </a:moveTo>
                <a:cubicBezTo>
                  <a:pt x="5915573" y="750707"/>
                  <a:pt x="5925969" y="761102"/>
                  <a:pt x="5925969" y="773806"/>
                </a:cubicBezTo>
                <a:cubicBezTo>
                  <a:pt x="5925969" y="786511"/>
                  <a:pt x="5915573" y="796904"/>
                  <a:pt x="5902869" y="796904"/>
                </a:cubicBezTo>
                <a:cubicBezTo>
                  <a:pt x="5890165" y="796904"/>
                  <a:pt x="5879771" y="786511"/>
                  <a:pt x="5879771" y="773806"/>
                </a:cubicBezTo>
                <a:cubicBezTo>
                  <a:pt x="5879771" y="761102"/>
                  <a:pt x="5890165" y="750707"/>
                  <a:pt x="5902869" y="750707"/>
                </a:cubicBezTo>
                <a:close/>
                <a:moveTo>
                  <a:pt x="4799906" y="750707"/>
                </a:moveTo>
                <a:cubicBezTo>
                  <a:pt x="4812611" y="750707"/>
                  <a:pt x="4823006" y="761102"/>
                  <a:pt x="4823006" y="773806"/>
                </a:cubicBezTo>
                <a:cubicBezTo>
                  <a:pt x="4823006" y="786511"/>
                  <a:pt x="4812611" y="796904"/>
                  <a:pt x="4799906" y="796904"/>
                </a:cubicBezTo>
                <a:cubicBezTo>
                  <a:pt x="4787204" y="796904"/>
                  <a:pt x="4776809" y="786511"/>
                  <a:pt x="4776809" y="773806"/>
                </a:cubicBezTo>
                <a:cubicBezTo>
                  <a:pt x="4776809" y="761102"/>
                  <a:pt x="4787204" y="750707"/>
                  <a:pt x="4799906" y="750707"/>
                </a:cubicBezTo>
                <a:close/>
                <a:moveTo>
                  <a:pt x="3672691" y="750707"/>
                </a:moveTo>
                <a:cubicBezTo>
                  <a:pt x="3685396" y="750707"/>
                  <a:pt x="3695791" y="761102"/>
                  <a:pt x="3695791" y="773806"/>
                </a:cubicBezTo>
                <a:cubicBezTo>
                  <a:pt x="3695791" y="786511"/>
                  <a:pt x="3685396" y="796904"/>
                  <a:pt x="3672691" y="796904"/>
                </a:cubicBezTo>
                <a:cubicBezTo>
                  <a:pt x="3659987" y="796904"/>
                  <a:pt x="3649592" y="786511"/>
                  <a:pt x="3649592" y="773806"/>
                </a:cubicBezTo>
                <a:cubicBezTo>
                  <a:pt x="3649592" y="761102"/>
                  <a:pt x="3659987" y="750707"/>
                  <a:pt x="3672691" y="750707"/>
                </a:cubicBezTo>
                <a:close/>
                <a:moveTo>
                  <a:pt x="2440377" y="750707"/>
                </a:moveTo>
                <a:cubicBezTo>
                  <a:pt x="2453080" y="750707"/>
                  <a:pt x="2463475" y="761102"/>
                  <a:pt x="2463475" y="773806"/>
                </a:cubicBezTo>
                <a:cubicBezTo>
                  <a:pt x="2463475" y="786511"/>
                  <a:pt x="2453080" y="796904"/>
                  <a:pt x="2440377" y="796904"/>
                </a:cubicBezTo>
                <a:cubicBezTo>
                  <a:pt x="2427672" y="796904"/>
                  <a:pt x="2417278" y="786511"/>
                  <a:pt x="2417278" y="773806"/>
                </a:cubicBezTo>
                <a:cubicBezTo>
                  <a:pt x="2417278" y="761102"/>
                  <a:pt x="2427672" y="750707"/>
                  <a:pt x="2440377" y="750707"/>
                </a:cubicBezTo>
                <a:close/>
                <a:moveTo>
                  <a:pt x="1290062" y="750707"/>
                </a:moveTo>
                <a:cubicBezTo>
                  <a:pt x="1302766" y="750707"/>
                  <a:pt x="1313161" y="761102"/>
                  <a:pt x="1313161" y="773806"/>
                </a:cubicBezTo>
                <a:cubicBezTo>
                  <a:pt x="1313161" y="786511"/>
                  <a:pt x="1302766" y="796904"/>
                  <a:pt x="1290062" y="796904"/>
                </a:cubicBezTo>
                <a:cubicBezTo>
                  <a:pt x="1277357" y="796904"/>
                  <a:pt x="1266964" y="786511"/>
                  <a:pt x="1266964" y="773806"/>
                </a:cubicBezTo>
                <a:cubicBezTo>
                  <a:pt x="1266964" y="761102"/>
                  <a:pt x="1277357" y="750707"/>
                  <a:pt x="1290062" y="750707"/>
                </a:cubicBezTo>
                <a:close/>
                <a:moveTo>
                  <a:pt x="187100" y="750707"/>
                </a:moveTo>
                <a:cubicBezTo>
                  <a:pt x="199805" y="750707"/>
                  <a:pt x="210198" y="761102"/>
                  <a:pt x="210198" y="773806"/>
                </a:cubicBezTo>
                <a:cubicBezTo>
                  <a:pt x="210198" y="786511"/>
                  <a:pt x="199805" y="796904"/>
                  <a:pt x="187100" y="796904"/>
                </a:cubicBezTo>
                <a:cubicBezTo>
                  <a:pt x="174396" y="796904"/>
                  <a:pt x="164001" y="786511"/>
                  <a:pt x="164001" y="773806"/>
                </a:cubicBezTo>
                <a:cubicBezTo>
                  <a:pt x="164001" y="761102"/>
                  <a:pt x="174396" y="750707"/>
                  <a:pt x="187100" y="750707"/>
                </a:cubicBezTo>
                <a:close/>
                <a:moveTo>
                  <a:pt x="11521073" y="744933"/>
                </a:moveTo>
                <a:cubicBezTo>
                  <a:pt x="11537242" y="744933"/>
                  <a:pt x="11549947" y="757637"/>
                  <a:pt x="11549947" y="773806"/>
                </a:cubicBezTo>
                <a:cubicBezTo>
                  <a:pt x="11549947" y="789975"/>
                  <a:pt x="11537242" y="802680"/>
                  <a:pt x="11521073" y="802680"/>
                </a:cubicBezTo>
                <a:cubicBezTo>
                  <a:pt x="11504904" y="802680"/>
                  <a:pt x="11492200" y="789975"/>
                  <a:pt x="11492200" y="773806"/>
                </a:cubicBezTo>
                <a:cubicBezTo>
                  <a:pt x="11492200" y="757637"/>
                  <a:pt x="11504904" y="744933"/>
                  <a:pt x="11521073" y="744933"/>
                </a:cubicBezTo>
                <a:close/>
                <a:moveTo>
                  <a:pt x="10369604" y="744933"/>
                </a:moveTo>
                <a:cubicBezTo>
                  <a:pt x="10385773" y="744933"/>
                  <a:pt x="10399632" y="757637"/>
                  <a:pt x="10398477" y="773806"/>
                </a:cubicBezTo>
                <a:cubicBezTo>
                  <a:pt x="10398477" y="789975"/>
                  <a:pt x="10385773" y="802680"/>
                  <a:pt x="10369604" y="802680"/>
                </a:cubicBezTo>
                <a:cubicBezTo>
                  <a:pt x="10353435" y="802680"/>
                  <a:pt x="10340730" y="789975"/>
                  <a:pt x="10340730" y="773806"/>
                </a:cubicBezTo>
                <a:cubicBezTo>
                  <a:pt x="10340730" y="757637"/>
                  <a:pt x="10353435" y="744933"/>
                  <a:pt x="10369604" y="744933"/>
                </a:cubicBezTo>
                <a:close/>
                <a:moveTo>
                  <a:pt x="9543825" y="744933"/>
                </a:moveTo>
                <a:cubicBezTo>
                  <a:pt x="9558840" y="744933"/>
                  <a:pt x="9572699" y="757637"/>
                  <a:pt x="9572699" y="773806"/>
                </a:cubicBezTo>
                <a:cubicBezTo>
                  <a:pt x="9572699" y="789975"/>
                  <a:pt x="9559995" y="802680"/>
                  <a:pt x="9543825" y="802680"/>
                </a:cubicBezTo>
                <a:cubicBezTo>
                  <a:pt x="9527656" y="802680"/>
                  <a:pt x="9514953" y="789975"/>
                  <a:pt x="9514953" y="773806"/>
                </a:cubicBezTo>
                <a:cubicBezTo>
                  <a:pt x="9514953" y="757637"/>
                  <a:pt x="9527656" y="744933"/>
                  <a:pt x="9543825" y="744933"/>
                </a:cubicBezTo>
                <a:close/>
                <a:moveTo>
                  <a:pt x="8422936" y="744933"/>
                </a:moveTo>
                <a:cubicBezTo>
                  <a:pt x="8439105" y="744933"/>
                  <a:pt x="8451809" y="757637"/>
                  <a:pt x="8451809" y="773806"/>
                </a:cubicBezTo>
                <a:cubicBezTo>
                  <a:pt x="8451809" y="789975"/>
                  <a:pt x="8439105" y="802680"/>
                  <a:pt x="8422936" y="802680"/>
                </a:cubicBezTo>
                <a:cubicBezTo>
                  <a:pt x="8406767" y="802680"/>
                  <a:pt x="8394062" y="789975"/>
                  <a:pt x="8394062" y="773806"/>
                </a:cubicBezTo>
                <a:cubicBezTo>
                  <a:pt x="8394062" y="757637"/>
                  <a:pt x="8406767" y="744933"/>
                  <a:pt x="8422936" y="744933"/>
                </a:cubicBezTo>
                <a:close/>
                <a:moveTo>
                  <a:pt x="6915746" y="744933"/>
                </a:moveTo>
                <a:cubicBezTo>
                  <a:pt x="6931915" y="744933"/>
                  <a:pt x="6944621" y="757637"/>
                  <a:pt x="6944621" y="773806"/>
                </a:cubicBezTo>
                <a:cubicBezTo>
                  <a:pt x="6944621" y="789975"/>
                  <a:pt x="6931915" y="802680"/>
                  <a:pt x="6915746" y="802680"/>
                </a:cubicBezTo>
                <a:cubicBezTo>
                  <a:pt x="6899578" y="802680"/>
                  <a:pt x="6886873" y="789975"/>
                  <a:pt x="6886873" y="773806"/>
                </a:cubicBezTo>
                <a:cubicBezTo>
                  <a:pt x="6886873" y="757637"/>
                  <a:pt x="6899578" y="744933"/>
                  <a:pt x="6915746" y="744933"/>
                </a:cubicBezTo>
                <a:close/>
                <a:moveTo>
                  <a:pt x="5764278" y="744933"/>
                </a:moveTo>
                <a:cubicBezTo>
                  <a:pt x="5780447" y="744933"/>
                  <a:pt x="5794306" y="757637"/>
                  <a:pt x="5793151" y="773806"/>
                </a:cubicBezTo>
                <a:cubicBezTo>
                  <a:pt x="5793151" y="789975"/>
                  <a:pt x="5780447" y="802680"/>
                  <a:pt x="5764278" y="802680"/>
                </a:cubicBezTo>
                <a:cubicBezTo>
                  <a:pt x="5748109" y="802680"/>
                  <a:pt x="5735405" y="789975"/>
                  <a:pt x="5735405" y="773806"/>
                </a:cubicBezTo>
                <a:cubicBezTo>
                  <a:pt x="5735405" y="757637"/>
                  <a:pt x="5748109" y="744933"/>
                  <a:pt x="5764278" y="744933"/>
                </a:cubicBezTo>
                <a:close/>
                <a:moveTo>
                  <a:pt x="4938500" y="744933"/>
                </a:moveTo>
                <a:cubicBezTo>
                  <a:pt x="4953513" y="744933"/>
                  <a:pt x="4967373" y="757637"/>
                  <a:pt x="4967373" y="773806"/>
                </a:cubicBezTo>
                <a:cubicBezTo>
                  <a:pt x="4967373" y="789975"/>
                  <a:pt x="4954668" y="802680"/>
                  <a:pt x="4938500" y="802680"/>
                </a:cubicBezTo>
                <a:cubicBezTo>
                  <a:pt x="4922331" y="802680"/>
                  <a:pt x="4909627" y="789975"/>
                  <a:pt x="4909627" y="773806"/>
                </a:cubicBezTo>
                <a:cubicBezTo>
                  <a:pt x="4909627" y="757637"/>
                  <a:pt x="4922331" y="744933"/>
                  <a:pt x="4938500" y="744933"/>
                </a:cubicBezTo>
                <a:close/>
                <a:moveTo>
                  <a:pt x="3810129" y="744933"/>
                </a:moveTo>
                <a:cubicBezTo>
                  <a:pt x="3826298" y="744933"/>
                  <a:pt x="3839002" y="757637"/>
                  <a:pt x="3839002" y="773806"/>
                </a:cubicBezTo>
                <a:cubicBezTo>
                  <a:pt x="3839002" y="789975"/>
                  <a:pt x="3826298" y="802680"/>
                  <a:pt x="3810129" y="802680"/>
                </a:cubicBezTo>
                <a:cubicBezTo>
                  <a:pt x="3793960" y="802680"/>
                  <a:pt x="3781255" y="789975"/>
                  <a:pt x="3781255" y="773806"/>
                </a:cubicBezTo>
                <a:cubicBezTo>
                  <a:pt x="3781255" y="757637"/>
                  <a:pt x="3793960" y="744933"/>
                  <a:pt x="3810129" y="744933"/>
                </a:cubicBezTo>
                <a:close/>
                <a:moveTo>
                  <a:pt x="2302939" y="744933"/>
                </a:moveTo>
                <a:cubicBezTo>
                  <a:pt x="2319108" y="744933"/>
                  <a:pt x="2331813" y="757637"/>
                  <a:pt x="2331813" y="773806"/>
                </a:cubicBezTo>
                <a:cubicBezTo>
                  <a:pt x="2331813" y="789975"/>
                  <a:pt x="2319108" y="802680"/>
                  <a:pt x="2302939" y="802680"/>
                </a:cubicBezTo>
                <a:cubicBezTo>
                  <a:pt x="2286771" y="802680"/>
                  <a:pt x="2274067" y="789975"/>
                  <a:pt x="2274067" y="773806"/>
                </a:cubicBezTo>
                <a:cubicBezTo>
                  <a:pt x="2274067" y="757637"/>
                  <a:pt x="2286771" y="744933"/>
                  <a:pt x="2302939" y="744933"/>
                </a:cubicBezTo>
                <a:close/>
                <a:moveTo>
                  <a:pt x="1151470" y="744933"/>
                </a:moveTo>
                <a:cubicBezTo>
                  <a:pt x="1167639" y="744933"/>
                  <a:pt x="1181498" y="757637"/>
                  <a:pt x="1180343" y="773806"/>
                </a:cubicBezTo>
                <a:cubicBezTo>
                  <a:pt x="1180343" y="789975"/>
                  <a:pt x="1167639" y="802680"/>
                  <a:pt x="1151470" y="802680"/>
                </a:cubicBezTo>
                <a:cubicBezTo>
                  <a:pt x="1135301" y="802680"/>
                  <a:pt x="1122596" y="789975"/>
                  <a:pt x="1122596" y="773806"/>
                </a:cubicBezTo>
                <a:cubicBezTo>
                  <a:pt x="1122596" y="757637"/>
                  <a:pt x="1135301" y="744933"/>
                  <a:pt x="1151470" y="744933"/>
                </a:cubicBezTo>
                <a:close/>
                <a:moveTo>
                  <a:pt x="325692" y="744933"/>
                </a:moveTo>
                <a:cubicBezTo>
                  <a:pt x="340706" y="744933"/>
                  <a:pt x="354566" y="757637"/>
                  <a:pt x="354566" y="773806"/>
                </a:cubicBezTo>
                <a:cubicBezTo>
                  <a:pt x="354566" y="789975"/>
                  <a:pt x="341861" y="802680"/>
                  <a:pt x="325692" y="802680"/>
                </a:cubicBezTo>
                <a:cubicBezTo>
                  <a:pt x="309523" y="802680"/>
                  <a:pt x="296819" y="789975"/>
                  <a:pt x="296819" y="773806"/>
                </a:cubicBezTo>
                <a:cubicBezTo>
                  <a:pt x="296819" y="757637"/>
                  <a:pt x="309523" y="744933"/>
                  <a:pt x="325692" y="744933"/>
                </a:cubicBezTo>
                <a:close/>
                <a:moveTo>
                  <a:pt x="11383636" y="739158"/>
                </a:moveTo>
                <a:cubicBezTo>
                  <a:pt x="11402115" y="739158"/>
                  <a:pt x="11418284" y="755327"/>
                  <a:pt x="11418284" y="773806"/>
                </a:cubicBezTo>
                <a:cubicBezTo>
                  <a:pt x="11418284" y="792285"/>
                  <a:pt x="11403270" y="808454"/>
                  <a:pt x="11383636" y="808454"/>
                </a:cubicBezTo>
                <a:cubicBezTo>
                  <a:pt x="11365157" y="808454"/>
                  <a:pt x="11348988" y="792285"/>
                  <a:pt x="11348988" y="773806"/>
                </a:cubicBezTo>
                <a:cubicBezTo>
                  <a:pt x="11348988" y="755327"/>
                  <a:pt x="11364002" y="739158"/>
                  <a:pt x="11383636" y="739158"/>
                </a:cubicBezTo>
                <a:close/>
                <a:moveTo>
                  <a:pt x="10811943" y="739158"/>
                </a:moveTo>
                <a:cubicBezTo>
                  <a:pt x="10830422" y="739158"/>
                  <a:pt x="10846591" y="755327"/>
                  <a:pt x="10846591" y="773806"/>
                </a:cubicBezTo>
                <a:cubicBezTo>
                  <a:pt x="10846591" y="792285"/>
                  <a:pt x="10831578" y="808454"/>
                  <a:pt x="10811943" y="808454"/>
                </a:cubicBezTo>
                <a:cubicBezTo>
                  <a:pt x="10793464" y="808454"/>
                  <a:pt x="10777295" y="792285"/>
                  <a:pt x="10777295" y="773806"/>
                </a:cubicBezTo>
                <a:cubicBezTo>
                  <a:pt x="10777295" y="755327"/>
                  <a:pt x="10792310" y="739158"/>
                  <a:pt x="10811943" y="739158"/>
                </a:cubicBezTo>
                <a:close/>
                <a:moveTo>
                  <a:pt x="10232166" y="739158"/>
                </a:moveTo>
                <a:cubicBezTo>
                  <a:pt x="10251801" y="739158"/>
                  <a:pt x="10266814" y="755327"/>
                  <a:pt x="10266814" y="773806"/>
                </a:cubicBezTo>
                <a:cubicBezTo>
                  <a:pt x="10266814" y="792285"/>
                  <a:pt x="10250645" y="808454"/>
                  <a:pt x="10232166" y="808454"/>
                </a:cubicBezTo>
                <a:cubicBezTo>
                  <a:pt x="10213687" y="808454"/>
                  <a:pt x="10197518" y="792285"/>
                  <a:pt x="10197518" y="773806"/>
                </a:cubicBezTo>
                <a:cubicBezTo>
                  <a:pt x="10197518" y="755327"/>
                  <a:pt x="10212533" y="739158"/>
                  <a:pt x="10232166" y="739158"/>
                </a:cubicBezTo>
                <a:close/>
                <a:moveTo>
                  <a:pt x="9681263" y="739158"/>
                </a:moveTo>
                <a:cubicBezTo>
                  <a:pt x="9700896" y="739158"/>
                  <a:pt x="9715911" y="755327"/>
                  <a:pt x="9715911" y="773806"/>
                </a:cubicBezTo>
                <a:cubicBezTo>
                  <a:pt x="9715911" y="792285"/>
                  <a:pt x="9699742" y="808454"/>
                  <a:pt x="9681263" y="808454"/>
                </a:cubicBezTo>
                <a:cubicBezTo>
                  <a:pt x="9662784" y="808454"/>
                  <a:pt x="9646615" y="792285"/>
                  <a:pt x="9646615" y="773806"/>
                </a:cubicBezTo>
                <a:cubicBezTo>
                  <a:pt x="9646615" y="755327"/>
                  <a:pt x="9661629" y="739158"/>
                  <a:pt x="9681263" y="739158"/>
                </a:cubicBezTo>
                <a:close/>
                <a:moveTo>
                  <a:pt x="9112431" y="739158"/>
                </a:moveTo>
                <a:cubicBezTo>
                  <a:pt x="9130910" y="739158"/>
                  <a:pt x="9147079" y="755327"/>
                  <a:pt x="9147079" y="773806"/>
                </a:cubicBezTo>
                <a:cubicBezTo>
                  <a:pt x="9147079" y="792285"/>
                  <a:pt x="9132065" y="808454"/>
                  <a:pt x="9112431" y="808454"/>
                </a:cubicBezTo>
                <a:cubicBezTo>
                  <a:pt x="9093952" y="808454"/>
                  <a:pt x="9077783" y="792285"/>
                  <a:pt x="9077783" y="773806"/>
                </a:cubicBezTo>
                <a:cubicBezTo>
                  <a:pt x="9077783" y="755327"/>
                  <a:pt x="9092798" y="739158"/>
                  <a:pt x="9112431" y="739158"/>
                </a:cubicBezTo>
                <a:close/>
                <a:moveTo>
                  <a:pt x="8561528" y="739158"/>
                </a:moveTo>
                <a:cubicBezTo>
                  <a:pt x="8580007" y="739158"/>
                  <a:pt x="8596176" y="755327"/>
                  <a:pt x="8596176" y="773806"/>
                </a:cubicBezTo>
                <a:cubicBezTo>
                  <a:pt x="8596176" y="792285"/>
                  <a:pt x="8581161" y="808454"/>
                  <a:pt x="8561528" y="808454"/>
                </a:cubicBezTo>
                <a:cubicBezTo>
                  <a:pt x="8543049" y="808454"/>
                  <a:pt x="8526880" y="792285"/>
                  <a:pt x="8526880" y="773806"/>
                </a:cubicBezTo>
                <a:cubicBezTo>
                  <a:pt x="8526880" y="755327"/>
                  <a:pt x="8541893" y="739158"/>
                  <a:pt x="8561528" y="739158"/>
                </a:cubicBezTo>
                <a:close/>
                <a:moveTo>
                  <a:pt x="6778310" y="739158"/>
                </a:moveTo>
                <a:cubicBezTo>
                  <a:pt x="6796790" y="739158"/>
                  <a:pt x="6812959" y="755327"/>
                  <a:pt x="6812959" y="773806"/>
                </a:cubicBezTo>
                <a:cubicBezTo>
                  <a:pt x="6812959" y="792285"/>
                  <a:pt x="6796790" y="808454"/>
                  <a:pt x="6778310" y="808454"/>
                </a:cubicBezTo>
                <a:cubicBezTo>
                  <a:pt x="6759831" y="808454"/>
                  <a:pt x="6743662" y="792285"/>
                  <a:pt x="6743662" y="773806"/>
                </a:cubicBezTo>
                <a:cubicBezTo>
                  <a:pt x="6743662" y="755327"/>
                  <a:pt x="6758675" y="739158"/>
                  <a:pt x="6778310" y="739158"/>
                </a:cubicBezTo>
                <a:close/>
                <a:moveTo>
                  <a:pt x="6206618" y="739158"/>
                </a:moveTo>
                <a:cubicBezTo>
                  <a:pt x="6225097" y="739158"/>
                  <a:pt x="6241265" y="755327"/>
                  <a:pt x="6241265" y="773806"/>
                </a:cubicBezTo>
                <a:cubicBezTo>
                  <a:pt x="6241265" y="792285"/>
                  <a:pt x="6226251" y="808454"/>
                  <a:pt x="6206618" y="808454"/>
                </a:cubicBezTo>
                <a:cubicBezTo>
                  <a:pt x="6188138" y="808454"/>
                  <a:pt x="6171969" y="792285"/>
                  <a:pt x="6171969" y="773806"/>
                </a:cubicBezTo>
                <a:cubicBezTo>
                  <a:pt x="6171969" y="755327"/>
                  <a:pt x="6186984" y="739158"/>
                  <a:pt x="6206618" y="739158"/>
                </a:cubicBezTo>
                <a:close/>
                <a:moveTo>
                  <a:pt x="5626840" y="739158"/>
                </a:moveTo>
                <a:cubicBezTo>
                  <a:pt x="5646475" y="739158"/>
                  <a:pt x="5661488" y="755327"/>
                  <a:pt x="5661488" y="773806"/>
                </a:cubicBezTo>
                <a:cubicBezTo>
                  <a:pt x="5661488" y="792285"/>
                  <a:pt x="5646475" y="808454"/>
                  <a:pt x="5626840" y="808454"/>
                </a:cubicBezTo>
                <a:cubicBezTo>
                  <a:pt x="5608360" y="808454"/>
                  <a:pt x="5592192" y="792285"/>
                  <a:pt x="5592192" y="773806"/>
                </a:cubicBezTo>
                <a:cubicBezTo>
                  <a:pt x="5592192" y="755327"/>
                  <a:pt x="5607207" y="739158"/>
                  <a:pt x="5626840" y="739158"/>
                </a:cubicBezTo>
                <a:close/>
                <a:moveTo>
                  <a:pt x="5075938" y="739158"/>
                </a:moveTo>
                <a:cubicBezTo>
                  <a:pt x="5095571" y="739158"/>
                  <a:pt x="5110584" y="755327"/>
                  <a:pt x="5110584" y="773806"/>
                </a:cubicBezTo>
                <a:cubicBezTo>
                  <a:pt x="5110584" y="792285"/>
                  <a:pt x="5095571" y="808454"/>
                  <a:pt x="5075938" y="808454"/>
                </a:cubicBezTo>
                <a:cubicBezTo>
                  <a:pt x="5057458" y="808454"/>
                  <a:pt x="5041289" y="792285"/>
                  <a:pt x="5041289" y="773806"/>
                </a:cubicBezTo>
                <a:cubicBezTo>
                  <a:pt x="5041289" y="755327"/>
                  <a:pt x="5056302" y="739158"/>
                  <a:pt x="5075938" y="739158"/>
                </a:cubicBezTo>
                <a:close/>
                <a:moveTo>
                  <a:pt x="4499625" y="739158"/>
                </a:moveTo>
                <a:cubicBezTo>
                  <a:pt x="4518102" y="739158"/>
                  <a:pt x="4534273" y="755327"/>
                  <a:pt x="4534273" y="773806"/>
                </a:cubicBezTo>
                <a:cubicBezTo>
                  <a:pt x="4534273" y="792285"/>
                  <a:pt x="4519258" y="808454"/>
                  <a:pt x="4499625" y="808454"/>
                </a:cubicBezTo>
                <a:cubicBezTo>
                  <a:pt x="4481145" y="808454"/>
                  <a:pt x="4464976" y="792285"/>
                  <a:pt x="4464976" y="773806"/>
                </a:cubicBezTo>
                <a:cubicBezTo>
                  <a:pt x="4464976" y="755327"/>
                  <a:pt x="4479992" y="739158"/>
                  <a:pt x="4499625" y="739158"/>
                </a:cubicBezTo>
                <a:close/>
                <a:moveTo>
                  <a:pt x="3948721" y="739158"/>
                </a:moveTo>
                <a:cubicBezTo>
                  <a:pt x="3967200" y="739158"/>
                  <a:pt x="3983369" y="755327"/>
                  <a:pt x="3983369" y="773806"/>
                </a:cubicBezTo>
                <a:cubicBezTo>
                  <a:pt x="3983369" y="792285"/>
                  <a:pt x="3968354" y="808454"/>
                  <a:pt x="3948721" y="808454"/>
                </a:cubicBezTo>
                <a:cubicBezTo>
                  <a:pt x="3930243" y="808454"/>
                  <a:pt x="3914073" y="792285"/>
                  <a:pt x="3914073" y="773806"/>
                </a:cubicBezTo>
                <a:cubicBezTo>
                  <a:pt x="3914073" y="755327"/>
                  <a:pt x="3929086" y="739158"/>
                  <a:pt x="3948721" y="739158"/>
                </a:cubicBezTo>
                <a:close/>
                <a:moveTo>
                  <a:pt x="2165502" y="739158"/>
                </a:moveTo>
                <a:cubicBezTo>
                  <a:pt x="2183981" y="739158"/>
                  <a:pt x="2200150" y="755327"/>
                  <a:pt x="2200150" y="773806"/>
                </a:cubicBezTo>
                <a:cubicBezTo>
                  <a:pt x="2200150" y="792285"/>
                  <a:pt x="2185137" y="808454"/>
                  <a:pt x="2165502" y="808454"/>
                </a:cubicBezTo>
                <a:cubicBezTo>
                  <a:pt x="2147023" y="808454"/>
                  <a:pt x="2130854" y="792285"/>
                  <a:pt x="2130854" y="773806"/>
                </a:cubicBezTo>
                <a:cubicBezTo>
                  <a:pt x="2130854" y="755327"/>
                  <a:pt x="2145868" y="739158"/>
                  <a:pt x="2165502" y="739158"/>
                </a:cubicBezTo>
                <a:close/>
                <a:moveTo>
                  <a:pt x="1593810" y="739158"/>
                </a:moveTo>
                <a:cubicBezTo>
                  <a:pt x="1612288" y="739158"/>
                  <a:pt x="1628457" y="755327"/>
                  <a:pt x="1628457" y="773806"/>
                </a:cubicBezTo>
                <a:cubicBezTo>
                  <a:pt x="1628457" y="792285"/>
                  <a:pt x="1613444" y="808454"/>
                  <a:pt x="1593810" y="808454"/>
                </a:cubicBezTo>
                <a:cubicBezTo>
                  <a:pt x="1575330" y="808454"/>
                  <a:pt x="1559161" y="792285"/>
                  <a:pt x="1559161" y="773806"/>
                </a:cubicBezTo>
                <a:cubicBezTo>
                  <a:pt x="1559161" y="755327"/>
                  <a:pt x="1574176" y="739158"/>
                  <a:pt x="1593810" y="739158"/>
                </a:cubicBezTo>
                <a:close/>
                <a:moveTo>
                  <a:pt x="1014032" y="739158"/>
                </a:moveTo>
                <a:cubicBezTo>
                  <a:pt x="1033667" y="739158"/>
                  <a:pt x="1048681" y="755327"/>
                  <a:pt x="1048681" y="773806"/>
                </a:cubicBezTo>
                <a:cubicBezTo>
                  <a:pt x="1048681" y="792285"/>
                  <a:pt x="1032511" y="808454"/>
                  <a:pt x="1014032" y="808454"/>
                </a:cubicBezTo>
                <a:cubicBezTo>
                  <a:pt x="995554" y="808454"/>
                  <a:pt x="979384" y="792285"/>
                  <a:pt x="979384" y="773806"/>
                </a:cubicBezTo>
                <a:cubicBezTo>
                  <a:pt x="979384" y="755327"/>
                  <a:pt x="994399" y="739158"/>
                  <a:pt x="1014032" y="739158"/>
                </a:cubicBezTo>
                <a:close/>
                <a:moveTo>
                  <a:pt x="463129" y="739158"/>
                </a:moveTo>
                <a:cubicBezTo>
                  <a:pt x="482763" y="739158"/>
                  <a:pt x="497778" y="755327"/>
                  <a:pt x="497778" y="773806"/>
                </a:cubicBezTo>
                <a:cubicBezTo>
                  <a:pt x="497778" y="792285"/>
                  <a:pt x="481608" y="808454"/>
                  <a:pt x="463129" y="808454"/>
                </a:cubicBezTo>
                <a:cubicBezTo>
                  <a:pt x="444651" y="808454"/>
                  <a:pt x="428481" y="792285"/>
                  <a:pt x="428481" y="773806"/>
                </a:cubicBezTo>
                <a:cubicBezTo>
                  <a:pt x="428481" y="755327"/>
                  <a:pt x="443495" y="739158"/>
                  <a:pt x="463129" y="739158"/>
                </a:cubicBezTo>
                <a:close/>
                <a:moveTo>
                  <a:pt x="11245044" y="733384"/>
                </a:moveTo>
                <a:cubicBezTo>
                  <a:pt x="11268143" y="733384"/>
                  <a:pt x="11286622" y="750707"/>
                  <a:pt x="11285466" y="773806"/>
                </a:cubicBezTo>
                <a:cubicBezTo>
                  <a:pt x="11285466" y="795750"/>
                  <a:pt x="11266987" y="814229"/>
                  <a:pt x="11245044" y="814229"/>
                </a:cubicBezTo>
                <a:cubicBezTo>
                  <a:pt x="11223100" y="814229"/>
                  <a:pt x="11204621" y="795750"/>
                  <a:pt x="11204621" y="773806"/>
                </a:cubicBezTo>
                <a:cubicBezTo>
                  <a:pt x="11204621" y="751863"/>
                  <a:pt x="11223100" y="733384"/>
                  <a:pt x="11245044" y="733384"/>
                </a:cubicBezTo>
                <a:close/>
                <a:moveTo>
                  <a:pt x="10970170" y="733384"/>
                </a:moveTo>
                <a:cubicBezTo>
                  <a:pt x="10992113" y="733384"/>
                  <a:pt x="11010592" y="750707"/>
                  <a:pt x="11010592" y="773806"/>
                </a:cubicBezTo>
                <a:cubicBezTo>
                  <a:pt x="11010592" y="795750"/>
                  <a:pt x="10992113" y="814229"/>
                  <a:pt x="10970170" y="814229"/>
                </a:cubicBezTo>
                <a:cubicBezTo>
                  <a:pt x="10948226" y="814229"/>
                  <a:pt x="10929746" y="795750"/>
                  <a:pt x="10929746" y="773806"/>
                </a:cubicBezTo>
                <a:cubicBezTo>
                  <a:pt x="10929746" y="751863"/>
                  <a:pt x="10948226" y="733384"/>
                  <a:pt x="10970170" y="733384"/>
                </a:cubicBezTo>
                <a:close/>
                <a:moveTo>
                  <a:pt x="10094730" y="733384"/>
                </a:moveTo>
                <a:cubicBezTo>
                  <a:pt x="10116673" y="733384"/>
                  <a:pt x="10135152" y="750707"/>
                  <a:pt x="10135152" y="773806"/>
                </a:cubicBezTo>
                <a:cubicBezTo>
                  <a:pt x="10135152" y="795750"/>
                  <a:pt x="10116673" y="814229"/>
                  <a:pt x="10094730" y="814229"/>
                </a:cubicBezTo>
                <a:cubicBezTo>
                  <a:pt x="10072785" y="814229"/>
                  <a:pt x="10054306" y="795750"/>
                  <a:pt x="10054306" y="773806"/>
                </a:cubicBezTo>
                <a:cubicBezTo>
                  <a:pt x="10054306" y="751863"/>
                  <a:pt x="10072785" y="733384"/>
                  <a:pt x="10094730" y="733384"/>
                </a:cubicBezTo>
                <a:close/>
                <a:moveTo>
                  <a:pt x="9818700" y="733384"/>
                </a:moveTo>
                <a:cubicBezTo>
                  <a:pt x="9841798" y="733384"/>
                  <a:pt x="9859123" y="750707"/>
                  <a:pt x="9859123" y="773806"/>
                </a:cubicBezTo>
                <a:cubicBezTo>
                  <a:pt x="9859123" y="795750"/>
                  <a:pt x="9840644" y="814229"/>
                  <a:pt x="9818700" y="814229"/>
                </a:cubicBezTo>
                <a:cubicBezTo>
                  <a:pt x="9796757" y="814229"/>
                  <a:pt x="9778278" y="795750"/>
                  <a:pt x="9778278" y="773806"/>
                </a:cubicBezTo>
                <a:cubicBezTo>
                  <a:pt x="9778278" y="751863"/>
                  <a:pt x="9796757" y="733384"/>
                  <a:pt x="9818700" y="733384"/>
                </a:cubicBezTo>
                <a:close/>
                <a:moveTo>
                  <a:pt x="8974994" y="733384"/>
                </a:moveTo>
                <a:cubicBezTo>
                  <a:pt x="8996938" y="733384"/>
                  <a:pt x="9015416" y="750707"/>
                  <a:pt x="9015416" y="773806"/>
                </a:cubicBezTo>
                <a:cubicBezTo>
                  <a:pt x="9015416" y="795750"/>
                  <a:pt x="8996938" y="814229"/>
                  <a:pt x="8974994" y="814229"/>
                </a:cubicBezTo>
                <a:cubicBezTo>
                  <a:pt x="8953050" y="814229"/>
                  <a:pt x="8934571" y="795750"/>
                  <a:pt x="8934571" y="773806"/>
                </a:cubicBezTo>
                <a:cubicBezTo>
                  <a:pt x="8934571" y="751863"/>
                  <a:pt x="8953050" y="733384"/>
                  <a:pt x="8974994" y="733384"/>
                </a:cubicBezTo>
                <a:close/>
                <a:moveTo>
                  <a:pt x="8698965" y="733384"/>
                </a:moveTo>
                <a:cubicBezTo>
                  <a:pt x="8720909" y="733384"/>
                  <a:pt x="8739388" y="750707"/>
                  <a:pt x="8739388" y="773806"/>
                </a:cubicBezTo>
                <a:cubicBezTo>
                  <a:pt x="8739388" y="795750"/>
                  <a:pt x="8720909" y="814229"/>
                  <a:pt x="8698965" y="814229"/>
                </a:cubicBezTo>
                <a:cubicBezTo>
                  <a:pt x="8677021" y="814229"/>
                  <a:pt x="8658542" y="795750"/>
                  <a:pt x="8658542" y="773806"/>
                </a:cubicBezTo>
                <a:cubicBezTo>
                  <a:pt x="8658542" y="751863"/>
                  <a:pt x="8677021" y="733384"/>
                  <a:pt x="8698965" y="733384"/>
                </a:cubicBezTo>
                <a:close/>
                <a:moveTo>
                  <a:pt x="6639717" y="733384"/>
                </a:moveTo>
                <a:cubicBezTo>
                  <a:pt x="6662817" y="733384"/>
                  <a:pt x="6681296" y="750707"/>
                  <a:pt x="6680139" y="773806"/>
                </a:cubicBezTo>
                <a:cubicBezTo>
                  <a:pt x="6680139" y="795750"/>
                  <a:pt x="6661661" y="814229"/>
                  <a:pt x="6639717" y="814229"/>
                </a:cubicBezTo>
                <a:cubicBezTo>
                  <a:pt x="6617773" y="814229"/>
                  <a:pt x="6599295" y="795750"/>
                  <a:pt x="6599295" y="773806"/>
                </a:cubicBezTo>
                <a:cubicBezTo>
                  <a:pt x="6599295" y="751863"/>
                  <a:pt x="6617773" y="733384"/>
                  <a:pt x="6639717" y="733384"/>
                </a:cubicBezTo>
                <a:close/>
                <a:moveTo>
                  <a:pt x="6364844" y="733384"/>
                </a:moveTo>
                <a:cubicBezTo>
                  <a:pt x="6386786" y="733384"/>
                  <a:pt x="6405265" y="750707"/>
                  <a:pt x="6405265" y="773806"/>
                </a:cubicBezTo>
                <a:cubicBezTo>
                  <a:pt x="6405265" y="795750"/>
                  <a:pt x="6386786" y="814229"/>
                  <a:pt x="6364844" y="814229"/>
                </a:cubicBezTo>
                <a:cubicBezTo>
                  <a:pt x="6342899" y="814229"/>
                  <a:pt x="6324420" y="795750"/>
                  <a:pt x="6324420" y="773806"/>
                </a:cubicBezTo>
                <a:cubicBezTo>
                  <a:pt x="6324420" y="751863"/>
                  <a:pt x="6342899" y="733384"/>
                  <a:pt x="6364844" y="733384"/>
                </a:cubicBezTo>
                <a:close/>
                <a:moveTo>
                  <a:pt x="5489404" y="733384"/>
                </a:moveTo>
                <a:cubicBezTo>
                  <a:pt x="5511346" y="733384"/>
                  <a:pt x="5529826" y="750707"/>
                  <a:pt x="5529826" y="773806"/>
                </a:cubicBezTo>
                <a:cubicBezTo>
                  <a:pt x="5529826" y="795750"/>
                  <a:pt x="5511346" y="814229"/>
                  <a:pt x="5489404" y="814229"/>
                </a:cubicBezTo>
                <a:cubicBezTo>
                  <a:pt x="5467460" y="814229"/>
                  <a:pt x="5448980" y="795750"/>
                  <a:pt x="5448980" y="773806"/>
                </a:cubicBezTo>
                <a:cubicBezTo>
                  <a:pt x="5448980" y="751863"/>
                  <a:pt x="5467460" y="733384"/>
                  <a:pt x="5489404" y="733384"/>
                </a:cubicBezTo>
                <a:close/>
                <a:moveTo>
                  <a:pt x="5213373" y="733384"/>
                </a:moveTo>
                <a:cubicBezTo>
                  <a:pt x="5236473" y="733384"/>
                  <a:pt x="5253797" y="750707"/>
                  <a:pt x="5253797" y="773806"/>
                </a:cubicBezTo>
                <a:cubicBezTo>
                  <a:pt x="5253797" y="795750"/>
                  <a:pt x="5235319" y="814229"/>
                  <a:pt x="5213373" y="814229"/>
                </a:cubicBezTo>
                <a:cubicBezTo>
                  <a:pt x="5191431" y="814229"/>
                  <a:pt x="5172952" y="795750"/>
                  <a:pt x="5172952" y="773806"/>
                </a:cubicBezTo>
                <a:cubicBezTo>
                  <a:pt x="5172952" y="751863"/>
                  <a:pt x="5191431" y="733384"/>
                  <a:pt x="5213373" y="733384"/>
                </a:cubicBezTo>
                <a:close/>
                <a:moveTo>
                  <a:pt x="4361031" y="733384"/>
                </a:moveTo>
                <a:cubicBezTo>
                  <a:pt x="4384131" y="733384"/>
                  <a:pt x="4402610" y="750707"/>
                  <a:pt x="4401455" y="773806"/>
                </a:cubicBezTo>
                <a:cubicBezTo>
                  <a:pt x="4401455" y="795750"/>
                  <a:pt x="4382977" y="814229"/>
                  <a:pt x="4361031" y="814229"/>
                </a:cubicBezTo>
                <a:cubicBezTo>
                  <a:pt x="4339089" y="814229"/>
                  <a:pt x="4320610" y="795750"/>
                  <a:pt x="4320610" y="773806"/>
                </a:cubicBezTo>
                <a:cubicBezTo>
                  <a:pt x="4320610" y="751863"/>
                  <a:pt x="4339089" y="733384"/>
                  <a:pt x="4361031" y="733384"/>
                </a:cubicBezTo>
                <a:close/>
                <a:moveTo>
                  <a:pt x="4086158" y="733384"/>
                </a:moveTo>
                <a:cubicBezTo>
                  <a:pt x="4108102" y="733384"/>
                  <a:pt x="4126582" y="750707"/>
                  <a:pt x="4126582" y="773806"/>
                </a:cubicBezTo>
                <a:cubicBezTo>
                  <a:pt x="4126582" y="795750"/>
                  <a:pt x="4108102" y="814229"/>
                  <a:pt x="4086158" y="814229"/>
                </a:cubicBezTo>
                <a:cubicBezTo>
                  <a:pt x="4064214" y="814229"/>
                  <a:pt x="4045735" y="795750"/>
                  <a:pt x="4045735" y="773806"/>
                </a:cubicBezTo>
                <a:cubicBezTo>
                  <a:pt x="4045735" y="751863"/>
                  <a:pt x="4064214" y="733384"/>
                  <a:pt x="4086158" y="733384"/>
                </a:cubicBezTo>
                <a:close/>
                <a:moveTo>
                  <a:pt x="2026910" y="733384"/>
                </a:moveTo>
                <a:cubicBezTo>
                  <a:pt x="2050009" y="733384"/>
                  <a:pt x="2068488" y="750707"/>
                  <a:pt x="2067332" y="773806"/>
                </a:cubicBezTo>
                <a:cubicBezTo>
                  <a:pt x="2067332" y="795750"/>
                  <a:pt x="2048854" y="814229"/>
                  <a:pt x="2026910" y="814229"/>
                </a:cubicBezTo>
                <a:cubicBezTo>
                  <a:pt x="2004966" y="814229"/>
                  <a:pt x="1986487" y="795750"/>
                  <a:pt x="1986487" y="773806"/>
                </a:cubicBezTo>
                <a:cubicBezTo>
                  <a:pt x="1986487" y="751863"/>
                  <a:pt x="2004966" y="733384"/>
                  <a:pt x="2026910" y="733384"/>
                </a:cubicBezTo>
                <a:close/>
                <a:moveTo>
                  <a:pt x="1752036" y="733384"/>
                </a:moveTo>
                <a:cubicBezTo>
                  <a:pt x="1773979" y="733384"/>
                  <a:pt x="1792458" y="750707"/>
                  <a:pt x="1792458" y="773806"/>
                </a:cubicBezTo>
                <a:cubicBezTo>
                  <a:pt x="1792458" y="795750"/>
                  <a:pt x="1773979" y="814229"/>
                  <a:pt x="1752036" y="814229"/>
                </a:cubicBezTo>
                <a:cubicBezTo>
                  <a:pt x="1730092" y="814229"/>
                  <a:pt x="1711613" y="795750"/>
                  <a:pt x="1711613" y="773806"/>
                </a:cubicBezTo>
                <a:cubicBezTo>
                  <a:pt x="1711613" y="751863"/>
                  <a:pt x="1730092" y="733384"/>
                  <a:pt x="1752036" y="733384"/>
                </a:cubicBezTo>
                <a:close/>
                <a:moveTo>
                  <a:pt x="876596" y="733384"/>
                </a:moveTo>
                <a:cubicBezTo>
                  <a:pt x="898539" y="733384"/>
                  <a:pt x="917018" y="750707"/>
                  <a:pt x="917018" y="773806"/>
                </a:cubicBezTo>
                <a:cubicBezTo>
                  <a:pt x="917018" y="795750"/>
                  <a:pt x="898539" y="814229"/>
                  <a:pt x="876596" y="814229"/>
                </a:cubicBezTo>
                <a:cubicBezTo>
                  <a:pt x="854652" y="814229"/>
                  <a:pt x="836172" y="795750"/>
                  <a:pt x="836172" y="773806"/>
                </a:cubicBezTo>
                <a:cubicBezTo>
                  <a:pt x="836172" y="751863"/>
                  <a:pt x="854652" y="733384"/>
                  <a:pt x="876596" y="733384"/>
                </a:cubicBezTo>
                <a:close/>
                <a:moveTo>
                  <a:pt x="600566" y="733384"/>
                </a:moveTo>
                <a:cubicBezTo>
                  <a:pt x="623665" y="733384"/>
                  <a:pt x="640989" y="750707"/>
                  <a:pt x="640989" y="773806"/>
                </a:cubicBezTo>
                <a:cubicBezTo>
                  <a:pt x="640989" y="795750"/>
                  <a:pt x="622510" y="814229"/>
                  <a:pt x="600566" y="814229"/>
                </a:cubicBezTo>
                <a:cubicBezTo>
                  <a:pt x="578623" y="814229"/>
                  <a:pt x="560144" y="795750"/>
                  <a:pt x="560144" y="773806"/>
                </a:cubicBezTo>
                <a:cubicBezTo>
                  <a:pt x="560144" y="751863"/>
                  <a:pt x="578623" y="733384"/>
                  <a:pt x="600566" y="733384"/>
                </a:cubicBezTo>
                <a:close/>
                <a:moveTo>
                  <a:pt x="11107606" y="721834"/>
                </a:moveTo>
                <a:cubicBezTo>
                  <a:pt x="11136480" y="721834"/>
                  <a:pt x="11159579" y="744933"/>
                  <a:pt x="11158424" y="772651"/>
                </a:cubicBezTo>
                <a:cubicBezTo>
                  <a:pt x="11158424" y="800370"/>
                  <a:pt x="11136480" y="823468"/>
                  <a:pt x="11107606" y="823468"/>
                </a:cubicBezTo>
                <a:cubicBezTo>
                  <a:pt x="11079888" y="823468"/>
                  <a:pt x="11056789" y="801524"/>
                  <a:pt x="11056789" y="772651"/>
                </a:cubicBezTo>
                <a:cubicBezTo>
                  <a:pt x="11056789" y="744933"/>
                  <a:pt x="11078734" y="721834"/>
                  <a:pt x="11107606" y="721834"/>
                </a:cubicBezTo>
                <a:close/>
                <a:moveTo>
                  <a:pt x="9957292" y="721834"/>
                </a:moveTo>
                <a:cubicBezTo>
                  <a:pt x="9985010" y="721834"/>
                  <a:pt x="10008109" y="744933"/>
                  <a:pt x="10008109" y="772651"/>
                </a:cubicBezTo>
                <a:cubicBezTo>
                  <a:pt x="10008109" y="800370"/>
                  <a:pt x="9985010" y="823468"/>
                  <a:pt x="9957292" y="823468"/>
                </a:cubicBezTo>
                <a:cubicBezTo>
                  <a:pt x="9929574" y="823468"/>
                  <a:pt x="9906475" y="801524"/>
                  <a:pt x="9906475" y="772651"/>
                </a:cubicBezTo>
                <a:cubicBezTo>
                  <a:pt x="9906475" y="744933"/>
                  <a:pt x="9928419" y="721834"/>
                  <a:pt x="9957292" y="721834"/>
                </a:cubicBezTo>
                <a:close/>
                <a:moveTo>
                  <a:pt x="8836402" y="721834"/>
                </a:moveTo>
                <a:cubicBezTo>
                  <a:pt x="8865275" y="721834"/>
                  <a:pt x="8888374" y="744933"/>
                  <a:pt x="8887219" y="772651"/>
                </a:cubicBezTo>
                <a:cubicBezTo>
                  <a:pt x="8887219" y="800370"/>
                  <a:pt x="8864121" y="823468"/>
                  <a:pt x="8836402" y="823468"/>
                </a:cubicBezTo>
                <a:cubicBezTo>
                  <a:pt x="8808684" y="823468"/>
                  <a:pt x="8785585" y="801524"/>
                  <a:pt x="8785585" y="772651"/>
                </a:cubicBezTo>
                <a:cubicBezTo>
                  <a:pt x="8785585" y="744933"/>
                  <a:pt x="8807528" y="721834"/>
                  <a:pt x="8836402" y="721834"/>
                </a:cubicBezTo>
                <a:close/>
                <a:moveTo>
                  <a:pt x="6502281" y="721834"/>
                </a:moveTo>
                <a:cubicBezTo>
                  <a:pt x="6531154" y="721834"/>
                  <a:pt x="6554254" y="744933"/>
                  <a:pt x="6553098" y="772651"/>
                </a:cubicBezTo>
                <a:cubicBezTo>
                  <a:pt x="6553098" y="800370"/>
                  <a:pt x="6531154" y="823468"/>
                  <a:pt x="6502281" y="823468"/>
                </a:cubicBezTo>
                <a:cubicBezTo>
                  <a:pt x="6474562" y="823468"/>
                  <a:pt x="6451462" y="801524"/>
                  <a:pt x="6451462" y="772651"/>
                </a:cubicBezTo>
                <a:cubicBezTo>
                  <a:pt x="6451462" y="744933"/>
                  <a:pt x="6473407" y="721834"/>
                  <a:pt x="6502281" y="721834"/>
                </a:cubicBezTo>
                <a:close/>
                <a:moveTo>
                  <a:pt x="5351966" y="721834"/>
                </a:moveTo>
                <a:cubicBezTo>
                  <a:pt x="5379684" y="721834"/>
                  <a:pt x="5402784" y="744933"/>
                  <a:pt x="5402784" y="772651"/>
                </a:cubicBezTo>
                <a:cubicBezTo>
                  <a:pt x="5402784" y="800370"/>
                  <a:pt x="5380840" y="823468"/>
                  <a:pt x="5351966" y="823468"/>
                </a:cubicBezTo>
                <a:cubicBezTo>
                  <a:pt x="5324247" y="823468"/>
                  <a:pt x="5301149" y="801524"/>
                  <a:pt x="5301149" y="772651"/>
                </a:cubicBezTo>
                <a:cubicBezTo>
                  <a:pt x="5301149" y="744933"/>
                  <a:pt x="5323094" y="721834"/>
                  <a:pt x="5351966" y="721834"/>
                </a:cubicBezTo>
                <a:close/>
                <a:moveTo>
                  <a:pt x="4223596" y="721834"/>
                </a:moveTo>
                <a:cubicBezTo>
                  <a:pt x="4252468" y="721834"/>
                  <a:pt x="4275566" y="744933"/>
                  <a:pt x="4274413" y="772651"/>
                </a:cubicBezTo>
                <a:cubicBezTo>
                  <a:pt x="4274413" y="800370"/>
                  <a:pt x="4251315" y="823468"/>
                  <a:pt x="4223596" y="823468"/>
                </a:cubicBezTo>
                <a:cubicBezTo>
                  <a:pt x="4195877" y="823468"/>
                  <a:pt x="4172779" y="801524"/>
                  <a:pt x="4172779" y="772651"/>
                </a:cubicBezTo>
                <a:cubicBezTo>
                  <a:pt x="4172779" y="744933"/>
                  <a:pt x="4194721" y="721834"/>
                  <a:pt x="4223596" y="721834"/>
                </a:cubicBezTo>
                <a:close/>
                <a:moveTo>
                  <a:pt x="1889473" y="721834"/>
                </a:moveTo>
                <a:cubicBezTo>
                  <a:pt x="1918346" y="721834"/>
                  <a:pt x="1941445" y="744933"/>
                  <a:pt x="1940290" y="772651"/>
                </a:cubicBezTo>
                <a:cubicBezTo>
                  <a:pt x="1940290" y="800370"/>
                  <a:pt x="1918346" y="823468"/>
                  <a:pt x="1889473" y="823468"/>
                </a:cubicBezTo>
                <a:cubicBezTo>
                  <a:pt x="1861754" y="823468"/>
                  <a:pt x="1838656" y="801524"/>
                  <a:pt x="1838656" y="772651"/>
                </a:cubicBezTo>
                <a:cubicBezTo>
                  <a:pt x="1838656" y="744933"/>
                  <a:pt x="1860600" y="721834"/>
                  <a:pt x="1889473" y="721834"/>
                </a:cubicBezTo>
                <a:close/>
                <a:moveTo>
                  <a:pt x="739158" y="721834"/>
                </a:moveTo>
                <a:cubicBezTo>
                  <a:pt x="766877" y="721834"/>
                  <a:pt x="789975" y="744933"/>
                  <a:pt x="789975" y="772651"/>
                </a:cubicBezTo>
                <a:cubicBezTo>
                  <a:pt x="789975" y="800370"/>
                  <a:pt x="766877" y="823468"/>
                  <a:pt x="739158" y="823468"/>
                </a:cubicBezTo>
                <a:cubicBezTo>
                  <a:pt x="711440" y="823468"/>
                  <a:pt x="688341" y="801524"/>
                  <a:pt x="688341" y="772651"/>
                </a:cubicBezTo>
                <a:cubicBezTo>
                  <a:pt x="688341" y="744933"/>
                  <a:pt x="710285" y="721834"/>
                  <a:pt x="739158" y="721834"/>
                </a:cubicBezTo>
                <a:close/>
                <a:moveTo>
                  <a:pt x="12227892" y="608651"/>
                </a:moveTo>
                <a:cubicBezTo>
                  <a:pt x="12238288" y="608651"/>
                  <a:pt x="12248682" y="617890"/>
                  <a:pt x="12248682" y="629440"/>
                </a:cubicBezTo>
                <a:cubicBezTo>
                  <a:pt x="12248682" y="640989"/>
                  <a:pt x="12239442" y="650228"/>
                  <a:pt x="12227892" y="650228"/>
                </a:cubicBezTo>
                <a:cubicBezTo>
                  <a:pt x="12216343" y="650228"/>
                  <a:pt x="12207104" y="640989"/>
                  <a:pt x="12207104" y="629440"/>
                </a:cubicBezTo>
                <a:cubicBezTo>
                  <a:pt x="12207104" y="617890"/>
                  <a:pt x="12216343" y="608651"/>
                  <a:pt x="12227892" y="608651"/>
                </a:cubicBezTo>
                <a:close/>
                <a:moveTo>
                  <a:pt x="12091610" y="608651"/>
                </a:moveTo>
                <a:cubicBezTo>
                  <a:pt x="12103160" y="608651"/>
                  <a:pt x="12112399" y="617890"/>
                  <a:pt x="12112399" y="629440"/>
                </a:cubicBezTo>
                <a:cubicBezTo>
                  <a:pt x="12112399" y="640989"/>
                  <a:pt x="12103160" y="650228"/>
                  <a:pt x="12091610" y="650228"/>
                </a:cubicBezTo>
                <a:cubicBezTo>
                  <a:pt x="12080061" y="650228"/>
                  <a:pt x="12070822" y="640989"/>
                  <a:pt x="12070822" y="629440"/>
                </a:cubicBezTo>
                <a:cubicBezTo>
                  <a:pt x="12070822" y="617890"/>
                  <a:pt x="12080061" y="608651"/>
                  <a:pt x="12091610" y="608651"/>
                </a:cubicBezTo>
                <a:close/>
                <a:moveTo>
                  <a:pt x="11956484" y="608651"/>
                </a:moveTo>
                <a:cubicBezTo>
                  <a:pt x="11968033" y="608651"/>
                  <a:pt x="11977272" y="617890"/>
                  <a:pt x="11977272" y="629440"/>
                </a:cubicBezTo>
                <a:cubicBezTo>
                  <a:pt x="11977272" y="640989"/>
                  <a:pt x="11968033" y="650228"/>
                  <a:pt x="11956484" y="650228"/>
                </a:cubicBezTo>
                <a:cubicBezTo>
                  <a:pt x="11944934" y="650228"/>
                  <a:pt x="11935695" y="640989"/>
                  <a:pt x="11935695" y="629440"/>
                </a:cubicBezTo>
                <a:cubicBezTo>
                  <a:pt x="11935695" y="617890"/>
                  <a:pt x="11944934" y="608651"/>
                  <a:pt x="11956484" y="608651"/>
                </a:cubicBezTo>
                <a:close/>
                <a:moveTo>
                  <a:pt x="11821356" y="608651"/>
                </a:moveTo>
                <a:cubicBezTo>
                  <a:pt x="11832905" y="608651"/>
                  <a:pt x="11842144" y="617890"/>
                  <a:pt x="11842144" y="629440"/>
                </a:cubicBezTo>
                <a:cubicBezTo>
                  <a:pt x="11842144" y="640989"/>
                  <a:pt x="11832905" y="650228"/>
                  <a:pt x="11821356" y="650228"/>
                </a:cubicBezTo>
                <a:cubicBezTo>
                  <a:pt x="11809806" y="650228"/>
                  <a:pt x="11800567" y="640989"/>
                  <a:pt x="11800567" y="629440"/>
                </a:cubicBezTo>
                <a:cubicBezTo>
                  <a:pt x="11800567" y="617890"/>
                  <a:pt x="11809806" y="608651"/>
                  <a:pt x="11821356" y="608651"/>
                </a:cubicBezTo>
                <a:close/>
                <a:moveTo>
                  <a:pt x="11685074" y="608651"/>
                </a:moveTo>
                <a:cubicBezTo>
                  <a:pt x="11696623" y="608651"/>
                  <a:pt x="11705862" y="617890"/>
                  <a:pt x="11705862" y="629440"/>
                </a:cubicBezTo>
                <a:cubicBezTo>
                  <a:pt x="11705862" y="640989"/>
                  <a:pt x="11696623" y="650228"/>
                  <a:pt x="11685074" y="650228"/>
                </a:cubicBezTo>
                <a:cubicBezTo>
                  <a:pt x="11673524" y="650228"/>
                  <a:pt x="11664285" y="640989"/>
                  <a:pt x="11664285" y="629440"/>
                </a:cubicBezTo>
                <a:cubicBezTo>
                  <a:pt x="11664285" y="617890"/>
                  <a:pt x="11673524" y="608651"/>
                  <a:pt x="11685074" y="608651"/>
                </a:cubicBezTo>
                <a:close/>
                <a:moveTo>
                  <a:pt x="10736873" y="608651"/>
                </a:moveTo>
                <a:cubicBezTo>
                  <a:pt x="10748422" y="608651"/>
                  <a:pt x="10757662" y="617890"/>
                  <a:pt x="10757662" y="629440"/>
                </a:cubicBezTo>
                <a:cubicBezTo>
                  <a:pt x="10757662" y="640989"/>
                  <a:pt x="10748422" y="650228"/>
                  <a:pt x="10736873" y="650228"/>
                </a:cubicBezTo>
                <a:cubicBezTo>
                  <a:pt x="10725324" y="650228"/>
                  <a:pt x="10716084" y="640989"/>
                  <a:pt x="10716084" y="629440"/>
                </a:cubicBezTo>
                <a:cubicBezTo>
                  <a:pt x="10716084" y="617890"/>
                  <a:pt x="10725324" y="608651"/>
                  <a:pt x="10736873" y="608651"/>
                </a:cubicBezTo>
                <a:close/>
                <a:moveTo>
                  <a:pt x="10601745" y="608651"/>
                </a:moveTo>
                <a:cubicBezTo>
                  <a:pt x="10613294" y="608651"/>
                  <a:pt x="10622534" y="617890"/>
                  <a:pt x="10622534" y="629440"/>
                </a:cubicBezTo>
                <a:cubicBezTo>
                  <a:pt x="10622534" y="640989"/>
                  <a:pt x="10613294" y="650228"/>
                  <a:pt x="10601745" y="650228"/>
                </a:cubicBezTo>
                <a:cubicBezTo>
                  <a:pt x="10590196" y="650228"/>
                  <a:pt x="10580956" y="640989"/>
                  <a:pt x="10580956" y="629440"/>
                </a:cubicBezTo>
                <a:cubicBezTo>
                  <a:pt x="10580956" y="617890"/>
                  <a:pt x="10590196" y="608651"/>
                  <a:pt x="10601745" y="608651"/>
                </a:cubicBezTo>
                <a:close/>
                <a:moveTo>
                  <a:pt x="8027949" y="608651"/>
                </a:moveTo>
                <a:cubicBezTo>
                  <a:pt x="8039499" y="608651"/>
                  <a:pt x="8048737" y="617890"/>
                  <a:pt x="8048737" y="629440"/>
                </a:cubicBezTo>
                <a:cubicBezTo>
                  <a:pt x="8048737" y="640989"/>
                  <a:pt x="8039499" y="650228"/>
                  <a:pt x="8027949" y="650228"/>
                </a:cubicBezTo>
                <a:cubicBezTo>
                  <a:pt x="8016400" y="650228"/>
                  <a:pt x="8007160" y="640989"/>
                  <a:pt x="8007160" y="629440"/>
                </a:cubicBezTo>
                <a:cubicBezTo>
                  <a:pt x="8007160" y="617890"/>
                  <a:pt x="8016400" y="608651"/>
                  <a:pt x="8027949" y="608651"/>
                </a:cubicBezTo>
                <a:close/>
                <a:moveTo>
                  <a:pt x="7892822" y="608651"/>
                </a:moveTo>
                <a:cubicBezTo>
                  <a:pt x="7904371" y="608651"/>
                  <a:pt x="7913611" y="617890"/>
                  <a:pt x="7913611" y="629440"/>
                </a:cubicBezTo>
                <a:cubicBezTo>
                  <a:pt x="7913611" y="640989"/>
                  <a:pt x="7904371" y="650228"/>
                  <a:pt x="7892822" y="650228"/>
                </a:cubicBezTo>
                <a:cubicBezTo>
                  <a:pt x="7881271" y="650228"/>
                  <a:pt x="7872031" y="640989"/>
                  <a:pt x="7872031" y="629440"/>
                </a:cubicBezTo>
                <a:cubicBezTo>
                  <a:pt x="7872031" y="617890"/>
                  <a:pt x="7881271" y="608651"/>
                  <a:pt x="7892822" y="608651"/>
                </a:cubicBezTo>
                <a:close/>
                <a:moveTo>
                  <a:pt x="7757693" y="608651"/>
                </a:moveTo>
                <a:cubicBezTo>
                  <a:pt x="7769244" y="608651"/>
                  <a:pt x="7778483" y="617890"/>
                  <a:pt x="7778483" y="629440"/>
                </a:cubicBezTo>
                <a:cubicBezTo>
                  <a:pt x="7778483" y="640989"/>
                  <a:pt x="7769244" y="650228"/>
                  <a:pt x="7757693" y="650228"/>
                </a:cubicBezTo>
                <a:cubicBezTo>
                  <a:pt x="7746146" y="650228"/>
                  <a:pt x="7736906" y="640989"/>
                  <a:pt x="7736906" y="629440"/>
                </a:cubicBezTo>
                <a:cubicBezTo>
                  <a:pt x="7736906" y="617890"/>
                  <a:pt x="7746146" y="608651"/>
                  <a:pt x="7757693" y="608651"/>
                </a:cubicBezTo>
                <a:close/>
                <a:moveTo>
                  <a:pt x="7622566" y="608651"/>
                </a:moveTo>
                <a:cubicBezTo>
                  <a:pt x="7632962" y="608651"/>
                  <a:pt x="7643355" y="617890"/>
                  <a:pt x="7643355" y="629440"/>
                </a:cubicBezTo>
                <a:cubicBezTo>
                  <a:pt x="7643355" y="640989"/>
                  <a:pt x="7634115" y="650228"/>
                  <a:pt x="7622566" y="650228"/>
                </a:cubicBezTo>
                <a:cubicBezTo>
                  <a:pt x="7611018" y="650228"/>
                  <a:pt x="7601778" y="640989"/>
                  <a:pt x="7601778" y="629440"/>
                </a:cubicBezTo>
                <a:cubicBezTo>
                  <a:pt x="7601778" y="617890"/>
                  <a:pt x="7611018" y="608651"/>
                  <a:pt x="7622566" y="608651"/>
                </a:cubicBezTo>
                <a:close/>
                <a:moveTo>
                  <a:pt x="7486284" y="608651"/>
                </a:moveTo>
                <a:cubicBezTo>
                  <a:pt x="7497834" y="608651"/>
                  <a:pt x="7507074" y="617890"/>
                  <a:pt x="7507074" y="629440"/>
                </a:cubicBezTo>
                <a:cubicBezTo>
                  <a:pt x="7507074" y="640989"/>
                  <a:pt x="7497834" y="650228"/>
                  <a:pt x="7486284" y="650228"/>
                </a:cubicBezTo>
                <a:cubicBezTo>
                  <a:pt x="7474735" y="650228"/>
                  <a:pt x="7465495" y="640989"/>
                  <a:pt x="7465495" y="629440"/>
                </a:cubicBezTo>
                <a:cubicBezTo>
                  <a:pt x="7465495" y="617890"/>
                  <a:pt x="7474735" y="608651"/>
                  <a:pt x="7486284" y="608651"/>
                </a:cubicBezTo>
                <a:close/>
                <a:moveTo>
                  <a:pt x="7351157" y="608651"/>
                </a:moveTo>
                <a:cubicBezTo>
                  <a:pt x="7362706" y="608651"/>
                  <a:pt x="7371946" y="617890"/>
                  <a:pt x="7371946" y="629440"/>
                </a:cubicBezTo>
                <a:cubicBezTo>
                  <a:pt x="7371946" y="640989"/>
                  <a:pt x="7362706" y="650228"/>
                  <a:pt x="7351157" y="650228"/>
                </a:cubicBezTo>
                <a:cubicBezTo>
                  <a:pt x="7339609" y="650228"/>
                  <a:pt x="7330369" y="640989"/>
                  <a:pt x="7330369" y="629440"/>
                </a:cubicBezTo>
                <a:cubicBezTo>
                  <a:pt x="7330369" y="617890"/>
                  <a:pt x="7339609" y="608651"/>
                  <a:pt x="7351157" y="608651"/>
                </a:cubicBezTo>
                <a:close/>
                <a:moveTo>
                  <a:pt x="7216030" y="608651"/>
                </a:moveTo>
                <a:cubicBezTo>
                  <a:pt x="7227579" y="608651"/>
                  <a:pt x="7236819" y="617890"/>
                  <a:pt x="7236819" y="629440"/>
                </a:cubicBezTo>
                <a:cubicBezTo>
                  <a:pt x="7236819" y="640989"/>
                  <a:pt x="7227579" y="650228"/>
                  <a:pt x="7216030" y="650228"/>
                </a:cubicBezTo>
                <a:cubicBezTo>
                  <a:pt x="7204481" y="650228"/>
                  <a:pt x="7195241" y="640989"/>
                  <a:pt x="7195241" y="629440"/>
                </a:cubicBezTo>
                <a:cubicBezTo>
                  <a:pt x="7195241" y="617890"/>
                  <a:pt x="7204481" y="608651"/>
                  <a:pt x="7216030" y="608651"/>
                </a:cubicBezTo>
                <a:close/>
                <a:moveTo>
                  <a:pt x="7079748" y="608651"/>
                </a:moveTo>
                <a:cubicBezTo>
                  <a:pt x="7091297" y="608651"/>
                  <a:pt x="7100537" y="617890"/>
                  <a:pt x="7100537" y="629440"/>
                </a:cubicBezTo>
                <a:cubicBezTo>
                  <a:pt x="7100537" y="640989"/>
                  <a:pt x="7091297" y="650228"/>
                  <a:pt x="7079748" y="650228"/>
                </a:cubicBezTo>
                <a:cubicBezTo>
                  <a:pt x="7068199" y="650228"/>
                  <a:pt x="7058959" y="640989"/>
                  <a:pt x="7058959" y="629440"/>
                </a:cubicBezTo>
                <a:cubicBezTo>
                  <a:pt x="7058959" y="617890"/>
                  <a:pt x="7068199" y="608651"/>
                  <a:pt x="7079748" y="608651"/>
                </a:cubicBezTo>
                <a:close/>
                <a:moveTo>
                  <a:pt x="6131548" y="608651"/>
                </a:moveTo>
                <a:cubicBezTo>
                  <a:pt x="6143096" y="608651"/>
                  <a:pt x="6152336" y="617890"/>
                  <a:pt x="6152336" y="629440"/>
                </a:cubicBezTo>
                <a:cubicBezTo>
                  <a:pt x="6152336" y="640989"/>
                  <a:pt x="6143096" y="650228"/>
                  <a:pt x="6131548" y="650228"/>
                </a:cubicBezTo>
                <a:cubicBezTo>
                  <a:pt x="6119997" y="650228"/>
                  <a:pt x="6110759" y="640989"/>
                  <a:pt x="6110759" y="629440"/>
                </a:cubicBezTo>
                <a:cubicBezTo>
                  <a:pt x="6110759" y="617890"/>
                  <a:pt x="6119997" y="608651"/>
                  <a:pt x="6131548" y="608651"/>
                </a:cubicBezTo>
                <a:close/>
                <a:moveTo>
                  <a:pt x="5996418" y="608651"/>
                </a:moveTo>
                <a:cubicBezTo>
                  <a:pt x="6007969" y="608651"/>
                  <a:pt x="6017209" y="617890"/>
                  <a:pt x="6017209" y="629440"/>
                </a:cubicBezTo>
                <a:cubicBezTo>
                  <a:pt x="6017209" y="640989"/>
                  <a:pt x="6007969" y="650228"/>
                  <a:pt x="5996418" y="650228"/>
                </a:cubicBezTo>
                <a:cubicBezTo>
                  <a:pt x="5984870" y="650228"/>
                  <a:pt x="5975630" y="640989"/>
                  <a:pt x="5975630" y="629440"/>
                </a:cubicBezTo>
                <a:cubicBezTo>
                  <a:pt x="5975630" y="617890"/>
                  <a:pt x="5984870" y="608651"/>
                  <a:pt x="5996418" y="608651"/>
                </a:cubicBezTo>
                <a:close/>
                <a:moveTo>
                  <a:pt x="3415142" y="608651"/>
                </a:moveTo>
                <a:cubicBezTo>
                  <a:pt x="3426691" y="608651"/>
                  <a:pt x="3435930" y="617890"/>
                  <a:pt x="3435930" y="629440"/>
                </a:cubicBezTo>
                <a:cubicBezTo>
                  <a:pt x="3435930" y="640989"/>
                  <a:pt x="3426691" y="650228"/>
                  <a:pt x="3415142" y="650228"/>
                </a:cubicBezTo>
                <a:cubicBezTo>
                  <a:pt x="3403592" y="650228"/>
                  <a:pt x="3394352" y="640989"/>
                  <a:pt x="3394352" y="629440"/>
                </a:cubicBezTo>
                <a:cubicBezTo>
                  <a:pt x="3394352" y="617890"/>
                  <a:pt x="3403592" y="608651"/>
                  <a:pt x="3415142" y="608651"/>
                </a:cubicBezTo>
                <a:close/>
                <a:moveTo>
                  <a:pt x="3280013" y="608651"/>
                </a:moveTo>
                <a:cubicBezTo>
                  <a:pt x="3291564" y="608651"/>
                  <a:pt x="3300802" y="617890"/>
                  <a:pt x="3300802" y="629440"/>
                </a:cubicBezTo>
                <a:cubicBezTo>
                  <a:pt x="3300802" y="640989"/>
                  <a:pt x="3291564" y="650228"/>
                  <a:pt x="3280013" y="650228"/>
                </a:cubicBezTo>
                <a:cubicBezTo>
                  <a:pt x="3268464" y="650228"/>
                  <a:pt x="3259224" y="640989"/>
                  <a:pt x="3259224" y="629440"/>
                </a:cubicBezTo>
                <a:cubicBezTo>
                  <a:pt x="3259224" y="617890"/>
                  <a:pt x="3268464" y="608651"/>
                  <a:pt x="3280013" y="608651"/>
                </a:cubicBezTo>
                <a:close/>
                <a:moveTo>
                  <a:pt x="3144887" y="608651"/>
                </a:moveTo>
                <a:cubicBezTo>
                  <a:pt x="3156436" y="608651"/>
                  <a:pt x="3165675" y="617890"/>
                  <a:pt x="3165675" y="629440"/>
                </a:cubicBezTo>
                <a:cubicBezTo>
                  <a:pt x="3165675" y="640989"/>
                  <a:pt x="3156436" y="650228"/>
                  <a:pt x="3144887" y="650228"/>
                </a:cubicBezTo>
                <a:cubicBezTo>
                  <a:pt x="3133338" y="650228"/>
                  <a:pt x="3124098" y="640989"/>
                  <a:pt x="3124098" y="629440"/>
                </a:cubicBezTo>
                <a:cubicBezTo>
                  <a:pt x="3124098" y="617890"/>
                  <a:pt x="3133338" y="608651"/>
                  <a:pt x="3144887" y="608651"/>
                </a:cubicBezTo>
                <a:close/>
                <a:moveTo>
                  <a:pt x="3009759" y="608651"/>
                </a:moveTo>
                <a:cubicBezTo>
                  <a:pt x="3020154" y="608651"/>
                  <a:pt x="3030548" y="617890"/>
                  <a:pt x="3030548" y="629440"/>
                </a:cubicBezTo>
                <a:cubicBezTo>
                  <a:pt x="3030548" y="640989"/>
                  <a:pt x="3021308" y="650228"/>
                  <a:pt x="3009759" y="650228"/>
                </a:cubicBezTo>
                <a:cubicBezTo>
                  <a:pt x="2998209" y="650228"/>
                  <a:pt x="2988971" y="640989"/>
                  <a:pt x="2988971" y="629440"/>
                </a:cubicBezTo>
                <a:cubicBezTo>
                  <a:pt x="2988971" y="617890"/>
                  <a:pt x="2998209" y="608651"/>
                  <a:pt x="3009759" y="608651"/>
                </a:cubicBezTo>
                <a:close/>
                <a:moveTo>
                  <a:pt x="2873476" y="608651"/>
                </a:moveTo>
                <a:cubicBezTo>
                  <a:pt x="2885026" y="608651"/>
                  <a:pt x="2894265" y="617890"/>
                  <a:pt x="2894265" y="629440"/>
                </a:cubicBezTo>
                <a:cubicBezTo>
                  <a:pt x="2894265" y="640989"/>
                  <a:pt x="2885026" y="650228"/>
                  <a:pt x="2873476" y="650228"/>
                </a:cubicBezTo>
                <a:cubicBezTo>
                  <a:pt x="2861927" y="650228"/>
                  <a:pt x="2852688" y="640989"/>
                  <a:pt x="2852688" y="629440"/>
                </a:cubicBezTo>
                <a:cubicBezTo>
                  <a:pt x="2852688" y="617890"/>
                  <a:pt x="2861927" y="608651"/>
                  <a:pt x="2873476" y="608651"/>
                </a:cubicBezTo>
                <a:close/>
                <a:moveTo>
                  <a:pt x="2738350" y="608651"/>
                </a:moveTo>
                <a:cubicBezTo>
                  <a:pt x="2749899" y="608651"/>
                  <a:pt x="2759139" y="617890"/>
                  <a:pt x="2759139" y="629440"/>
                </a:cubicBezTo>
                <a:cubicBezTo>
                  <a:pt x="2759139" y="640989"/>
                  <a:pt x="2749899" y="650228"/>
                  <a:pt x="2738350" y="650228"/>
                </a:cubicBezTo>
                <a:cubicBezTo>
                  <a:pt x="2726800" y="650228"/>
                  <a:pt x="2717562" y="640989"/>
                  <a:pt x="2717562" y="629440"/>
                </a:cubicBezTo>
                <a:cubicBezTo>
                  <a:pt x="2717562" y="617890"/>
                  <a:pt x="2726800" y="608651"/>
                  <a:pt x="2738350" y="608651"/>
                </a:cubicBezTo>
                <a:close/>
                <a:moveTo>
                  <a:pt x="2603222" y="608651"/>
                </a:moveTo>
                <a:cubicBezTo>
                  <a:pt x="2614771" y="608651"/>
                  <a:pt x="2624011" y="617890"/>
                  <a:pt x="2624011" y="629440"/>
                </a:cubicBezTo>
                <a:cubicBezTo>
                  <a:pt x="2624011" y="640989"/>
                  <a:pt x="2614771" y="650228"/>
                  <a:pt x="2603222" y="650228"/>
                </a:cubicBezTo>
                <a:cubicBezTo>
                  <a:pt x="2591673" y="650228"/>
                  <a:pt x="2582433" y="640989"/>
                  <a:pt x="2582433" y="629440"/>
                </a:cubicBezTo>
                <a:cubicBezTo>
                  <a:pt x="2582433" y="617890"/>
                  <a:pt x="2591673" y="608651"/>
                  <a:pt x="2603222" y="608651"/>
                </a:cubicBezTo>
                <a:close/>
                <a:moveTo>
                  <a:pt x="2466940" y="608651"/>
                </a:moveTo>
                <a:cubicBezTo>
                  <a:pt x="2478489" y="608651"/>
                  <a:pt x="2487729" y="617890"/>
                  <a:pt x="2487729" y="629440"/>
                </a:cubicBezTo>
                <a:cubicBezTo>
                  <a:pt x="2487729" y="640989"/>
                  <a:pt x="2478489" y="650228"/>
                  <a:pt x="2466940" y="650228"/>
                </a:cubicBezTo>
                <a:cubicBezTo>
                  <a:pt x="2455390" y="650228"/>
                  <a:pt x="2446151" y="640989"/>
                  <a:pt x="2446151" y="629440"/>
                </a:cubicBezTo>
                <a:cubicBezTo>
                  <a:pt x="2446151" y="617890"/>
                  <a:pt x="2455390" y="608651"/>
                  <a:pt x="2466940" y="608651"/>
                </a:cubicBezTo>
                <a:close/>
                <a:moveTo>
                  <a:pt x="1518739" y="608651"/>
                </a:moveTo>
                <a:cubicBezTo>
                  <a:pt x="1530289" y="608651"/>
                  <a:pt x="1539528" y="617890"/>
                  <a:pt x="1539528" y="629440"/>
                </a:cubicBezTo>
                <a:cubicBezTo>
                  <a:pt x="1539528" y="640989"/>
                  <a:pt x="1530289" y="650228"/>
                  <a:pt x="1518739" y="650228"/>
                </a:cubicBezTo>
                <a:cubicBezTo>
                  <a:pt x="1507190" y="650228"/>
                  <a:pt x="1497951" y="640989"/>
                  <a:pt x="1497951" y="629440"/>
                </a:cubicBezTo>
                <a:cubicBezTo>
                  <a:pt x="1497951" y="617890"/>
                  <a:pt x="1507190" y="608651"/>
                  <a:pt x="1518739" y="608651"/>
                </a:cubicBezTo>
                <a:close/>
                <a:moveTo>
                  <a:pt x="1383611" y="608651"/>
                </a:moveTo>
                <a:cubicBezTo>
                  <a:pt x="1395161" y="608651"/>
                  <a:pt x="1404400" y="617890"/>
                  <a:pt x="1404400" y="629440"/>
                </a:cubicBezTo>
                <a:cubicBezTo>
                  <a:pt x="1404400" y="640989"/>
                  <a:pt x="1395161" y="650228"/>
                  <a:pt x="1383611" y="650228"/>
                </a:cubicBezTo>
                <a:cubicBezTo>
                  <a:pt x="1372062" y="650228"/>
                  <a:pt x="1362823" y="640989"/>
                  <a:pt x="1362823" y="629440"/>
                </a:cubicBezTo>
                <a:cubicBezTo>
                  <a:pt x="1362823" y="617890"/>
                  <a:pt x="1372062" y="608651"/>
                  <a:pt x="1383611" y="608651"/>
                </a:cubicBezTo>
                <a:close/>
                <a:moveTo>
                  <a:pt x="11549947" y="606341"/>
                </a:moveTo>
                <a:cubicBezTo>
                  <a:pt x="11562650" y="606341"/>
                  <a:pt x="11573046" y="616735"/>
                  <a:pt x="11573046" y="629440"/>
                </a:cubicBezTo>
                <a:cubicBezTo>
                  <a:pt x="11573046" y="642143"/>
                  <a:pt x="11562650" y="652538"/>
                  <a:pt x="11549947" y="652538"/>
                </a:cubicBezTo>
                <a:cubicBezTo>
                  <a:pt x="11537242" y="652538"/>
                  <a:pt x="11526848" y="642143"/>
                  <a:pt x="11526848" y="629440"/>
                </a:cubicBezTo>
                <a:cubicBezTo>
                  <a:pt x="11526848" y="616735"/>
                  <a:pt x="11537242" y="606341"/>
                  <a:pt x="11549947" y="606341"/>
                </a:cubicBezTo>
                <a:close/>
                <a:moveTo>
                  <a:pt x="10466618" y="606341"/>
                </a:moveTo>
                <a:cubicBezTo>
                  <a:pt x="10479322" y="606341"/>
                  <a:pt x="10489717" y="616735"/>
                  <a:pt x="10489717" y="629440"/>
                </a:cubicBezTo>
                <a:cubicBezTo>
                  <a:pt x="10489717" y="642143"/>
                  <a:pt x="10479322" y="652538"/>
                  <a:pt x="10466618" y="652538"/>
                </a:cubicBezTo>
                <a:cubicBezTo>
                  <a:pt x="10453914" y="652538"/>
                  <a:pt x="10443520" y="642143"/>
                  <a:pt x="10443520" y="629440"/>
                </a:cubicBezTo>
                <a:cubicBezTo>
                  <a:pt x="10443520" y="616735"/>
                  <a:pt x="10453914" y="606341"/>
                  <a:pt x="10466618" y="606341"/>
                </a:cubicBezTo>
                <a:close/>
                <a:moveTo>
                  <a:pt x="9244698" y="606341"/>
                </a:moveTo>
                <a:cubicBezTo>
                  <a:pt x="9258557" y="605185"/>
                  <a:pt x="9268951" y="614425"/>
                  <a:pt x="9270107" y="627130"/>
                </a:cubicBezTo>
                <a:cubicBezTo>
                  <a:pt x="9271261" y="639833"/>
                  <a:pt x="9262022" y="651383"/>
                  <a:pt x="9249318" y="652538"/>
                </a:cubicBezTo>
                <a:cubicBezTo>
                  <a:pt x="9236613" y="653693"/>
                  <a:pt x="9225064" y="644453"/>
                  <a:pt x="9223909" y="631749"/>
                </a:cubicBezTo>
                <a:cubicBezTo>
                  <a:pt x="9222754" y="619045"/>
                  <a:pt x="9231993" y="607495"/>
                  <a:pt x="9244698" y="606341"/>
                </a:cubicBezTo>
                <a:close/>
                <a:moveTo>
                  <a:pt x="8164231" y="606341"/>
                </a:moveTo>
                <a:cubicBezTo>
                  <a:pt x="8176935" y="606341"/>
                  <a:pt x="8187331" y="616735"/>
                  <a:pt x="8187331" y="629440"/>
                </a:cubicBezTo>
                <a:cubicBezTo>
                  <a:pt x="8187331" y="642143"/>
                  <a:pt x="8176935" y="652538"/>
                  <a:pt x="8164231" y="652538"/>
                </a:cubicBezTo>
                <a:cubicBezTo>
                  <a:pt x="8151527" y="652538"/>
                  <a:pt x="8141133" y="642143"/>
                  <a:pt x="8141133" y="629440"/>
                </a:cubicBezTo>
                <a:cubicBezTo>
                  <a:pt x="8141133" y="616735"/>
                  <a:pt x="8151527" y="606341"/>
                  <a:pt x="8164231" y="606341"/>
                </a:cubicBezTo>
                <a:close/>
                <a:moveTo>
                  <a:pt x="6944621" y="606341"/>
                </a:moveTo>
                <a:cubicBezTo>
                  <a:pt x="6957325" y="606341"/>
                  <a:pt x="6967719" y="616735"/>
                  <a:pt x="6967719" y="629440"/>
                </a:cubicBezTo>
                <a:cubicBezTo>
                  <a:pt x="6967719" y="642143"/>
                  <a:pt x="6957325" y="652538"/>
                  <a:pt x="6944621" y="652538"/>
                </a:cubicBezTo>
                <a:cubicBezTo>
                  <a:pt x="6931915" y="652538"/>
                  <a:pt x="6921522" y="642143"/>
                  <a:pt x="6921522" y="629440"/>
                </a:cubicBezTo>
                <a:cubicBezTo>
                  <a:pt x="6921522" y="616735"/>
                  <a:pt x="6931915" y="606341"/>
                  <a:pt x="6944621" y="606341"/>
                </a:cubicBezTo>
                <a:close/>
                <a:moveTo>
                  <a:pt x="5861292" y="606341"/>
                </a:moveTo>
                <a:cubicBezTo>
                  <a:pt x="5873996" y="606341"/>
                  <a:pt x="5884392" y="616735"/>
                  <a:pt x="5884392" y="629440"/>
                </a:cubicBezTo>
                <a:cubicBezTo>
                  <a:pt x="5884392" y="642143"/>
                  <a:pt x="5873996" y="652538"/>
                  <a:pt x="5861292" y="652538"/>
                </a:cubicBezTo>
                <a:cubicBezTo>
                  <a:pt x="5848588" y="652538"/>
                  <a:pt x="5838194" y="642143"/>
                  <a:pt x="5838194" y="629440"/>
                </a:cubicBezTo>
                <a:cubicBezTo>
                  <a:pt x="5838194" y="616735"/>
                  <a:pt x="5848588" y="606341"/>
                  <a:pt x="5861292" y="606341"/>
                </a:cubicBezTo>
                <a:close/>
                <a:moveTo>
                  <a:pt x="4639373" y="606341"/>
                </a:moveTo>
                <a:cubicBezTo>
                  <a:pt x="4653231" y="605185"/>
                  <a:pt x="4663624" y="614425"/>
                  <a:pt x="4664780" y="627130"/>
                </a:cubicBezTo>
                <a:cubicBezTo>
                  <a:pt x="4665935" y="639833"/>
                  <a:pt x="4656695" y="651383"/>
                  <a:pt x="4643991" y="652538"/>
                </a:cubicBezTo>
                <a:cubicBezTo>
                  <a:pt x="4631287" y="653693"/>
                  <a:pt x="4619738" y="644453"/>
                  <a:pt x="4618583" y="631749"/>
                </a:cubicBezTo>
                <a:cubicBezTo>
                  <a:pt x="4617427" y="619045"/>
                  <a:pt x="4626667" y="607495"/>
                  <a:pt x="4639373" y="606341"/>
                </a:cubicBezTo>
                <a:close/>
                <a:moveTo>
                  <a:pt x="3551423" y="606341"/>
                </a:moveTo>
                <a:cubicBezTo>
                  <a:pt x="3564127" y="606341"/>
                  <a:pt x="3574522" y="616735"/>
                  <a:pt x="3574522" y="629440"/>
                </a:cubicBezTo>
                <a:cubicBezTo>
                  <a:pt x="3574522" y="642143"/>
                  <a:pt x="3564127" y="652538"/>
                  <a:pt x="3551423" y="652538"/>
                </a:cubicBezTo>
                <a:cubicBezTo>
                  <a:pt x="3538719" y="652538"/>
                  <a:pt x="3528325" y="642143"/>
                  <a:pt x="3528325" y="629440"/>
                </a:cubicBezTo>
                <a:cubicBezTo>
                  <a:pt x="3528325" y="616735"/>
                  <a:pt x="3538719" y="606341"/>
                  <a:pt x="3551423" y="606341"/>
                </a:cubicBezTo>
                <a:close/>
                <a:moveTo>
                  <a:pt x="2331813" y="606341"/>
                </a:moveTo>
                <a:cubicBezTo>
                  <a:pt x="2344517" y="606341"/>
                  <a:pt x="2354912" y="616735"/>
                  <a:pt x="2354912" y="629440"/>
                </a:cubicBezTo>
                <a:cubicBezTo>
                  <a:pt x="2354912" y="642143"/>
                  <a:pt x="2344517" y="652538"/>
                  <a:pt x="2331813" y="652538"/>
                </a:cubicBezTo>
                <a:cubicBezTo>
                  <a:pt x="2319108" y="652538"/>
                  <a:pt x="2308714" y="642143"/>
                  <a:pt x="2308714" y="629440"/>
                </a:cubicBezTo>
                <a:cubicBezTo>
                  <a:pt x="2308714" y="616735"/>
                  <a:pt x="2319108" y="606341"/>
                  <a:pt x="2331813" y="606341"/>
                </a:cubicBezTo>
                <a:close/>
                <a:moveTo>
                  <a:pt x="1248485" y="606341"/>
                </a:moveTo>
                <a:cubicBezTo>
                  <a:pt x="1261188" y="606341"/>
                  <a:pt x="1271583" y="616735"/>
                  <a:pt x="1271583" y="629440"/>
                </a:cubicBezTo>
                <a:cubicBezTo>
                  <a:pt x="1271583" y="642143"/>
                  <a:pt x="1261188" y="652538"/>
                  <a:pt x="1248485" y="652538"/>
                </a:cubicBezTo>
                <a:cubicBezTo>
                  <a:pt x="1235780" y="652538"/>
                  <a:pt x="1225386" y="642143"/>
                  <a:pt x="1225386" y="629440"/>
                </a:cubicBezTo>
                <a:cubicBezTo>
                  <a:pt x="1225386" y="616735"/>
                  <a:pt x="1235780" y="606341"/>
                  <a:pt x="1248485" y="606341"/>
                </a:cubicBezTo>
                <a:close/>
                <a:moveTo>
                  <a:pt x="26564" y="606341"/>
                </a:moveTo>
                <a:cubicBezTo>
                  <a:pt x="40424" y="605185"/>
                  <a:pt x="50817" y="614425"/>
                  <a:pt x="51973" y="627130"/>
                </a:cubicBezTo>
                <a:cubicBezTo>
                  <a:pt x="53127" y="639833"/>
                  <a:pt x="43888" y="651383"/>
                  <a:pt x="31184" y="652538"/>
                </a:cubicBezTo>
                <a:cubicBezTo>
                  <a:pt x="18479" y="653693"/>
                  <a:pt x="6930" y="644453"/>
                  <a:pt x="5776" y="631749"/>
                </a:cubicBezTo>
                <a:cubicBezTo>
                  <a:pt x="4620" y="619045"/>
                  <a:pt x="13860" y="607495"/>
                  <a:pt x="26564" y="606341"/>
                </a:cubicBezTo>
                <a:close/>
                <a:moveTo>
                  <a:pt x="11414819" y="600566"/>
                </a:moveTo>
                <a:cubicBezTo>
                  <a:pt x="11430988" y="600566"/>
                  <a:pt x="11443693" y="613271"/>
                  <a:pt x="11443693" y="629440"/>
                </a:cubicBezTo>
                <a:cubicBezTo>
                  <a:pt x="11443693" y="645609"/>
                  <a:pt x="11430988" y="658312"/>
                  <a:pt x="11414819" y="658312"/>
                </a:cubicBezTo>
                <a:cubicBezTo>
                  <a:pt x="11398650" y="658312"/>
                  <a:pt x="11385946" y="645609"/>
                  <a:pt x="11385946" y="629440"/>
                </a:cubicBezTo>
                <a:cubicBezTo>
                  <a:pt x="11385946" y="613271"/>
                  <a:pt x="11398650" y="600566"/>
                  <a:pt x="11414819" y="600566"/>
                </a:cubicBezTo>
                <a:close/>
                <a:moveTo>
                  <a:pt x="10330336" y="600566"/>
                </a:moveTo>
                <a:cubicBezTo>
                  <a:pt x="10346505" y="600566"/>
                  <a:pt x="10359209" y="613271"/>
                  <a:pt x="10359209" y="629440"/>
                </a:cubicBezTo>
                <a:cubicBezTo>
                  <a:pt x="10359209" y="645609"/>
                  <a:pt x="10346505" y="658312"/>
                  <a:pt x="10330336" y="658312"/>
                </a:cubicBezTo>
                <a:cubicBezTo>
                  <a:pt x="10315322" y="658312"/>
                  <a:pt x="10301462" y="645609"/>
                  <a:pt x="10301462" y="629440"/>
                </a:cubicBezTo>
                <a:cubicBezTo>
                  <a:pt x="10301462" y="613271"/>
                  <a:pt x="10314167" y="600566"/>
                  <a:pt x="10330336" y="600566"/>
                </a:cubicBezTo>
                <a:close/>
                <a:moveTo>
                  <a:pt x="9382135" y="600566"/>
                </a:moveTo>
                <a:cubicBezTo>
                  <a:pt x="9398304" y="600566"/>
                  <a:pt x="9411009" y="613271"/>
                  <a:pt x="9411009" y="629440"/>
                </a:cubicBezTo>
                <a:cubicBezTo>
                  <a:pt x="9411009" y="645609"/>
                  <a:pt x="9398304" y="658312"/>
                  <a:pt x="9382135" y="658312"/>
                </a:cubicBezTo>
                <a:cubicBezTo>
                  <a:pt x="9365966" y="658312"/>
                  <a:pt x="9353262" y="645609"/>
                  <a:pt x="9353262" y="629440"/>
                </a:cubicBezTo>
                <a:cubicBezTo>
                  <a:pt x="9353262" y="613271"/>
                  <a:pt x="9365966" y="600566"/>
                  <a:pt x="9382135" y="600566"/>
                </a:cubicBezTo>
                <a:close/>
                <a:moveTo>
                  <a:pt x="9112431" y="600566"/>
                </a:moveTo>
                <a:cubicBezTo>
                  <a:pt x="9128600" y="600566"/>
                  <a:pt x="9141305" y="613271"/>
                  <a:pt x="9141305" y="629440"/>
                </a:cubicBezTo>
                <a:cubicBezTo>
                  <a:pt x="9141305" y="645609"/>
                  <a:pt x="9128600" y="658312"/>
                  <a:pt x="9112431" y="658312"/>
                </a:cubicBezTo>
                <a:cubicBezTo>
                  <a:pt x="9096262" y="658312"/>
                  <a:pt x="9083558" y="645609"/>
                  <a:pt x="9083558" y="629440"/>
                </a:cubicBezTo>
                <a:cubicBezTo>
                  <a:pt x="9083558" y="613271"/>
                  <a:pt x="9096262" y="600566"/>
                  <a:pt x="9112431" y="600566"/>
                </a:cubicBezTo>
                <a:close/>
                <a:moveTo>
                  <a:pt x="8299358" y="600566"/>
                </a:moveTo>
                <a:cubicBezTo>
                  <a:pt x="8315526" y="600566"/>
                  <a:pt x="8328231" y="613271"/>
                  <a:pt x="8328231" y="629440"/>
                </a:cubicBezTo>
                <a:cubicBezTo>
                  <a:pt x="8328231" y="645609"/>
                  <a:pt x="8315526" y="658312"/>
                  <a:pt x="8299358" y="658312"/>
                </a:cubicBezTo>
                <a:cubicBezTo>
                  <a:pt x="8283189" y="658312"/>
                  <a:pt x="8270485" y="645609"/>
                  <a:pt x="8270485" y="629440"/>
                </a:cubicBezTo>
                <a:cubicBezTo>
                  <a:pt x="8270485" y="613271"/>
                  <a:pt x="8283189" y="600566"/>
                  <a:pt x="8299358" y="600566"/>
                </a:cubicBezTo>
                <a:close/>
                <a:moveTo>
                  <a:pt x="6809492" y="600566"/>
                </a:moveTo>
                <a:cubicBezTo>
                  <a:pt x="6825661" y="600566"/>
                  <a:pt x="6838367" y="613271"/>
                  <a:pt x="6838367" y="629440"/>
                </a:cubicBezTo>
                <a:cubicBezTo>
                  <a:pt x="6838367" y="645609"/>
                  <a:pt x="6825661" y="658312"/>
                  <a:pt x="6809492" y="658312"/>
                </a:cubicBezTo>
                <a:cubicBezTo>
                  <a:pt x="6793324" y="658312"/>
                  <a:pt x="6780620" y="645609"/>
                  <a:pt x="6780620" y="629440"/>
                </a:cubicBezTo>
                <a:cubicBezTo>
                  <a:pt x="6780620" y="613271"/>
                  <a:pt x="6793324" y="600566"/>
                  <a:pt x="6809492" y="600566"/>
                </a:cubicBezTo>
                <a:close/>
                <a:moveTo>
                  <a:pt x="5726165" y="600566"/>
                </a:moveTo>
                <a:cubicBezTo>
                  <a:pt x="5741178" y="600566"/>
                  <a:pt x="5755038" y="613271"/>
                  <a:pt x="5755038" y="629440"/>
                </a:cubicBezTo>
                <a:cubicBezTo>
                  <a:pt x="5755038" y="645609"/>
                  <a:pt x="5742334" y="658312"/>
                  <a:pt x="5726165" y="658312"/>
                </a:cubicBezTo>
                <a:cubicBezTo>
                  <a:pt x="5709996" y="658312"/>
                  <a:pt x="5697292" y="645609"/>
                  <a:pt x="5697292" y="629440"/>
                </a:cubicBezTo>
                <a:cubicBezTo>
                  <a:pt x="5697292" y="613271"/>
                  <a:pt x="5709996" y="600566"/>
                  <a:pt x="5726165" y="600566"/>
                </a:cubicBezTo>
                <a:close/>
                <a:moveTo>
                  <a:pt x="4776809" y="600566"/>
                </a:moveTo>
                <a:cubicBezTo>
                  <a:pt x="4792978" y="600566"/>
                  <a:pt x="4805682" y="613271"/>
                  <a:pt x="4805682" y="629440"/>
                </a:cubicBezTo>
                <a:cubicBezTo>
                  <a:pt x="4805682" y="645609"/>
                  <a:pt x="4792978" y="658312"/>
                  <a:pt x="4776809" y="658312"/>
                </a:cubicBezTo>
                <a:cubicBezTo>
                  <a:pt x="4760640" y="658312"/>
                  <a:pt x="4747936" y="645609"/>
                  <a:pt x="4747936" y="629440"/>
                </a:cubicBezTo>
                <a:cubicBezTo>
                  <a:pt x="4747936" y="613271"/>
                  <a:pt x="4760640" y="600566"/>
                  <a:pt x="4776809" y="600566"/>
                </a:cubicBezTo>
                <a:close/>
                <a:moveTo>
                  <a:pt x="4499625" y="600566"/>
                </a:moveTo>
                <a:cubicBezTo>
                  <a:pt x="4515793" y="600566"/>
                  <a:pt x="4528499" y="613271"/>
                  <a:pt x="4528499" y="629440"/>
                </a:cubicBezTo>
                <a:cubicBezTo>
                  <a:pt x="4528499" y="645609"/>
                  <a:pt x="4515793" y="658312"/>
                  <a:pt x="4499625" y="658312"/>
                </a:cubicBezTo>
                <a:cubicBezTo>
                  <a:pt x="4483456" y="658312"/>
                  <a:pt x="4470752" y="645609"/>
                  <a:pt x="4470752" y="629440"/>
                </a:cubicBezTo>
                <a:cubicBezTo>
                  <a:pt x="4470752" y="613271"/>
                  <a:pt x="4483456" y="600566"/>
                  <a:pt x="4499625" y="600566"/>
                </a:cubicBezTo>
                <a:close/>
                <a:moveTo>
                  <a:pt x="3686551" y="600566"/>
                </a:moveTo>
                <a:cubicBezTo>
                  <a:pt x="3702719" y="600566"/>
                  <a:pt x="3715424" y="613271"/>
                  <a:pt x="3715424" y="629440"/>
                </a:cubicBezTo>
                <a:cubicBezTo>
                  <a:pt x="3715424" y="645609"/>
                  <a:pt x="3702719" y="658312"/>
                  <a:pt x="3686551" y="658312"/>
                </a:cubicBezTo>
                <a:cubicBezTo>
                  <a:pt x="3670381" y="658312"/>
                  <a:pt x="3657677" y="645609"/>
                  <a:pt x="3657677" y="629440"/>
                </a:cubicBezTo>
                <a:cubicBezTo>
                  <a:pt x="3657677" y="613271"/>
                  <a:pt x="3670381" y="600566"/>
                  <a:pt x="3686551" y="600566"/>
                </a:cubicBezTo>
                <a:close/>
                <a:moveTo>
                  <a:pt x="2196685" y="600566"/>
                </a:moveTo>
                <a:cubicBezTo>
                  <a:pt x="2212854" y="600566"/>
                  <a:pt x="2225559" y="613271"/>
                  <a:pt x="2225559" y="629440"/>
                </a:cubicBezTo>
                <a:cubicBezTo>
                  <a:pt x="2225559" y="645609"/>
                  <a:pt x="2212854" y="658312"/>
                  <a:pt x="2196685" y="658312"/>
                </a:cubicBezTo>
                <a:cubicBezTo>
                  <a:pt x="2180516" y="658312"/>
                  <a:pt x="2167813" y="645609"/>
                  <a:pt x="2167813" y="629440"/>
                </a:cubicBezTo>
                <a:cubicBezTo>
                  <a:pt x="2167813" y="613271"/>
                  <a:pt x="2180516" y="600566"/>
                  <a:pt x="2196685" y="600566"/>
                </a:cubicBezTo>
                <a:close/>
                <a:moveTo>
                  <a:pt x="1112202" y="600566"/>
                </a:moveTo>
                <a:cubicBezTo>
                  <a:pt x="1128371" y="600566"/>
                  <a:pt x="1141075" y="613271"/>
                  <a:pt x="1141075" y="629440"/>
                </a:cubicBezTo>
                <a:cubicBezTo>
                  <a:pt x="1141075" y="645609"/>
                  <a:pt x="1128371" y="658312"/>
                  <a:pt x="1112202" y="658312"/>
                </a:cubicBezTo>
                <a:cubicBezTo>
                  <a:pt x="1097188" y="658312"/>
                  <a:pt x="1083328" y="645609"/>
                  <a:pt x="1083328" y="629440"/>
                </a:cubicBezTo>
                <a:cubicBezTo>
                  <a:pt x="1083328" y="613271"/>
                  <a:pt x="1096033" y="600566"/>
                  <a:pt x="1112202" y="600566"/>
                </a:cubicBezTo>
                <a:close/>
                <a:moveTo>
                  <a:pt x="164001" y="600566"/>
                </a:moveTo>
                <a:cubicBezTo>
                  <a:pt x="180170" y="600566"/>
                  <a:pt x="192875" y="613271"/>
                  <a:pt x="192875" y="629440"/>
                </a:cubicBezTo>
                <a:cubicBezTo>
                  <a:pt x="192875" y="645609"/>
                  <a:pt x="180170" y="658312"/>
                  <a:pt x="164001" y="658312"/>
                </a:cubicBezTo>
                <a:cubicBezTo>
                  <a:pt x="147832" y="658312"/>
                  <a:pt x="135128" y="645609"/>
                  <a:pt x="135128" y="629440"/>
                </a:cubicBezTo>
                <a:cubicBezTo>
                  <a:pt x="135128" y="613271"/>
                  <a:pt x="147832" y="600566"/>
                  <a:pt x="164001" y="600566"/>
                </a:cubicBezTo>
                <a:close/>
                <a:moveTo>
                  <a:pt x="11279692" y="594792"/>
                </a:moveTo>
                <a:cubicBezTo>
                  <a:pt x="11298171" y="594792"/>
                  <a:pt x="11314340" y="610961"/>
                  <a:pt x="11314340" y="629440"/>
                </a:cubicBezTo>
                <a:cubicBezTo>
                  <a:pt x="11314340" y="647919"/>
                  <a:pt x="11299326" y="664088"/>
                  <a:pt x="11279692" y="664088"/>
                </a:cubicBezTo>
                <a:cubicBezTo>
                  <a:pt x="11261213" y="664088"/>
                  <a:pt x="11245044" y="647919"/>
                  <a:pt x="11245044" y="629440"/>
                </a:cubicBezTo>
                <a:cubicBezTo>
                  <a:pt x="11245044" y="610961"/>
                  <a:pt x="11260058" y="594792"/>
                  <a:pt x="11279692" y="594792"/>
                </a:cubicBezTo>
                <a:close/>
                <a:moveTo>
                  <a:pt x="10195208" y="594792"/>
                </a:moveTo>
                <a:cubicBezTo>
                  <a:pt x="10214843" y="594792"/>
                  <a:pt x="10229856" y="610961"/>
                  <a:pt x="10229856" y="629440"/>
                </a:cubicBezTo>
                <a:cubicBezTo>
                  <a:pt x="10229856" y="647919"/>
                  <a:pt x="10213687" y="664088"/>
                  <a:pt x="10195208" y="664088"/>
                </a:cubicBezTo>
                <a:cubicBezTo>
                  <a:pt x="10176729" y="664088"/>
                  <a:pt x="10160560" y="647919"/>
                  <a:pt x="10160560" y="629440"/>
                </a:cubicBezTo>
                <a:cubicBezTo>
                  <a:pt x="10160560" y="610961"/>
                  <a:pt x="10175575" y="594792"/>
                  <a:pt x="10195208" y="594792"/>
                </a:cubicBezTo>
                <a:close/>
                <a:moveTo>
                  <a:pt x="9518417" y="594792"/>
                </a:moveTo>
                <a:cubicBezTo>
                  <a:pt x="9536896" y="594792"/>
                  <a:pt x="9553065" y="610961"/>
                  <a:pt x="9553065" y="629440"/>
                </a:cubicBezTo>
                <a:cubicBezTo>
                  <a:pt x="9553065" y="647919"/>
                  <a:pt x="9536896" y="664088"/>
                  <a:pt x="9518417" y="664088"/>
                </a:cubicBezTo>
                <a:cubicBezTo>
                  <a:pt x="9499938" y="664088"/>
                  <a:pt x="9483769" y="647919"/>
                  <a:pt x="9483769" y="629440"/>
                </a:cubicBezTo>
                <a:cubicBezTo>
                  <a:pt x="9483769" y="610961"/>
                  <a:pt x="9498784" y="594792"/>
                  <a:pt x="9518417" y="594792"/>
                </a:cubicBezTo>
                <a:close/>
                <a:moveTo>
                  <a:pt x="8977304" y="594792"/>
                </a:moveTo>
                <a:cubicBezTo>
                  <a:pt x="8995783" y="594792"/>
                  <a:pt x="9011952" y="610961"/>
                  <a:pt x="9011952" y="629440"/>
                </a:cubicBezTo>
                <a:cubicBezTo>
                  <a:pt x="9011952" y="647919"/>
                  <a:pt x="8996938" y="664088"/>
                  <a:pt x="8977304" y="664088"/>
                </a:cubicBezTo>
                <a:cubicBezTo>
                  <a:pt x="8958825" y="664088"/>
                  <a:pt x="8942656" y="647919"/>
                  <a:pt x="8942656" y="629440"/>
                </a:cubicBezTo>
                <a:cubicBezTo>
                  <a:pt x="8942656" y="610961"/>
                  <a:pt x="8957670" y="594792"/>
                  <a:pt x="8977304" y="594792"/>
                </a:cubicBezTo>
                <a:close/>
                <a:moveTo>
                  <a:pt x="8434485" y="594792"/>
                </a:moveTo>
                <a:cubicBezTo>
                  <a:pt x="8454118" y="594792"/>
                  <a:pt x="8469133" y="610961"/>
                  <a:pt x="8469133" y="629440"/>
                </a:cubicBezTo>
                <a:cubicBezTo>
                  <a:pt x="8469133" y="647919"/>
                  <a:pt x="8454118" y="664088"/>
                  <a:pt x="8434485" y="664088"/>
                </a:cubicBezTo>
                <a:cubicBezTo>
                  <a:pt x="8416006" y="664088"/>
                  <a:pt x="8399837" y="647919"/>
                  <a:pt x="8399837" y="629440"/>
                </a:cubicBezTo>
                <a:cubicBezTo>
                  <a:pt x="8399837" y="610961"/>
                  <a:pt x="8414851" y="594792"/>
                  <a:pt x="8434485" y="594792"/>
                </a:cubicBezTo>
                <a:close/>
                <a:moveTo>
                  <a:pt x="6674366" y="594792"/>
                </a:moveTo>
                <a:cubicBezTo>
                  <a:pt x="6692845" y="594792"/>
                  <a:pt x="6709014" y="610961"/>
                  <a:pt x="6709014" y="629440"/>
                </a:cubicBezTo>
                <a:cubicBezTo>
                  <a:pt x="6709014" y="647919"/>
                  <a:pt x="6692845" y="664088"/>
                  <a:pt x="6674366" y="664088"/>
                </a:cubicBezTo>
                <a:cubicBezTo>
                  <a:pt x="6655888" y="664088"/>
                  <a:pt x="6639717" y="647919"/>
                  <a:pt x="6639717" y="629440"/>
                </a:cubicBezTo>
                <a:cubicBezTo>
                  <a:pt x="6639717" y="610961"/>
                  <a:pt x="6654732" y="594792"/>
                  <a:pt x="6674366" y="594792"/>
                </a:cubicBezTo>
                <a:close/>
                <a:moveTo>
                  <a:pt x="5589882" y="594792"/>
                </a:moveTo>
                <a:cubicBezTo>
                  <a:pt x="5609516" y="594792"/>
                  <a:pt x="5624531" y="610961"/>
                  <a:pt x="5624531" y="629440"/>
                </a:cubicBezTo>
                <a:cubicBezTo>
                  <a:pt x="5624531" y="647919"/>
                  <a:pt x="5609516" y="664088"/>
                  <a:pt x="5589882" y="664088"/>
                </a:cubicBezTo>
                <a:cubicBezTo>
                  <a:pt x="5571403" y="664088"/>
                  <a:pt x="5555234" y="647919"/>
                  <a:pt x="5555234" y="629440"/>
                </a:cubicBezTo>
                <a:cubicBezTo>
                  <a:pt x="5555234" y="610961"/>
                  <a:pt x="5570250" y="594792"/>
                  <a:pt x="5589882" y="594792"/>
                </a:cubicBezTo>
                <a:close/>
                <a:moveTo>
                  <a:pt x="4913091" y="594792"/>
                </a:moveTo>
                <a:cubicBezTo>
                  <a:pt x="4931569" y="594792"/>
                  <a:pt x="4947739" y="610961"/>
                  <a:pt x="4947739" y="629440"/>
                </a:cubicBezTo>
                <a:cubicBezTo>
                  <a:pt x="4947739" y="647919"/>
                  <a:pt x="4932726" y="664088"/>
                  <a:pt x="4913091" y="664088"/>
                </a:cubicBezTo>
                <a:cubicBezTo>
                  <a:pt x="4894612" y="664088"/>
                  <a:pt x="4878443" y="647919"/>
                  <a:pt x="4878443" y="629440"/>
                </a:cubicBezTo>
                <a:cubicBezTo>
                  <a:pt x="4878443" y="610961"/>
                  <a:pt x="4893458" y="594792"/>
                  <a:pt x="4913091" y="594792"/>
                </a:cubicBezTo>
                <a:close/>
                <a:moveTo>
                  <a:pt x="4364498" y="594792"/>
                </a:moveTo>
                <a:cubicBezTo>
                  <a:pt x="4382977" y="594792"/>
                  <a:pt x="4399146" y="610961"/>
                  <a:pt x="4399146" y="629440"/>
                </a:cubicBezTo>
                <a:cubicBezTo>
                  <a:pt x="4399146" y="647919"/>
                  <a:pt x="4384131" y="664088"/>
                  <a:pt x="4364498" y="664088"/>
                </a:cubicBezTo>
                <a:cubicBezTo>
                  <a:pt x="4346018" y="664088"/>
                  <a:pt x="4329850" y="647919"/>
                  <a:pt x="4329850" y="629440"/>
                </a:cubicBezTo>
                <a:cubicBezTo>
                  <a:pt x="4329850" y="610961"/>
                  <a:pt x="4344863" y="594792"/>
                  <a:pt x="4364498" y="594792"/>
                </a:cubicBezTo>
                <a:close/>
                <a:moveTo>
                  <a:pt x="3821678" y="594792"/>
                </a:moveTo>
                <a:cubicBezTo>
                  <a:pt x="3841311" y="594792"/>
                  <a:pt x="3856326" y="610961"/>
                  <a:pt x="3856326" y="629440"/>
                </a:cubicBezTo>
                <a:cubicBezTo>
                  <a:pt x="3856326" y="647919"/>
                  <a:pt x="3841311" y="664088"/>
                  <a:pt x="3821678" y="664088"/>
                </a:cubicBezTo>
                <a:cubicBezTo>
                  <a:pt x="3803199" y="664088"/>
                  <a:pt x="3787030" y="647919"/>
                  <a:pt x="3787030" y="629440"/>
                </a:cubicBezTo>
                <a:cubicBezTo>
                  <a:pt x="3787030" y="610961"/>
                  <a:pt x="3802045" y="594792"/>
                  <a:pt x="3821678" y="594792"/>
                </a:cubicBezTo>
                <a:close/>
                <a:moveTo>
                  <a:pt x="2061558" y="594792"/>
                </a:moveTo>
                <a:cubicBezTo>
                  <a:pt x="2080037" y="594792"/>
                  <a:pt x="2096206" y="610961"/>
                  <a:pt x="2096206" y="629440"/>
                </a:cubicBezTo>
                <a:cubicBezTo>
                  <a:pt x="2096206" y="647919"/>
                  <a:pt x="2081192" y="664088"/>
                  <a:pt x="2061558" y="664088"/>
                </a:cubicBezTo>
                <a:cubicBezTo>
                  <a:pt x="2043080" y="664088"/>
                  <a:pt x="2026910" y="647919"/>
                  <a:pt x="2026910" y="629440"/>
                </a:cubicBezTo>
                <a:cubicBezTo>
                  <a:pt x="2026910" y="610961"/>
                  <a:pt x="2041924" y="594792"/>
                  <a:pt x="2061558" y="594792"/>
                </a:cubicBezTo>
                <a:close/>
                <a:moveTo>
                  <a:pt x="977075" y="594792"/>
                </a:moveTo>
                <a:cubicBezTo>
                  <a:pt x="996709" y="594792"/>
                  <a:pt x="1011723" y="610961"/>
                  <a:pt x="1011723" y="629440"/>
                </a:cubicBezTo>
                <a:cubicBezTo>
                  <a:pt x="1011723" y="647919"/>
                  <a:pt x="995554" y="664088"/>
                  <a:pt x="977075" y="664088"/>
                </a:cubicBezTo>
                <a:cubicBezTo>
                  <a:pt x="958596" y="664088"/>
                  <a:pt x="942427" y="647919"/>
                  <a:pt x="942427" y="629440"/>
                </a:cubicBezTo>
                <a:cubicBezTo>
                  <a:pt x="942427" y="610961"/>
                  <a:pt x="957441" y="594792"/>
                  <a:pt x="977075" y="594792"/>
                </a:cubicBezTo>
                <a:close/>
                <a:moveTo>
                  <a:pt x="300283" y="594792"/>
                </a:moveTo>
                <a:cubicBezTo>
                  <a:pt x="318762" y="594792"/>
                  <a:pt x="334931" y="610961"/>
                  <a:pt x="334931" y="629440"/>
                </a:cubicBezTo>
                <a:cubicBezTo>
                  <a:pt x="334931" y="647919"/>
                  <a:pt x="318762" y="664088"/>
                  <a:pt x="300283" y="664088"/>
                </a:cubicBezTo>
                <a:cubicBezTo>
                  <a:pt x="281804" y="664088"/>
                  <a:pt x="265635" y="647919"/>
                  <a:pt x="265635" y="629440"/>
                </a:cubicBezTo>
                <a:cubicBezTo>
                  <a:pt x="265635" y="610961"/>
                  <a:pt x="280650" y="594792"/>
                  <a:pt x="300283" y="594792"/>
                </a:cubicBezTo>
                <a:close/>
                <a:moveTo>
                  <a:pt x="11143410" y="589016"/>
                </a:moveTo>
                <a:cubicBezTo>
                  <a:pt x="11166509" y="589016"/>
                  <a:pt x="11183832" y="607495"/>
                  <a:pt x="11183832" y="629440"/>
                </a:cubicBezTo>
                <a:cubicBezTo>
                  <a:pt x="11183832" y="651383"/>
                  <a:pt x="11165353" y="669862"/>
                  <a:pt x="11143410" y="669862"/>
                </a:cubicBezTo>
                <a:cubicBezTo>
                  <a:pt x="11121466" y="669862"/>
                  <a:pt x="11102987" y="651383"/>
                  <a:pt x="11102987" y="629440"/>
                </a:cubicBezTo>
                <a:cubicBezTo>
                  <a:pt x="11102987" y="607495"/>
                  <a:pt x="11121466" y="589016"/>
                  <a:pt x="11143410" y="589016"/>
                </a:cubicBezTo>
                <a:close/>
                <a:moveTo>
                  <a:pt x="10873155" y="589016"/>
                </a:moveTo>
                <a:cubicBezTo>
                  <a:pt x="10895098" y="589016"/>
                  <a:pt x="10913577" y="607495"/>
                  <a:pt x="10913577" y="629440"/>
                </a:cubicBezTo>
                <a:cubicBezTo>
                  <a:pt x="10913577" y="651383"/>
                  <a:pt x="10895098" y="669862"/>
                  <a:pt x="10873155" y="669862"/>
                </a:cubicBezTo>
                <a:cubicBezTo>
                  <a:pt x="10851211" y="669862"/>
                  <a:pt x="10832732" y="651383"/>
                  <a:pt x="10832732" y="629440"/>
                </a:cubicBezTo>
                <a:cubicBezTo>
                  <a:pt x="10832732" y="607495"/>
                  <a:pt x="10851211" y="589016"/>
                  <a:pt x="10873155" y="589016"/>
                </a:cubicBezTo>
                <a:close/>
                <a:moveTo>
                  <a:pt x="10060082" y="589016"/>
                </a:moveTo>
                <a:cubicBezTo>
                  <a:pt x="10082025" y="589016"/>
                  <a:pt x="10100504" y="607495"/>
                  <a:pt x="10100504" y="629440"/>
                </a:cubicBezTo>
                <a:cubicBezTo>
                  <a:pt x="10100504" y="651383"/>
                  <a:pt x="10082025" y="669862"/>
                  <a:pt x="10060082" y="669862"/>
                </a:cubicBezTo>
                <a:cubicBezTo>
                  <a:pt x="10038137" y="669862"/>
                  <a:pt x="10019658" y="651383"/>
                  <a:pt x="10019658" y="629440"/>
                </a:cubicBezTo>
                <a:cubicBezTo>
                  <a:pt x="10019658" y="607495"/>
                  <a:pt x="10038137" y="589016"/>
                  <a:pt x="10060082" y="589016"/>
                </a:cubicBezTo>
                <a:close/>
                <a:moveTo>
                  <a:pt x="9653545" y="589016"/>
                </a:moveTo>
                <a:cubicBezTo>
                  <a:pt x="9675488" y="589016"/>
                  <a:pt x="9693967" y="607495"/>
                  <a:pt x="9693967" y="629440"/>
                </a:cubicBezTo>
                <a:cubicBezTo>
                  <a:pt x="9693967" y="651383"/>
                  <a:pt x="9675488" y="669862"/>
                  <a:pt x="9653545" y="669862"/>
                </a:cubicBezTo>
                <a:cubicBezTo>
                  <a:pt x="9631600" y="669862"/>
                  <a:pt x="9613122" y="651383"/>
                  <a:pt x="9613122" y="629440"/>
                </a:cubicBezTo>
                <a:cubicBezTo>
                  <a:pt x="9613122" y="607495"/>
                  <a:pt x="9631600" y="589016"/>
                  <a:pt x="9653545" y="589016"/>
                </a:cubicBezTo>
                <a:close/>
                <a:moveTo>
                  <a:pt x="8841022" y="589016"/>
                </a:moveTo>
                <a:cubicBezTo>
                  <a:pt x="8864121" y="589016"/>
                  <a:pt x="8881444" y="607495"/>
                  <a:pt x="8881444" y="629440"/>
                </a:cubicBezTo>
                <a:cubicBezTo>
                  <a:pt x="8881444" y="651383"/>
                  <a:pt x="8862965" y="669862"/>
                  <a:pt x="8841022" y="669862"/>
                </a:cubicBezTo>
                <a:cubicBezTo>
                  <a:pt x="8819078" y="669862"/>
                  <a:pt x="8800599" y="651383"/>
                  <a:pt x="8800599" y="629440"/>
                </a:cubicBezTo>
                <a:cubicBezTo>
                  <a:pt x="8800599" y="607495"/>
                  <a:pt x="8819078" y="589016"/>
                  <a:pt x="8841022" y="589016"/>
                </a:cubicBezTo>
                <a:close/>
                <a:moveTo>
                  <a:pt x="8570767" y="589016"/>
                </a:moveTo>
                <a:cubicBezTo>
                  <a:pt x="8592711" y="589016"/>
                  <a:pt x="8611190" y="607495"/>
                  <a:pt x="8611190" y="629440"/>
                </a:cubicBezTo>
                <a:cubicBezTo>
                  <a:pt x="8611190" y="651383"/>
                  <a:pt x="8592711" y="669862"/>
                  <a:pt x="8570767" y="669862"/>
                </a:cubicBezTo>
                <a:cubicBezTo>
                  <a:pt x="8548823" y="669862"/>
                  <a:pt x="8530344" y="651383"/>
                  <a:pt x="8530344" y="629440"/>
                </a:cubicBezTo>
                <a:cubicBezTo>
                  <a:pt x="8530344" y="607495"/>
                  <a:pt x="8548823" y="589016"/>
                  <a:pt x="8570767" y="589016"/>
                </a:cubicBezTo>
                <a:close/>
                <a:moveTo>
                  <a:pt x="6538083" y="589016"/>
                </a:moveTo>
                <a:cubicBezTo>
                  <a:pt x="6561183" y="589016"/>
                  <a:pt x="6578507" y="607495"/>
                  <a:pt x="6578507" y="629440"/>
                </a:cubicBezTo>
                <a:cubicBezTo>
                  <a:pt x="6578507" y="651383"/>
                  <a:pt x="6560028" y="669862"/>
                  <a:pt x="6538083" y="669862"/>
                </a:cubicBezTo>
                <a:cubicBezTo>
                  <a:pt x="6516139" y="669862"/>
                  <a:pt x="6497661" y="651383"/>
                  <a:pt x="6497661" y="629440"/>
                </a:cubicBezTo>
                <a:cubicBezTo>
                  <a:pt x="6497661" y="607495"/>
                  <a:pt x="6516139" y="589016"/>
                  <a:pt x="6538083" y="589016"/>
                </a:cubicBezTo>
                <a:close/>
                <a:moveTo>
                  <a:pt x="6267830" y="589016"/>
                </a:moveTo>
                <a:cubicBezTo>
                  <a:pt x="6289772" y="589016"/>
                  <a:pt x="6308251" y="607495"/>
                  <a:pt x="6308251" y="629440"/>
                </a:cubicBezTo>
                <a:cubicBezTo>
                  <a:pt x="6308251" y="651383"/>
                  <a:pt x="6289772" y="669862"/>
                  <a:pt x="6267830" y="669862"/>
                </a:cubicBezTo>
                <a:cubicBezTo>
                  <a:pt x="6245885" y="669862"/>
                  <a:pt x="6227406" y="651383"/>
                  <a:pt x="6227406" y="629440"/>
                </a:cubicBezTo>
                <a:cubicBezTo>
                  <a:pt x="6227406" y="607495"/>
                  <a:pt x="6245885" y="589016"/>
                  <a:pt x="6267830" y="589016"/>
                </a:cubicBezTo>
                <a:close/>
                <a:moveTo>
                  <a:pt x="5454756" y="589016"/>
                </a:moveTo>
                <a:cubicBezTo>
                  <a:pt x="5476698" y="589016"/>
                  <a:pt x="5495178" y="607495"/>
                  <a:pt x="5495178" y="629440"/>
                </a:cubicBezTo>
                <a:cubicBezTo>
                  <a:pt x="5495178" y="651383"/>
                  <a:pt x="5476698" y="669862"/>
                  <a:pt x="5454756" y="669862"/>
                </a:cubicBezTo>
                <a:cubicBezTo>
                  <a:pt x="5432812" y="669862"/>
                  <a:pt x="5414332" y="651383"/>
                  <a:pt x="5414332" y="629440"/>
                </a:cubicBezTo>
                <a:cubicBezTo>
                  <a:pt x="5414332" y="607495"/>
                  <a:pt x="5432812" y="589016"/>
                  <a:pt x="5454756" y="589016"/>
                </a:cubicBezTo>
                <a:close/>
                <a:moveTo>
                  <a:pt x="5048218" y="589016"/>
                </a:moveTo>
                <a:cubicBezTo>
                  <a:pt x="5070162" y="589016"/>
                  <a:pt x="5088641" y="607495"/>
                  <a:pt x="5088641" y="629440"/>
                </a:cubicBezTo>
                <a:cubicBezTo>
                  <a:pt x="5088641" y="651383"/>
                  <a:pt x="5070162" y="669862"/>
                  <a:pt x="5048218" y="669862"/>
                </a:cubicBezTo>
                <a:cubicBezTo>
                  <a:pt x="5026274" y="669862"/>
                  <a:pt x="5007796" y="651383"/>
                  <a:pt x="5007796" y="629440"/>
                </a:cubicBezTo>
                <a:cubicBezTo>
                  <a:pt x="5007796" y="607495"/>
                  <a:pt x="5026274" y="589016"/>
                  <a:pt x="5048218" y="589016"/>
                </a:cubicBezTo>
                <a:close/>
                <a:moveTo>
                  <a:pt x="4228216" y="589016"/>
                </a:moveTo>
                <a:cubicBezTo>
                  <a:pt x="4251315" y="589016"/>
                  <a:pt x="4268637" y="607495"/>
                  <a:pt x="4268637" y="629440"/>
                </a:cubicBezTo>
                <a:cubicBezTo>
                  <a:pt x="4268637" y="651383"/>
                  <a:pt x="4250159" y="669862"/>
                  <a:pt x="4228216" y="669862"/>
                </a:cubicBezTo>
                <a:cubicBezTo>
                  <a:pt x="4206271" y="669862"/>
                  <a:pt x="4187792" y="651383"/>
                  <a:pt x="4187792" y="629440"/>
                </a:cubicBezTo>
                <a:cubicBezTo>
                  <a:pt x="4187792" y="607495"/>
                  <a:pt x="4206271" y="589016"/>
                  <a:pt x="4228216" y="589016"/>
                </a:cubicBezTo>
                <a:close/>
                <a:moveTo>
                  <a:pt x="3957960" y="589016"/>
                </a:moveTo>
                <a:cubicBezTo>
                  <a:pt x="3979904" y="589016"/>
                  <a:pt x="3998382" y="607495"/>
                  <a:pt x="3998382" y="629440"/>
                </a:cubicBezTo>
                <a:cubicBezTo>
                  <a:pt x="3998382" y="651383"/>
                  <a:pt x="3979904" y="669862"/>
                  <a:pt x="3957960" y="669862"/>
                </a:cubicBezTo>
                <a:cubicBezTo>
                  <a:pt x="3936016" y="669862"/>
                  <a:pt x="3917537" y="651383"/>
                  <a:pt x="3917537" y="629440"/>
                </a:cubicBezTo>
                <a:cubicBezTo>
                  <a:pt x="3917537" y="607495"/>
                  <a:pt x="3936016" y="589016"/>
                  <a:pt x="3957960" y="589016"/>
                </a:cubicBezTo>
                <a:close/>
                <a:moveTo>
                  <a:pt x="1925276" y="589016"/>
                </a:moveTo>
                <a:cubicBezTo>
                  <a:pt x="1948375" y="589016"/>
                  <a:pt x="1965698" y="607495"/>
                  <a:pt x="1965698" y="629440"/>
                </a:cubicBezTo>
                <a:cubicBezTo>
                  <a:pt x="1965698" y="651383"/>
                  <a:pt x="1947219" y="669862"/>
                  <a:pt x="1925276" y="669862"/>
                </a:cubicBezTo>
                <a:cubicBezTo>
                  <a:pt x="1903332" y="669862"/>
                  <a:pt x="1884853" y="651383"/>
                  <a:pt x="1884853" y="629440"/>
                </a:cubicBezTo>
                <a:cubicBezTo>
                  <a:pt x="1884853" y="607495"/>
                  <a:pt x="1903332" y="589016"/>
                  <a:pt x="1925276" y="589016"/>
                </a:cubicBezTo>
                <a:close/>
                <a:moveTo>
                  <a:pt x="1655022" y="589016"/>
                </a:moveTo>
                <a:cubicBezTo>
                  <a:pt x="1676965" y="589016"/>
                  <a:pt x="1695444" y="607495"/>
                  <a:pt x="1695444" y="629440"/>
                </a:cubicBezTo>
                <a:cubicBezTo>
                  <a:pt x="1695444" y="651383"/>
                  <a:pt x="1676965" y="669862"/>
                  <a:pt x="1655022" y="669862"/>
                </a:cubicBezTo>
                <a:cubicBezTo>
                  <a:pt x="1633077" y="669862"/>
                  <a:pt x="1614598" y="651383"/>
                  <a:pt x="1614598" y="629440"/>
                </a:cubicBezTo>
                <a:cubicBezTo>
                  <a:pt x="1614598" y="607495"/>
                  <a:pt x="1633077" y="589016"/>
                  <a:pt x="1655022" y="589016"/>
                </a:cubicBezTo>
                <a:close/>
                <a:moveTo>
                  <a:pt x="841948" y="589016"/>
                </a:moveTo>
                <a:cubicBezTo>
                  <a:pt x="863891" y="589016"/>
                  <a:pt x="882370" y="607495"/>
                  <a:pt x="882370" y="629440"/>
                </a:cubicBezTo>
                <a:cubicBezTo>
                  <a:pt x="882370" y="651383"/>
                  <a:pt x="863891" y="669862"/>
                  <a:pt x="841948" y="669862"/>
                </a:cubicBezTo>
                <a:cubicBezTo>
                  <a:pt x="820004" y="669862"/>
                  <a:pt x="801525" y="651383"/>
                  <a:pt x="801525" y="629440"/>
                </a:cubicBezTo>
                <a:cubicBezTo>
                  <a:pt x="801525" y="607495"/>
                  <a:pt x="820004" y="589016"/>
                  <a:pt x="841948" y="589016"/>
                </a:cubicBezTo>
                <a:close/>
                <a:moveTo>
                  <a:pt x="435411" y="589016"/>
                </a:moveTo>
                <a:cubicBezTo>
                  <a:pt x="457354" y="589016"/>
                  <a:pt x="475833" y="607495"/>
                  <a:pt x="475833" y="629440"/>
                </a:cubicBezTo>
                <a:cubicBezTo>
                  <a:pt x="475833" y="651383"/>
                  <a:pt x="457354" y="669862"/>
                  <a:pt x="435411" y="669862"/>
                </a:cubicBezTo>
                <a:cubicBezTo>
                  <a:pt x="413467" y="669862"/>
                  <a:pt x="394988" y="651383"/>
                  <a:pt x="394988" y="629440"/>
                </a:cubicBezTo>
                <a:cubicBezTo>
                  <a:pt x="394988" y="607495"/>
                  <a:pt x="413467" y="589016"/>
                  <a:pt x="435411" y="589016"/>
                </a:cubicBezTo>
                <a:close/>
                <a:moveTo>
                  <a:pt x="11008282" y="577467"/>
                </a:moveTo>
                <a:cubicBezTo>
                  <a:pt x="11036000" y="577467"/>
                  <a:pt x="11059099" y="600566"/>
                  <a:pt x="11059099" y="628284"/>
                </a:cubicBezTo>
                <a:cubicBezTo>
                  <a:pt x="11059099" y="656002"/>
                  <a:pt x="11037156" y="679101"/>
                  <a:pt x="11008282" y="679101"/>
                </a:cubicBezTo>
                <a:cubicBezTo>
                  <a:pt x="10980564" y="679101"/>
                  <a:pt x="10957465" y="656002"/>
                  <a:pt x="10957465" y="628284"/>
                </a:cubicBezTo>
                <a:cubicBezTo>
                  <a:pt x="10957465" y="600566"/>
                  <a:pt x="10979409" y="577467"/>
                  <a:pt x="11008282" y="577467"/>
                </a:cubicBezTo>
                <a:close/>
                <a:moveTo>
                  <a:pt x="9924954" y="577467"/>
                </a:moveTo>
                <a:cubicBezTo>
                  <a:pt x="9952672" y="577467"/>
                  <a:pt x="9975771" y="600566"/>
                  <a:pt x="9975771" y="628284"/>
                </a:cubicBezTo>
                <a:cubicBezTo>
                  <a:pt x="9975771" y="656002"/>
                  <a:pt x="9953828" y="679101"/>
                  <a:pt x="9924954" y="679101"/>
                </a:cubicBezTo>
                <a:cubicBezTo>
                  <a:pt x="9897235" y="679101"/>
                  <a:pt x="9874137" y="656002"/>
                  <a:pt x="9874137" y="628284"/>
                </a:cubicBezTo>
                <a:cubicBezTo>
                  <a:pt x="9874137" y="600566"/>
                  <a:pt x="9896081" y="577467"/>
                  <a:pt x="9924954" y="577467"/>
                </a:cubicBezTo>
                <a:close/>
                <a:moveTo>
                  <a:pt x="9788672" y="577467"/>
                </a:moveTo>
                <a:cubicBezTo>
                  <a:pt x="9817545" y="577467"/>
                  <a:pt x="9839489" y="601721"/>
                  <a:pt x="9839489" y="629440"/>
                </a:cubicBezTo>
                <a:cubicBezTo>
                  <a:pt x="9839489" y="657158"/>
                  <a:pt x="9816390" y="680257"/>
                  <a:pt x="9788672" y="680257"/>
                </a:cubicBezTo>
                <a:cubicBezTo>
                  <a:pt x="9760953" y="680257"/>
                  <a:pt x="9737854" y="658312"/>
                  <a:pt x="9737854" y="629440"/>
                </a:cubicBezTo>
                <a:cubicBezTo>
                  <a:pt x="9737854" y="600566"/>
                  <a:pt x="9760953" y="577467"/>
                  <a:pt x="9788672" y="577467"/>
                </a:cubicBezTo>
                <a:close/>
                <a:moveTo>
                  <a:pt x="8705894" y="577467"/>
                </a:moveTo>
                <a:cubicBezTo>
                  <a:pt x="8733613" y="577467"/>
                  <a:pt x="8756711" y="600566"/>
                  <a:pt x="8756711" y="628284"/>
                </a:cubicBezTo>
                <a:cubicBezTo>
                  <a:pt x="8756711" y="656002"/>
                  <a:pt x="8733613" y="679101"/>
                  <a:pt x="8705894" y="679101"/>
                </a:cubicBezTo>
                <a:cubicBezTo>
                  <a:pt x="8678176" y="679101"/>
                  <a:pt x="8655077" y="656002"/>
                  <a:pt x="8655077" y="628284"/>
                </a:cubicBezTo>
                <a:cubicBezTo>
                  <a:pt x="8655077" y="600566"/>
                  <a:pt x="8677021" y="577467"/>
                  <a:pt x="8705894" y="577467"/>
                </a:cubicBezTo>
                <a:close/>
                <a:moveTo>
                  <a:pt x="6402956" y="577467"/>
                </a:moveTo>
                <a:cubicBezTo>
                  <a:pt x="6431830" y="577467"/>
                  <a:pt x="6453773" y="600566"/>
                  <a:pt x="6453773" y="628284"/>
                </a:cubicBezTo>
                <a:cubicBezTo>
                  <a:pt x="6453773" y="656002"/>
                  <a:pt x="6431830" y="679101"/>
                  <a:pt x="6402956" y="679101"/>
                </a:cubicBezTo>
                <a:cubicBezTo>
                  <a:pt x="6375237" y="679101"/>
                  <a:pt x="6352139" y="656002"/>
                  <a:pt x="6352139" y="628284"/>
                </a:cubicBezTo>
                <a:cubicBezTo>
                  <a:pt x="6352139" y="600566"/>
                  <a:pt x="6374084" y="577467"/>
                  <a:pt x="6402956" y="577467"/>
                </a:cubicBezTo>
                <a:close/>
                <a:moveTo>
                  <a:pt x="5319627" y="577467"/>
                </a:moveTo>
                <a:cubicBezTo>
                  <a:pt x="5347347" y="577467"/>
                  <a:pt x="5370444" y="600566"/>
                  <a:pt x="5370444" y="628284"/>
                </a:cubicBezTo>
                <a:cubicBezTo>
                  <a:pt x="5370444" y="656002"/>
                  <a:pt x="5347347" y="679101"/>
                  <a:pt x="5319627" y="679101"/>
                </a:cubicBezTo>
                <a:cubicBezTo>
                  <a:pt x="5291910" y="679101"/>
                  <a:pt x="5268810" y="656002"/>
                  <a:pt x="5268810" y="628284"/>
                </a:cubicBezTo>
                <a:cubicBezTo>
                  <a:pt x="5268810" y="600566"/>
                  <a:pt x="5290756" y="577467"/>
                  <a:pt x="5319627" y="577467"/>
                </a:cubicBezTo>
                <a:close/>
                <a:moveTo>
                  <a:pt x="5183345" y="577467"/>
                </a:moveTo>
                <a:cubicBezTo>
                  <a:pt x="5212220" y="577467"/>
                  <a:pt x="5234162" y="600566"/>
                  <a:pt x="5234162" y="628284"/>
                </a:cubicBezTo>
                <a:cubicBezTo>
                  <a:pt x="5234162" y="656002"/>
                  <a:pt x="5211064" y="679101"/>
                  <a:pt x="5183345" y="679101"/>
                </a:cubicBezTo>
                <a:cubicBezTo>
                  <a:pt x="5155627" y="679101"/>
                  <a:pt x="5132528" y="656002"/>
                  <a:pt x="5132528" y="628284"/>
                </a:cubicBezTo>
                <a:cubicBezTo>
                  <a:pt x="5132528" y="600566"/>
                  <a:pt x="5154472" y="577467"/>
                  <a:pt x="5183345" y="577467"/>
                </a:cubicBezTo>
                <a:close/>
                <a:moveTo>
                  <a:pt x="4093087" y="577467"/>
                </a:moveTo>
                <a:cubicBezTo>
                  <a:pt x="4120806" y="577467"/>
                  <a:pt x="4143904" y="600566"/>
                  <a:pt x="4143904" y="628284"/>
                </a:cubicBezTo>
                <a:cubicBezTo>
                  <a:pt x="4143904" y="656002"/>
                  <a:pt x="4120806" y="679101"/>
                  <a:pt x="4093087" y="679101"/>
                </a:cubicBezTo>
                <a:cubicBezTo>
                  <a:pt x="4065369" y="679101"/>
                  <a:pt x="4042270" y="656002"/>
                  <a:pt x="4042270" y="628284"/>
                </a:cubicBezTo>
                <a:cubicBezTo>
                  <a:pt x="4042270" y="600566"/>
                  <a:pt x="4064214" y="577467"/>
                  <a:pt x="4093087" y="577467"/>
                </a:cubicBezTo>
                <a:close/>
                <a:moveTo>
                  <a:pt x="1790148" y="577467"/>
                </a:moveTo>
                <a:cubicBezTo>
                  <a:pt x="1817867" y="577467"/>
                  <a:pt x="1840965" y="600566"/>
                  <a:pt x="1840965" y="628284"/>
                </a:cubicBezTo>
                <a:cubicBezTo>
                  <a:pt x="1840965" y="656002"/>
                  <a:pt x="1819022" y="679101"/>
                  <a:pt x="1790148" y="679101"/>
                </a:cubicBezTo>
                <a:cubicBezTo>
                  <a:pt x="1762430" y="679101"/>
                  <a:pt x="1739331" y="656002"/>
                  <a:pt x="1739331" y="628284"/>
                </a:cubicBezTo>
                <a:cubicBezTo>
                  <a:pt x="1739331" y="600566"/>
                  <a:pt x="1761275" y="577467"/>
                  <a:pt x="1790148" y="577467"/>
                </a:cubicBezTo>
                <a:close/>
                <a:moveTo>
                  <a:pt x="706820" y="577467"/>
                </a:moveTo>
                <a:cubicBezTo>
                  <a:pt x="734538" y="577467"/>
                  <a:pt x="757637" y="600566"/>
                  <a:pt x="757637" y="628284"/>
                </a:cubicBezTo>
                <a:cubicBezTo>
                  <a:pt x="757637" y="656002"/>
                  <a:pt x="735694" y="679101"/>
                  <a:pt x="706820" y="679101"/>
                </a:cubicBezTo>
                <a:cubicBezTo>
                  <a:pt x="679101" y="679101"/>
                  <a:pt x="656003" y="656002"/>
                  <a:pt x="656003" y="628284"/>
                </a:cubicBezTo>
                <a:cubicBezTo>
                  <a:pt x="656003" y="600566"/>
                  <a:pt x="677947" y="577467"/>
                  <a:pt x="706820" y="577467"/>
                </a:cubicBezTo>
                <a:close/>
                <a:moveTo>
                  <a:pt x="570538" y="577467"/>
                </a:moveTo>
                <a:cubicBezTo>
                  <a:pt x="599412" y="577467"/>
                  <a:pt x="621355" y="601721"/>
                  <a:pt x="621355" y="629440"/>
                </a:cubicBezTo>
                <a:cubicBezTo>
                  <a:pt x="621355" y="657158"/>
                  <a:pt x="598256" y="680257"/>
                  <a:pt x="570538" y="680257"/>
                </a:cubicBezTo>
                <a:cubicBezTo>
                  <a:pt x="542819" y="680257"/>
                  <a:pt x="519721" y="658312"/>
                  <a:pt x="519721" y="629440"/>
                </a:cubicBezTo>
                <a:cubicBezTo>
                  <a:pt x="519721" y="600566"/>
                  <a:pt x="542819" y="577467"/>
                  <a:pt x="570538" y="577467"/>
                </a:cubicBezTo>
                <a:close/>
                <a:moveTo>
                  <a:pt x="12180541" y="464284"/>
                </a:moveTo>
                <a:cubicBezTo>
                  <a:pt x="12192090" y="464284"/>
                  <a:pt x="12201330" y="473523"/>
                  <a:pt x="12201330" y="485072"/>
                </a:cubicBezTo>
                <a:cubicBezTo>
                  <a:pt x="12201330" y="496622"/>
                  <a:pt x="12192090" y="505861"/>
                  <a:pt x="12180541" y="505861"/>
                </a:cubicBezTo>
                <a:cubicBezTo>
                  <a:pt x="12168992" y="505861"/>
                  <a:pt x="12159752" y="496622"/>
                  <a:pt x="12159752" y="485072"/>
                </a:cubicBezTo>
                <a:cubicBezTo>
                  <a:pt x="12159752" y="473523"/>
                  <a:pt x="12168992" y="464284"/>
                  <a:pt x="12180541" y="464284"/>
                </a:cubicBezTo>
                <a:close/>
                <a:moveTo>
                  <a:pt x="12040793" y="464284"/>
                </a:moveTo>
                <a:cubicBezTo>
                  <a:pt x="12052342" y="464284"/>
                  <a:pt x="12061582" y="473523"/>
                  <a:pt x="12061582" y="485072"/>
                </a:cubicBezTo>
                <a:cubicBezTo>
                  <a:pt x="12061582" y="496622"/>
                  <a:pt x="12052342" y="505861"/>
                  <a:pt x="12040793" y="505861"/>
                </a:cubicBezTo>
                <a:cubicBezTo>
                  <a:pt x="12029244" y="505861"/>
                  <a:pt x="12020004" y="496622"/>
                  <a:pt x="12020004" y="485072"/>
                </a:cubicBezTo>
                <a:cubicBezTo>
                  <a:pt x="12020004" y="473523"/>
                  <a:pt x="12029244" y="464284"/>
                  <a:pt x="12040793" y="464284"/>
                </a:cubicBezTo>
                <a:close/>
                <a:moveTo>
                  <a:pt x="11901047" y="464284"/>
                </a:moveTo>
                <a:cubicBezTo>
                  <a:pt x="11912596" y="464284"/>
                  <a:pt x="11921836" y="473523"/>
                  <a:pt x="11921836" y="485072"/>
                </a:cubicBezTo>
                <a:cubicBezTo>
                  <a:pt x="11921836" y="496622"/>
                  <a:pt x="11912596" y="505861"/>
                  <a:pt x="11901047" y="505861"/>
                </a:cubicBezTo>
                <a:cubicBezTo>
                  <a:pt x="11889498" y="505861"/>
                  <a:pt x="11880258" y="496622"/>
                  <a:pt x="11880258" y="485072"/>
                </a:cubicBezTo>
                <a:cubicBezTo>
                  <a:pt x="11880258" y="473523"/>
                  <a:pt x="11889498" y="464284"/>
                  <a:pt x="11901047" y="464284"/>
                </a:cubicBezTo>
                <a:close/>
                <a:moveTo>
                  <a:pt x="11761299" y="464284"/>
                </a:moveTo>
                <a:cubicBezTo>
                  <a:pt x="11772848" y="464284"/>
                  <a:pt x="11782088" y="473523"/>
                  <a:pt x="11782088" y="485072"/>
                </a:cubicBezTo>
                <a:cubicBezTo>
                  <a:pt x="11782088" y="496622"/>
                  <a:pt x="11772848" y="505861"/>
                  <a:pt x="11761299" y="505861"/>
                </a:cubicBezTo>
                <a:cubicBezTo>
                  <a:pt x="11749750" y="505861"/>
                  <a:pt x="11740510" y="496622"/>
                  <a:pt x="11740510" y="485072"/>
                </a:cubicBezTo>
                <a:cubicBezTo>
                  <a:pt x="11740510" y="473523"/>
                  <a:pt x="11749750" y="464284"/>
                  <a:pt x="11761299" y="464284"/>
                </a:cubicBezTo>
                <a:close/>
                <a:moveTo>
                  <a:pt x="11621553" y="464284"/>
                </a:moveTo>
                <a:cubicBezTo>
                  <a:pt x="11633102" y="464284"/>
                  <a:pt x="11642342" y="473523"/>
                  <a:pt x="11642342" y="485072"/>
                </a:cubicBezTo>
                <a:cubicBezTo>
                  <a:pt x="11642342" y="496622"/>
                  <a:pt x="11633102" y="505861"/>
                  <a:pt x="11621553" y="505861"/>
                </a:cubicBezTo>
                <a:cubicBezTo>
                  <a:pt x="11610003" y="505861"/>
                  <a:pt x="11600764" y="496622"/>
                  <a:pt x="11600764" y="485072"/>
                </a:cubicBezTo>
                <a:cubicBezTo>
                  <a:pt x="11600764" y="473523"/>
                  <a:pt x="11610003" y="464284"/>
                  <a:pt x="11621553" y="464284"/>
                </a:cubicBezTo>
                <a:close/>
                <a:moveTo>
                  <a:pt x="11481805" y="464284"/>
                </a:moveTo>
                <a:cubicBezTo>
                  <a:pt x="11493354" y="464284"/>
                  <a:pt x="11502594" y="473523"/>
                  <a:pt x="11502594" y="485072"/>
                </a:cubicBezTo>
                <a:cubicBezTo>
                  <a:pt x="11502594" y="496622"/>
                  <a:pt x="11493354" y="505861"/>
                  <a:pt x="11481805" y="505861"/>
                </a:cubicBezTo>
                <a:cubicBezTo>
                  <a:pt x="11470256" y="505861"/>
                  <a:pt x="11461016" y="496622"/>
                  <a:pt x="11461016" y="485072"/>
                </a:cubicBezTo>
                <a:cubicBezTo>
                  <a:pt x="11461016" y="473523"/>
                  <a:pt x="11470256" y="464284"/>
                  <a:pt x="11481805" y="464284"/>
                </a:cubicBezTo>
                <a:close/>
                <a:moveTo>
                  <a:pt x="10644478" y="464284"/>
                </a:moveTo>
                <a:cubicBezTo>
                  <a:pt x="10656028" y="464284"/>
                  <a:pt x="10665267" y="473523"/>
                  <a:pt x="10665267" y="485072"/>
                </a:cubicBezTo>
                <a:cubicBezTo>
                  <a:pt x="10665267" y="496622"/>
                  <a:pt x="10656028" y="505861"/>
                  <a:pt x="10644478" y="505861"/>
                </a:cubicBezTo>
                <a:cubicBezTo>
                  <a:pt x="10632929" y="505861"/>
                  <a:pt x="10623690" y="496622"/>
                  <a:pt x="10623690" y="485072"/>
                </a:cubicBezTo>
                <a:cubicBezTo>
                  <a:pt x="10623690" y="473523"/>
                  <a:pt x="10632929" y="464284"/>
                  <a:pt x="10644478" y="464284"/>
                </a:cubicBezTo>
                <a:close/>
                <a:moveTo>
                  <a:pt x="10504731" y="464284"/>
                </a:moveTo>
                <a:cubicBezTo>
                  <a:pt x="10516280" y="464284"/>
                  <a:pt x="10525520" y="473523"/>
                  <a:pt x="10525520" y="485072"/>
                </a:cubicBezTo>
                <a:cubicBezTo>
                  <a:pt x="10525520" y="496622"/>
                  <a:pt x="10516280" y="505861"/>
                  <a:pt x="10504731" y="505861"/>
                </a:cubicBezTo>
                <a:cubicBezTo>
                  <a:pt x="10493181" y="505861"/>
                  <a:pt x="10483942" y="496622"/>
                  <a:pt x="10483942" y="485072"/>
                </a:cubicBezTo>
                <a:cubicBezTo>
                  <a:pt x="10483942" y="473523"/>
                  <a:pt x="10493181" y="464284"/>
                  <a:pt x="10504731" y="464284"/>
                </a:cubicBezTo>
                <a:close/>
                <a:moveTo>
                  <a:pt x="10364984" y="464284"/>
                </a:moveTo>
                <a:cubicBezTo>
                  <a:pt x="10376534" y="464284"/>
                  <a:pt x="10385773" y="473523"/>
                  <a:pt x="10385773" y="485072"/>
                </a:cubicBezTo>
                <a:cubicBezTo>
                  <a:pt x="10385773" y="496622"/>
                  <a:pt x="10376534" y="505861"/>
                  <a:pt x="10364984" y="505861"/>
                </a:cubicBezTo>
                <a:cubicBezTo>
                  <a:pt x="10353435" y="505861"/>
                  <a:pt x="10344196" y="496622"/>
                  <a:pt x="10344196" y="485072"/>
                </a:cubicBezTo>
                <a:cubicBezTo>
                  <a:pt x="10344196" y="473523"/>
                  <a:pt x="10353435" y="464284"/>
                  <a:pt x="10364984" y="464284"/>
                </a:cubicBezTo>
                <a:close/>
                <a:moveTo>
                  <a:pt x="7854709" y="464284"/>
                </a:moveTo>
                <a:cubicBezTo>
                  <a:pt x="7866258" y="464284"/>
                  <a:pt x="7875498" y="473523"/>
                  <a:pt x="7875498" y="485072"/>
                </a:cubicBezTo>
                <a:cubicBezTo>
                  <a:pt x="7875498" y="496622"/>
                  <a:pt x="7866258" y="505861"/>
                  <a:pt x="7854709" y="505861"/>
                </a:cubicBezTo>
                <a:cubicBezTo>
                  <a:pt x="7843160" y="505861"/>
                  <a:pt x="7833921" y="496622"/>
                  <a:pt x="7833921" y="485072"/>
                </a:cubicBezTo>
                <a:cubicBezTo>
                  <a:pt x="7833921" y="473523"/>
                  <a:pt x="7843160" y="464284"/>
                  <a:pt x="7854709" y="464284"/>
                </a:cubicBezTo>
                <a:close/>
                <a:moveTo>
                  <a:pt x="7714960" y="464284"/>
                </a:moveTo>
                <a:cubicBezTo>
                  <a:pt x="7726511" y="464284"/>
                  <a:pt x="7735749" y="473523"/>
                  <a:pt x="7735749" y="485072"/>
                </a:cubicBezTo>
                <a:cubicBezTo>
                  <a:pt x="7735749" y="496622"/>
                  <a:pt x="7726511" y="505861"/>
                  <a:pt x="7714960" y="505861"/>
                </a:cubicBezTo>
                <a:cubicBezTo>
                  <a:pt x="7703411" y="505861"/>
                  <a:pt x="7694172" y="496622"/>
                  <a:pt x="7694172" y="485072"/>
                </a:cubicBezTo>
                <a:cubicBezTo>
                  <a:pt x="7694172" y="473523"/>
                  <a:pt x="7703411" y="464284"/>
                  <a:pt x="7714960" y="464284"/>
                </a:cubicBezTo>
                <a:close/>
                <a:moveTo>
                  <a:pt x="7575214" y="464284"/>
                </a:moveTo>
                <a:cubicBezTo>
                  <a:pt x="7586765" y="464284"/>
                  <a:pt x="7596004" y="473523"/>
                  <a:pt x="7596004" y="485072"/>
                </a:cubicBezTo>
                <a:cubicBezTo>
                  <a:pt x="7596004" y="496622"/>
                  <a:pt x="7586765" y="505861"/>
                  <a:pt x="7575214" y="505861"/>
                </a:cubicBezTo>
                <a:cubicBezTo>
                  <a:pt x="7563665" y="505861"/>
                  <a:pt x="7554427" y="496622"/>
                  <a:pt x="7554427" y="485072"/>
                </a:cubicBezTo>
                <a:cubicBezTo>
                  <a:pt x="7554427" y="473523"/>
                  <a:pt x="7563665" y="464284"/>
                  <a:pt x="7575214" y="464284"/>
                </a:cubicBezTo>
                <a:close/>
                <a:moveTo>
                  <a:pt x="7435467" y="464284"/>
                </a:moveTo>
                <a:cubicBezTo>
                  <a:pt x="7447016" y="464284"/>
                  <a:pt x="7456257" y="473523"/>
                  <a:pt x="7456257" y="485072"/>
                </a:cubicBezTo>
                <a:cubicBezTo>
                  <a:pt x="7456257" y="496622"/>
                  <a:pt x="7447016" y="505861"/>
                  <a:pt x="7435467" y="505861"/>
                </a:cubicBezTo>
                <a:cubicBezTo>
                  <a:pt x="7423918" y="505861"/>
                  <a:pt x="7414678" y="496622"/>
                  <a:pt x="7414678" y="485072"/>
                </a:cubicBezTo>
                <a:cubicBezTo>
                  <a:pt x="7414678" y="473523"/>
                  <a:pt x="7423918" y="464284"/>
                  <a:pt x="7435467" y="464284"/>
                </a:cubicBezTo>
                <a:close/>
                <a:moveTo>
                  <a:pt x="7295720" y="464284"/>
                </a:moveTo>
                <a:cubicBezTo>
                  <a:pt x="7307271" y="464284"/>
                  <a:pt x="7316509" y="473523"/>
                  <a:pt x="7316509" y="485072"/>
                </a:cubicBezTo>
                <a:cubicBezTo>
                  <a:pt x="7316509" y="496622"/>
                  <a:pt x="7307271" y="505861"/>
                  <a:pt x="7295720" y="505861"/>
                </a:cubicBezTo>
                <a:cubicBezTo>
                  <a:pt x="7284172" y="505861"/>
                  <a:pt x="7274932" y="496622"/>
                  <a:pt x="7274932" y="485072"/>
                </a:cubicBezTo>
                <a:cubicBezTo>
                  <a:pt x="7274932" y="473523"/>
                  <a:pt x="7284172" y="464284"/>
                  <a:pt x="7295720" y="464284"/>
                </a:cubicBezTo>
                <a:close/>
                <a:moveTo>
                  <a:pt x="7155974" y="464284"/>
                </a:moveTo>
                <a:cubicBezTo>
                  <a:pt x="7167522" y="464284"/>
                  <a:pt x="7176762" y="473523"/>
                  <a:pt x="7176762" y="485072"/>
                </a:cubicBezTo>
                <a:cubicBezTo>
                  <a:pt x="7176762" y="496622"/>
                  <a:pt x="7167522" y="505861"/>
                  <a:pt x="7155974" y="505861"/>
                </a:cubicBezTo>
                <a:cubicBezTo>
                  <a:pt x="7144423" y="505861"/>
                  <a:pt x="7135183" y="496622"/>
                  <a:pt x="7135183" y="485072"/>
                </a:cubicBezTo>
                <a:cubicBezTo>
                  <a:pt x="7135183" y="473523"/>
                  <a:pt x="7144423" y="464284"/>
                  <a:pt x="7155974" y="464284"/>
                </a:cubicBezTo>
                <a:close/>
                <a:moveTo>
                  <a:pt x="7016227" y="464284"/>
                </a:moveTo>
                <a:cubicBezTo>
                  <a:pt x="7027776" y="464284"/>
                  <a:pt x="7037016" y="473523"/>
                  <a:pt x="7037016" y="485072"/>
                </a:cubicBezTo>
                <a:cubicBezTo>
                  <a:pt x="7037016" y="496622"/>
                  <a:pt x="7027776" y="505861"/>
                  <a:pt x="7016227" y="505861"/>
                </a:cubicBezTo>
                <a:cubicBezTo>
                  <a:pt x="7004678" y="505861"/>
                  <a:pt x="6995438" y="496622"/>
                  <a:pt x="6995438" y="485072"/>
                </a:cubicBezTo>
                <a:cubicBezTo>
                  <a:pt x="6995438" y="473523"/>
                  <a:pt x="7004678" y="464284"/>
                  <a:pt x="7016227" y="464284"/>
                </a:cubicBezTo>
                <a:close/>
                <a:moveTo>
                  <a:pt x="6877634" y="464284"/>
                </a:moveTo>
                <a:cubicBezTo>
                  <a:pt x="6888028" y="464284"/>
                  <a:pt x="6898424" y="473523"/>
                  <a:pt x="6898424" y="485072"/>
                </a:cubicBezTo>
                <a:cubicBezTo>
                  <a:pt x="6898424" y="496622"/>
                  <a:pt x="6889184" y="505861"/>
                  <a:pt x="6877634" y="505861"/>
                </a:cubicBezTo>
                <a:cubicBezTo>
                  <a:pt x="6866085" y="505861"/>
                  <a:pt x="6856845" y="496622"/>
                  <a:pt x="6856845" y="485072"/>
                </a:cubicBezTo>
                <a:cubicBezTo>
                  <a:pt x="6856845" y="473523"/>
                  <a:pt x="6866085" y="464284"/>
                  <a:pt x="6877634" y="464284"/>
                </a:cubicBezTo>
                <a:close/>
                <a:moveTo>
                  <a:pt x="6039151" y="464284"/>
                </a:moveTo>
                <a:cubicBezTo>
                  <a:pt x="6050702" y="464284"/>
                  <a:pt x="6059942" y="473523"/>
                  <a:pt x="6059942" y="485072"/>
                </a:cubicBezTo>
                <a:cubicBezTo>
                  <a:pt x="6059942" y="496622"/>
                  <a:pt x="6050702" y="505861"/>
                  <a:pt x="6039151" y="505861"/>
                </a:cubicBezTo>
                <a:cubicBezTo>
                  <a:pt x="6027603" y="505861"/>
                  <a:pt x="6018363" y="496622"/>
                  <a:pt x="6018363" y="485072"/>
                </a:cubicBezTo>
                <a:cubicBezTo>
                  <a:pt x="6018363" y="473523"/>
                  <a:pt x="6027603" y="464284"/>
                  <a:pt x="6039151" y="464284"/>
                </a:cubicBezTo>
                <a:close/>
                <a:moveTo>
                  <a:pt x="5899405" y="464284"/>
                </a:moveTo>
                <a:cubicBezTo>
                  <a:pt x="5910953" y="464284"/>
                  <a:pt x="5920193" y="473523"/>
                  <a:pt x="5920193" y="485072"/>
                </a:cubicBezTo>
                <a:cubicBezTo>
                  <a:pt x="5920193" y="496622"/>
                  <a:pt x="5910953" y="505861"/>
                  <a:pt x="5899405" y="505861"/>
                </a:cubicBezTo>
                <a:cubicBezTo>
                  <a:pt x="5887855" y="505861"/>
                  <a:pt x="5878616" y="496622"/>
                  <a:pt x="5878616" y="485072"/>
                </a:cubicBezTo>
                <a:cubicBezTo>
                  <a:pt x="5878616" y="473523"/>
                  <a:pt x="5887855" y="464284"/>
                  <a:pt x="5899405" y="464284"/>
                </a:cubicBezTo>
                <a:close/>
                <a:moveTo>
                  <a:pt x="5759658" y="464284"/>
                </a:moveTo>
                <a:cubicBezTo>
                  <a:pt x="5771207" y="464284"/>
                  <a:pt x="5780447" y="473523"/>
                  <a:pt x="5780447" y="485072"/>
                </a:cubicBezTo>
                <a:cubicBezTo>
                  <a:pt x="5780447" y="496622"/>
                  <a:pt x="5771207" y="505861"/>
                  <a:pt x="5759658" y="505861"/>
                </a:cubicBezTo>
                <a:cubicBezTo>
                  <a:pt x="5748109" y="505861"/>
                  <a:pt x="5738869" y="496622"/>
                  <a:pt x="5738869" y="485072"/>
                </a:cubicBezTo>
                <a:cubicBezTo>
                  <a:pt x="5738869" y="473523"/>
                  <a:pt x="5748109" y="464284"/>
                  <a:pt x="5759658" y="464284"/>
                </a:cubicBezTo>
                <a:close/>
                <a:moveTo>
                  <a:pt x="3241901" y="464284"/>
                </a:moveTo>
                <a:cubicBezTo>
                  <a:pt x="3253450" y="464284"/>
                  <a:pt x="3262690" y="473523"/>
                  <a:pt x="3262690" y="485072"/>
                </a:cubicBezTo>
                <a:cubicBezTo>
                  <a:pt x="3262690" y="496622"/>
                  <a:pt x="3253450" y="505861"/>
                  <a:pt x="3241901" y="505861"/>
                </a:cubicBezTo>
                <a:cubicBezTo>
                  <a:pt x="3230352" y="505861"/>
                  <a:pt x="3221112" y="496622"/>
                  <a:pt x="3221112" y="485072"/>
                </a:cubicBezTo>
                <a:cubicBezTo>
                  <a:pt x="3221112" y="473523"/>
                  <a:pt x="3230352" y="464284"/>
                  <a:pt x="3241901" y="464284"/>
                </a:cubicBezTo>
                <a:close/>
                <a:moveTo>
                  <a:pt x="3102153" y="464284"/>
                </a:moveTo>
                <a:cubicBezTo>
                  <a:pt x="3113703" y="464284"/>
                  <a:pt x="3122942" y="473523"/>
                  <a:pt x="3122942" y="485072"/>
                </a:cubicBezTo>
                <a:cubicBezTo>
                  <a:pt x="3122942" y="496622"/>
                  <a:pt x="3113703" y="505861"/>
                  <a:pt x="3102153" y="505861"/>
                </a:cubicBezTo>
                <a:cubicBezTo>
                  <a:pt x="3090605" y="505861"/>
                  <a:pt x="3081365" y="496622"/>
                  <a:pt x="3081365" y="485072"/>
                </a:cubicBezTo>
                <a:cubicBezTo>
                  <a:pt x="3081365" y="473523"/>
                  <a:pt x="3090605" y="464284"/>
                  <a:pt x="3102153" y="464284"/>
                </a:cubicBezTo>
                <a:close/>
                <a:moveTo>
                  <a:pt x="2962407" y="464284"/>
                </a:moveTo>
                <a:cubicBezTo>
                  <a:pt x="2973956" y="464284"/>
                  <a:pt x="2983196" y="473523"/>
                  <a:pt x="2983196" y="485072"/>
                </a:cubicBezTo>
                <a:cubicBezTo>
                  <a:pt x="2983196" y="496622"/>
                  <a:pt x="2973956" y="505861"/>
                  <a:pt x="2962407" y="505861"/>
                </a:cubicBezTo>
                <a:cubicBezTo>
                  <a:pt x="2950858" y="505861"/>
                  <a:pt x="2941618" y="496622"/>
                  <a:pt x="2941618" y="485072"/>
                </a:cubicBezTo>
                <a:cubicBezTo>
                  <a:pt x="2941618" y="473523"/>
                  <a:pt x="2950858" y="464284"/>
                  <a:pt x="2962407" y="464284"/>
                </a:cubicBezTo>
                <a:close/>
                <a:moveTo>
                  <a:pt x="2822659" y="464284"/>
                </a:moveTo>
                <a:cubicBezTo>
                  <a:pt x="2834209" y="464284"/>
                  <a:pt x="2843448" y="473523"/>
                  <a:pt x="2843448" y="485072"/>
                </a:cubicBezTo>
                <a:cubicBezTo>
                  <a:pt x="2843448" y="496622"/>
                  <a:pt x="2834209" y="505861"/>
                  <a:pt x="2822659" y="505861"/>
                </a:cubicBezTo>
                <a:cubicBezTo>
                  <a:pt x="2811110" y="505861"/>
                  <a:pt x="2801871" y="496622"/>
                  <a:pt x="2801871" y="485072"/>
                </a:cubicBezTo>
                <a:cubicBezTo>
                  <a:pt x="2801871" y="473523"/>
                  <a:pt x="2811110" y="464284"/>
                  <a:pt x="2822659" y="464284"/>
                </a:cubicBezTo>
                <a:close/>
                <a:moveTo>
                  <a:pt x="2682913" y="464284"/>
                </a:moveTo>
                <a:cubicBezTo>
                  <a:pt x="2694462" y="464284"/>
                  <a:pt x="2703702" y="473523"/>
                  <a:pt x="2703702" y="485072"/>
                </a:cubicBezTo>
                <a:cubicBezTo>
                  <a:pt x="2703702" y="496622"/>
                  <a:pt x="2694462" y="505861"/>
                  <a:pt x="2682913" y="505861"/>
                </a:cubicBezTo>
                <a:cubicBezTo>
                  <a:pt x="2671365" y="505861"/>
                  <a:pt x="2662124" y="496622"/>
                  <a:pt x="2662124" y="485072"/>
                </a:cubicBezTo>
                <a:cubicBezTo>
                  <a:pt x="2662124" y="473523"/>
                  <a:pt x="2671365" y="464284"/>
                  <a:pt x="2682913" y="464284"/>
                </a:cubicBezTo>
                <a:close/>
                <a:moveTo>
                  <a:pt x="2543167" y="464284"/>
                </a:moveTo>
                <a:cubicBezTo>
                  <a:pt x="2554715" y="464284"/>
                  <a:pt x="2563954" y="473523"/>
                  <a:pt x="2563954" y="485072"/>
                </a:cubicBezTo>
                <a:cubicBezTo>
                  <a:pt x="2563954" y="496622"/>
                  <a:pt x="2554715" y="505861"/>
                  <a:pt x="2543167" y="505861"/>
                </a:cubicBezTo>
                <a:cubicBezTo>
                  <a:pt x="2531616" y="505861"/>
                  <a:pt x="2522376" y="496622"/>
                  <a:pt x="2522376" y="485072"/>
                </a:cubicBezTo>
                <a:cubicBezTo>
                  <a:pt x="2522376" y="473523"/>
                  <a:pt x="2531616" y="464284"/>
                  <a:pt x="2543167" y="464284"/>
                </a:cubicBezTo>
                <a:close/>
                <a:moveTo>
                  <a:pt x="2403419" y="464284"/>
                </a:moveTo>
                <a:cubicBezTo>
                  <a:pt x="2414969" y="464284"/>
                  <a:pt x="2424209" y="473523"/>
                  <a:pt x="2424209" y="485072"/>
                </a:cubicBezTo>
                <a:cubicBezTo>
                  <a:pt x="2424209" y="496622"/>
                  <a:pt x="2414969" y="505861"/>
                  <a:pt x="2403419" y="505861"/>
                </a:cubicBezTo>
                <a:cubicBezTo>
                  <a:pt x="2391869" y="505861"/>
                  <a:pt x="2382630" y="496622"/>
                  <a:pt x="2382630" y="485072"/>
                </a:cubicBezTo>
                <a:cubicBezTo>
                  <a:pt x="2382630" y="473523"/>
                  <a:pt x="2391869" y="464284"/>
                  <a:pt x="2403419" y="464284"/>
                </a:cubicBezTo>
                <a:close/>
                <a:moveTo>
                  <a:pt x="2263671" y="464284"/>
                </a:moveTo>
                <a:cubicBezTo>
                  <a:pt x="2275221" y="464284"/>
                  <a:pt x="2284460" y="473523"/>
                  <a:pt x="2284460" y="485072"/>
                </a:cubicBezTo>
                <a:cubicBezTo>
                  <a:pt x="2284460" y="496622"/>
                  <a:pt x="2275221" y="505861"/>
                  <a:pt x="2263671" y="505861"/>
                </a:cubicBezTo>
                <a:cubicBezTo>
                  <a:pt x="2252122" y="505861"/>
                  <a:pt x="2242883" y="496622"/>
                  <a:pt x="2242883" y="485072"/>
                </a:cubicBezTo>
                <a:cubicBezTo>
                  <a:pt x="2242883" y="473523"/>
                  <a:pt x="2252122" y="464284"/>
                  <a:pt x="2263671" y="464284"/>
                </a:cubicBezTo>
                <a:close/>
                <a:moveTo>
                  <a:pt x="1426344" y="464284"/>
                </a:moveTo>
                <a:cubicBezTo>
                  <a:pt x="1437894" y="464284"/>
                  <a:pt x="1447133" y="473523"/>
                  <a:pt x="1447133" y="485072"/>
                </a:cubicBezTo>
                <a:cubicBezTo>
                  <a:pt x="1447133" y="496622"/>
                  <a:pt x="1437894" y="505861"/>
                  <a:pt x="1426344" y="505861"/>
                </a:cubicBezTo>
                <a:cubicBezTo>
                  <a:pt x="1414795" y="505861"/>
                  <a:pt x="1405556" y="496622"/>
                  <a:pt x="1405556" y="485072"/>
                </a:cubicBezTo>
                <a:cubicBezTo>
                  <a:pt x="1405556" y="473523"/>
                  <a:pt x="1414795" y="464284"/>
                  <a:pt x="1426344" y="464284"/>
                </a:cubicBezTo>
                <a:close/>
                <a:moveTo>
                  <a:pt x="1286597" y="464284"/>
                </a:moveTo>
                <a:cubicBezTo>
                  <a:pt x="1298146" y="464284"/>
                  <a:pt x="1307386" y="473523"/>
                  <a:pt x="1307386" y="485072"/>
                </a:cubicBezTo>
                <a:cubicBezTo>
                  <a:pt x="1307386" y="496622"/>
                  <a:pt x="1298146" y="505861"/>
                  <a:pt x="1286597" y="505861"/>
                </a:cubicBezTo>
                <a:cubicBezTo>
                  <a:pt x="1275048" y="505861"/>
                  <a:pt x="1265808" y="496622"/>
                  <a:pt x="1265808" y="485072"/>
                </a:cubicBezTo>
                <a:cubicBezTo>
                  <a:pt x="1265808" y="473523"/>
                  <a:pt x="1275048" y="464284"/>
                  <a:pt x="1286597" y="464284"/>
                </a:cubicBezTo>
                <a:close/>
                <a:moveTo>
                  <a:pt x="1146851" y="464284"/>
                </a:moveTo>
                <a:cubicBezTo>
                  <a:pt x="1158400" y="464284"/>
                  <a:pt x="1167639" y="473523"/>
                  <a:pt x="1167639" y="485072"/>
                </a:cubicBezTo>
                <a:cubicBezTo>
                  <a:pt x="1167639" y="496622"/>
                  <a:pt x="1158400" y="505861"/>
                  <a:pt x="1146851" y="505861"/>
                </a:cubicBezTo>
                <a:cubicBezTo>
                  <a:pt x="1135301" y="505861"/>
                  <a:pt x="1126062" y="496622"/>
                  <a:pt x="1126062" y="485072"/>
                </a:cubicBezTo>
                <a:cubicBezTo>
                  <a:pt x="1126062" y="473523"/>
                  <a:pt x="1135301" y="464284"/>
                  <a:pt x="1146851" y="464284"/>
                </a:cubicBezTo>
                <a:close/>
                <a:moveTo>
                  <a:pt x="11343213" y="461974"/>
                </a:moveTo>
                <a:cubicBezTo>
                  <a:pt x="11355918" y="461974"/>
                  <a:pt x="11366312" y="472369"/>
                  <a:pt x="11366312" y="485072"/>
                </a:cubicBezTo>
                <a:cubicBezTo>
                  <a:pt x="11366312" y="497777"/>
                  <a:pt x="11355918" y="508171"/>
                  <a:pt x="11343213" y="508171"/>
                </a:cubicBezTo>
                <a:cubicBezTo>
                  <a:pt x="11330509" y="508171"/>
                  <a:pt x="11320114" y="497777"/>
                  <a:pt x="11320114" y="485072"/>
                </a:cubicBezTo>
                <a:cubicBezTo>
                  <a:pt x="11320114" y="472369"/>
                  <a:pt x="11330509" y="461974"/>
                  <a:pt x="11343213" y="461974"/>
                </a:cubicBezTo>
                <a:close/>
                <a:moveTo>
                  <a:pt x="10225237" y="461974"/>
                </a:moveTo>
                <a:cubicBezTo>
                  <a:pt x="10237942" y="461974"/>
                  <a:pt x="10248335" y="472369"/>
                  <a:pt x="10248335" y="485072"/>
                </a:cubicBezTo>
                <a:cubicBezTo>
                  <a:pt x="10248335" y="497777"/>
                  <a:pt x="10237942" y="508171"/>
                  <a:pt x="10225237" y="508171"/>
                </a:cubicBezTo>
                <a:cubicBezTo>
                  <a:pt x="10212533" y="508171"/>
                  <a:pt x="10202138" y="497777"/>
                  <a:pt x="10202138" y="485072"/>
                </a:cubicBezTo>
                <a:cubicBezTo>
                  <a:pt x="10202138" y="472369"/>
                  <a:pt x="10212533" y="461974"/>
                  <a:pt x="10225237" y="461974"/>
                </a:cubicBezTo>
                <a:close/>
                <a:moveTo>
                  <a:pt x="9112431" y="461974"/>
                </a:moveTo>
                <a:cubicBezTo>
                  <a:pt x="9125136" y="461974"/>
                  <a:pt x="9135530" y="472369"/>
                  <a:pt x="9135530" y="485072"/>
                </a:cubicBezTo>
                <a:cubicBezTo>
                  <a:pt x="9135530" y="497777"/>
                  <a:pt x="9125136" y="508171"/>
                  <a:pt x="9112431" y="508171"/>
                </a:cubicBezTo>
                <a:cubicBezTo>
                  <a:pt x="9099727" y="508171"/>
                  <a:pt x="9089332" y="497777"/>
                  <a:pt x="9089332" y="485072"/>
                </a:cubicBezTo>
                <a:cubicBezTo>
                  <a:pt x="9089332" y="472369"/>
                  <a:pt x="9099727" y="461974"/>
                  <a:pt x="9112431" y="461974"/>
                </a:cubicBezTo>
                <a:close/>
                <a:moveTo>
                  <a:pt x="7994456" y="461974"/>
                </a:moveTo>
                <a:cubicBezTo>
                  <a:pt x="8007160" y="461974"/>
                  <a:pt x="8017555" y="472369"/>
                  <a:pt x="8017555" y="485072"/>
                </a:cubicBezTo>
                <a:cubicBezTo>
                  <a:pt x="8017555" y="497777"/>
                  <a:pt x="8007160" y="508171"/>
                  <a:pt x="7994456" y="508171"/>
                </a:cubicBezTo>
                <a:cubicBezTo>
                  <a:pt x="7981752" y="508171"/>
                  <a:pt x="7971356" y="497777"/>
                  <a:pt x="7971356" y="485072"/>
                </a:cubicBezTo>
                <a:cubicBezTo>
                  <a:pt x="7971356" y="472369"/>
                  <a:pt x="7981752" y="461974"/>
                  <a:pt x="7994456" y="461974"/>
                </a:cubicBezTo>
                <a:close/>
                <a:moveTo>
                  <a:pt x="6737887" y="461974"/>
                </a:moveTo>
                <a:cubicBezTo>
                  <a:pt x="6750591" y="461974"/>
                  <a:pt x="6760986" y="472369"/>
                  <a:pt x="6760986" y="485072"/>
                </a:cubicBezTo>
                <a:cubicBezTo>
                  <a:pt x="6760986" y="497777"/>
                  <a:pt x="6750591" y="508171"/>
                  <a:pt x="6737887" y="508171"/>
                </a:cubicBezTo>
                <a:cubicBezTo>
                  <a:pt x="6725183" y="508171"/>
                  <a:pt x="6714789" y="497777"/>
                  <a:pt x="6714789" y="485072"/>
                </a:cubicBezTo>
                <a:cubicBezTo>
                  <a:pt x="6714789" y="472369"/>
                  <a:pt x="6725183" y="461974"/>
                  <a:pt x="6737887" y="461974"/>
                </a:cubicBezTo>
                <a:close/>
                <a:moveTo>
                  <a:pt x="5619911" y="461974"/>
                </a:moveTo>
                <a:cubicBezTo>
                  <a:pt x="5632616" y="461974"/>
                  <a:pt x="5643008" y="472369"/>
                  <a:pt x="5643008" y="485072"/>
                </a:cubicBezTo>
                <a:cubicBezTo>
                  <a:pt x="5643008" y="497777"/>
                  <a:pt x="5632616" y="508171"/>
                  <a:pt x="5619911" y="508171"/>
                </a:cubicBezTo>
                <a:cubicBezTo>
                  <a:pt x="5607207" y="508171"/>
                  <a:pt x="5596812" y="497777"/>
                  <a:pt x="5596812" y="485072"/>
                </a:cubicBezTo>
                <a:cubicBezTo>
                  <a:pt x="5596812" y="472369"/>
                  <a:pt x="5607207" y="461974"/>
                  <a:pt x="5619911" y="461974"/>
                </a:cubicBezTo>
                <a:close/>
                <a:moveTo>
                  <a:pt x="4499625" y="461974"/>
                </a:moveTo>
                <a:cubicBezTo>
                  <a:pt x="4512329" y="461974"/>
                  <a:pt x="4522722" y="472369"/>
                  <a:pt x="4522722" y="485072"/>
                </a:cubicBezTo>
                <a:cubicBezTo>
                  <a:pt x="4522722" y="497777"/>
                  <a:pt x="4512329" y="508171"/>
                  <a:pt x="4499625" y="508171"/>
                </a:cubicBezTo>
                <a:cubicBezTo>
                  <a:pt x="4486920" y="508171"/>
                  <a:pt x="4476525" y="497777"/>
                  <a:pt x="4476525" y="485072"/>
                </a:cubicBezTo>
                <a:cubicBezTo>
                  <a:pt x="4476525" y="472369"/>
                  <a:pt x="4486920" y="461974"/>
                  <a:pt x="4499625" y="461974"/>
                </a:cubicBezTo>
                <a:close/>
                <a:moveTo>
                  <a:pt x="3381648" y="461974"/>
                </a:moveTo>
                <a:cubicBezTo>
                  <a:pt x="3394352" y="461974"/>
                  <a:pt x="3404746" y="472369"/>
                  <a:pt x="3404746" y="485072"/>
                </a:cubicBezTo>
                <a:cubicBezTo>
                  <a:pt x="3404746" y="497777"/>
                  <a:pt x="3394352" y="508171"/>
                  <a:pt x="3381648" y="508171"/>
                </a:cubicBezTo>
                <a:cubicBezTo>
                  <a:pt x="3368944" y="508171"/>
                  <a:pt x="3358549" y="497777"/>
                  <a:pt x="3358549" y="485072"/>
                </a:cubicBezTo>
                <a:cubicBezTo>
                  <a:pt x="3358549" y="472369"/>
                  <a:pt x="3368944" y="461974"/>
                  <a:pt x="3381648" y="461974"/>
                </a:cubicBezTo>
                <a:close/>
                <a:moveTo>
                  <a:pt x="2125079" y="461974"/>
                </a:moveTo>
                <a:cubicBezTo>
                  <a:pt x="2137784" y="461974"/>
                  <a:pt x="2148178" y="472369"/>
                  <a:pt x="2148178" y="485072"/>
                </a:cubicBezTo>
                <a:cubicBezTo>
                  <a:pt x="2148178" y="497777"/>
                  <a:pt x="2137784" y="508171"/>
                  <a:pt x="2125079" y="508171"/>
                </a:cubicBezTo>
                <a:cubicBezTo>
                  <a:pt x="2112376" y="508171"/>
                  <a:pt x="2101980" y="497777"/>
                  <a:pt x="2101980" y="485072"/>
                </a:cubicBezTo>
                <a:cubicBezTo>
                  <a:pt x="2101980" y="472369"/>
                  <a:pt x="2112376" y="461974"/>
                  <a:pt x="2125079" y="461974"/>
                </a:cubicBezTo>
                <a:close/>
                <a:moveTo>
                  <a:pt x="1007103" y="461974"/>
                </a:moveTo>
                <a:cubicBezTo>
                  <a:pt x="1019808" y="461974"/>
                  <a:pt x="1030201" y="472369"/>
                  <a:pt x="1030201" y="485072"/>
                </a:cubicBezTo>
                <a:cubicBezTo>
                  <a:pt x="1030201" y="497777"/>
                  <a:pt x="1019808" y="508171"/>
                  <a:pt x="1007103" y="508171"/>
                </a:cubicBezTo>
                <a:cubicBezTo>
                  <a:pt x="994399" y="508171"/>
                  <a:pt x="984004" y="497777"/>
                  <a:pt x="984004" y="485072"/>
                </a:cubicBezTo>
                <a:cubicBezTo>
                  <a:pt x="984004" y="472369"/>
                  <a:pt x="994399" y="461974"/>
                  <a:pt x="1007103" y="461974"/>
                </a:cubicBezTo>
                <a:close/>
                <a:moveTo>
                  <a:pt x="11203466" y="456200"/>
                </a:moveTo>
                <a:cubicBezTo>
                  <a:pt x="11218480" y="456200"/>
                  <a:pt x="11232339" y="468903"/>
                  <a:pt x="11232339" y="485072"/>
                </a:cubicBezTo>
                <a:cubicBezTo>
                  <a:pt x="11232339" y="501241"/>
                  <a:pt x="11219636" y="513946"/>
                  <a:pt x="11203466" y="513946"/>
                </a:cubicBezTo>
                <a:cubicBezTo>
                  <a:pt x="11187298" y="513946"/>
                  <a:pt x="11174593" y="501241"/>
                  <a:pt x="11174593" y="485072"/>
                </a:cubicBezTo>
                <a:cubicBezTo>
                  <a:pt x="11174593" y="468903"/>
                  <a:pt x="11187298" y="456200"/>
                  <a:pt x="11203466" y="456200"/>
                </a:cubicBezTo>
                <a:close/>
                <a:moveTo>
                  <a:pt x="10085490" y="456200"/>
                </a:moveTo>
                <a:cubicBezTo>
                  <a:pt x="10101659" y="456200"/>
                  <a:pt x="10114363" y="468903"/>
                  <a:pt x="10114363" y="485072"/>
                </a:cubicBezTo>
                <a:cubicBezTo>
                  <a:pt x="10114363" y="501241"/>
                  <a:pt x="10101659" y="513946"/>
                  <a:pt x="10085490" y="513946"/>
                </a:cubicBezTo>
                <a:cubicBezTo>
                  <a:pt x="10069321" y="513946"/>
                  <a:pt x="10056616" y="501241"/>
                  <a:pt x="10056616" y="485072"/>
                </a:cubicBezTo>
                <a:cubicBezTo>
                  <a:pt x="10056616" y="468903"/>
                  <a:pt x="10069321" y="456200"/>
                  <a:pt x="10085490" y="456200"/>
                </a:cubicBezTo>
                <a:close/>
                <a:moveTo>
                  <a:pt x="9247008" y="456200"/>
                </a:moveTo>
                <a:cubicBezTo>
                  <a:pt x="9263177" y="456200"/>
                  <a:pt x="9275881" y="468903"/>
                  <a:pt x="9275881" y="485072"/>
                </a:cubicBezTo>
                <a:cubicBezTo>
                  <a:pt x="9275881" y="501241"/>
                  <a:pt x="9263177" y="513946"/>
                  <a:pt x="9247008" y="513946"/>
                </a:cubicBezTo>
                <a:cubicBezTo>
                  <a:pt x="9230839" y="513946"/>
                  <a:pt x="9218134" y="501241"/>
                  <a:pt x="9218134" y="485072"/>
                </a:cubicBezTo>
                <a:cubicBezTo>
                  <a:pt x="9218134" y="468903"/>
                  <a:pt x="9230839" y="456200"/>
                  <a:pt x="9247008" y="456200"/>
                </a:cubicBezTo>
                <a:close/>
                <a:moveTo>
                  <a:pt x="8972685" y="456200"/>
                </a:moveTo>
                <a:cubicBezTo>
                  <a:pt x="8988854" y="456200"/>
                  <a:pt x="9001557" y="468903"/>
                  <a:pt x="9001557" y="485072"/>
                </a:cubicBezTo>
                <a:cubicBezTo>
                  <a:pt x="9001557" y="501241"/>
                  <a:pt x="8988854" y="513946"/>
                  <a:pt x="8972685" y="513946"/>
                </a:cubicBezTo>
                <a:cubicBezTo>
                  <a:pt x="8956515" y="513946"/>
                  <a:pt x="8943811" y="501241"/>
                  <a:pt x="8943811" y="485072"/>
                </a:cubicBezTo>
                <a:cubicBezTo>
                  <a:pt x="8943811" y="468903"/>
                  <a:pt x="8956515" y="456200"/>
                  <a:pt x="8972685" y="456200"/>
                </a:cubicBezTo>
                <a:close/>
                <a:moveTo>
                  <a:pt x="8134203" y="456200"/>
                </a:moveTo>
                <a:cubicBezTo>
                  <a:pt x="8150373" y="456200"/>
                  <a:pt x="8163075" y="468903"/>
                  <a:pt x="8163075" y="485072"/>
                </a:cubicBezTo>
                <a:cubicBezTo>
                  <a:pt x="8163075" y="501241"/>
                  <a:pt x="8150373" y="513946"/>
                  <a:pt x="8134203" y="513946"/>
                </a:cubicBezTo>
                <a:cubicBezTo>
                  <a:pt x="8118034" y="513946"/>
                  <a:pt x="8105330" y="501241"/>
                  <a:pt x="8105330" y="485072"/>
                </a:cubicBezTo>
                <a:cubicBezTo>
                  <a:pt x="8105330" y="468903"/>
                  <a:pt x="8118034" y="456200"/>
                  <a:pt x="8134203" y="456200"/>
                </a:cubicBezTo>
                <a:close/>
                <a:moveTo>
                  <a:pt x="6598140" y="456200"/>
                </a:moveTo>
                <a:cubicBezTo>
                  <a:pt x="6613155" y="456200"/>
                  <a:pt x="6627013" y="468903"/>
                  <a:pt x="6627013" y="485072"/>
                </a:cubicBezTo>
                <a:cubicBezTo>
                  <a:pt x="6627013" y="501241"/>
                  <a:pt x="6614309" y="513946"/>
                  <a:pt x="6598140" y="513946"/>
                </a:cubicBezTo>
                <a:cubicBezTo>
                  <a:pt x="6581971" y="513946"/>
                  <a:pt x="6569267" y="501241"/>
                  <a:pt x="6569267" y="485072"/>
                </a:cubicBezTo>
                <a:cubicBezTo>
                  <a:pt x="6569267" y="468903"/>
                  <a:pt x="6581971" y="456200"/>
                  <a:pt x="6598140" y="456200"/>
                </a:cubicBezTo>
                <a:close/>
                <a:moveTo>
                  <a:pt x="5480165" y="456200"/>
                </a:moveTo>
                <a:cubicBezTo>
                  <a:pt x="5496333" y="456200"/>
                  <a:pt x="5509037" y="468903"/>
                  <a:pt x="5509037" y="485072"/>
                </a:cubicBezTo>
                <a:cubicBezTo>
                  <a:pt x="5509037" y="501241"/>
                  <a:pt x="5496333" y="513946"/>
                  <a:pt x="5480165" y="513946"/>
                </a:cubicBezTo>
                <a:cubicBezTo>
                  <a:pt x="5463996" y="513946"/>
                  <a:pt x="5451289" y="501241"/>
                  <a:pt x="5451289" y="485072"/>
                </a:cubicBezTo>
                <a:cubicBezTo>
                  <a:pt x="5451289" y="468903"/>
                  <a:pt x="5463996" y="456200"/>
                  <a:pt x="5480165" y="456200"/>
                </a:cubicBezTo>
                <a:close/>
                <a:moveTo>
                  <a:pt x="4641682" y="456200"/>
                </a:moveTo>
                <a:cubicBezTo>
                  <a:pt x="4657851" y="456200"/>
                  <a:pt x="4670555" y="468903"/>
                  <a:pt x="4670555" y="485072"/>
                </a:cubicBezTo>
                <a:cubicBezTo>
                  <a:pt x="4670555" y="501241"/>
                  <a:pt x="4657851" y="513946"/>
                  <a:pt x="4641682" y="513946"/>
                </a:cubicBezTo>
                <a:cubicBezTo>
                  <a:pt x="4625513" y="513946"/>
                  <a:pt x="4612809" y="501241"/>
                  <a:pt x="4612809" y="485072"/>
                </a:cubicBezTo>
                <a:cubicBezTo>
                  <a:pt x="4612809" y="468903"/>
                  <a:pt x="4625513" y="456200"/>
                  <a:pt x="4641682" y="456200"/>
                </a:cubicBezTo>
                <a:close/>
                <a:moveTo>
                  <a:pt x="4359878" y="456200"/>
                </a:moveTo>
                <a:cubicBezTo>
                  <a:pt x="4376046" y="456200"/>
                  <a:pt x="4388751" y="468903"/>
                  <a:pt x="4388751" y="485072"/>
                </a:cubicBezTo>
                <a:cubicBezTo>
                  <a:pt x="4388751" y="501241"/>
                  <a:pt x="4376046" y="513946"/>
                  <a:pt x="4359878" y="513946"/>
                </a:cubicBezTo>
                <a:cubicBezTo>
                  <a:pt x="4343709" y="513946"/>
                  <a:pt x="4331003" y="501241"/>
                  <a:pt x="4331003" y="485072"/>
                </a:cubicBezTo>
                <a:cubicBezTo>
                  <a:pt x="4331003" y="468903"/>
                  <a:pt x="4343709" y="456200"/>
                  <a:pt x="4359878" y="456200"/>
                </a:cubicBezTo>
                <a:close/>
                <a:moveTo>
                  <a:pt x="3521396" y="456200"/>
                </a:moveTo>
                <a:cubicBezTo>
                  <a:pt x="3537564" y="456200"/>
                  <a:pt x="3550268" y="468903"/>
                  <a:pt x="3550268" y="485072"/>
                </a:cubicBezTo>
                <a:cubicBezTo>
                  <a:pt x="3550268" y="501241"/>
                  <a:pt x="3537564" y="513946"/>
                  <a:pt x="3521396" y="513946"/>
                </a:cubicBezTo>
                <a:cubicBezTo>
                  <a:pt x="3505226" y="513946"/>
                  <a:pt x="3492521" y="501241"/>
                  <a:pt x="3492521" y="485072"/>
                </a:cubicBezTo>
                <a:cubicBezTo>
                  <a:pt x="3492521" y="468903"/>
                  <a:pt x="3505226" y="456200"/>
                  <a:pt x="3521396" y="456200"/>
                </a:cubicBezTo>
                <a:close/>
                <a:moveTo>
                  <a:pt x="1985333" y="456200"/>
                </a:moveTo>
                <a:cubicBezTo>
                  <a:pt x="2000346" y="456200"/>
                  <a:pt x="2014205" y="468903"/>
                  <a:pt x="2014205" y="485072"/>
                </a:cubicBezTo>
                <a:cubicBezTo>
                  <a:pt x="2014205" y="501241"/>
                  <a:pt x="2001502" y="513946"/>
                  <a:pt x="1985333" y="513946"/>
                </a:cubicBezTo>
                <a:cubicBezTo>
                  <a:pt x="1969164" y="513946"/>
                  <a:pt x="1956459" y="501241"/>
                  <a:pt x="1956459" y="485072"/>
                </a:cubicBezTo>
                <a:cubicBezTo>
                  <a:pt x="1956459" y="468903"/>
                  <a:pt x="1969164" y="456200"/>
                  <a:pt x="1985333" y="456200"/>
                </a:cubicBezTo>
                <a:close/>
                <a:moveTo>
                  <a:pt x="867356" y="456200"/>
                </a:moveTo>
                <a:cubicBezTo>
                  <a:pt x="883525" y="456200"/>
                  <a:pt x="896229" y="468903"/>
                  <a:pt x="896229" y="485072"/>
                </a:cubicBezTo>
                <a:cubicBezTo>
                  <a:pt x="896229" y="501241"/>
                  <a:pt x="883525" y="513946"/>
                  <a:pt x="867356" y="513946"/>
                </a:cubicBezTo>
                <a:cubicBezTo>
                  <a:pt x="851187" y="513946"/>
                  <a:pt x="838482" y="501241"/>
                  <a:pt x="838482" y="485072"/>
                </a:cubicBezTo>
                <a:cubicBezTo>
                  <a:pt x="838482" y="468903"/>
                  <a:pt x="851187" y="456200"/>
                  <a:pt x="867356" y="456200"/>
                </a:cubicBezTo>
                <a:close/>
                <a:moveTo>
                  <a:pt x="28874" y="456200"/>
                </a:moveTo>
                <a:cubicBezTo>
                  <a:pt x="45043" y="456200"/>
                  <a:pt x="57747" y="468903"/>
                  <a:pt x="57747" y="485072"/>
                </a:cubicBezTo>
                <a:cubicBezTo>
                  <a:pt x="57747" y="501241"/>
                  <a:pt x="45043" y="513946"/>
                  <a:pt x="28874" y="513946"/>
                </a:cubicBezTo>
                <a:cubicBezTo>
                  <a:pt x="12705" y="513946"/>
                  <a:pt x="0" y="501241"/>
                  <a:pt x="0" y="485072"/>
                </a:cubicBezTo>
                <a:cubicBezTo>
                  <a:pt x="0" y="468903"/>
                  <a:pt x="12705" y="456200"/>
                  <a:pt x="28874" y="456200"/>
                </a:cubicBezTo>
                <a:close/>
                <a:moveTo>
                  <a:pt x="11063719" y="449270"/>
                </a:moveTo>
                <a:cubicBezTo>
                  <a:pt x="11082198" y="449270"/>
                  <a:pt x="11098367" y="465439"/>
                  <a:pt x="11098367" y="483918"/>
                </a:cubicBezTo>
                <a:cubicBezTo>
                  <a:pt x="11098367" y="502397"/>
                  <a:pt x="11083353" y="518566"/>
                  <a:pt x="11063719" y="518566"/>
                </a:cubicBezTo>
                <a:cubicBezTo>
                  <a:pt x="11045240" y="518566"/>
                  <a:pt x="11029071" y="502397"/>
                  <a:pt x="11029071" y="483918"/>
                </a:cubicBezTo>
                <a:cubicBezTo>
                  <a:pt x="11029071" y="465439"/>
                  <a:pt x="11044086" y="449270"/>
                  <a:pt x="11063719" y="449270"/>
                </a:cubicBezTo>
                <a:close/>
                <a:moveTo>
                  <a:pt x="9945743" y="449270"/>
                </a:moveTo>
                <a:cubicBezTo>
                  <a:pt x="9965377" y="449270"/>
                  <a:pt x="9980391" y="465439"/>
                  <a:pt x="9980391" y="483918"/>
                </a:cubicBezTo>
                <a:cubicBezTo>
                  <a:pt x="9980391" y="502397"/>
                  <a:pt x="9964222" y="518566"/>
                  <a:pt x="9945743" y="518566"/>
                </a:cubicBezTo>
                <a:cubicBezTo>
                  <a:pt x="9927264" y="518566"/>
                  <a:pt x="9911094" y="502397"/>
                  <a:pt x="9911094" y="483918"/>
                </a:cubicBezTo>
                <a:cubicBezTo>
                  <a:pt x="9911094" y="465439"/>
                  <a:pt x="9926109" y="449270"/>
                  <a:pt x="9945743" y="449270"/>
                </a:cubicBezTo>
                <a:close/>
                <a:moveTo>
                  <a:pt x="9386754" y="449270"/>
                </a:moveTo>
                <a:cubicBezTo>
                  <a:pt x="9406389" y="449270"/>
                  <a:pt x="9421402" y="465439"/>
                  <a:pt x="9421402" y="483918"/>
                </a:cubicBezTo>
                <a:cubicBezTo>
                  <a:pt x="9421402" y="502397"/>
                  <a:pt x="9405233" y="518566"/>
                  <a:pt x="9386754" y="518566"/>
                </a:cubicBezTo>
                <a:cubicBezTo>
                  <a:pt x="9368275" y="518566"/>
                  <a:pt x="9352106" y="502397"/>
                  <a:pt x="9352106" y="483918"/>
                </a:cubicBezTo>
                <a:cubicBezTo>
                  <a:pt x="9352106" y="465439"/>
                  <a:pt x="9367121" y="449270"/>
                  <a:pt x="9386754" y="449270"/>
                </a:cubicBezTo>
                <a:close/>
                <a:moveTo>
                  <a:pt x="8832937" y="449270"/>
                </a:moveTo>
                <a:cubicBezTo>
                  <a:pt x="8852571" y="449270"/>
                  <a:pt x="8867585" y="465439"/>
                  <a:pt x="8867585" y="483918"/>
                </a:cubicBezTo>
                <a:cubicBezTo>
                  <a:pt x="8867585" y="502397"/>
                  <a:pt x="8852571" y="518566"/>
                  <a:pt x="8832937" y="518566"/>
                </a:cubicBezTo>
                <a:cubicBezTo>
                  <a:pt x="8814458" y="518566"/>
                  <a:pt x="8798289" y="502397"/>
                  <a:pt x="8798289" y="483918"/>
                </a:cubicBezTo>
                <a:cubicBezTo>
                  <a:pt x="8798289" y="465439"/>
                  <a:pt x="8813304" y="449270"/>
                  <a:pt x="8832937" y="449270"/>
                </a:cubicBezTo>
                <a:close/>
                <a:moveTo>
                  <a:pt x="8273949" y="449270"/>
                </a:moveTo>
                <a:cubicBezTo>
                  <a:pt x="8293584" y="449270"/>
                  <a:pt x="8308598" y="465439"/>
                  <a:pt x="8308598" y="483918"/>
                </a:cubicBezTo>
                <a:cubicBezTo>
                  <a:pt x="8308598" y="502397"/>
                  <a:pt x="8293584" y="518566"/>
                  <a:pt x="8273949" y="518566"/>
                </a:cubicBezTo>
                <a:cubicBezTo>
                  <a:pt x="8255471" y="518566"/>
                  <a:pt x="8239301" y="502397"/>
                  <a:pt x="8239301" y="483918"/>
                </a:cubicBezTo>
                <a:cubicBezTo>
                  <a:pt x="8239301" y="465439"/>
                  <a:pt x="8254316" y="449270"/>
                  <a:pt x="8273949" y="449270"/>
                </a:cubicBezTo>
                <a:close/>
                <a:moveTo>
                  <a:pt x="6458393" y="449270"/>
                </a:moveTo>
                <a:cubicBezTo>
                  <a:pt x="6476871" y="449270"/>
                  <a:pt x="6493041" y="465439"/>
                  <a:pt x="6493041" y="483918"/>
                </a:cubicBezTo>
                <a:cubicBezTo>
                  <a:pt x="6493041" y="502397"/>
                  <a:pt x="6476871" y="518566"/>
                  <a:pt x="6458393" y="518566"/>
                </a:cubicBezTo>
                <a:cubicBezTo>
                  <a:pt x="6439914" y="518566"/>
                  <a:pt x="6423745" y="502397"/>
                  <a:pt x="6423745" y="483918"/>
                </a:cubicBezTo>
                <a:cubicBezTo>
                  <a:pt x="6423745" y="465439"/>
                  <a:pt x="6438760" y="449270"/>
                  <a:pt x="6458393" y="449270"/>
                </a:cubicBezTo>
                <a:close/>
                <a:moveTo>
                  <a:pt x="5340416" y="449270"/>
                </a:moveTo>
                <a:cubicBezTo>
                  <a:pt x="5360051" y="449270"/>
                  <a:pt x="5375064" y="465439"/>
                  <a:pt x="5375064" y="483918"/>
                </a:cubicBezTo>
                <a:cubicBezTo>
                  <a:pt x="5375064" y="502397"/>
                  <a:pt x="5358895" y="518566"/>
                  <a:pt x="5340416" y="518566"/>
                </a:cubicBezTo>
                <a:cubicBezTo>
                  <a:pt x="5321938" y="518566"/>
                  <a:pt x="5305769" y="502397"/>
                  <a:pt x="5305769" y="483918"/>
                </a:cubicBezTo>
                <a:cubicBezTo>
                  <a:pt x="5305769" y="465439"/>
                  <a:pt x="5320783" y="449270"/>
                  <a:pt x="5340416" y="449270"/>
                </a:cubicBezTo>
                <a:close/>
                <a:moveTo>
                  <a:pt x="4781429" y="449270"/>
                </a:moveTo>
                <a:cubicBezTo>
                  <a:pt x="4801062" y="449270"/>
                  <a:pt x="4816075" y="465439"/>
                  <a:pt x="4816075" y="483918"/>
                </a:cubicBezTo>
                <a:cubicBezTo>
                  <a:pt x="4816075" y="502397"/>
                  <a:pt x="4799906" y="518566"/>
                  <a:pt x="4781429" y="518566"/>
                </a:cubicBezTo>
                <a:cubicBezTo>
                  <a:pt x="4762949" y="518566"/>
                  <a:pt x="4746781" y="502397"/>
                  <a:pt x="4746781" y="483918"/>
                </a:cubicBezTo>
                <a:cubicBezTo>
                  <a:pt x="4746781" y="465439"/>
                  <a:pt x="4761794" y="449270"/>
                  <a:pt x="4781429" y="449270"/>
                </a:cubicBezTo>
                <a:close/>
                <a:moveTo>
                  <a:pt x="4220129" y="449270"/>
                </a:moveTo>
                <a:cubicBezTo>
                  <a:pt x="4239764" y="449270"/>
                  <a:pt x="4254779" y="465439"/>
                  <a:pt x="4254779" y="483918"/>
                </a:cubicBezTo>
                <a:cubicBezTo>
                  <a:pt x="4254779" y="502397"/>
                  <a:pt x="4239764" y="518566"/>
                  <a:pt x="4220129" y="518566"/>
                </a:cubicBezTo>
                <a:cubicBezTo>
                  <a:pt x="4201651" y="518566"/>
                  <a:pt x="4185482" y="502397"/>
                  <a:pt x="4185482" y="483918"/>
                </a:cubicBezTo>
                <a:cubicBezTo>
                  <a:pt x="4185482" y="465439"/>
                  <a:pt x="4200498" y="449270"/>
                  <a:pt x="4220129" y="449270"/>
                </a:cubicBezTo>
                <a:close/>
                <a:moveTo>
                  <a:pt x="3661142" y="449270"/>
                </a:moveTo>
                <a:cubicBezTo>
                  <a:pt x="3680776" y="449270"/>
                  <a:pt x="3695791" y="465439"/>
                  <a:pt x="3695791" y="483918"/>
                </a:cubicBezTo>
                <a:cubicBezTo>
                  <a:pt x="3695791" y="502397"/>
                  <a:pt x="3680776" y="518566"/>
                  <a:pt x="3661142" y="518566"/>
                </a:cubicBezTo>
                <a:cubicBezTo>
                  <a:pt x="3642663" y="518566"/>
                  <a:pt x="3626494" y="502397"/>
                  <a:pt x="3626494" y="483918"/>
                </a:cubicBezTo>
                <a:cubicBezTo>
                  <a:pt x="3626494" y="465439"/>
                  <a:pt x="3641508" y="449270"/>
                  <a:pt x="3661142" y="449270"/>
                </a:cubicBezTo>
                <a:close/>
                <a:moveTo>
                  <a:pt x="1845585" y="449270"/>
                </a:moveTo>
                <a:cubicBezTo>
                  <a:pt x="1864064" y="449270"/>
                  <a:pt x="1880233" y="465439"/>
                  <a:pt x="1880233" y="483918"/>
                </a:cubicBezTo>
                <a:cubicBezTo>
                  <a:pt x="1880233" y="502397"/>
                  <a:pt x="1865220" y="518566"/>
                  <a:pt x="1845585" y="518566"/>
                </a:cubicBezTo>
                <a:cubicBezTo>
                  <a:pt x="1827106" y="518566"/>
                  <a:pt x="1810937" y="502397"/>
                  <a:pt x="1810937" y="483918"/>
                </a:cubicBezTo>
                <a:cubicBezTo>
                  <a:pt x="1810937" y="465439"/>
                  <a:pt x="1825952" y="449270"/>
                  <a:pt x="1845585" y="449270"/>
                </a:cubicBezTo>
                <a:close/>
                <a:moveTo>
                  <a:pt x="727609" y="449270"/>
                </a:moveTo>
                <a:cubicBezTo>
                  <a:pt x="747243" y="449270"/>
                  <a:pt x="762257" y="465439"/>
                  <a:pt x="762257" y="483918"/>
                </a:cubicBezTo>
                <a:cubicBezTo>
                  <a:pt x="762257" y="502397"/>
                  <a:pt x="746088" y="518566"/>
                  <a:pt x="727609" y="518566"/>
                </a:cubicBezTo>
                <a:cubicBezTo>
                  <a:pt x="709130" y="518566"/>
                  <a:pt x="692961" y="502397"/>
                  <a:pt x="692961" y="483918"/>
                </a:cubicBezTo>
                <a:cubicBezTo>
                  <a:pt x="692961" y="465439"/>
                  <a:pt x="707976" y="449270"/>
                  <a:pt x="727609" y="449270"/>
                </a:cubicBezTo>
                <a:close/>
                <a:moveTo>
                  <a:pt x="168621" y="449270"/>
                </a:moveTo>
                <a:cubicBezTo>
                  <a:pt x="188255" y="449270"/>
                  <a:pt x="203269" y="465439"/>
                  <a:pt x="203269" y="483918"/>
                </a:cubicBezTo>
                <a:cubicBezTo>
                  <a:pt x="203269" y="502397"/>
                  <a:pt x="187100" y="518566"/>
                  <a:pt x="168621" y="518566"/>
                </a:cubicBezTo>
                <a:cubicBezTo>
                  <a:pt x="150142" y="518566"/>
                  <a:pt x="133973" y="502397"/>
                  <a:pt x="133973" y="483918"/>
                </a:cubicBezTo>
                <a:cubicBezTo>
                  <a:pt x="133973" y="465439"/>
                  <a:pt x="148988" y="449270"/>
                  <a:pt x="168621" y="449270"/>
                </a:cubicBezTo>
                <a:close/>
                <a:moveTo>
                  <a:pt x="10923972" y="443495"/>
                </a:moveTo>
                <a:cubicBezTo>
                  <a:pt x="10945916" y="443495"/>
                  <a:pt x="10964394" y="461974"/>
                  <a:pt x="10964394" y="483918"/>
                </a:cubicBezTo>
                <a:cubicBezTo>
                  <a:pt x="10964394" y="505861"/>
                  <a:pt x="10945916" y="524340"/>
                  <a:pt x="10923972" y="524340"/>
                </a:cubicBezTo>
                <a:cubicBezTo>
                  <a:pt x="10902028" y="524340"/>
                  <a:pt x="10883549" y="505861"/>
                  <a:pt x="10883549" y="483918"/>
                </a:cubicBezTo>
                <a:cubicBezTo>
                  <a:pt x="10883549" y="461974"/>
                  <a:pt x="10902028" y="443495"/>
                  <a:pt x="10923972" y="443495"/>
                </a:cubicBezTo>
                <a:close/>
                <a:moveTo>
                  <a:pt x="9805996" y="443495"/>
                </a:moveTo>
                <a:cubicBezTo>
                  <a:pt x="9827939" y="443495"/>
                  <a:pt x="9846418" y="461974"/>
                  <a:pt x="9846418" y="483918"/>
                </a:cubicBezTo>
                <a:cubicBezTo>
                  <a:pt x="9846418" y="505861"/>
                  <a:pt x="9827939" y="524340"/>
                  <a:pt x="9805996" y="524340"/>
                </a:cubicBezTo>
                <a:cubicBezTo>
                  <a:pt x="9784052" y="524340"/>
                  <a:pt x="9765573" y="505861"/>
                  <a:pt x="9765573" y="483918"/>
                </a:cubicBezTo>
                <a:cubicBezTo>
                  <a:pt x="9765573" y="461974"/>
                  <a:pt x="9784052" y="443495"/>
                  <a:pt x="9805996" y="443495"/>
                </a:cubicBezTo>
                <a:close/>
                <a:moveTo>
                  <a:pt x="9526502" y="443495"/>
                </a:moveTo>
                <a:cubicBezTo>
                  <a:pt x="9548445" y="443495"/>
                  <a:pt x="9566924" y="461974"/>
                  <a:pt x="9566924" y="483918"/>
                </a:cubicBezTo>
                <a:cubicBezTo>
                  <a:pt x="9566924" y="505861"/>
                  <a:pt x="9548445" y="524340"/>
                  <a:pt x="9526502" y="524340"/>
                </a:cubicBezTo>
                <a:cubicBezTo>
                  <a:pt x="9504558" y="524340"/>
                  <a:pt x="9486079" y="505861"/>
                  <a:pt x="9486079" y="483918"/>
                </a:cubicBezTo>
                <a:cubicBezTo>
                  <a:pt x="9486079" y="461974"/>
                  <a:pt x="9504558" y="443495"/>
                  <a:pt x="9526502" y="443495"/>
                </a:cubicBezTo>
                <a:close/>
                <a:moveTo>
                  <a:pt x="8693190" y="443495"/>
                </a:moveTo>
                <a:cubicBezTo>
                  <a:pt x="8715134" y="443495"/>
                  <a:pt x="8733613" y="461974"/>
                  <a:pt x="8733613" y="483918"/>
                </a:cubicBezTo>
                <a:cubicBezTo>
                  <a:pt x="8733613" y="505861"/>
                  <a:pt x="8715134" y="524340"/>
                  <a:pt x="8693190" y="524340"/>
                </a:cubicBezTo>
                <a:cubicBezTo>
                  <a:pt x="8671246" y="524340"/>
                  <a:pt x="8652767" y="505861"/>
                  <a:pt x="8652767" y="483918"/>
                </a:cubicBezTo>
                <a:cubicBezTo>
                  <a:pt x="8652767" y="461974"/>
                  <a:pt x="8671246" y="443495"/>
                  <a:pt x="8693190" y="443495"/>
                </a:cubicBezTo>
                <a:close/>
                <a:moveTo>
                  <a:pt x="8413696" y="443495"/>
                </a:moveTo>
                <a:cubicBezTo>
                  <a:pt x="8435640" y="443495"/>
                  <a:pt x="8454118" y="461974"/>
                  <a:pt x="8454118" y="483918"/>
                </a:cubicBezTo>
                <a:cubicBezTo>
                  <a:pt x="8454118" y="505861"/>
                  <a:pt x="8435640" y="524340"/>
                  <a:pt x="8413696" y="524340"/>
                </a:cubicBezTo>
                <a:cubicBezTo>
                  <a:pt x="8391752" y="524340"/>
                  <a:pt x="8373274" y="505861"/>
                  <a:pt x="8373274" y="483918"/>
                </a:cubicBezTo>
                <a:cubicBezTo>
                  <a:pt x="8373274" y="461974"/>
                  <a:pt x="8391752" y="443495"/>
                  <a:pt x="8413696" y="443495"/>
                </a:cubicBezTo>
                <a:close/>
                <a:moveTo>
                  <a:pt x="6318647" y="443495"/>
                </a:moveTo>
                <a:cubicBezTo>
                  <a:pt x="6340589" y="443495"/>
                  <a:pt x="6359068" y="461974"/>
                  <a:pt x="6359068" y="483918"/>
                </a:cubicBezTo>
                <a:cubicBezTo>
                  <a:pt x="6359068" y="505861"/>
                  <a:pt x="6340589" y="524340"/>
                  <a:pt x="6318647" y="524340"/>
                </a:cubicBezTo>
                <a:cubicBezTo>
                  <a:pt x="6296702" y="524340"/>
                  <a:pt x="6278223" y="505861"/>
                  <a:pt x="6278223" y="483918"/>
                </a:cubicBezTo>
                <a:cubicBezTo>
                  <a:pt x="6278223" y="461974"/>
                  <a:pt x="6296702" y="443495"/>
                  <a:pt x="6318647" y="443495"/>
                </a:cubicBezTo>
                <a:close/>
                <a:moveTo>
                  <a:pt x="5200669" y="443495"/>
                </a:moveTo>
                <a:cubicBezTo>
                  <a:pt x="5222613" y="443495"/>
                  <a:pt x="5241093" y="461974"/>
                  <a:pt x="5241093" y="483918"/>
                </a:cubicBezTo>
                <a:cubicBezTo>
                  <a:pt x="5241093" y="505861"/>
                  <a:pt x="5222613" y="524340"/>
                  <a:pt x="5200669" y="524340"/>
                </a:cubicBezTo>
                <a:cubicBezTo>
                  <a:pt x="5178725" y="524340"/>
                  <a:pt x="5160247" y="505861"/>
                  <a:pt x="5160247" y="483918"/>
                </a:cubicBezTo>
                <a:cubicBezTo>
                  <a:pt x="5160247" y="461974"/>
                  <a:pt x="5178725" y="443495"/>
                  <a:pt x="5200669" y="443495"/>
                </a:cubicBezTo>
                <a:close/>
                <a:moveTo>
                  <a:pt x="4921176" y="443495"/>
                </a:moveTo>
                <a:cubicBezTo>
                  <a:pt x="4944275" y="443495"/>
                  <a:pt x="4961597" y="461974"/>
                  <a:pt x="4961597" y="483918"/>
                </a:cubicBezTo>
                <a:cubicBezTo>
                  <a:pt x="4961597" y="505861"/>
                  <a:pt x="4943120" y="524340"/>
                  <a:pt x="4921176" y="524340"/>
                </a:cubicBezTo>
                <a:cubicBezTo>
                  <a:pt x="4899232" y="524340"/>
                  <a:pt x="4880752" y="505861"/>
                  <a:pt x="4880752" y="483918"/>
                </a:cubicBezTo>
                <a:cubicBezTo>
                  <a:pt x="4880752" y="461974"/>
                  <a:pt x="4899232" y="443495"/>
                  <a:pt x="4921176" y="443495"/>
                </a:cubicBezTo>
                <a:close/>
                <a:moveTo>
                  <a:pt x="4080383" y="443495"/>
                </a:moveTo>
                <a:cubicBezTo>
                  <a:pt x="4102326" y="443495"/>
                  <a:pt x="4120806" y="461974"/>
                  <a:pt x="4120806" y="483918"/>
                </a:cubicBezTo>
                <a:cubicBezTo>
                  <a:pt x="4120806" y="505861"/>
                  <a:pt x="4102326" y="524340"/>
                  <a:pt x="4080383" y="524340"/>
                </a:cubicBezTo>
                <a:cubicBezTo>
                  <a:pt x="4058439" y="524340"/>
                  <a:pt x="4039961" y="505861"/>
                  <a:pt x="4039961" y="483918"/>
                </a:cubicBezTo>
                <a:cubicBezTo>
                  <a:pt x="4039961" y="461974"/>
                  <a:pt x="4058439" y="443495"/>
                  <a:pt x="4080383" y="443495"/>
                </a:cubicBezTo>
                <a:close/>
                <a:moveTo>
                  <a:pt x="3800889" y="443495"/>
                </a:moveTo>
                <a:cubicBezTo>
                  <a:pt x="3822833" y="443495"/>
                  <a:pt x="3841311" y="461974"/>
                  <a:pt x="3841311" y="483918"/>
                </a:cubicBezTo>
                <a:cubicBezTo>
                  <a:pt x="3841311" y="505861"/>
                  <a:pt x="3822833" y="524340"/>
                  <a:pt x="3800889" y="524340"/>
                </a:cubicBezTo>
                <a:cubicBezTo>
                  <a:pt x="3778945" y="524340"/>
                  <a:pt x="3760466" y="505861"/>
                  <a:pt x="3760466" y="483918"/>
                </a:cubicBezTo>
                <a:cubicBezTo>
                  <a:pt x="3760466" y="461974"/>
                  <a:pt x="3778945" y="443495"/>
                  <a:pt x="3800889" y="443495"/>
                </a:cubicBezTo>
                <a:close/>
                <a:moveTo>
                  <a:pt x="1705839" y="443495"/>
                </a:moveTo>
                <a:cubicBezTo>
                  <a:pt x="1727782" y="443495"/>
                  <a:pt x="1746261" y="461974"/>
                  <a:pt x="1746261" y="483918"/>
                </a:cubicBezTo>
                <a:cubicBezTo>
                  <a:pt x="1746261" y="505861"/>
                  <a:pt x="1727782" y="524340"/>
                  <a:pt x="1705839" y="524340"/>
                </a:cubicBezTo>
                <a:cubicBezTo>
                  <a:pt x="1683894" y="524340"/>
                  <a:pt x="1665415" y="505861"/>
                  <a:pt x="1665415" y="483918"/>
                </a:cubicBezTo>
                <a:cubicBezTo>
                  <a:pt x="1665415" y="461974"/>
                  <a:pt x="1683894" y="443495"/>
                  <a:pt x="1705839" y="443495"/>
                </a:cubicBezTo>
                <a:close/>
                <a:moveTo>
                  <a:pt x="587862" y="443495"/>
                </a:moveTo>
                <a:cubicBezTo>
                  <a:pt x="609806" y="443495"/>
                  <a:pt x="628284" y="461974"/>
                  <a:pt x="628284" y="483918"/>
                </a:cubicBezTo>
                <a:cubicBezTo>
                  <a:pt x="628284" y="505861"/>
                  <a:pt x="609806" y="524340"/>
                  <a:pt x="587862" y="524340"/>
                </a:cubicBezTo>
                <a:cubicBezTo>
                  <a:pt x="565918" y="524340"/>
                  <a:pt x="547439" y="505861"/>
                  <a:pt x="547439" y="483918"/>
                </a:cubicBezTo>
                <a:cubicBezTo>
                  <a:pt x="547439" y="461974"/>
                  <a:pt x="565918" y="443495"/>
                  <a:pt x="587862" y="443495"/>
                </a:cubicBezTo>
                <a:close/>
                <a:moveTo>
                  <a:pt x="308368" y="443495"/>
                </a:moveTo>
                <a:cubicBezTo>
                  <a:pt x="330311" y="443495"/>
                  <a:pt x="348790" y="461974"/>
                  <a:pt x="348790" y="483918"/>
                </a:cubicBezTo>
                <a:cubicBezTo>
                  <a:pt x="348790" y="505861"/>
                  <a:pt x="330311" y="524340"/>
                  <a:pt x="308368" y="524340"/>
                </a:cubicBezTo>
                <a:cubicBezTo>
                  <a:pt x="286424" y="524340"/>
                  <a:pt x="267945" y="505861"/>
                  <a:pt x="267945" y="483918"/>
                </a:cubicBezTo>
                <a:cubicBezTo>
                  <a:pt x="267945" y="461974"/>
                  <a:pt x="286424" y="443495"/>
                  <a:pt x="308368" y="443495"/>
                </a:cubicBezTo>
                <a:close/>
                <a:moveTo>
                  <a:pt x="10784225" y="433101"/>
                </a:moveTo>
                <a:cubicBezTo>
                  <a:pt x="10811943" y="433101"/>
                  <a:pt x="10835042" y="456200"/>
                  <a:pt x="10835042" y="483918"/>
                </a:cubicBezTo>
                <a:cubicBezTo>
                  <a:pt x="10835042" y="511636"/>
                  <a:pt x="10811943" y="534735"/>
                  <a:pt x="10784225" y="534735"/>
                </a:cubicBezTo>
                <a:cubicBezTo>
                  <a:pt x="10756506" y="534735"/>
                  <a:pt x="10733408" y="511636"/>
                  <a:pt x="10733408" y="483918"/>
                </a:cubicBezTo>
                <a:cubicBezTo>
                  <a:pt x="10733408" y="456200"/>
                  <a:pt x="10755352" y="433101"/>
                  <a:pt x="10784225" y="433101"/>
                </a:cubicBezTo>
                <a:close/>
                <a:moveTo>
                  <a:pt x="9666248" y="433101"/>
                </a:moveTo>
                <a:cubicBezTo>
                  <a:pt x="9695122" y="433101"/>
                  <a:pt x="9717066" y="456200"/>
                  <a:pt x="9717066" y="483918"/>
                </a:cubicBezTo>
                <a:cubicBezTo>
                  <a:pt x="9717066" y="511636"/>
                  <a:pt x="9695122" y="534735"/>
                  <a:pt x="9666248" y="534735"/>
                </a:cubicBezTo>
                <a:cubicBezTo>
                  <a:pt x="9638530" y="534735"/>
                  <a:pt x="9615431" y="511636"/>
                  <a:pt x="9615431" y="483918"/>
                </a:cubicBezTo>
                <a:cubicBezTo>
                  <a:pt x="9615431" y="456200"/>
                  <a:pt x="9637376" y="433101"/>
                  <a:pt x="9666248" y="433101"/>
                </a:cubicBezTo>
                <a:close/>
                <a:moveTo>
                  <a:pt x="8553443" y="433101"/>
                </a:moveTo>
                <a:cubicBezTo>
                  <a:pt x="8582317" y="433101"/>
                  <a:pt x="8604260" y="456200"/>
                  <a:pt x="8604260" y="483918"/>
                </a:cubicBezTo>
                <a:cubicBezTo>
                  <a:pt x="8604260" y="511636"/>
                  <a:pt x="8582317" y="534735"/>
                  <a:pt x="8553443" y="534735"/>
                </a:cubicBezTo>
                <a:cubicBezTo>
                  <a:pt x="8525724" y="534735"/>
                  <a:pt x="8502626" y="511636"/>
                  <a:pt x="8502626" y="483918"/>
                </a:cubicBezTo>
                <a:cubicBezTo>
                  <a:pt x="8502626" y="456200"/>
                  <a:pt x="8524570" y="433101"/>
                  <a:pt x="8553443" y="433101"/>
                </a:cubicBezTo>
                <a:close/>
                <a:moveTo>
                  <a:pt x="6178898" y="433101"/>
                </a:moveTo>
                <a:cubicBezTo>
                  <a:pt x="6206618" y="433101"/>
                  <a:pt x="6229715" y="456200"/>
                  <a:pt x="6229715" y="483918"/>
                </a:cubicBezTo>
                <a:cubicBezTo>
                  <a:pt x="6229715" y="511636"/>
                  <a:pt x="6206618" y="534735"/>
                  <a:pt x="6178898" y="534735"/>
                </a:cubicBezTo>
                <a:cubicBezTo>
                  <a:pt x="6151180" y="534735"/>
                  <a:pt x="6128081" y="511636"/>
                  <a:pt x="6128081" y="483918"/>
                </a:cubicBezTo>
                <a:cubicBezTo>
                  <a:pt x="6128081" y="456200"/>
                  <a:pt x="6150025" y="433101"/>
                  <a:pt x="6178898" y="433101"/>
                </a:cubicBezTo>
                <a:close/>
                <a:moveTo>
                  <a:pt x="5060922" y="433101"/>
                </a:moveTo>
                <a:cubicBezTo>
                  <a:pt x="5089795" y="433101"/>
                  <a:pt x="5111739" y="456200"/>
                  <a:pt x="5111739" y="483918"/>
                </a:cubicBezTo>
                <a:cubicBezTo>
                  <a:pt x="5111739" y="511636"/>
                  <a:pt x="5088641" y="534735"/>
                  <a:pt x="5060922" y="534735"/>
                </a:cubicBezTo>
                <a:cubicBezTo>
                  <a:pt x="5033205" y="534735"/>
                  <a:pt x="5010105" y="511636"/>
                  <a:pt x="5010105" y="483918"/>
                </a:cubicBezTo>
                <a:cubicBezTo>
                  <a:pt x="5010105" y="456200"/>
                  <a:pt x="5032050" y="433101"/>
                  <a:pt x="5060922" y="433101"/>
                </a:cubicBezTo>
                <a:close/>
                <a:moveTo>
                  <a:pt x="3940636" y="433101"/>
                </a:moveTo>
                <a:cubicBezTo>
                  <a:pt x="3969510" y="433101"/>
                  <a:pt x="3991453" y="456200"/>
                  <a:pt x="3991453" y="483918"/>
                </a:cubicBezTo>
                <a:cubicBezTo>
                  <a:pt x="3991453" y="511636"/>
                  <a:pt x="3969510" y="534735"/>
                  <a:pt x="3940636" y="534735"/>
                </a:cubicBezTo>
                <a:cubicBezTo>
                  <a:pt x="3912917" y="534735"/>
                  <a:pt x="3889819" y="511636"/>
                  <a:pt x="3889819" y="483918"/>
                </a:cubicBezTo>
                <a:cubicBezTo>
                  <a:pt x="3889819" y="456200"/>
                  <a:pt x="3911763" y="433101"/>
                  <a:pt x="3940636" y="433101"/>
                </a:cubicBezTo>
                <a:close/>
                <a:moveTo>
                  <a:pt x="1566091" y="433101"/>
                </a:moveTo>
                <a:cubicBezTo>
                  <a:pt x="1593810" y="433101"/>
                  <a:pt x="1616908" y="456200"/>
                  <a:pt x="1616908" y="483918"/>
                </a:cubicBezTo>
                <a:cubicBezTo>
                  <a:pt x="1616908" y="511636"/>
                  <a:pt x="1593810" y="534735"/>
                  <a:pt x="1566091" y="534735"/>
                </a:cubicBezTo>
                <a:cubicBezTo>
                  <a:pt x="1538373" y="534735"/>
                  <a:pt x="1515274" y="511636"/>
                  <a:pt x="1515274" y="483918"/>
                </a:cubicBezTo>
                <a:cubicBezTo>
                  <a:pt x="1515274" y="456200"/>
                  <a:pt x="1537218" y="433101"/>
                  <a:pt x="1566091" y="433101"/>
                </a:cubicBezTo>
                <a:close/>
                <a:moveTo>
                  <a:pt x="448115" y="433101"/>
                </a:moveTo>
                <a:cubicBezTo>
                  <a:pt x="476989" y="433101"/>
                  <a:pt x="498932" y="456200"/>
                  <a:pt x="498932" y="483918"/>
                </a:cubicBezTo>
                <a:cubicBezTo>
                  <a:pt x="498932" y="511636"/>
                  <a:pt x="476989" y="534735"/>
                  <a:pt x="448115" y="534735"/>
                </a:cubicBezTo>
                <a:cubicBezTo>
                  <a:pt x="420396" y="534735"/>
                  <a:pt x="397298" y="511636"/>
                  <a:pt x="397298" y="483918"/>
                </a:cubicBezTo>
                <a:cubicBezTo>
                  <a:pt x="397298" y="456200"/>
                  <a:pt x="419242" y="433101"/>
                  <a:pt x="448115" y="433101"/>
                </a:cubicBezTo>
                <a:close/>
                <a:moveTo>
                  <a:pt x="12210569" y="319917"/>
                </a:moveTo>
                <a:cubicBezTo>
                  <a:pt x="12220963" y="319917"/>
                  <a:pt x="12231358" y="329157"/>
                  <a:pt x="12231358" y="340706"/>
                </a:cubicBezTo>
                <a:cubicBezTo>
                  <a:pt x="12231358" y="352256"/>
                  <a:pt x="12222118" y="361495"/>
                  <a:pt x="12210569" y="361495"/>
                </a:cubicBezTo>
                <a:cubicBezTo>
                  <a:pt x="12199020" y="361495"/>
                  <a:pt x="12189780" y="352256"/>
                  <a:pt x="12189780" y="340706"/>
                </a:cubicBezTo>
                <a:cubicBezTo>
                  <a:pt x="12189780" y="329157"/>
                  <a:pt x="12199020" y="319917"/>
                  <a:pt x="12210569" y="319917"/>
                </a:cubicBezTo>
                <a:close/>
                <a:moveTo>
                  <a:pt x="12071977" y="319917"/>
                </a:moveTo>
                <a:cubicBezTo>
                  <a:pt x="12083526" y="319917"/>
                  <a:pt x="12092766" y="329157"/>
                  <a:pt x="12092766" y="340706"/>
                </a:cubicBezTo>
                <a:cubicBezTo>
                  <a:pt x="12092766" y="352256"/>
                  <a:pt x="12083526" y="361495"/>
                  <a:pt x="12071977" y="361495"/>
                </a:cubicBezTo>
                <a:cubicBezTo>
                  <a:pt x="12060428" y="361495"/>
                  <a:pt x="12051188" y="352256"/>
                  <a:pt x="12051188" y="340706"/>
                </a:cubicBezTo>
                <a:cubicBezTo>
                  <a:pt x="12051188" y="329157"/>
                  <a:pt x="12060428" y="319917"/>
                  <a:pt x="12071977" y="319917"/>
                </a:cubicBezTo>
                <a:close/>
                <a:moveTo>
                  <a:pt x="11934539" y="319917"/>
                </a:moveTo>
                <a:cubicBezTo>
                  <a:pt x="11946088" y="319917"/>
                  <a:pt x="11955328" y="329157"/>
                  <a:pt x="11955328" y="340706"/>
                </a:cubicBezTo>
                <a:cubicBezTo>
                  <a:pt x="11955328" y="352256"/>
                  <a:pt x="11946088" y="361495"/>
                  <a:pt x="11934539" y="361495"/>
                </a:cubicBezTo>
                <a:cubicBezTo>
                  <a:pt x="11922990" y="361495"/>
                  <a:pt x="11913750" y="352256"/>
                  <a:pt x="11913750" y="340706"/>
                </a:cubicBezTo>
                <a:cubicBezTo>
                  <a:pt x="11913750" y="329157"/>
                  <a:pt x="11922990" y="319917"/>
                  <a:pt x="11934539" y="319917"/>
                </a:cubicBezTo>
                <a:close/>
                <a:moveTo>
                  <a:pt x="11797103" y="319917"/>
                </a:moveTo>
                <a:cubicBezTo>
                  <a:pt x="11808652" y="319917"/>
                  <a:pt x="11817892" y="329157"/>
                  <a:pt x="11817892" y="340706"/>
                </a:cubicBezTo>
                <a:cubicBezTo>
                  <a:pt x="11817892" y="352256"/>
                  <a:pt x="11808652" y="361495"/>
                  <a:pt x="11797103" y="361495"/>
                </a:cubicBezTo>
                <a:cubicBezTo>
                  <a:pt x="11785553" y="361495"/>
                  <a:pt x="11776314" y="352256"/>
                  <a:pt x="11776314" y="340706"/>
                </a:cubicBezTo>
                <a:cubicBezTo>
                  <a:pt x="11776314" y="329157"/>
                  <a:pt x="11785553" y="319917"/>
                  <a:pt x="11797103" y="319917"/>
                </a:cubicBezTo>
                <a:close/>
                <a:moveTo>
                  <a:pt x="10645633" y="319917"/>
                </a:moveTo>
                <a:cubicBezTo>
                  <a:pt x="10657182" y="319917"/>
                  <a:pt x="10666422" y="329157"/>
                  <a:pt x="10666422" y="340706"/>
                </a:cubicBezTo>
                <a:cubicBezTo>
                  <a:pt x="10666422" y="352256"/>
                  <a:pt x="10657182" y="361495"/>
                  <a:pt x="10645633" y="361495"/>
                </a:cubicBezTo>
                <a:cubicBezTo>
                  <a:pt x="10634083" y="361495"/>
                  <a:pt x="10624844" y="352256"/>
                  <a:pt x="10624844" y="340706"/>
                </a:cubicBezTo>
                <a:cubicBezTo>
                  <a:pt x="10624844" y="329157"/>
                  <a:pt x="10634083" y="319917"/>
                  <a:pt x="10645633" y="319917"/>
                </a:cubicBezTo>
                <a:close/>
                <a:moveTo>
                  <a:pt x="9247008" y="319917"/>
                </a:moveTo>
                <a:cubicBezTo>
                  <a:pt x="9258557" y="319917"/>
                  <a:pt x="9267797" y="329157"/>
                  <a:pt x="9267797" y="340706"/>
                </a:cubicBezTo>
                <a:cubicBezTo>
                  <a:pt x="9267797" y="352256"/>
                  <a:pt x="9258557" y="361495"/>
                  <a:pt x="9247008" y="361495"/>
                </a:cubicBezTo>
                <a:cubicBezTo>
                  <a:pt x="9235459" y="361495"/>
                  <a:pt x="9226219" y="352256"/>
                  <a:pt x="9226219" y="340706"/>
                </a:cubicBezTo>
                <a:cubicBezTo>
                  <a:pt x="9226219" y="329157"/>
                  <a:pt x="9235459" y="319917"/>
                  <a:pt x="9247008" y="319917"/>
                </a:cubicBezTo>
                <a:close/>
                <a:moveTo>
                  <a:pt x="8148062" y="319917"/>
                </a:moveTo>
                <a:cubicBezTo>
                  <a:pt x="8158457" y="319917"/>
                  <a:pt x="8168851" y="329157"/>
                  <a:pt x="8168851" y="340706"/>
                </a:cubicBezTo>
                <a:cubicBezTo>
                  <a:pt x="8168851" y="352256"/>
                  <a:pt x="8159611" y="361495"/>
                  <a:pt x="8148062" y="361495"/>
                </a:cubicBezTo>
                <a:cubicBezTo>
                  <a:pt x="8136513" y="361495"/>
                  <a:pt x="8127274" y="352256"/>
                  <a:pt x="8127274" y="340706"/>
                </a:cubicBezTo>
                <a:cubicBezTo>
                  <a:pt x="8127274" y="329157"/>
                  <a:pt x="8136513" y="319917"/>
                  <a:pt x="8148062" y="319917"/>
                </a:cubicBezTo>
                <a:close/>
                <a:moveTo>
                  <a:pt x="8009471" y="319917"/>
                </a:moveTo>
                <a:cubicBezTo>
                  <a:pt x="8021020" y="319917"/>
                  <a:pt x="8030259" y="329157"/>
                  <a:pt x="8030259" y="340706"/>
                </a:cubicBezTo>
                <a:cubicBezTo>
                  <a:pt x="8030259" y="352256"/>
                  <a:pt x="8021020" y="361495"/>
                  <a:pt x="8009471" y="361495"/>
                </a:cubicBezTo>
                <a:cubicBezTo>
                  <a:pt x="7997920" y="361495"/>
                  <a:pt x="7988682" y="352256"/>
                  <a:pt x="7988682" y="340706"/>
                </a:cubicBezTo>
                <a:cubicBezTo>
                  <a:pt x="7988682" y="329157"/>
                  <a:pt x="7997920" y="319917"/>
                  <a:pt x="8009471" y="319917"/>
                </a:cubicBezTo>
                <a:close/>
                <a:moveTo>
                  <a:pt x="7872031" y="319917"/>
                </a:moveTo>
                <a:cubicBezTo>
                  <a:pt x="7883582" y="319917"/>
                  <a:pt x="7892822" y="329157"/>
                  <a:pt x="7892822" y="340706"/>
                </a:cubicBezTo>
                <a:cubicBezTo>
                  <a:pt x="7892822" y="352256"/>
                  <a:pt x="7883582" y="361495"/>
                  <a:pt x="7872031" y="361495"/>
                </a:cubicBezTo>
                <a:cubicBezTo>
                  <a:pt x="7860484" y="361495"/>
                  <a:pt x="7851244" y="352256"/>
                  <a:pt x="7851244" y="340706"/>
                </a:cubicBezTo>
                <a:cubicBezTo>
                  <a:pt x="7851244" y="329157"/>
                  <a:pt x="7860484" y="319917"/>
                  <a:pt x="7872031" y="319917"/>
                </a:cubicBezTo>
                <a:close/>
                <a:moveTo>
                  <a:pt x="7713807" y="319917"/>
                </a:moveTo>
                <a:cubicBezTo>
                  <a:pt x="7725356" y="319917"/>
                  <a:pt x="7734596" y="329157"/>
                  <a:pt x="7734596" y="340706"/>
                </a:cubicBezTo>
                <a:cubicBezTo>
                  <a:pt x="7734596" y="352256"/>
                  <a:pt x="7725356" y="361495"/>
                  <a:pt x="7713807" y="361495"/>
                </a:cubicBezTo>
                <a:cubicBezTo>
                  <a:pt x="7702258" y="361495"/>
                  <a:pt x="7693019" y="352256"/>
                  <a:pt x="7693019" y="340706"/>
                </a:cubicBezTo>
                <a:cubicBezTo>
                  <a:pt x="7693019" y="329157"/>
                  <a:pt x="7702258" y="319917"/>
                  <a:pt x="7713807" y="319917"/>
                </a:cubicBezTo>
                <a:close/>
                <a:moveTo>
                  <a:pt x="7605244" y="319917"/>
                </a:moveTo>
                <a:cubicBezTo>
                  <a:pt x="7616793" y="319917"/>
                  <a:pt x="7626031" y="329157"/>
                  <a:pt x="7626031" y="340706"/>
                </a:cubicBezTo>
                <a:cubicBezTo>
                  <a:pt x="7626031" y="352256"/>
                  <a:pt x="7616793" y="361495"/>
                  <a:pt x="7605244" y="361495"/>
                </a:cubicBezTo>
                <a:cubicBezTo>
                  <a:pt x="7593693" y="361495"/>
                  <a:pt x="7584454" y="352256"/>
                  <a:pt x="7584454" y="340706"/>
                </a:cubicBezTo>
                <a:cubicBezTo>
                  <a:pt x="7584454" y="329157"/>
                  <a:pt x="7593693" y="319917"/>
                  <a:pt x="7605244" y="319917"/>
                </a:cubicBezTo>
                <a:close/>
                <a:moveTo>
                  <a:pt x="7466651" y="319917"/>
                </a:moveTo>
                <a:cubicBezTo>
                  <a:pt x="7478200" y="319917"/>
                  <a:pt x="7487439" y="329157"/>
                  <a:pt x="7487439" y="340706"/>
                </a:cubicBezTo>
                <a:cubicBezTo>
                  <a:pt x="7487439" y="352256"/>
                  <a:pt x="7478200" y="361495"/>
                  <a:pt x="7466651" y="361495"/>
                </a:cubicBezTo>
                <a:cubicBezTo>
                  <a:pt x="7455102" y="361495"/>
                  <a:pt x="7445863" y="352256"/>
                  <a:pt x="7445863" y="340706"/>
                </a:cubicBezTo>
                <a:cubicBezTo>
                  <a:pt x="7445863" y="329157"/>
                  <a:pt x="7455102" y="319917"/>
                  <a:pt x="7466651" y="319917"/>
                </a:cubicBezTo>
                <a:close/>
                <a:moveTo>
                  <a:pt x="7329213" y="319917"/>
                </a:moveTo>
                <a:cubicBezTo>
                  <a:pt x="7340762" y="319917"/>
                  <a:pt x="7350002" y="329157"/>
                  <a:pt x="7350002" y="340706"/>
                </a:cubicBezTo>
                <a:cubicBezTo>
                  <a:pt x="7350002" y="352256"/>
                  <a:pt x="7340762" y="361495"/>
                  <a:pt x="7329213" y="361495"/>
                </a:cubicBezTo>
                <a:cubicBezTo>
                  <a:pt x="7317664" y="361495"/>
                  <a:pt x="7308425" y="352256"/>
                  <a:pt x="7308425" y="340706"/>
                </a:cubicBezTo>
                <a:cubicBezTo>
                  <a:pt x="7308425" y="329157"/>
                  <a:pt x="7317664" y="319917"/>
                  <a:pt x="7329213" y="319917"/>
                </a:cubicBezTo>
                <a:close/>
                <a:moveTo>
                  <a:pt x="7191777" y="319917"/>
                </a:moveTo>
                <a:cubicBezTo>
                  <a:pt x="7203326" y="319917"/>
                  <a:pt x="7212566" y="329157"/>
                  <a:pt x="7212566" y="340706"/>
                </a:cubicBezTo>
                <a:cubicBezTo>
                  <a:pt x="7212566" y="352256"/>
                  <a:pt x="7203326" y="361495"/>
                  <a:pt x="7191777" y="361495"/>
                </a:cubicBezTo>
                <a:cubicBezTo>
                  <a:pt x="7180226" y="361495"/>
                  <a:pt x="7170987" y="352256"/>
                  <a:pt x="7170987" y="340706"/>
                </a:cubicBezTo>
                <a:cubicBezTo>
                  <a:pt x="7170987" y="329157"/>
                  <a:pt x="7180226" y="319917"/>
                  <a:pt x="7191777" y="319917"/>
                </a:cubicBezTo>
                <a:close/>
                <a:moveTo>
                  <a:pt x="6040307" y="319917"/>
                </a:moveTo>
                <a:cubicBezTo>
                  <a:pt x="6051855" y="319917"/>
                  <a:pt x="6061095" y="329157"/>
                  <a:pt x="6061095" y="340706"/>
                </a:cubicBezTo>
                <a:cubicBezTo>
                  <a:pt x="6061095" y="352256"/>
                  <a:pt x="6051855" y="361495"/>
                  <a:pt x="6040307" y="361495"/>
                </a:cubicBezTo>
                <a:cubicBezTo>
                  <a:pt x="6028758" y="361495"/>
                  <a:pt x="6019518" y="352256"/>
                  <a:pt x="6019518" y="340706"/>
                </a:cubicBezTo>
                <a:cubicBezTo>
                  <a:pt x="6019518" y="329157"/>
                  <a:pt x="6028758" y="319917"/>
                  <a:pt x="6040307" y="319917"/>
                </a:cubicBezTo>
                <a:close/>
                <a:moveTo>
                  <a:pt x="4641682" y="319917"/>
                </a:moveTo>
                <a:cubicBezTo>
                  <a:pt x="4653231" y="319917"/>
                  <a:pt x="4662471" y="329157"/>
                  <a:pt x="4662471" y="340706"/>
                </a:cubicBezTo>
                <a:cubicBezTo>
                  <a:pt x="4662471" y="352256"/>
                  <a:pt x="4653231" y="361495"/>
                  <a:pt x="4641682" y="361495"/>
                </a:cubicBezTo>
                <a:cubicBezTo>
                  <a:pt x="4630133" y="361495"/>
                  <a:pt x="4620893" y="352256"/>
                  <a:pt x="4620893" y="340706"/>
                </a:cubicBezTo>
                <a:cubicBezTo>
                  <a:pt x="4620893" y="329157"/>
                  <a:pt x="4630133" y="319917"/>
                  <a:pt x="4641682" y="319917"/>
                </a:cubicBezTo>
                <a:close/>
                <a:moveTo>
                  <a:pt x="3535254" y="319917"/>
                </a:moveTo>
                <a:cubicBezTo>
                  <a:pt x="3545648" y="319917"/>
                  <a:pt x="3556043" y="329157"/>
                  <a:pt x="3556043" y="340706"/>
                </a:cubicBezTo>
                <a:cubicBezTo>
                  <a:pt x="3556043" y="352256"/>
                  <a:pt x="3546804" y="361495"/>
                  <a:pt x="3535254" y="361495"/>
                </a:cubicBezTo>
                <a:cubicBezTo>
                  <a:pt x="3523705" y="361495"/>
                  <a:pt x="3514466" y="352256"/>
                  <a:pt x="3514466" y="340706"/>
                </a:cubicBezTo>
                <a:cubicBezTo>
                  <a:pt x="3514466" y="329157"/>
                  <a:pt x="3523705" y="319917"/>
                  <a:pt x="3535254" y="319917"/>
                </a:cubicBezTo>
                <a:close/>
                <a:moveTo>
                  <a:pt x="3396662" y="319917"/>
                </a:moveTo>
                <a:cubicBezTo>
                  <a:pt x="3408212" y="319917"/>
                  <a:pt x="3417451" y="329157"/>
                  <a:pt x="3417451" y="340706"/>
                </a:cubicBezTo>
                <a:cubicBezTo>
                  <a:pt x="3417451" y="352256"/>
                  <a:pt x="3408212" y="361495"/>
                  <a:pt x="3396662" y="361495"/>
                </a:cubicBezTo>
                <a:cubicBezTo>
                  <a:pt x="3385113" y="361495"/>
                  <a:pt x="3375874" y="352256"/>
                  <a:pt x="3375874" y="340706"/>
                </a:cubicBezTo>
                <a:cubicBezTo>
                  <a:pt x="3375874" y="329157"/>
                  <a:pt x="3385113" y="319917"/>
                  <a:pt x="3396662" y="319917"/>
                </a:cubicBezTo>
                <a:close/>
                <a:moveTo>
                  <a:pt x="3259224" y="319917"/>
                </a:moveTo>
                <a:cubicBezTo>
                  <a:pt x="3270774" y="319917"/>
                  <a:pt x="3280013" y="329157"/>
                  <a:pt x="3280013" y="340706"/>
                </a:cubicBezTo>
                <a:cubicBezTo>
                  <a:pt x="3280013" y="352256"/>
                  <a:pt x="3270774" y="361495"/>
                  <a:pt x="3259224" y="361495"/>
                </a:cubicBezTo>
                <a:cubicBezTo>
                  <a:pt x="3247675" y="361495"/>
                  <a:pt x="3238436" y="352256"/>
                  <a:pt x="3238436" y="340706"/>
                </a:cubicBezTo>
                <a:cubicBezTo>
                  <a:pt x="3238436" y="329157"/>
                  <a:pt x="3247675" y="319917"/>
                  <a:pt x="3259224" y="319917"/>
                </a:cubicBezTo>
                <a:close/>
                <a:moveTo>
                  <a:pt x="3100999" y="319917"/>
                </a:moveTo>
                <a:cubicBezTo>
                  <a:pt x="3112549" y="319917"/>
                  <a:pt x="3121789" y="329157"/>
                  <a:pt x="3121789" y="340706"/>
                </a:cubicBezTo>
                <a:cubicBezTo>
                  <a:pt x="3121789" y="352256"/>
                  <a:pt x="3112549" y="361495"/>
                  <a:pt x="3100999" y="361495"/>
                </a:cubicBezTo>
                <a:cubicBezTo>
                  <a:pt x="3089450" y="361495"/>
                  <a:pt x="3080212" y="352256"/>
                  <a:pt x="3080212" y="340706"/>
                </a:cubicBezTo>
                <a:cubicBezTo>
                  <a:pt x="3080212" y="329157"/>
                  <a:pt x="3089450" y="319917"/>
                  <a:pt x="3100999" y="319917"/>
                </a:cubicBezTo>
                <a:close/>
                <a:moveTo>
                  <a:pt x="2992435" y="319917"/>
                </a:moveTo>
                <a:cubicBezTo>
                  <a:pt x="3002829" y="319917"/>
                  <a:pt x="3013224" y="329157"/>
                  <a:pt x="3013224" y="340706"/>
                </a:cubicBezTo>
                <a:cubicBezTo>
                  <a:pt x="3013224" y="352256"/>
                  <a:pt x="3003985" y="361495"/>
                  <a:pt x="2992435" y="361495"/>
                </a:cubicBezTo>
                <a:cubicBezTo>
                  <a:pt x="2980886" y="361495"/>
                  <a:pt x="2971647" y="352256"/>
                  <a:pt x="2971647" y="340706"/>
                </a:cubicBezTo>
                <a:cubicBezTo>
                  <a:pt x="2971647" y="329157"/>
                  <a:pt x="2980886" y="319917"/>
                  <a:pt x="2992435" y="319917"/>
                </a:cubicBezTo>
                <a:close/>
                <a:moveTo>
                  <a:pt x="2853843" y="319917"/>
                </a:moveTo>
                <a:cubicBezTo>
                  <a:pt x="2865393" y="319917"/>
                  <a:pt x="2874633" y="329157"/>
                  <a:pt x="2874633" y="340706"/>
                </a:cubicBezTo>
                <a:cubicBezTo>
                  <a:pt x="2874633" y="352256"/>
                  <a:pt x="2865393" y="361495"/>
                  <a:pt x="2853843" y="361495"/>
                </a:cubicBezTo>
                <a:cubicBezTo>
                  <a:pt x="2842294" y="361495"/>
                  <a:pt x="2833056" y="352256"/>
                  <a:pt x="2833056" y="340706"/>
                </a:cubicBezTo>
                <a:cubicBezTo>
                  <a:pt x="2833056" y="329157"/>
                  <a:pt x="2842294" y="319917"/>
                  <a:pt x="2853843" y="319917"/>
                </a:cubicBezTo>
                <a:close/>
                <a:moveTo>
                  <a:pt x="2716405" y="319917"/>
                </a:moveTo>
                <a:cubicBezTo>
                  <a:pt x="2727955" y="319917"/>
                  <a:pt x="2737195" y="329157"/>
                  <a:pt x="2737195" y="340706"/>
                </a:cubicBezTo>
                <a:cubicBezTo>
                  <a:pt x="2737195" y="352256"/>
                  <a:pt x="2727955" y="361495"/>
                  <a:pt x="2716405" y="361495"/>
                </a:cubicBezTo>
                <a:cubicBezTo>
                  <a:pt x="2704856" y="361495"/>
                  <a:pt x="2695618" y="352256"/>
                  <a:pt x="2695618" y="340706"/>
                </a:cubicBezTo>
                <a:cubicBezTo>
                  <a:pt x="2695618" y="329157"/>
                  <a:pt x="2704856" y="319917"/>
                  <a:pt x="2716405" y="319917"/>
                </a:cubicBezTo>
                <a:close/>
                <a:moveTo>
                  <a:pt x="2578969" y="319917"/>
                </a:moveTo>
                <a:cubicBezTo>
                  <a:pt x="2590518" y="319917"/>
                  <a:pt x="2599758" y="329157"/>
                  <a:pt x="2599758" y="340706"/>
                </a:cubicBezTo>
                <a:cubicBezTo>
                  <a:pt x="2599758" y="352256"/>
                  <a:pt x="2590518" y="361495"/>
                  <a:pt x="2578969" y="361495"/>
                </a:cubicBezTo>
                <a:cubicBezTo>
                  <a:pt x="2567420" y="361495"/>
                  <a:pt x="2558180" y="352256"/>
                  <a:pt x="2558180" y="340706"/>
                </a:cubicBezTo>
                <a:cubicBezTo>
                  <a:pt x="2558180" y="329157"/>
                  <a:pt x="2567420" y="319917"/>
                  <a:pt x="2578969" y="319917"/>
                </a:cubicBezTo>
                <a:close/>
                <a:moveTo>
                  <a:pt x="1427499" y="319917"/>
                </a:moveTo>
                <a:cubicBezTo>
                  <a:pt x="1439048" y="319917"/>
                  <a:pt x="1448288" y="329157"/>
                  <a:pt x="1448288" y="340706"/>
                </a:cubicBezTo>
                <a:cubicBezTo>
                  <a:pt x="1448288" y="352256"/>
                  <a:pt x="1439048" y="361495"/>
                  <a:pt x="1427499" y="361495"/>
                </a:cubicBezTo>
                <a:cubicBezTo>
                  <a:pt x="1415950" y="361495"/>
                  <a:pt x="1406710" y="352256"/>
                  <a:pt x="1406710" y="340706"/>
                </a:cubicBezTo>
                <a:cubicBezTo>
                  <a:pt x="1406710" y="329157"/>
                  <a:pt x="1415950" y="319917"/>
                  <a:pt x="1427499" y="319917"/>
                </a:cubicBezTo>
                <a:close/>
                <a:moveTo>
                  <a:pt x="28874" y="319917"/>
                </a:moveTo>
                <a:cubicBezTo>
                  <a:pt x="40424" y="319917"/>
                  <a:pt x="49663" y="329157"/>
                  <a:pt x="49663" y="340706"/>
                </a:cubicBezTo>
                <a:cubicBezTo>
                  <a:pt x="49663" y="352256"/>
                  <a:pt x="40424" y="361495"/>
                  <a:pt x="28874" y="361495"/>
                </a:cubicBezTo>
                <a:cubicBezTo>
                  <a:pt x="17325" y="361495"/>
                  <a:pt x="8085" y="352256"/>
                  <a:pt x="8085" y="340706"/>
                </a:cubicBezTo>
                <a:cubicBezTo>
                  <a:pt x="8085" y="329157"/>
                  <a:pt x="17325" y="319917"/>
                  <a:pt x="28874" y="319917"/>
                </a:cubicBezTo>
                <a:close/>
                <a:moveTo>
                  <a:pt x="11658510" y="316452"/>
                </a:moveTo>
                <a:cubicBezTo>
                  <a:pt x="11671214" y="316452"/>
                  <a:pt x="11681609" y="326847"/>
                  <a:pt x="11681609" y="339551"/>
                </a:cubicBezTo>
                <a:cubicBezTo>
                  <a:pt x="11681609" y="352256"/>
                  <a:pt x="11671214" y="362649"/>
                  <a:pt x="11658510" y="362649"/>
                </a:cubicBezTo>
                <a:cubicBezTo>
                  <a:pt x="11645806" y="362649"/>
                  <a:pt x="11635412" y="352256"/>
                  <a:pt x="11635412" y="339551"/>
                </a:cubicBezTo>
                <a:cubicBezTo>
                  <a:pt x="11635412" y="326847"/>
                  <a:pt x="11645806" y="316452"/>
                  <a:pt x="11658510" y="316452"/>
                </a:cubicBezTo>
                <a:close/>
                <a:moveTo>
                  <a:pt x="10508196" y="316452"/>
                </a:moveTo>
                <a:cubicBezTo>
                  <a:pt x="10520900" y="316452"/>
                  <a:pt x="10531295" y="326847"/>
                  <a:pt x="10531295" y="339551"/>
                </a:cubicBezTo>
                <a:cubicBezTo>
                  <a:pt x="10531295" y="352256"/>
                  <a:pt x="10520900" y="362649"/>
                  <a:pt x="10508196" y="362649"/>
                </a:cubicBezTo>
                <a:cubicBezTo>
                  <a:pt x="10495491" y="362649"/>
                  <a:pt x="10485098" y="352256"/>
                  <a:pt x="10485098" y="339551"/>
                </a:cubicBezTo>
                <a:cubicBezTo>
                  <a:pt x="10485098" y="326847"/>
                  <a:pt x="10495491" y="316452"/>
                  <a:pt x="10508196" y="316452"/>
                </a:cubicBezTo>
                <a:close/>
                <a:moveTo>
                  <a:pt x="9405233" y="316452"/>
                </a:moveTo>
                <a:cubicBezTo>
                  <a:pt x="9417938" y="316452"/>
                  <a:pt x="9428332" y="326847"/>
                  <a:pt x="9428332" y="339551"/>
                </a:cubicBezTo>
                <a:cubicBezTo>
                  <a:pt x="9428332" y="352256"/>
                  <a:pt x="9417938" y="362649"/>
                  <a:pt x="9405233" y="362649"/>
                </a:cubicBezTo>
                <a:cubicBezTo>
                  <a:pt x="9392530" y="362649"/>
                  <a:pt x="9382135" y="352256"/>
                  <a:pt x="9382135" y="339551"/>
                </a:cubicBezTo>
                <a:cubicBezTo>
                  <a:pt x="9382135" y="326847"/>
                  <a:pt x="9392530" y="316452"/>
                  <a:pt x="9405233" y="316452"/>
                </a:cubicBezTo>
                <a:close/>
                <a:moveTo>
                  <a:pt x="8285498" y="316452"/>
                </a:moveTo>
                <a:cubicBezTo>
                  <a:pt x="8298204" y="316452"/>
                  <a:pt x="8308598" y="326847"/>
                  <a:pt x="8308598" y="339551"/>
                </a:cubicBezTo>
                <a:cubicBezTo>
                  <a:pt x="8308598" y="352256"/>
                  <a:pt x="8298204" y="362649"/>
                  <a:pt x="8285498" y="362649"/>
                </a:cubicBezTo>
                <a:cubicBezTo>
                  <a:pt x="8272794" y="362649"/>
                  <a:pt x="8262401" y="352256"/>
                  <a:pt x="8262401" y="339551"/>
                </a:cubicBezTo>
                <a:cubicBezTo>
                  <a:pt x="8262401" y="326847"/>
                  <a:pt x="8272794" y="316452"/>
                  <a:pt x="8285498" y="316452"/>
                </a:cubicBezTo>
                <a:close/>
                <a:moveTo>
                  <a:pt x="7053184" y="316452"/>
                </a:moveTo>
                <a:cubicBezTo>
                  <a:pt x="7067044" y="316452"/>
                  <a:pt x="7076283" y="326847"/>
                  <a:pt x="7076283" y="339551"/>
                </a:cubicBezTo>
                <a:cubicBezTo>
                  <a:pt x="7076283" y="352256"/>
                  <a:pt x="7065888" y="362649"/>
                  <a:pt x="7053184" y="362649"/>
                </a:cubicBezTo>
                <a:cubicBezTo>
                  <a:pt x="7040480" y="362649"/>
                  <a:pt x="7030086" y="352256"/>
                  <a:pt x="7030086" y="339551"/>
                </a:cubicBezTo>
                <a:cubicBezTo>
                  <a:pt x="7030086" y="326847"/>
                  <a:pt x="7040480" y="316452"/>
                  <a:pt x="7053184" y="316452"/>
                </a:cubicBezTo>
                <a:close/>
                <a:moveTo>
                  <a:pt x="5902869" y="316452"/>
                </a:moveTo>
                <a:cubicBezTo>
                  <a:pt x="5915573" y="316452"/>
                  <a:pt x="5925969" y="326847"/>
                  <a:pt x="5925969" y="339551"/>
                </a:cubicBezTo>
                <a:cubicBezTo>
                  <a:pt x="5925969" y="352256"/>
                  <a:pt x="5915573" y="362649"/>
                  <a:pt x="5902869" y="362649"/>
                </a:cubicBezTo>
                <a:cubicBezTo>
                  <a:pt x="5890165" y="362649"/>
                  <a:pt x="5879771" y="352256"/>
                  <a:pt x="5879771" y="339551"/>
                </a:cubicBezTo>
                <a:cubicBezTo>
                  <a:pt x="5879771" y="326847"/>
                  <a:pt x="5890165" y="316452"/>
                  <a:pt x="5902869" y="316452"/>
                </a:cubicBezTo>
                <a:close/>
                <a:moveTo>
                  <a:pt x="4799906" y="316452"/>
                </a:moveTo>
                <a:cubicBezTo>
                  <a:pt x="4812611" y="316452"/>
                  <a:pt x="4823006" y="326847"/>
                  <a:pt x="4823006" y="339551"/>
                </a:cubicBezTo>
                <a:cubicBezTo>
                  <a:pt x="4823006" y="352256"/>
                  <a:pt x="4812611" y="362649"/>
                  <a:pt x="4799906" y="362649"/>
                </a:cubicBezTo>
                <a:cubicBezTo>
                  <a:pt x="4787204" y="362649"/>
                  <a:pt x="4776809" y="352256"/>
                  <a:pt x="4776809" y="339551"/>
                </a:cubicBezTo>
                <a:cubicBezTo>
                  <a:pt x="4776809" y="326847"/>
                  <a:pt x="4787204" y="316452"/>
                  <a:pt x="4799906" y="316452"/>
                </a:cubicBezTo>
                <a:close/>
                <a:moveTo>
                  <a:pt x="3672691" y="316452"/>
                </a:moveTo>
                <a:cubicBezTo>
                  <a:pt x="3685396" y="316452"/>
                  <a:pt x="3695791" y="326847"/>
                  <a:pt x="3695791" y="339551"/>
                </a:cubicBezTo>
                <a:cubicBezTo>
                  <a:pt x="3695791" y="352256"/>
                  <a:pt x="3685396" y="362649"/>
                  <a:pt x="3672691" y="362649"/>
                </a:cubicBezTo>
                <a:cubicBezTo>
                  <a:pt x="3659987" y="362649"/>
                  <a:pt x="3649592" y="352256"/>
                  <a:pt x="3649592" y="339551"/>
                </a:cubicBezTo>
                <a:cubicBezTo>
                  <a:pt x="3649592" y="326847"/>
                  <a:pt x="3659987" y="316452"/>
                  <a:pt x="3672691" y="316452"/>
                </a:cubicBezTo>
                <a:close/>
                <a:moveTo>
                  <a:pt x="2440377" y="316452"/>
                </a:moveTo>
                <a:cubicBezTo>
                  <a:pt x="2453080" y="316452"/>
                  <a:pt x="2463475" y="326847"/>
                  <a:pt x="2463475" y="339551"/>
                </a:cubicBezTo>
                <a:cubicBezTo>
                  <a:pt x="2463475" y="352256"/>
                  <a:pt x="2453080" y="362649"/>
                  <a:pt x="2440377" y="362649"/>
                </a:cubicBezTo>
                <a:cubicBezTo>
                  <a:pt x="2427672" y="362649"/>
                  <a:pt x="2417278" y="352256"/>
                  <a:pt x="2417278" y="339551"/>
                </a:cubicBezTo>
                <a:cubicBezTo>
                  <a:pt x="2417278" y="326847"/>
                  <a:pt x="2427672" y="316452"/>
                  <a:pt x="2440377" y="316452"/>
                </a:cubicBezTo>
                <a:close/>
                <a:moveTo>
                  <a:pt x="1290062" y="316452"/>
                </a:moveTo>
                <a:cubicBezTo>
                  <a:pt x="1302766" y="316452"/>
                  <a:pt x="1313161" y="326847"/>
                  <a:pt x="1313161" y="339551"/>
                </a:cubicBezTo>
                <a:cubicBezTo>
                  <a:pt x="1313161" y="352256"/>
                  <a:pt x="1302766" y="362649"/>
                  <a:pt x="1290062" y="362649"/>
                </a:cubicBezTo>
                <a:cubicBezTo>
                  <a:pt x="1277357" y="362649"/>
                  <a:pt x="1266964" y="352256"/>
                  <a:pt x="1266964" y="339551"/>
                </a:cubicBezTo>
                <a:cubicBezTo>
                  <a:pt x="1266964" y="326847"/>
                  <a:pt x="1277357" y="316452"/>
                  <a:pt x="1290062" y="316452"/>
                </a:cubicBezTo>
                <a:close/>
                <a:moveTo>
                  <a:pt x="187100" y="316452"/>
                </a:moveTo>
                <a:cubicBezTo>
                  <a:pt x="199805" y="316452"/>
                  <a:pt x="210198" y="326847"/>
                  <a:pt x="210198" y="339551"/>
                </a:cubicBezTo>
                <a:cubicBezTo>
                  <a:pt x="210198" y="352256"/>
                  <a:pt x="199805" y="362649"/>
                  <a:pt x="187100" y="362649"/>
                </a:cubicBezTo>
                <a:cubicBezTo>
                  <a:pt x="174396" y="362649"/>
                  <a:pt x="164001" y="352256"/>
                  <a:pt x="164001" y="339551"/>
                </a:cubicBezTo>
                <a:cubicBezTo>
                  <a:pt x="164001" y="326847"/>
                  <a:pt x="174396" y="316452"/>
                  <a:pt x="187100" y="316452"/>
                </a:cubicBezTo>
                <a:close/>
                <a:moveTo>
                  <a:pt x="11521073" y="310678"/>
                </a:moveTo>
                <a:cubicBezTo>
                  <a:pt x="11537242" y="310678"/>
                  <a:pt x="11549947" y="323382"/>
                  <a:pt x="11549947" y="339551"/>
                </a:cubicBezTo>
                <a:cubicBezTo>
                  <a:pt x="11549947" y="355720"/>
                  <a:pt x="11537242" y="368425"/>
                  <a:pt x="11521073" y="368425"/>
                </a:cubicBezTo>
                <a:cubicBezTo>
                  <a:pt x="11504904" y="368425"/>
                  <a:pt x="11492200" y="355720"/>
                  <a:pt x="11492200" y="339551"/>
                </a:cubicBezTo>
                <a:cubicBezTo>
                  <a:pt x="11492200" y="323382"/>
                  <a:pt x="11504904" y="310678"/>
                  <a:pt x="11521073" y="310678"/>
                </a:cubicBezTo>
                <a:close/>
                <a:moveTo>
                  <a:pt x="10369604" y="310678"/>
                </a:moveTo>
                <a:cubicBezTo>
                  <a:pt x="10385773" y="310678"/>
                  <a:pt x="10398477" y="323382"/>
                  <a:pt x="10398477" y="339551"/>
                </a:cubicBezTo>
                <a:cubicBezTo>
                  <a:pt x="10398477" y="355720"/>
                  <a:pt x="10385773" y="368425"/>
                  <a:pt x="10369604" y="368425"/>
                </a:cubicBezTo>
                <a:cubicBezTo>
                  <a:pt x="10353435" y="368425"/>
                  <a:pt x="10340730" y="355720"/>
                  <a:pt x="10340730" y="339551"/>
                </a:cubicBezTo>
                <a:cubicBezTo>
                  <a:pt x="10340730" y="323382"/>
                  <a:pt x="10353435" y="310678"/>
                  <a:pt x="10369604" y="310678"/>
                </a:cubicBezTo>
                <a:close/>
                <a:moveTo>
                  <a:pt x="9543825" y="310678"/>
                </a:moveTo>
                <a:cubicBezTo>
                  <a:pt x="9558840" y="310678"/>
                  <a:pt x="9572699" y="323382"/>
                  <a:pt x="9572699" y="339551"/>
                </a:cubicBezTo>
                <a:cubicBezTo>
                  <a:pt x="9572699" y="355720"/>
                  <a:pt x="9559995" y="368425"/>
                  <a:pt x="9543825" y="368425"/>
                </a:cubicBezTo>
                <a:cubicBezTo>
                  <a:pt x="9527656" y="368425"/>
                  <a:pt x="9514953" y="355720"/>
                  <a:pt x="9514953" y="339551"/>
                </a:cubicBezTo>
                <a:cubicBezTo>
                  <a:pt x="9514953" y="323382"/>
                  <a:pt x="9527656" y="310678"/>
                  <a:pt x="9543825" y="310678"/>
                </a:cubicBezTo>
                <a:close/>
                <a:moveTo>
                  <a:pt x="8422936" y="310678"/>
                </a:moveTo>
                <a:cubicBezTo>
                  <a:pt x="8439105" y="310678"/>
                  <a:pt x="8451809" y="323382"/>
                  <a:pt x="8451809" y="339551"/>
                </a:cubicBezTo>
                <a:cubicBezTo>
                  <a:pt x="8451809" y="355720"/>
                  <a:pt x="8439105" y="368425"/>
                  <a:pt x="8422936" y="368425"/>
                </a:cubicBezTo>
                <a:cubicBezTo>
                  <a:pt x="8406767" y="368425"/>
                  <a:pt x="8394062" y="355720"/>
                  <a:pt x="8394062" y="339551"/>
                </a:cubicBezTo>
                <a:cubicBezTo>
                  <a:pt x="8394062" y="323382"/>
                  <a:pt x="8406767" y="310678"/>
                  <a:pt x="8422936" y="310678"/>
                </a:cubicBezTo>
                <a:close/>
                <a:moveTo>
                  <a:pt x="6915746" y="310678"/>
                </a:moveTo>
                <a:cubicBezTo>
                  <a:pt x="6931915" y="310678"/>
                  <a:pt x="6944621" y="323382"/>
                  <a:pt x="6944621" y="339551"/>
                </a:cubicBezTo>
                <a:cubicBezTo>
                  <a:pt x="6944621" y="355720"/>
                  <a:pt x="6931915" y="368425"/>
                  <a:pt x="6915746" y="368425"/>
                </a:cubicBezTo>
                <a:cubicBezTo>
                  <a:pt x="6899578" y="368425"/>
                  <a:pt x="6886873" y="355720"/>
                  <a:pt x="6886873" y="339551"/>
                </a:cubicBezTo>
                <a:cubicBezTo>
                  <a:pt x="6886873" y="323382"/>
                  <a:pt x="6899578" y="310678"/>
                  <a:pt x="6915746" y="310678"/>
                </a:cubicBezTo>
                <a:close/>
                <a:moveTo>
                  <a:pt x="5764278" y="310678"/>
                </a:moveTo>
                <a:cubicBezTo>
                  <a:pt x="5780447" y="310678"/>
                  <a:pt x="5793151" y="323382"/>
                  <a:pt x="5793151" y="339551"/>
                </a:cubicBezTo>
                <a:cubicBezTo>
                  <a:pt x="5793151" y="355720"/>
                  <a:pt x="5780447" y="368425"/>
                  <a:pt x="5764278" y="368425"/>
                </a:cubicBezTo>
                <a:cubicBezTo>
                  <a:pt x="5748109" y="368425"/>
                  <a:pt x="5735405" y="355720"/>
                  <a:pt x="5735405" y="339551"/>
                </a:cubicBezTo>
                <a:cubicBezTo>
                  <a:pt x="5735405" y="323382"/>
                  <a:pt x="5748109" y="310678"/>
                  <a:pt x="5764278" y="310678"/>
                </a:cubicBezTo>
                <a:close/>
                <a:moveTo>
                  <a:pt x="4938500" y="310678"/>
                </a:moveTo>
                <a:cubicBezTo>
                  <a:pt x="4953513" y="310678"/>
                  <a:pt x="4967373" y="323382"/>
                  <a:pt x="4967373" y="339551"/>
                </a:cubicBezTo>
                <a:cubicBezTo>
                  <a:pt x="4967373" y="355720"/>
                  <a:pt x="4954668" y="368425"/>
                  <a:pt x="4938500" y="368425"/>
                </a:cubicBezTo>
                <a:cubicBezTo>
                  <a:pt x="4922331" y="368425"/>
                  <a:pt x="4909627" y="355720"/>
                  <a:pt x="4909627" y="339551"/>
                </a:cubicBezTo>
                <a:cubicBezTo>
                  <a:pt x="4909627" y="323382"/>
                  <a:pt x="4922331" y="310678"/>
                  <a:pt x="4938500" y="310678"/>
                </a:cubicBezTo>
                <a:close/>
                <a:moveTo>
                  <a:pt x="3810129" y="310678"/>
                </a:moveTo>
                <a:cubicBezTo>
                  <a:pt x="3826298" y="310678"/>
                  <a:pt x="3839002" y="323382"/>
                  <a:pt x="3839002" y="339551"/>
                </a:cubicBezTo>
                <a:cubicBezTo>
                  <a:pt x="3839002" y="355720"/>
                  <a:pt x="3826298" y="368425"/>
                  <a:pt x="3810129" y="368425"/>
                </a:cubicBezTo>
                <a:cubicBezTo>
                  <a:pt x="3793960" y="368425"/>
                  <a:pt x="3781255" y="355720"/>
                  <a:pt x="3781255" y="339551"/>
                </a:cubicBezTo>
                <a:cubicBezTo>
                  <a:pt x="3781255" y="323382"/>
                  <a:pt x="3793960" y="310678"/>
                  <a:pt x="3810129" y="310678"/>
                </a:cubicBezTo>
                <a:close/>
                <a:moveTo>
                  <a:pt x="2302939" y="310678"/>
                </a:moveTo>
                <a:cubicBezTo>
                  <a:pt x="2319108" y="310678"/>
                  <a:pt x="2331813" y="323382"/>
                  <a:pt x="2331813" y="339551"/>
                </a:cubicBezTo>
                <a:cubicBezTo>
                  <a:pt x="2331813" y="355720"/>
                  <a:pt x="2319108" y="368425"/>
                  <a:pt x="2302939" y="368425"/>
                </a:cubicBezTo>
                <a:cubicBezTo>
                  <a:pt x="2286771" y="368425"/>
                  <a:pt x="2274067" y="355720"/>
                  <a:pt x="2274067" y="339551"/>
                </a:cubicBezTo>
                <a:cubicBezTo>
                  <a:pt x="2274067" y="323382"/>
                  <a:pt x="2286771" y="310678"/>
                  <a:pt x="2302939" y="310678"/>
                </a:cubicBezTo>
                <a:close/>
                <a:moveTo>
                  <a:pt x="1151470" y="310678"/>
                </a:moveTo>
                <a:cubicBezTo>
                  <a:pt x="1167639" y="310678"/>
                  <a:pt x="1180343" y="323382"/>
                  <a:pt x="1180343" y="339551"/>
                </a:cubicBezTo>
                <a:cubicBezTo>
                  <a:pt x="1180343" y="355720"/>
                  <a:pt x="1167639" y="368425"/>
                  <a:pt x="1151470" y="368425"/>
                </a:cubicBezTo>
                <a:cubicBezTo>
                  <a:pt x="1135301" y="368425"/>
                  <a:pt x="1122596" y="355720"/>
                  <a:pt x="1122596" y="339551"/>
                </a:cubicBezTo>
                <a:cubicBezTo>
                  <a:pt x="1122596" y="323382"/>
                  <a:pt x="1135301" y="310678"/>
                  <a:pt x="1151470" y="310678"/>
                </a:cubicBezTo>
                <a:close/>
                <a:moveTo>
                  <a:pt x="325692" y="310678"/>
                </a:moveTo>
                <a:cubicBezTo>
                  <a:pt x="340706" y="310678"/>
                  <a:pt x="354566" y="323382"/>
                  <a:pt x="354566" y="339551"/>
                </a:cubicBezTo>
                <a:cubicBezTo>
                  <a:pt x="354566" y="355720"/>
                  <a:pt x="341861" y="368425"/>
                  <a:pt x="325692" y="368425"/>
                </a:cubicBezTo>
                <a:cubicBezTo>
                  <a:pt x="309523" y="368425"/>
                  <a:pt x="296819" y="355720"/>
                  <a:pt x="296819" y="339551"/>
                </a:cubicBezTo>
                <a:cubicBezTo>
                  <a:pt x="296819" y="323382"/>
                  <a:pt x="309523" y="310678"/>
                  <a:pt x="325692" y="310678"/>
                </a:cubicBezTo>
                <a:close/>
                <a:moveTo>
                  <a:pt x="11383636" y="304903"/>
                </a:moveTo>
                <a:cubicBezTo>
                  <a:pt x="11402115" y="304903"/>
                  <a:pt x="11418284" y="321072"/>
                  <a:pt x="11418284" y="339551"/>
                </a:cubicBezTo>
                <a:cubicBezTo>
                  <a:pt x="11418284" y="358030"/>
                  <a:pt x="11403270" y="374199"/>
                  <a:pt x="11383636" y="374199"/>
                </a:cubicBezTo>
                <a:cubicBezTo>
                  <a:pt x="11365157" y="374199"/>
                  <a:pt x="11348988" y="358030"/>
                  <a:pt x="11348988" y="339551"/>
                </a:cubicBezTo>
                <a:cubicBezTo>
                  <a:pt x="11348988" y="321072"/>
                  <a:pt x="11364002" y="304903"/>
                  <a:pt x="11383636" y="304903"/>
                </a:cubicBezTo>
                <a:close/>
                <a:moveTo>
                  <a:pt x="10811943" y="304903"/>
                </a:moveTo>
                <a:cubicBezTo>
                  <a:pt x="10830422" y="304903"/>
                  <a:pt x="10846591" y="321072"/>
                  <a:pt x="10846591" y="339551"/>
                </a:cubicBezTo>
                <a:cubicBezTo>
                  <a:pt x="10846591" y="358030"/>
                  <a:pt x="10831578" y="374199"/>
                  <a:pt x="10811943" y="374199"/>
                </a:cubicBezTo>
                <a:cubicBezTo>
                  <a:pt x="10793464" y="374199"/>
                  <a:pt x="10777295" y="358030"/>
                  <a:pt x="10777295" y="339551"/>
                </a:cubicBezTo>
                <a:cubicBezTo>
                  <a:pt x="10777295" y="321072"/>
                  <a:pt x="10792310" y="304903"/>
                  <a:pt x="10811943" y="304903"/>
                </a:cubicBezTo>
                <a:close/>
                <a:moveTo>
                  <a:pt x="10232166" y="304903"/>
                </a:moveTo>
                <a:cubicBezTo>
                  <a:pt x="10251801" y="304903"/>
                  <a:pt x="10266814" y="321072"/>
                  <a:pt x="10266814" y="339551"/>
                </a:cubicBezTo>
                <a:cubicBezTo>
                  <a:pt x="10266814" y="358030"/>
                  <a:pt x="10250645" y="374199"/>
                  <a:pt x="10232166" y="374199"/>
                </a:cubicBezTo>
                <a:cubicBezTo>
                  <a:pt x="10213687" y="374199"/>
                  <a:pt x="10197518" y="358030"/>
                  <a:pt x="10197518" y="339551"/>
                </a:cubicBezTo>
                <a:cubicBezTo>
                  <a:pt x="10197518" y="321072"/>
                  <a:pt x="10212533" y="304903"/>
                  <a:pt x="10232166" y="304903"/>
                </a:cubicBezTo>
                <a:close/>
                <a:moveTo>
                  <a:pt x="9681263" y="304903"/>
                </a:moveTo>
                <a:cubicBezTo>
                  <a:pt x="9700896" y="304903"/>
                  <a:pt x="9715911" y="321072"/>
                  <a:pt x="9715911" y="339551"/>
                </a:cubicBezTo>
                <a:cubicBezTo>
                  <a:pt x="9715911" y="358030"/>
                  <a:pt x="9699742" y="374199"/>
                  <a:pt x="9681263" y="374199"/>
                </a:cubicBezTo>
                <a:cubicBezTo>
                  <a:pt x="9662784" y="374199"/>
                  <a:pt x="9646615" y="358030"/>
                  <a:pt x="9646615" y="339551"/>
                </a:cubicBezTo>
                <a:cubicBezTo>
                  <a:pt x="9646615" y="321072"/>
                  <a:pt x="9661629" y="304903"/>
                  <a:pt x="9681263" y="304903"/>
                </a:cubicBezTo>
                <a:close/>
                <a:moveTo>
                  <a:pt x="9112431" y="304903"/>
                </a:moveTo>
                <a:cubicBezTo>
                  <a:pt x="9130910" y="304903"/>
                  <a:pt x="9147079" y="321072"/>
                  <a:pt x="9147079" y="339551"/>
                </a:cubicBezTo>
                <a:cubicBezTo>
                  <a:pt x="9147079" y="358030"/>
                  <a:pt x="9132065" y="374199"/>
                  <a:pt x="9112431" y="374199"/>
                </a:cubicBezTo>
                <a:cubicBezTo>
                  <a:pt x="9093952" y="374199"/>
                  <a:pt x="9077783" y="358030"/>
                  <a:pt x="9077783" y="339551"/>
                </a:cubicBezTo>
                <a:cubicBezTo>
                  <a:pt x="9077783" y="321072"/>
                  <a:pt x="9092798" y="304903"/>
                  <a:pt x="9112431" y="304903"/>
                </a:cubicBezTo>
                <a:close/>
                <a:moveTo>
                  <a:pt x="8561528" y="304903"/>
                </a:moveTo>
                <a:cubicBezTo>
                  <a:pt x="8580007" y="304903"/>
                  <a:pt x="8596176" y="321072"/>
                  <a:pt x="8596176" y="339551"/>
                </a:cubicBezTo>
                <a:cubicBezTo>
                  <a:pt x="8596176" y="358030"/>
                  <a:pt x="8581161" y="374199"/>
                  <a:pt x="8561528" y="374199"/>
                </a:cubicBezTo>
                <a:cubicBezTo>
                  <a:pt x="8543049" y="374199"/>
                  <a:pt x="8526880" y="358030"/>
                  <a:pt x="8526880" y="339551"/>
                </a:cubicBezTo>
                <a:cubicBezTo>
                  <a:pt x="8526880" y="321072"/>
                  <a:pt x="8541893" y="304903"/>
                  <a:pt x="8561528" y="304903"/>
                </a:cubicBezTo>
                <a:close/>
                <a:moveTo>
                  <a:pt x="6778310" y="304903"/>
                </a:moveTo>
                <a:cubicBezTo>
                  <a:pt x="6796790" y="304903"/>
                  <a:pt x="6812959" y="321072"/>
                  <a:pt x="6812959" y="339551"/>
                </a:cubicBezTo>
                <a:cubicBezTo>
                  <a:pt x="6812959" y="358030"/>
                  <a:pt x="6796790" y="374199"/>
                  <a:pt x="6778310" y="374199"/>
                </a:cubicBezTo>
                <a:cubicBezTo>
                  <a:pt x="6759831" y="374199"/>
                  <a:pt x="6743662" y="358030"/>
                  <a:pt x="6743662" y="339551"/>
                </a:cubicBezTo>
                <a:cubicBezTo>
                  <a:pt x="6743662" y="321072"/>
                  <a:pt x="6758675" y="304903"/>
                  <a:pt x="6778310" y="304903"/>
                </a:cubicBezTo>
                <a:close/>
                <a:moveTo>
                  <a:pt x="6206618" y="304903"/>
                </a:moveTo>
                <a:cubicBezTo>
                  <a:pt x="6225097" y="304903"/>
                  <a:pt x="6241265" y="321072"/>
                  <a:pt x="6241265" y="339551"/>
                </a:cubicBezTo>
                <a:cubicBezTo>
                  <a:pt x="6241265" y="358030"/>
                  <a:pt x="6226251" y="374199"/>
                  <a:pt x="6206618" y="374199"/>
                </a:cubicBezTo>
                <a:cubicBezTo>
                  <a:pt x="6188138" y="374199"/>
                  <a:pt x="6171969" y="358030"/>
                  <a:pt x="6171969" y="339551"/>
                </a:cubicBezTo>
                <a:cubicBezTo>
                  <a:pt x="6171969" y="321072"/>
                  <a:pt x="6186984" y="304903"/>
                  <a:pt x="6206618" y="304903"/>
                </a:cubicBezTo>
                <a:close/>
                <a:moveTo>
                  <a:pt x="5626840" y="304903"/>
                </a:moveTo>
                <a:cubicBezTo>
                  <a:pt x="5646475" y="304903"/>
                  <a:pt x="5661488" y="321072"/>
                  <a:pt x="5661488" y="339551"/>
                </a:cubicBezTo>
                <a:cubicBezTo>
                  <a:pt x="5661488" y="358030"/>
                  <a:pt x="5646475" y="374199"/>
                  <a:pt x="5626840" y="374199"/>
                </a:cubicBezTo>
                <a:cubicBezTo>
                  <a:pt x="5608360" y="374199"/>
                  <a:pt x="5592192" y="358030"/>
                  <a:pt x="5592192" y="339551"/>
                </a:cubicBezTo>
                <a:cubicBezTo>
                  <a:pt x="5592192" y="321072"/>
                  <a:pt x="5607207" y="304903"/>
                  <a:pt x="5626840" y="304903"/>
                </a:cubicBezTo>
                <a:close/>
                <a:moveTo>
                  <a:pt x="5075938" y="304903"/>
                </a:moveTo>
                <a:cubicBezTo>
                  <a:pt x="5095571" y="304903"/>
                  <a:pt x="5110584" y="321072"/>
                  <a:pt x="5110584" y="339551"/>
                </a:cubicBezTo>
                <a:cubicBezTo>
                  <a:pt x="5110584" y="358030"/>
                  <a:pt x="5095571" y="374199"/>
                  <a:pt x="5075938" y="374199"/>
                </a:cubicBezTo>
                <a:cubicBezTo>
                  <a:pt x="5057458" y="374199"/>
                  <a:pt x="5041289" y="358030"/>
                  <a:pt x="5041289" y="339551"/>
                </a:cubicBezTo>
                <a:cubicBezTo>
                  <a:pt x="5041289" y="321072"/>
                  <a:pt x="5056302" y="304903"/>
                  <a:pt x="5075938" y="304903"/>
                </a:cubicBezTo>
                <a:close/>
                <a:moveTo>
                  <a:pt x="4499625" y="304903"/>
                </a:moveTo>
                <a:cubicBezTo>
                  <a:pt x="4518102" y="304903"/>
                  <a:pt x="4534273" y="321072"/>
                  <a:pt x="4534273" y="339551"/>
                </a:cubicBezTo>
                <a:cubicBezTo>
                  <a:pt x="4534273" y="358030"/>
                  <a:pt x="4519258" y="374199"/>
                  <a:pt x="4499625" y="374199"/>
                </a:cubicBezTo>
                <a:cubicBezTo>
                  <a:pt x="4481145" y="374199"/>
                  <a:pt x="4464976" y="358030"/>
                  <a:pt x="4464976" y="339551"/>
                </a:cubicBezTo>
                <a:cubicBezTo>
                  <a:pt x="4464976" y="321072"/>
                  <a:pt x="4479992" y="304903"/>
                  <a:pt x="4499625" y="304903"/>
                </a:cubicBezTo>
                <a:close/>
                <a:moveTo>
                  <a:pt x="3948721" y="304903"/>
                </a:moveTo>
                <a:cubicBezTo>
                  <a:pt x="3967200" y="304903"/>
                  <a:pt x="3983369" y="321072"/>
                  <a:pt x="3983369" y="339551"/>
                </a:cubicBezTo>
                <a:cubicBezTo>
                  <a:pt x="3983369" y="358030"/>
                  <a:pt x="3968354" y="374199"/>
                  <a:pt x="3948721" y="374199"/>
                </a:cubicBezTo>
                <a:cubicBezTo>
                  <a:pt x="3930243" y="374199"/>
                  <a:pt x="3914073" y="358030"/>
                  <a:pt x="3914073" y="339551"/>
                </a:cubicBezTo>
                <a:cubicBezTo>
                  <a:pt x="3914073" y="321072"/>
                  <a:pt x="3929086" y="304903"/>
                  <a:pt x="3948721" y="304903"/>
                </a:cubicBezTo>
                <a:close/>
                <a:moveTo>
                  <a:pt x="2165502" y="304903"/>
                </a:moveTo>
                <a:cubicBezTo>
                  <a:pt x="2183981" y="304903"/>
                  <a:pt x="2200150" y="321072"/>
                  <a:pt x="2200150" y="339551"/>
                </a:cubicBezTo>
                <a:cubicBezTo>
                  <a:pt x="2200150" y="358030"/>
                  <a:pt x="2185137" y="374199"/>
                  <a:pt x="2165502" y="374199"/>
                </a:cubicBezTo>
                <a:cubicBezTo>
                  <a:pt x="2147023" y="374199"/>
                  <a:pt x="2130854" y="358030"/>
                  <a:pt x="2130854" y="339551"/>
                </a:cubicBezTo>
                <a:cubicBezTo>
                  <a:pt x="2130854" y="321072"/>
                  <a:pt x="2145868" y="304903"/>
                  <a:pt x="2165502" y="304903"/>
                </a:cubicBezTo>
                <a:close/>
                <a:moveTo>
                  <a:pt x="1593810" y="304903"/>
                </a:moveTo>
                <a:cubicBezTo>
                  <a:pt x="1612288" y="304903"/>
                  <a:pt x="1628457" y="321072"/>
                  <a:pt x="1628457" y="339551"/>
                </a:cubicBezTo>
                <a:cubicBezTo>
                  <a:pt x="1628457" y="358030"/>
                  <a:pt x="1613444" y="374199"/>
                  <a:pt x="1593810" y="374199"/>
                </a:cubicBezTo>
                <a:cubicBezTo>
                  <a:pt x="1575330" y="374199"/>
                  <a:pt x="1559161" y="358030"/>
                  <a:pt x="1559161" y="339551"/>
                </a:cubicBezTo>
                <a:cubicBezTo>
                  <a:pt x="1559161" y="321072"/>
                  <a:pt x="1574176" y="304903"/>
                  <a:pt x="1593810" y="304903"/>
                </a:cubicBezTo>
                <a:close/>
                <a:moveTo>
                  <a:pt x="1014032" y="304903"/>
                </a:moveTo>
                <a:cubicBezTo>
                  <a:pt x="1033667" y="304903"/>
                  <a:pt x="1048681" y="321072"/>
                  <a:pt x="1048681" y="339551"/>
                </a:cubicBezTo>
                <a:cubicBezTo>
                  <a:pt x="1048681" y="358030"/>
                  <a:pt x="1032511" y="374199"/>
                  <a:pt x="1014032" y="374199"/>
                </a:cubicBezTo>
                <a:cubicBezTo>
                  <a:pt x="995554" y="374199"/>
                  <a:pt x="979384" y="358030"/>
                  <a:pt x="979384" y="339551"/>
                </a:cubicBezTo>
                <a:cubicBezTo>
                  <a:pt x="979384" y="321072"/>
                  <a:pt x="994399" y="304903"/>
                  <a:pt x="1014032" y="304903"/>
                </a:cubicBezTo>
                <a:close/>
                <a:moveTo>
                  <a:pt x="463129" y="304903"/>
                </a:moveTo>
                <a:cubicBezTo>
                  <a:pt x="482763" y="304903"/>
                  <a:pt x="497778" y="321072"/>
                  <a:pt x="497778" y="339551"/>
                </a:cubicBezTo>
                <a:cubicBezTo>
                  <a:pt x="497778" y="358030"/>
                  <a:pt x="481608" y="374199"/>
                  <a:pt x="463129" y="374199"/>
                </a:cubicBezTo>
                <a:cubicBezTo>
                  <a:pt x="444651" y="374199"/>
                  <a:pt x="428481" y="358030"/>
                  <a:pt x="428481" y="339551"/>
                </a:cubicBezTo>
                <a:cubicBezTo>
                  <a:pt x="428481" y="321072"/>
                  <a:pt x="443495" y="304903"/>
                  <a:pt x="463129" y="304903"/>
                </a:cubicBezTo>
                <a:close/>
                <a:moveTo>
                  <a:pt x="11245044" y="299129"/>
                </a:moveTo>
                <a:cubicBezTo>
                  <a:pt x="11268143" y="299129"/>
                  <a:pt x="11285466" y="317608"/>
                  <a:pt x="11285466" y="339551"/>
                </a:cubicBezTo>
                <a:cubicBezTo>
                  <a:pt x="11285466" y="361495"/>
                  <a:pt x="11266987" y="379974"/>
                  <a:pt x="11245044" y="379974"/>
                </a:cubicBezTo>
                <a:cubicBezTo>
                  <a:pt x="11223100" y="379974"/>
                  <a:pt x="11204621" y="361495"/>
                  <a:pt x="11204621" y="339551"/>
                </a:cubicBezTo>
                <a:cubicBezTo>
                  <a:pt x="11204621" y="317608"/>
                  <a:pt x="11223100" y="299129"/>
                  <a:pt x="11245044" y="299129"/>
                </a:cubicBezTo>
                <a:close/>
                <a:moveTo>
                  <a:pt x="10970170" y="299129"/>
                </a:moveTo>
                <a:cubicBezTo>
                  <a:pt x="10992113" y="299129"/>
                  <a:pt x="11010592" y="317608"/>
                  <a:pt x="11010592" y="339551"/>
                </a:cubicBezTo>
                <a:cubicBezTo>
                  <a:pt x="11010592" y="361495"/>
                  <a:pt x="10992113" y="379974"/>
                  <a:pt x="10970170" y="379974"/>
                </a:cubicBezTo>
                <a:cubicBezTo>
                  <a:pt x="10948226" y="379974"/>
                  <a:pt x="10929746" y="361495"/>
                  <a:pt x="10929746" y="339551"/>
                </a:cubicBezTo>
                <a:cubicBezTo>
                  <a:pt x="10929746" y="317608"/>
                  <a:pt x="10948226" y="299129"/>
                  <a:pt x="10970170" y="299129"/>
                </a:cubicBezTo>
                <a:close/>
                <a:moveTo>
                  <a:pt x="10094730" y="299129"/>
                </a:moveTo>
                <a:cubicBezTo>
                  <a:pt x="10116673" y="299129"/>
                  <a:pt x="10135152" y="317608"/>
                  <a:pt x="10135152" y="339551"/>
                </a:cubicBezTo>
                <a:cubicBezTo>
                  <a:pt x="10135152" y="361495"/>
                  <a:pt x="10116673" y="379974"/>
                  <a:pt x="10094730" y="379974"/>
                </a:cubicBezTo>
                <a:cubicBezTo>
                  <a:pt x="10072785" y="379974"/>
                  <a:pt x="10054306" y="361495"/>
                  <a:pt x="10054306" y="339551"/>
                </a:cubicBezTo>
                <a:cubicBezTo>
                  <a:pt x="10054306" y="317608"/>
                  <a:pt x="10072785" y="299129"/>
                  <a:pt x="10094730" y="299129"/>
                </a:cubicBezTo>
                <a:close/>
                <a:moveTo>
                  <a:pt x="9818700" y="299129"/>
                </a:moveTo>
                <a:cubicBezTo>
                  <a:pt x="9841798" y="299129"/>
                  <a:pt x="9859123" y="318762"/>
                  <a:pt x="9859123" y="340706"/>
                </a:cubicBezTo>
                <a:cubicBezTo>
                  <a:pt x="9859123" y="362649"/>
                  <a:pt x="9840644" y="381128"/>
                  <a:pt x="9818700" y="381128"/>
                </a:cubicBezTo>
                <a:cubicBezTo>
                  <a:pt x="9796757" y="381128"/>
                  <a:pt x="9778278" y="361495"/>
                  <a:pt x="9778278" y="339551"/>
                </a:cubicBezTo>
                <a:cubicBezTo>
                  <a:pt x="9778278" y="317608"/>
                  <a:pt x="9796757" y="299129"/>
                  <a:pt x="9818700" y="299129"/>
                </a:cubicBezTo>
                <a:close/>
                <a:moveTo>
                  <a:pt x="8974994" y="299129"/>
                </a:moveTo>
                <a:cubicBezTo>
                  <a:pt x="8996938" y="299129"/>
                  <a:pt x="9015416" y="317608"/>
                  <a:pt x="9015416" y="339551"/>
                </a:cubicBezTo>
                <a:cubicBezTo>
                  <a:pt x="9015416" y="361495"/>
                  <a:pt x="8996938" y="379974"/>
                  <a:pt x="8974994" y="379974"/>
                </a:cubicBezTo>
                <a:cubicBezTo>
                  <a:pt x="8953050" y="379974"/>
                  <a:pt x="8934571" y="361495"/>
                  <a:pt x="8934571" y="339551"/>
                </a:cubicBezTo>
                <a:cubicBezTo>
                  <a:pt x="8934571" y="317608"/>
                  <a:pt x="8953050" y="299129"/>
                  <a:pt x="8974994" y="299129"/>
                </a:cubicBezTo>
                <a:close/>
                <a:moveTo>
                  <a:pt x="8698965" y="299129"/>
                </a:moveTo>
                <a:cubicBezTo>
                  <a:pt x="8720909" y="299129"/>
                  <a:pt x="8739388" y="317608"/>
                  <a:pt x="8739388" y="339551"/>
                </a:cubicBezTo>
                <a:cubicBezTo>
                  <a:pt x="8739388" y="361495"/>
                  <a:pt x="8720909" y="379974"/>
                  <a:pt x="8698965" y="379974"/>
                </a:cubicBezTo>
                <a:cubicBezTo>
                  <a:pt x="8677021" y="379974"/>
                  <a:pt x="8658542" y="361495"/>
                  <a:pt x="8658542" y="339551"/>
                </a:cubicBezTo>
                <a:cubicBezTo>
                  <a:pt x="8658542" y="317608"/>
                  <a:pt x="8677021" y="299129"/>
                  <a:pt x="8698965" y="299129"/>
                </a:cubicBezTo>
                <a:close/>
                <a:moveTo>
                  <a:pt x="6639717" y="299129"/>
                </a:moveTo>
                <a:cubicBezTo>
                  <a:pt x="6662817" y="299129"/>
                  <a:pt x="6680139" y="317608"/>
                  <a:pt x="6680139" y="339551"/>
                </a:cubicBezTo>
                <a:cubicBezTo>
                  <a:pt x="6680139" y="361495"/>
                  <a:pt x="6661661" y="379974"/>
                  <a:pt x="6639717" y="379974"/>
                </a:cubicBezTo>
                <a:cubicBezTo>
                  <a:pt x="6617773" y="379974"/>
                  <a:pt x="6599295" y="361495"/>
                  <a:pt x="6599295" y="339551"/>
                </a:cubicBezTo>
                <a:cubicBezTo>
                  <a:pt x="6599295" y="317608"/>
                  <a:pt x="6617773" y="299129"/>
                  <a:pt x="6639717" y="299129"/>
                </a:cubicBezTo>
                <a:close/>
                <a:moveTo>
                  <a:pt x="6364844" y="299129"/>
                </a:moveTo>
                <a:cubicBezTo>
                  <a:pt x="6386786" y="299129"/>
                  <a:pt x="6405265" y="317608"/>
                  <a:pt x="6405265" y="339551"/>
                </a:cubicBezTo>
                <a:cubicBezTo>
                  <a:pt x="6405265" y="361495"/>
                  <a:pt x="6386786" y="379974"/>
                  <a:pt x="6364844" y="379974"/>
                </a:cubicBezTo>
                <a:cubicBezTo>
                  <a:pt x="6342899" y="379974"/>
                  <a:pt x="6324420" y="361495"/>
                  <a:pt x="6324420" y="339551"/>
                </a:cubicBezTo>
                <a:cubicBezTo>
                  <a:pt x="6324420" y="317608"/>
                  <a:pt x="6342899" y="299129"/>
                  <a:pt x="6364844" y="299129"/>
                </a:cubicBezTo>
                <a:close/>
                <a:moveTo>
                  <a:pt x="5489404" y="299129"/>
                </a:moveTo>
                <a:cubicBezTo>
                  <a:pt x="5511346" y="299129"/>
                  <a:pt x="5529826" y="317608"/>
                  <a:pt x="5529826" y="339551"/>
                </a:cubicBezTo>
                <a:cubicBezTo>
                  <a:pt x="5529826" y="361495"/>
                  <a:pt x="5511346" y="379974"/>
                  <a:pt x="5489404" y="379974"/>
                </a:cubicBezTo>
                <a:cubicBezTo>
                  <a:pt x="5467460" y="379974"/>
                  <a:pt x="5448980" y="361495"/>
                  <a:pt x="5448980" y="339551"/>
                </a:cubicBezTo>
                <a:cubicBezTo>
                  <a:pt x="5448980" y="317608"/>
                  <a:pt x="5467460" y="299129"/>
                  <a:pt x="5489404" y="299129"/>
                </a:cubicBezTo>
                <a:close/>
                <a:moveTo>
                  <a:pt x="5213373" y="299129"/>
                </a:moveTo>
                <a:cubicBezTo>
                  <a:pt x="5236473" y="299129"/>
                  <a:pt x="5253797" y="317608"/>
                  <a:pt x="5253797" y="339551"/>
                </a:cubicBezTo>
                <a:cubicBezTo>
                  <a:pt x="5253797" y="361495"/>
                  <a:pt x="5235319" y="379974"/>
                  <a:pt x="5213373" y="379974"/>
                </a:cubicBezTo>
                <a:cubicBezTo>
                  <a:pt x="5191431" y="379974"/>
                  <a:pt x="5172952" y="361495"/>
                  <a:pt x="5172952" y="339551"/>
                </a:cubicBezTo>
                <a:cubicBezTo>
                  <a:pt x="5172952" y="317608"/>
                  <a:pt x="5191431" y="299129"/>
                  <a:pt x="5213373" y="299129"/>
                </a:cubicBezTo>
                <a:close/>
                <a:moveTo>
                  <a:pt x="4361031" y="299129"/>
                </a:moveTo>
                <a:cubicBezTo>
                  <a:pt x="4384131" y="299129"/>
                  <a:pt x="4401455" y="317608"/>
                  <a:pt x="4401455" y="339551"/>
                </a:cubicBezTo>
                <a:cubicBezTo>
                  <a:pt x="4401455" y="361495"/>
                  <a:pt x="4382977" y="379974"/>
                  <a:pt x="4361031" y="379974"/>
                </a:cubicBezTo>
                <a:cubicBezTo>
                  <a:pt x="4339089" y="379974"/>
                  <a:pt x="4320610" y="361495"/>
                  <a:pt x="4320610" y="339551"/>
                </a:cubicBezTo>
                <a:cubicBezTo>
                  <a:pt x="4320610" y="317608"/>
                  <a:pt x="4339089" y="299129"/>
                  <a:pt x="4361031" y="299129"/>
                </a:cubicBezTo>
                <a:close/>
                <a:moveTo>
                  <a:pt x="4086158" y="299129"/>
                </a:moveTo>
                <a:cubicBezTo>
                  <a:pt x="4108102" y="299129"/>
                  <a:pt x="4126582" y="317608"/>
                  <a:pt x="4126582" y="339551"/>
                </a:cubicBezTo>
                <a:cubicBezTo>
                  <a:pt x="4126582" y="361495"/>
                  <a:pt x="4108102" y="379974"/>
                  <a:pt x="4086158" y="379974"/>
                </a:cubicBezTo>
                <a:cubicBezTo>
                  <a:pt x="4064214" y="379974"/>
                  <a:pt x="4045735" y="361495"/>
                  <a:pt x="4045735" y="339551"/>
                </a:cubicBezTo>
                <a:cubicBezTo>
                  <a:pt x="4045735" y="317608"/>
                  <a:pt x="4064214" y="299129"/>
                  <a:pt x="4086158" y="299129"/>
                </a:cubicBezTo>
                <a:close/>
                <a:moveTo>
                  <a:pt x="2026910" y="299129"/>
                </a:moveTo>
                <a:cubicBezTo>
                  <a:pt x="2050009" y="299129"/>
                  <a:pt x="2067332" y="317608"/>
                  <a:pt x="2067332" y="339551"/>
                </a:cubicBezTo>
                <a:cubicBezTo>
                  <a:pt x="2067332" y="361495"/>
                  <a:pt x="2048854" y="379974"/>
                  <a:pt x="2026910" y="379974"/>
                </a:cubicBezTo>
                <a:cubicBezTo>
                  <a:pt x="2004966" y="379974"/>
                  <a:pt x="1986487" y="361495"/>
                  <a:pt x="1986487" y="339551"/>
                </a:cubicBezTo>
                <a:cubicBezTo>
                  <a:pt x="1986487" y="317608"/>
                  <a:pt x="2004966" y="299129"/>
                  <a:pt x="2026910" y="299129"/>
                </a:cubicBezTo>
                <a:close/>
                <a:moveTo>
                  <a:pt x="1752036" y="299129"/>
                </a:moveTo>
                <a:cubicBezTo>
                  <a:pt x="1773979" y="299129"/>
                  <a:pt x="1792458" y="317608"/>
                  <a:pt x="1792458" y="339551"/>
                </a:cubicBezTo>
                <a:cubicBezTo>
                  <a:pt x="1792458" y="361495"/>
                  <a:pt x="1773979" y="379974"/>
                  <a:pt x="1752036" y="379974"/>
                </a:cubicBezTo>
                <a:cubicBezTo>
                  <a:pt x="1730092" y="379974"/>
                  <a:pt x="1711613" y="361495"/>
                  <a:pt x="1711613" y="339551"/>
                </a:cubicBezTo>
                <a:cubicBezTo>
                  <a:pt x="1711613" y="317608"/>
                  <a:pt x="1730092" y="299129"/>
                  <a:pt x="1752036" y="299129"/>
                </a:cubicBezTo>
                <a:close/>
                <a:moveTo>
                  <a:pt x="876596" y="299129"/>
                </a:moveTo>
                <a:cubicBezTo>
                  <a:pt x="898539" y="299129"/>
                  <a:pt x="917018" y="317608"/>
                  <a:pt x="917018" y="339551"/>
                </a:cubicBezTo>
                <a:cubicBezTo>
                  <a:pt x="917018" y="361495"/>
                  <a:pt x="898539" y="379974"/>
                  <a:pt x="876596" y="379974"/>
                </a:cubicBezTo>
                <a:cubicBezTo>
                  <a:pt x="854652" y="379974"/>
                  <a:pt x="836172" y="361495"/>
                  <a:pt x="836172" y="339551"/>
                </a:cubicBezTo>
                <a:cubicBezTo>
                  <a:pt x="836172" y="317608"/>
                  <a:pt x="854652" y="299129"/>
                  <a:pt x="876596" y="299129"/>
                </a:cubicBezTo>
                <a:close/>
                <a:moveTo>
                  <a:pt x="600566" y="299129"/>
                </a:moveTo>
                <a:cubicBezTo>
                  <a:pt x="623665" y="299129"/>
                  <a:pt x="640989" y="318762"/>
                  <a:pt x="640989" y="340706"/>
                </a:cubicBezTo>
                <a:cubicBezTo>
                  <a:pt x="640989" y="362649"/>
                  <a:pt x="622510" y="381128"/>
                  <a:pt x="600566" y="381128"/>
                </a:cubicBezTo>
                <a:cubicBezTo>
                  <a:pt x="578623" y="381128"/>
                  <a:pt x="560144" y="361495"/>
                  <a:pt x="560144" y="339551"/>
                </a:cubicBezTo>
                <a:cubicBezTo>
                  <a:pt x="560144" y="317608"/>
                  <a:pt x="578623" y="299129"/>
                  <a:pt x="600566" y="299129"/>
                </a:cubicBezTo>
                <a:close/>
                <a:moveTo>
                  <a:pt x="11107606" y="288734"/>
                </a:moveTo>
                <a:cubicBezTo>
                  <a:pt x="11136480" y="288734"/>
                  <a:pt x="11158424" y="311832"/>
                  <a:pt x="11158424" y="339551"/>
                </a:cubicBezTo>
                <a:cubicBezTo>
                  <a:pt x="11158424" y="367269"/>
                  <a:pt x="11136480" y="390368"/>
                  <a:pt x="11107606" y="390368"/>
                </a:cubicBezTo>
                <a:cubicBezTo>
                  <a:pt x="11079888" y="390368"/>
                  <a:pt x="11056789" y="367269"/>
                  <a:pt x="11056789" y="339551"/>
                </a:cubicBezTo>
                <a:cubicBezTo>
                  <a:pt x="11056789" y="311832"/>
                  <a:pt x="11078734" y="288734"/>
                  <a:pt x="11107606" y="288734"/>
                </a:cubicBezTo>
                <a:close/>
                <a:moveTo>
                  <a:pt x="9957292" y="288734"/>
                </a:moveTo>
                <a:cubicBezTo>
                  <a:pt x="9985010" y="288734"/>
                  <a:pt x="10008109" y="311832"/>
                  <a:pt x="10008109" y="339551"/>
                </a:cubicBezTo>
                <a:cubicBezTo>
                  <a:pt x="10008109" y="367269"/>
                  <a:pt x="9985010" y="390368"/>
                  <a:pt x="9957292" y="390368"/>
                </a:cubicBezTo>
                <a:cubicBezTo>
                  <a:pt x="9929574" y="390368"/>
                  <a:pt x="9906475" y="367269"/>
                  <a:pt x="9906475" y="339551"/>
                </a:cubicBezTo>
                <a:cubicBezTo>
                  <a:pt x="9906475" y="311832"/>
                  <a:pt x="9928419" y="288734"/>
                  <a:pt x="9957292" y="288734"/>
                </a:cubicBezTo>
                <a:close/>
                <a:moveTo>
                  <a:pt x="8836402" y="288734"/>
                </a:moveTo>
                <a:cubicBezTo>
                  <a:pt x="8865275" y="288734"/>
                  <a:pt x="8887219" y="311832"/>
                  <a:pt x="8887219" y="339551"/>
                </a:cubicBezTo>
                <a:cubicBezTo>
                  <a:pt x="8887219" y="367269"/>
                  <a:pt x="8864121" y="390368"/>
                  <a:pt x="8836402" y="390368"/>
                </a:cubicBezTo>
                <a:cubicBezTo>
                  <a:pt x="8808684" y="390368"/>
                  <a:pt x="8785585" y="367269"/>
                  <a:pt x="8785585" y="339551"/>
                </a:cubicBezTo>
                <a:cubicBezTo>
                  <a:pt x="8785585" y="311832"/>
                  <a:pt x="8807528" y="288734"/>
                  <a:pt x="8836402" y="288734"/>
                </a:cubicBezTo>
                <a:close/>
                <a:moveTo>
                  <a:pt x="6502281" y="288734"/>
                </a:moveTo>
                <a:cubicBezTo>
                  <a:pt x="6531154" y="288734"/>
                  <a:pt x="6553098" y="311832"/>
                  <a:pt x="6553098" y="339551"/>
                </a:cubicBezTo>
                <a:cubicBezTo>
                  <a:pt x="6553098" y="367269"/>
                  <a:pt x="6531154" y="390368"/>
                  <a:pt x="6502281" y="390368"/>
                </a:cubicBezTo>
                <a:cubicBezTo>
                  <a:pt x="6474562" y="390368"/>
                  <a:pt x="6451462" y="367269"/>
                  <a:pt x="6451462" y="339551"/>
                </a:cubicBezTo>
                <a:cubicBezTo>
                  <a:pt x="6451462" y="311832"/>
                  <a:pt x="6473407" y="288734"/>
                  <a:pt x="6502281" y="288734"/>
                </a:cubicBezTo>
                <a:close/>
                <a:moveTo>
                  <a:pt x="5351966" y="288734"/>
                </a:moveTo>
                <a:cubicBezTo>
                  <a:pt x="5379684" y="288734"/>
                  <a:pt x="5402784" y="311832"/>
                  <a:pt x="5402784" y="339551"/>
                </a:cubicBezTo>
                <a:cubicBezTo>
                  <a:pt x="5402784" y="367269"/>
                  <a:pt x="5380840" y="390368"/>
                  <a:pt x="5351966" y="390368"/>
                </a:cubicBezTo>
                <a:cubicBezTo>
                  <a:pt x="5324247" y="390368"/>
                  <a:pt x="5301149" y="367269"/>
                  <a:pt x="5301149" y="339551"/>
                </a:cubicBezTo>
                <a:cubicBezTo>
                  <a:pt x="5301149" y="311832"/>
                  <a:pt x="5323094" y="288734"/>
                  <a:pt x="5351966" y="288734"/>
                </a:cubicBezTo>
                <a:close/>
                <a:moveTo>
                  <a:pt x="4223596" y="288734"/>
                </a:moveTo>
                <a:cubicBezTo>
                  <a:pt x="4252468" y="288734"/>
                  <a:pt x="4274413" y="311832"/>
                  <a:pt x="4274413" y="339551"/>
                </a:cubicBezTo>
                <a:cubicBezTo>
                  <a:pt x="4274413" y="367269"/>
                  <a:pt x="4251315" y="390368"/>
                  <a:pt x="4223596" y="390368"/>
                </a:cubicBezTo>
                <a:cubicBezTo>
                  <a:pt x="4195877" y="390368"/>
                  <a:pt x="4172779" y="367269"/>
                  <a:pt x="4172779" y="339551"/>
                </a:cubicBezTo>
                <a:cubicBezTo>
                  <a:pt x="4172779" y="311832"/>
                  <a:pt x="4194721" y="288734"/>
                  <a:pt x="4223596" y="288734"/>
                </a:cubicBezTo>
                <a:close/>
                <a:moveTo>
                  <a:pt x="1889473" y="288734"/>
                </a:moveTo>
                <a:cubicBezTo>
                  <a:pt x="1918346" y="288734"/>
                  <a:pt x="1940290" y="311832"/>
                  <a:pt x="1940290" y="339551"/>
                </a:cubicBezTo>
                <a:cubicBezTo>
                  <a:pt x="1940290" y="367269"/>
                  <a:pt x="1918346" y="390368"/>
                  <a:pt x="1889473" y="390368"/>
                </a:cubicBezTo>
                <a:cubicBezTo>
                  <a:pt x="1861754" y="390368"/>
                  <a:pt x="1838656" y="367269"/>
                  <a:pt x="1838656" y="339551"/>
                </a:cubicBezTo>
                <a:cubicBezTo>
                  <a:pt x="1838656" y="311832"/>
                  <a:pt x="1860600" y="288734"/>
                  <a:pt x="1889473" y="288734"/>
                </a:cubicBezTo>
                <a:close/>
                <a:moveTo>
                  <a:pt x="739158" y="288734"/>
                </a:moveTo>
                <a:cubicBezTo>
                  <a:pt x="766877" y="288734"/>
                  <a:pt x="789975" y="311832"/>
                  <a:pt x="789975" y="339551"/>
                </a:cubicBezTo>
                <a:cubicBezTo>
                  <a:pt x="789975" y="367269"/>
                  <a:pt x="766877" y="390368"/>
                  <a:pt x="739158" y="390368"/>
                </a:cubicBezTo>
                <a:cubicBezTo>
                  <a:pt x="711440" y="390368"/>
                  <a:pt x="688341" y="367269"/>
                  <a:pt x="688341" y="339551"/>
                </a:cubicBezTo>
                <a:cubicBezTo>
                  <a:pt x="688341" y="311832"/>
                  <a:pt x="710285" y="288734"/>
                  <a:pt x="739158" y="288734"/>
                </a:cubicBezTo>
                <a:close/>
                <a:moveTo>
                  <a:pt x="12227892" y="175550"/>
                </a:moveTo>
                <a:cubicBezTo>
                  <a:pt x="12238288" y="175550"/>
                  <a:pt x="12248682" y="184790"/>
                  <a:pt x="12248682" y="196339"/>
                </a:cubicBezTo>
                <a:cubicBezTo>
                  <a:pt x="12248682" y="207888"/>
                  <a:pt x="12239442" y="217128"/>
                  <a:pt x="12227892" y="217128"/>
                </a:cubicBezTo>
                <a:cubicBezTo>
                  <a:pt x="12216343" y="217128"/>
                  <a:pt x="12207104" y="207888"/>
                  <a:pt x="12207104" y="196339"/>
                </a:cubicBezTo>
                <a:cubicBezTo>
                  <a:pt x="12207104" y="184790"/>
                  <a:pt x="12216343" y="175550"/>
                  <a:pt x="12227892" y="175550"/>
                </a:cubicBezTo>
                <a:close/>
                <a:moveTo>
                  <a:pt x="12091610" y="175550"/>
                </a:moveTo>
                <a:cubicBezTo>
                  <a:pt x="12103160" y="175550"/>
                  <a:pt x="12112399" y="184790"/>
                  <a:pt x="12112399" y="196339"/>
                </a:cubicBezTo>
                <a:cubicBezTo>
                  <a:pt x="12112399" y="207888"/>
                  <a:pt x="12103160" y="217128"/>
                  <a:pt x="12091610" y="217128"/>
                </a:cubicBezTo>
                <a:cubicBezTo>
                  <a:pt x="12080061" y="217128"/>
                  <a:pt x="12070822" y="207888"/>
                  <a:pt x="12070822" y="196339"/>
                </a:cubicBezTo>
                <a:cubicBezTo>
                  <a:pt x="12070822" y="184790"/>
                  <a:pt x="12080061" y="175550"/>
                  <a:pt x="12091610" y="175550"/>
                </a:cubicBezTo>
                <a:close/>
                <a:moveTo>
                  <a:pt x="11956484" y="175550"/>
                </a:moveTo>
                <a:cubicBezTo>
                  <a:pt x="11968033" y="175550"/>
                  <a:pt x="11977272" y="184790"/>
                  <a:pt x="11977272" y="196339"/>
                </a:cubicBezTo>
                <a:cubicBezTo>
                  <a:pt x="11977272" y="207888"/>
                  <a:pt x="11968033" y="217128"/>
                  <a:pt x="11956484" y="217128"/>
                </a:cubicBezTo>
                <a:cubicBezTo>
                  <a:pt x="11944934" y="217128"/>
                  <a:pt x="11935695" y="207888"/>
                  <a:pt x="11935695" y="196339"/>
                </a:cubicBezTo>
                <a:cubicBezTo>
                  <a:pt x="11935695" y="184790"/>
                  <a:pt x="11944934" y="175550"/>
                  <a:pt x="11956484" y="175550"/>
                </a:cubicBezTo>
                <a:close/>
                <a:moveTo>
                  <a:pt x="11821356" y="175550"/>
                </a:moveTo>
                <a:cubicBezTo>
                  <a:pt x="11832905" y="175550"/>
                  <a:pt x="11842144" y="184790"/>
                  <a:pt x="11842144" y="196339"/>
                </a:cubicBezTo>
                <a:cubicBezTo>
                  <a:pt x="11842144" y="207888"/>
                  <a:pt x="11832905" y="217128"/>
                  <a:pt x="11821356" y="217128"/>
                </a:cubicBezTo>
                <a:cubicBezTo>
                  <a:pt x="11809806" y="217128"/>
                  <a:pt x="11800567" y="207888"/>
                  <a:pt x="11800567" y="196339"/>
                </a:cubicBezTo>
                <a:cubicBezTo>
                  <a:pt x="11800567" y="184790"/>
                  <a:pt x="11809806" y="175550"/>
                  <a:pt x="11821356" y="175550"/>
                </a:cubicBezTo>
                <a:close/>
                <a:moveTo>
                  <a:pt x="11685074" y="175550"/>
                </a:moveTo>
                <a:cubicBezTo>
                  <a:pt x="11696623" y="175550"/>
                  <a:pt x="11705862" y="184790"/>
                  <a:pt x="11705862" y="196339"/>
                </a:cubicBezTo>
                <a:cubicBezTo>
                  <a:pt x="11705862" y="207888"/>
                  <a:pt x="11696623" y="217128"/>
                  <a:pt x="11685074" y="217128"/>
                </a:cubicBezTo>
                <a:cubicBezTo>
                  <a:pt x="11673524" y="217128"/>
                  <a:pt x="11664285" y="207888"/>
                  <a:pt x="11664285" y="196339"/>
                </a:cubicBezTo>
                <a:cubicBezTo>
                  <a:pt x="11664285" y="184790"/>
                  <a:pt x="11673524" y="175550"/>
                  <a:pt x="11685074" y="175550"/>
                </a:cubicBezTo>
                <a:close/>
                <a:moveTo>
                  <a:pt x="10736873" y="175550"/>
                </a:moveTo>
                <a:cubicBezTo>
                  <a:pt x="10748422" y="175550"/>
                  <a:pt x="10757662" y="184790"/>
                  <a:pt x="10757662" y="196339"/>
                </a:cubicBezTo>
                <a:cubicBezTo>
                  <a:pt x="10757662" y="207888"/>
                  <a:pt x="10748422" y="217128"/>
                  <a:pt x="10736873" y="217128"/>
                </a:cubicBezTo>
                <a:cubicBezTo>
                  <a:pt x="10725324" y="217128"/>
                  <a:pt x="10716084" y="207888"/>
                  <a:pt x="10716084" y="196339"/>
                </a:cubicBezTo>
                <a:cubicBezTo>
                  <a:pt x="10716084" y="184790"/>
                  <a:pt x="10725324" y="175550"/>
                  <a:pt x="10736873" y="175550"/>
                </a:cubicBezTo>
                <a:close/>
                <a:moveTo>
                  <a:pt x="10601745" y="175550"/>
                </a:moveTo>
                <a:cubicBezTo>
                  <a:pt x="10613294" y="175550"/>
                  <a:pt x="10622534" y="184790"/>
                  <a:pt x="10622534" y="196339"/>
                </a:cubicBezTo>
                <a:cubicBezTo>
                  <a:pt x="10622534" y="207888"/>
                  <a:pt x="10613294" y="217128"/>
                  <a:pt x="10601745" y="217128"/>
                </a:cubicBezTo>
                <a:cubicBezTo>
                  <a:pt x="10590196" y="217128"/>
                  <a:pt x="10580956" y="207888"/>
                  <a:pt x="10580956" y="196339"/>
                </a:cubicBezTo>
                <a:cubicBezTo>
                  <a:pt x="10580956" y="184790"/>
                  <a:pt x="10590196" y="175550"/>
                  <a:pt x="10601745" y="175550"/>
                </a:cubicBezTo>
                <a:close/>
                <a:moveTo>
                  <a:pt x="8027949" y="175550"/>
                </a:moveTo>
                <a:cubicBezTo>
                  <a:pt x="8039499" y="175550"/>
                  <a:pt x="8048737" y="184790"/>
                  <a:pt x="8048737" y="196339"/>
                </a:cubicBezTo>
                <a:cubicBezTo>
                  <a:pt x="8048737" y="207888"/>
                  <a:pt x="8039499" y="217128"/>
                  <a:pt x="8027949" y="217128"/>
                </a:cubicBezTo>
                <a:cubicBezTo>
                  <a:pt x="8016400" y="217128"/>
                  <a:pt x="8007160" y="207888"/>
                  <a:pt x="8007160" y="196339"/>
                </a:cubicBezTo>
                <a:cubicBezTo>
                  <a:pt x="8007160" y="184790"/>
                  <a:pt x="8016400" y="175550"/>
                  <a:pt x="8027949" y="175550"/>
                </a:cubicBezTo>
                <a:close/>
                <a:moveTo>
                  <a:pt x="7892822" y="175550"/>
                </a:moveTo>
                <a:cubicBezTo>
                  <a:pt x="7904371" y="175550"/>
                  <a:pt x="7913611" y="184790"/>
                  <a:pt x="7913611" y="196339"/>
                </a:cubicBezTo>
                <a:cubicBezTo>
                  <a:pt x="7913611" y="207888"/>
                  <a:pt x="7904371" y="217128"/>
                  <a:pt x="7892822" y="217128"/>
                </a:cubicBezTo>
                <a:cubicBezTo>
                  <a:pt x="7881271" y="217128"/>
                  <a:pt x="7872031" y="207888"/>
                  <a:pt x="7872031" y="196339"/>
                </a:cubicBezTo>
                <a:cubicBezTo>
                  <a:pt x="7872031" y="184790"/>
                  <a:pt x="7881271" y="175550"/>
                  <a:pt x="7892822" y="175550"/>
                </a:cubicBezTo>
                <a:close/>
                <a:moveTo>
                  <a:pt x="7757693" y="175550"/>
                </a:moveTo>
                <a:cubicBezTo>
                  <a:pt x="7769244" y="175550"/>
                  <a:pt x="7778483" y="184790"/>
                  <a:pt x="7778483" y="196339"/>
                </a:cubicBezTo>
                <a:cubicBezTo>
                  <a:pt x="7778483" y="207888"/>
                  <a:pt x="7769244" y="217128"/>
                  <a:pt x="7757693" y="217128"/>
                </a:cubicBezTo>
                <a:cubicBezTo>
                  <a:pt x="7746146" y="217128"/>
                  <a:pt x="7736906" y="207888"/>
                  <a:pt x="7736906" y="196339"/>
                </a:cubicBezTo>
                <a:cubicBezTo>
                  <a:pt x="7736906" y="184790"/>
                  <a:pt x="7746146" y="175550"/>
                  <a:pt x="7757693" y="175550"/>
                </a:cubicBezTo>
                <a:close/>
                <a:moveTo>
                  <a:pt x="7622566" y="175550"/>
                </a:moveTo>
                <a:cubicBezTo>
                  <a:pt x="7632962" y="175550"/>
                  <a:pt x="7643355" y="184790"/>
                  <a:pt x="7643355" y="196339"/>
                </a:cubicBezTo>
                <a:cubicBezTo>
                  <a:pt x="7643355" y="207888"/>
                  <a:pt x="7634115" y="217128"/>
                  <a:pt x="7622566" y="217128"/>
                </a:cubicBezTo>
                <a:cubicBezTo>
                  <a:pt x="7611018" y="217128"/>
                  <a:pt x="7601778" y="207888"/>
                  <a:pt x="7601778" y="196339"/>
                </a:cubicBezTo>
                <a:cubicBezTo>
                  <a:pt x="7601778" y="184790"/>
                  <a:pt x="7611018" y="175550"/>
                  <a:pt x="7622566" y="175550"/>
                </a:cubicBezTo>
                <a:close/>
                <a:moveTo>
                  <a:pt x="7486284" y="175550"/>
                </a:moveTo>
                <a:cubicBezTo>
                  <a:pt x="7497834" y="175550"/>
                  <a:pt x="7507074" y="184790"/>
                  <a:pt x="7507074" y="196339"/>
                </a:cubicBezTo>
                <a:cubicBezTo>
                  <a:pt x="7507074" y="207888"/>
                  <a:pt x="7497834" y="217128"/>
                  <a:pt x="7486284" y="217128"/>
                </a:cubicBezTo>
                <a:cubicBezTo>
                  <a:pt x="7474735" y="217128"/>
                  <a:pt x="7465495" y="207888"/>
                  <a:pt x="7465495" y="196339"/>
                </a:cubicBezTo>
                <a:cubicBezTo>
                  <a:pt x="7465495" y="184790"/>
                  <a:pt x="7474735" y="175550"/>
                  <a:pt x="7486284" y="175550"/>
                </a:cubicBezTo>
                <a:close/>
                <a:moveTo>
                  <a:pt x="7351157" y="175550"/>
                </a:moveTo>
                <a:cubicBezTo>
                  <a:pt x="7362706" y="175550"/>
                  <a:pt x="7371946" y="184790"/>
                  <a:pt x="7371946" y="196339"/>
                </a:cubicBezTo>
                <a:cubicBezTo>
                  <a:pt x="7371946" y="207888"/>
                  <a:pt x="7362706" y="217128"/>
                  <a:pt x="7351157" y="217128"/>
                </a:cubicBezTo>
                <a:cubicBezTo>
                  <a:pt x="7339609" y="217128"/>
                  <a:pt x="7330369" y="207888"/>
                  <a:pt x="7330369" y="196339"/>
                </a:cubicBezTo>
                <a:cubicBezTo>
                  <a:pt x="7330369" y="184790"/>
                  <a:pt x="7339609" y="175550"/>
                  <a:pt x="7351157" y="175550"/>
                </a:cubicBezTo>
                <a:close/>
                <a:moveTo>
                  <a:pt x="7216030" y="175550"/>
                </a:moveTo>
                <a:cubicBezTo>
                  <a:pt x="7227579" y="175550"/>
                  <a:pt x="7236819" y="184790"/>
                  <a:pt x="7236819" y="196339"/>
                </a:cubicBezTo>
                <a:cubicBezTo>
                  <a:pt x="7236819" y="207888"/>
                  <a:pt x="7227579" y="217128"/>
                  <a:pt x="7216030" y="217128"/>
                </a:cubicBezTo>
                <a:cubicBezTo>
                  <a:pt x="7204481" y="217128"/>
                  <a:pt x="7195241" y="207888"/>
                  <a:pt x="7195241" y="196339"/>
                </a:cubicBezTo>
                <a:cubicBezTo>
                  <a:pt x="7195241" y="184790"/>
                  <a:pt x="7204481" y="175550"/>
                  <a:pt x="7216030" y="175550"/>
                </a:cubicBezTo>
                <a:close/>
                <a:moveTo>
                  <a:pt x="7079748" y="175550"/>
                </a:moveTo>
                <a:cubicBezTo>
                  <a:pt x="7091297" y="175550"/>
                  <a:pt x="7100537" y="184790"/>
                  <a:pt x="7100537" y="196339"/>
                </a:cubicBezTo>
                <a:cubicBezTo>
                  <a:pt x="7100537" y="207888"/>
                  <a:pt x="7091297" y="217128"/>
                  <a:pt x="7079748" y="217128"/>
                </a:cubicBezTo>
                <a:cubicBezTo>
                  <a:pt x="7068199" y="217128"/>
                  <a:pt x="7058959" y="207888"/>
                  <a:pt x="7058959" y="196339"/>
                </a:cubicBezTo>
                <a:cubicBezTo>
                  <a:pt x="7058959" y="184790"/>
                  <a:pt x="7068199" y="175550"/>
                  <a:pt x="7079748" y="175550"/>
                </a:cubicBezTo>
                <a:close/>
                <a:moveTo>
                  <a:pt x="6131548" y="175550"/>
                </a:moveTo>
                <a:cubicBezTo>
                  <a:pt x="6143096" y="175550"/>
                  <a:pt x="6152336" y="184790"/>
                  <a:pt x="6152336" y="196339"/>
                </a:cubicBezTo>
                <a:cubicBezTo>
                  <a:pt x="6152336" y="207888"/>
                  <a:pt x="6143096" y="217128"/>
                  <a:pt x="6131548" y="217128"/>
                </a:cubicBezTo>
                <a:cubicBezTo>
                  <a:pt x="6119997" y="217128"/>
                  <a:pt x="6110759" y="207888"/>
                  <a:pt x="6110759" y="196339"/>
                </a:cubicBezTo>
                <a:cubicBezTo>
                  <a:pt x="6110759" y="184790"/>
                  <a:pt x="6119997" y="175550"/>
                  <a:pt x="6131548" y="175550"/>
                </a:cubicBezTo>
                <a:close/>
                <a:moveTo>
                  <a:pt x="5996418" y="175550"/>
                </a:moveTo>
                <a:cubicBezTo>
                  <a:pt x="6007969" y="175550"/>
                  <a:pt x="6017209" y="184790"/>
                  <a:pt x="6017209" y="196339"/>
                </a:cubicBezTo>
                <a:cubicBezTo>
                  <a:pt x="6017209" y="207888"/>
                  <a:pt x="6007969" y="217128"/>
                  <a:pt x="5996418" y="217128"/>
                </a:cubicBezTo>
                <a:cubicBezTo>
                  <a:pt x="5984870" y="217128"/>
                  <a:pt x="5975630" y="207888"/>
                  <a:pt x="5975630" y="196339"/>
                </a:cubicBezTo>
                <a:cubicBezTo>
                  <a:pt x="5975630" y="184790"/>
                  <a:pt x="5984870" y="175550"/>
                  <a:pt x="5996418" y="175550"/>
                </a:cubicBezTo>
                <a:close/>
                <a:moveTo>
                  <a:pt x="3415142" y="175550"/>
                </a:moveTo>
                <a:cubicBezTo>
                  <a:pt x="3426691" y="175550"/>
                  <a:pt x="3435930" y="184790"/>
                  <a:pt x="3435930" y="196339"/>
                </a:cubicBezTo>
                <a:cubicBezTo>
                  <a:pt x="3435930" y="207888"/>
                  <a:pt x="3426691" y="217128"/>
                  <a:pt x="3415142" y="217128"/>
                </a:cubicBezTo>
                <a:cubicBezTo>
                  <a:pt x="3403592" y="217128"/>
                  <a:pt x="3394352" y="207888"/>
                  <a:pt x="3394352" y="196339"/>
                </a:cubicBezTo>
                <a:cubicBezTo>
                  <a:pt x="3394352" y="184790"/>
                  <a:pt x="3403592" y="175550"/>
                  <a:pt x="3415142" y="175550"/>
                </a:cubicBezTo>
                <a:close/>
                <a:moveTo>
                  <a:pt x="3280013" y="175550"/>
                </a:moveTo>
                <a:cubicBezTo>
                  <a:pt x="3291564" y="175550"/>
                  <a:pt x="3300802" y="184790"/>
                  <a:pt x="3300802" y="196339"/>
                </a:cubicBezTo>
                <a:cubicBezTo>
                  <a:pt x="3300802" y="207888"/>
                  <a:pt x="3291564" y="217128"/>
                  <a:pt x="3280013" y="217128"/>
                </a:cubicBezTo>
                <a:cubicBezTo>
                  <a:pt x="3268464" y="217128"/>
                  <a:pt x="3259224" y="207888"/>
                  <a:pt x="3259224" y="196339"/>
                </a:cubicBezTo>
                <a:cubicBezTo>
                  <a:pt x="3259224" y="184790"/>
                  <a:pt x="3268464" y="175550"/>
                  <a:pt x="3280013" y="175550"/>
                </a:cubicBezTo>
                <a:close/>
                <a:moveTo>
                  <a:pt x="3144887" y="175550"/>
                </a:moveTo>
                <a:cubicBezTo>
                  <a:pt x="3156436" y="175550"/>
                  <a:pt x="3165675" y="184790"/>
                  <a:pt x="3165675" y="196339"/>
                </a:cubicBezTo>
                <a:cubicBezTo>
                  <a:pt x="3165675" y="207888"/>
                  <a:pt x="3156436" y="217128"/>
                  <a:pt x="3144887" y="217128"/>
                </a:cubicBezTo>
                <a:cubicBezTo>
                  <a:pt x="3133338" y="217128"/>
                  <a:pt x="3124098" y="207888"/>
                  <a:pt x="3124098" y="196339"/>
                </a:cubicBezTo>
                <a:cubicBezTo>
                  <a:pt x="3124098" y="184790"/>
                  <a:pt x="3133338" y="175550"/>
                  <a:pt x="3144887" y="175550"/>
                </a:cubicBezTo>
                <a:close/>
                <a:moveTo>
                  <a:pt x="3009759" y="175550"/>
                </a:moveTo>
                <a:cubicBezTo>
                  <a:pt x="3020154" y="175550"/>
                  <a:pt x="3030548" y="184790"/>
                  <a:pt x="3030548" y="196339"/>
                </a:cubicBezTo>
                <a:cubicBezTo>
                  <a:pt x="3030548" y="207888"/>
                  <a:pt x="3021308" y="217128"/>
                  <a:pt x="3009759" y="217128"/>
                </a:cubicBezTo>
                <a:cubicBezTo>
                  <a:pt x="2998209" y="217128"/>
                  <a:pt x="2988971" y="207888"/>
                  <a:pt x="2988971" y="196339"/>
                </a:cubicBezTo>
                <a:cubicBezTo>
                  <a:pt x="2988971" y="184790"/>
                  <a:pt x="2998209" y="175550"/>
                  <a:pt x="3009759" y="175550"/>
                </a:cubicBezTo>
                <a:close/>
                <a:moveTo>
                  <a:pt x="2873476" y="175550"/>
                </a:moveTo>
                <a:cubicBezTo>
                  <a:pt x="2885026" y="175550"/>
                  <a:pt x="2894265" y="184790"/>
                  <a:pt x="2894265" y="196339"/>
                </a:cubicBezTo>
                <a:cubicBezTo>
                  <a:pt x="2894265" y="207888"/>
                  <a:pt x="2885026" y="217128"/>
                  <a:pt x="2873476" y="217128"/>
                </a:cubicBezTo>
                <a:cubicBezTo>
                  <a:pt x="2861927" y="217128"/>
                  <a:pt x="2852688" y="207888"/>
                  <a:pt x="2852688" y="196339"/>
                </a:cubicBezTo>
                <a:cubicBezTo>
                  <a:pt x="2852688" y="184790"/>
                  <a:pt x="2861927" y="175550"/>
                  <a:pt x="2873476" y="175550"/>
                </a:cubicBezTo>
                <a:close/>
                <a:moveTo>
                  <a:pt x="2738350" y="175550"/>
                </a:moveTo>
                <a:cubicBezTo>
                  <a:pt x="2749899" y="175550"/>
                  <a:pt x="2759139" y="184790"/>
                  <a:pt x="2759139" y="196339"/>
                </a:cubicBezTo>
                <a:cubicBezTo>
                  <a:pt x="2759139" y="207888"/>
                  <a:pt x="2749899" y="217128"/>
                  <a:pt x="2738350" y="217128"/>
                </a:cubicBezTo>
                <a:cubicBezTo>
                  <a:pt x="2726800" y="217128"/>
                  <a:pt x="2717562" y="207888"/>
                  <a:pt x="2717562" y="196339"/>
                </a:cubicBezTo>
                <a:cubicBezTo>
                  <a:pt x="2717562" y="184790"/>
                  <a:pt x="2726800" y="175550"/>
                  <a:pt x="2738350" y="175550"/>
                </a:cubicBezTo>
                <a:close/>
                <a:moveTo>
                  <a:pt x="2603222" y="175550"/>
                </a:moveTo>
                <a:cubicBezTo>
                  <a:pt x="2614771" y="175550"/>
                  <a:pt x="2624011" y="184790"/>
                  <a:pt x="2624011" y="196339"/>
                </a:cubicBezTo>
                <a:cubicBezTo>
                  <a:pt x="2624011" y="207888"/>
                  <a:pt x="2614771" y="217128"/>
                  <a:pt x="2603222" y="217128"/>
                </a:cubicBezTo>
                <a:cubicBezTo>
                  <a:pt x="2591673" y="217128"/>
                  <a:pt x="2582433" y="207888"/>
                  <a:pt x="2582433" y="196339"/>
                </a:cubicBezTo>
                <a:cubicBezTo>
                  <a:pt x="2582433" y="184790"/>
                  <a:pt x="2591673" y="175550"/>
                  <a:pt x="2603222" y="175550"/>
                </a:cubicBezTo>
                <a:close/>
                <a:moveTo>
                  <a:pt x="2466940" y="175550"/>
                </a:moveTo>
                <a:cubicBezTo>
                  <a:pt x="2478489" y="175550"/>
                  <a:pt x="2487729" y="184790"/>
                  <a:pt x="2487729" y="196339"/>
                </a:cubicBezTo>
                <a:cubicBezTo>
                  <a:pt x="2487729" y="207888"/>
                  <a:pt x="2478489" y="217128"/>
                  <a:pt x="2466940" y="217128"/>
                </a:cubicBezTo>
                <a:cubicBezTo>
                  <a:pt x="2455390" y="217128"/>
                  <a:pt x="2446151" y="207888"/>
                  <a:pt x="2446151" y="196339"/>
                </a:cubicBezTo>
                <a:cubicBezTo>
                  <a:pt x="2446151" y="184790"/>
                  <a:pt x="2455390" y="175550"/>
                  <a:pt x="2466940" y="175550"/>
                </a:cubicBezTo>
                <a:close/>
                <a:moveTo>
                  <a:pt x="1518739" y="175550"/>
                </a:moveTo>
                <a:cubicBezTo>
                  <a:pt x="1530289" y="175550"/>
                  <a:pt x="1539528" y="184790"/>
                  <a:pt x="1539528" y="196339"/>
                </a:cubicBezTo>
                <a:cubicBezTo>
                  <a:pt x="1539528" y="207888"/>
                  <a:pt x="1530289" y="217128"/>
                  <a:pt x="1518739" y="217128"/>
                </a:cubicBezTo>
                <a:cubicBezTo>
                  <a:pt x="1507190" y="217128"/>
                  <a:pt x="1497951" y="207888"/>
                  <a:pt x="1497951" y="196339"/>
                </a:cubicBezTo>
                <a:cubicBezTo>
                  <a:pt x="1497951" y="184790"/>
                  <a:pt x="1507190" y="175550"/>
                  <a:pt x="1518739" y="175550"/>
                </a:cubicBezTo>
                <a:close/>
                <a:moveTo>
                  <a:pt x="1383611" y="175550"/>
                </a:moveTo>
                <a:cubicBezTo>
                  <a:pt x="1395161" y="175550"/>
                  <a:pt x="1404400" y="184790"/>
                  <a:pt x="1404400" y="196339"/>
                </a:cubicBezTo>
                <a:cubicBezTo>
                  <a:pt x="1404400" y="207888"/>
                  <a:pt x="1395161" y="217128"/>
                  <a:pt x="1383611" y="217128"/>
                </a:cubicBezTo>
                <a:cubicBezTo>
                  <a:pt x="1372062" y="217128"/>
                  <a:pt x="1362823" y="207888"/>
                  <a:pt x="1362823" y="196339"/>
                </a:cubicBezTo>
                <a:cubicBezTo>
                  <a:pt x="1362823" y="184790"/>
                  <a:pt x="1372062" y="175550"/>
                  <a:pt x="1383611" y="175550"/>
                </a:cubicBezTo>
                <a:close/>
                <a:moveTo>
                  <a:pt x="11549947" y="172086"/>
                </a:moveTo>
                <a:cubicBezTo>
                  <a:pt x="11562650" y="172086"/>
                  <a:pt x="11573046" y="182480"/>
                  <a:pt x="11573046" y="195185"/>
                </a:cubicBezTo>
                <a:cubicBezTo>
                  <a:pt x="11573046" y="207888"/>
                  <a:pt x="11562650" y="218283"/>
                  <a:pt x="11549947" y="218283"/>
                </a:cubicBezTo>
                <a:cubicBezTo>
                  <a:pt x="11537242" y="218283"/>
                  <a:pt x="11526848" y="207888"/>
                  <a:pt x="11526848" y="195185"/>
                </a:cubicBezTo>
                <a:cubicBezTo>
                  <a:pt x="11526848" y="182480"/>
                  <a:pt x="11537242" y="172086"/>
                  <a:pt x="11549947" y="172086"/>
                </a:cubicBezTo>
                <a:close/>
                <a:moveTo>
                  <a:pt x="10466618" y="172086"/>
                </a:moveTo>
                <a:cubicBezTo>
                  <a:pt x="10479322" y="172086"/>
                  <a:pt x="10489717" y="182480"/>
                  <a:pt x="10489717" y="195185"/>
                </a:cubicBezTo>
                <a:cubicBezTo>
                  <a:pt x="10489717" y="207888"/>
                  <a:pt x="10479322" y="218283"/>
                  <a:pt x="10466618" y="218283"/>
                </a:cubicBezTo>
                <a:cubicBezTo>
                  <a:pt x="10453914" y="218283"/>
                  <a:pt x="10443520" y="207888"/>
                  <a:pt x="10443520" y="195185"/>
                </a:cubicBezTo>
                <a:cubicBezTo>
                  <a:pt x="10443520" y="182480"/>
                  <a:pt x="10453914" y="172086"/>
                  <a:pt x="10466618" y="172086"/>
                </a:cubicBezTo>
                <a:close/>
                <a:moveTo>
                  <a:pt x="9244698" y="172086"/>
                </a:moveTo>
                <a:cubicBezTo>
                  <a:pt x="9258557" y="172086"/>
                  <a:pt x="9268951" y="181325"/>
                  <a:pt x="9270107" y="194029"/>
                </a:cubicBezTo>
                <a:cubicBezTo>
                  <a:pt x="9271261" y="206734"/>
                  <a:pt x="9262022" y="219438"/>
                  <a:pt x="9249318" y="219438"/>
                </a:cubicBezTo>
                <a:cubicBezTo>
                  <a:pt x="9236613" y="219438"/>
                  <a:pt x="9225064" y="210198"/>
                  <a:pt x="9223909" y="197494"/>
                </a:cubicBezTo>
                <a:cubicBezTo>
                  <a:pt x="9222754" y="184790"/>
                  <a:pt x="9231993" y="173240"/>
                  <a:pt x="9244698" y="172086"/>
                </a:cubicBezTo>
                <a:close/>
                <a:moveTo>
                  <a:pt x="8164231" y="172086"/>
                </a:moveTo>
                <a:cubicBezTo>
                  <a:pt x="8176935" y="172086"/>
                  <a:pt x="8187331" y="182480"/>
                  <a:pt x="8187331" y="195185"/>
                </a:cubicBezTo>
                <a:cubicBezTo>
                  <a:pt x="8187331" y="207888"/>
                  <a:pt x="8176935" y="218283"/>
                  <a:pt x="8164231" y="218283"/>
                </a:cubicBezTo>
                <a:cubicBezTo>
                  <a:pt x="8151527" y="218283"/>
                  <a:pt x="8141133" y="207888"/>
                  <a:pt x="8141133" y="195185"/>
                </a:cubicBezTo>
                <a:cubicBezTo>
                  <a:pt x="8141133" y="182480"/>
                  <a:pt x="8151527" y="172086"/>
                  <a:pt x="8164231" y="172086"/>
                </a:cubicBezTo>
                <a:close/>
                <a:moveTo>
                  <a:pt x="6944621" y="172086"/>
                </a:moveTo>
                <a:cubicBezTo>
                  <a:pt x="6957325" y="172086"/>
                  <a:pt x="6967719" y="182480"/>
                  <a:pt x="6967719" y="195185"/>
                </a:cubicBezTo>
                <a:cubicBezTo>
                  <a:pt x="6967719" y="207888"/>
                  <a:pt x="6957325" y="218283"/>
                  <a:pt x="6944621" y="218283"/>
                </a:cubicBezTo>
                <a:cubicBezTo>
                  <a:pt x="6931915" y="218283"/>
                  <a:pt x="6921522" y="207888"/>
                  <a:pt x="6921522" y="195185"/>
                </a:cubicBezTo>
                <a:cubicBezTo>
                  <a:pt x="6921522" y="182480"/>
                  <a:pt x="6931915" y="172086"/>
                  <a:pt x="6944621" y="172086"/>
                </a:cubicBezTo>
                <a:close/>
                <a:moveTo>
                  <a:pt x="5861292" y="172086"/>
                </a:moveTo>
                <a:cubicBezTo>
                  <a:pt x="5873996" y="172086"/>
                  <a:pt x="5884392" y="182480"/>
                  <a:pt x="5884392" y="195185"/>
                </a:cubicBezTo>
                <a:cubicBezTo>
                  <a:pt x="5884392" y="207888"/>
                  <a:pt x="5873996" y="218283"/>
                  <a:pt x="5861292" y="218283"/>
                </a:cubicBezTo>
                <a:cubicBezTo>
                  <a:pt x="5848588" y="218283"/>
                  <a:pt x="5838194" y="207888"/>
                  <a:pt x="5838194" y="195185"/>
                </a:cubicBezTo>
                <a:cubicBezTo>
                  <a:pt x="5838194" y="182480"/>
                  <a:pt x="5848588" y="172086"/>
                  <a:pt x="5861292" y="172086"/>
                </a:cubicBezTo>
                <a:close/>
                <a:moveTo>
                  <a:pt x="4639373" y="172086"/>
                </a:moveTo>
                <a:cubicBezTo>
                  <a:pt x="4653231" y="172086"/>
                  <a:pt x="4663624" y="181325"/>
                  <a:pt x="4664780" y="192875"/>
                </a:cubicBezTo>
                <a:cubicBezTo>
                  <a:pt x="4665935" y="205578"/>
                  <a:pt x="4656695" y="217128"/>
                  <a:pt x="4643991" y="218283"/>
                </a:cubicBezTo>
                <a:cubicBezTo>
                  <a:pt x="4631287" y="219438"/>
                  <a:pt x="4619738" y="210198"/>
                  <a:pt x="4618583" y="197494"/>
                </a:cubicBezTo>
                <a:cubicBezTo>
                  <a:pt x="4617427" y="184790"/>
                  <a:pt x="4626667" y="173240"/>
                  <a:pt x="4639373" y="172086"/>
                </a:cubicBezTo>
                <a:close/>
                <a:moveTo>
                  <a:pt x="3551423" y="172086"/>
                </a:moveTo>
                <a:cubicBezTo>
                  <a:pt x="3564127" y="172086"/>
                  <a:pt x="3574522" y="182480"/>
                  <a:pt x="3574522" y="195185"/>
                </a:cubicBezTo>
                <a:cubicBezTo>
                  <a:pt x="3574522" y="207888"/>
                  <a:pt x="3564127" y="218283"/>
                  <a:pt x="3551423" y="218283"/>
                </a:cubicBezTo>
                <a:cubicBezTo>
                  <a:pt x="3538719" y="218283"/>
                  <a:pt x="3528325" y="207888"/>
                  <a:pt x="3528325" y="195185"/>
                </a:cubicBezTo>
                <a:cubicBezTo>
                  <a:pt x="3528325" y="182480"/>
                  <a:pt x="3538719" y="172086"/>
                  <a:pt x="3551423" y="172086"/>
                </a:cubicBezTo>
                <a:close/>
                <a:moveTo>
                  <a:pt x="2331813" y="172086"/>
                </a:moveTo>
                <a:cubicBezTo>
                  <a:pt x="2344517" y="172086"/>
                  <a:pt x="2354912" y="182480"/>
                  <a:pt x="2354912" y="195185"/>
                </a:cubicBezTo>
                <a:cubicBezTo>
                  <a:pt x="2354912" y="207888"/>
                  <a:pt x="2344517" y="218283"/>
                  <a:pt x="2331813" y="218283"/>
                </a:cubicBezTo>
                <a:cubicBezTo>
                  <a:pt x="2319108" y="218283"/>
                  <a:pt x="2308714" y="207888"/>
                  <a:pt x="2308714" y="195185"/>
                </a:cubicBezTo>
                <a:cubicBezTo>
                  <a:pt x="2308714" y="182480"/>
                  <a:pt x="2319108" y="172086"/>
                  <a:pt x="2331813" y="172086"/>
                </a:cubicBezTo>
                <a:close/>
                <a:moveTo>
                  <a:pt x="1248485" y="172086"/>
                </a:moveTo>
                <a:cubicBezTo>
                  <a:pt x="1261188" y="172086"/>
                  <a:pt x="1271583" y="182480"/>
                  <a:pt x="1271583" y="195185"/>
                </a:cubicBezTo>
                <a:cubicBezTo>
                  <a:pt x="1271583" y="207888"/>
                  <a:pt x="1261188" y="218283"/>
                  <a:pt x="1248485" y="218283"/>
                </a:cubicBezTo>
                <a:cubicBezTo>
                  <a:pt x="1235780" y="218283"/>
                  <a:pt x="1225386" y="207888"/>
                  <a:pt x="1225386" y="195185"/>
                </a:cubicBezTo>
                <a:cubicBezTo>
                  <a:pt x="1225386" y="182480"/>
                  <a:pt x="1235780" y="172086"/>
                  <a:pt x="1248485" y="172086"/>
                </a:cubicBezTo>
                <a:close/>
                <a:moveTo>
                  <a:pt x="26564" y="172086"/>
                </a:moveTo>
                <a:cubicBezTo>
                  <a:pt x="40424" y="172086"/>
                  <a:pt x="50817" y="181325"/>
                  <a:pt x="51973" y="194029"/>
                </a:cubicBezTo>
                <a:cubicBezTo>
                  <a:pt x="53127" y="206734"/>
                  <a:pt x="43888" y="219438"/>
                  <a:pt x="31184" y="219438"/>
                </a:cubicBezTo>
                <a:cubicBezTo>
                  <a:pt x="18479" y="219438"/>
                  <a:pt x="6930" y="210198"/>
                  <a:pt x="5776" y="197494"/>
                </a:cubicBezTo>
                <a:cubicBezTo>
                  <a:pt x="4620" y="184790"/>
                  <a:pt x="13860" y="173240"/>
                  <a:pt x="26564" y="172086"/>
                </a:cubicBezTo>
                <a:close/>
                <a:moveTo>
                  <a:pt x="11414819" y="166311"/>
                </a:moveTo>
                <a:cubicBezTo>
                  <a:pt x="11430988" y="166311"/>
                  <a:pt x="11443693" y="179016"/>
                  <a:pt x="11443693" y="195185"/>
                </a:cubicBezTo>
                <a:cubicBezTo>
                  <a:pt x="11443693" y="211354"/>
                  <a:pt x="11430988" y="224057"/>
                  <a:pt x="11414819" y="224057"/>
                </a:cubicBezTo>
                <a:cubicBezTo>
                  <a:pt x="11398650" y="224057"/>
                  <a:pt x="11385946" y="211354"/>
                  <a:pt x="11385946" y="195185"/>
                </a:cubicBezTo>
                <a:cubicBezTo>
                  <a:pt x="11385946" y="179016"/>
                  <a:pt x="11398650" y="166311"/>
                  <a:pt x="11414819" y="166311"/>
                </a:cubicBezTo>
                <a:close/>
                <a:moveTo>
                  <a:pt x="10330336" y="166311"/>
                </a:moveTo>
                <a:cubicBezTo>
                  <a:pt x="10346505" y="166311"/>
                  <a:pt x="10359209" y="179016"/>
                  <a:pt x="10359209" y="195185"/>
                </a:cubicBezTo>
                <a:cubicBezTo>
                  <a:pt x="10359209" y="211354"/>
                  <a:pt x="10346505" y="224057"/>
                  <a:pt x="10330336" y="224057"/>
                </a:cubicBezTo>
                <a:cubicBezTo>
                  <a:pt x="10314167" y="224057"/>
                  <a:pt x="10301462" y="211354"/>
                  <a:pt x="10301462" y="195185"/>
                </a:cubicBezTo>
                <a:cubicBezTo>
                  <a:pt x="10301462" y="179016"/>
                  <a:pt x="10314167" y="166311"/>
                  <a:pt x="10330336" y="166311"/>
                </a:cubicBezTo>
                <a:close/>
                <a:moveTo>
                  <a:pt x="9382135" y="166311"/>
                </a:moveTo>
                <a:cubicBezTo>
                  <a:pt x="9398304" y="166311"/>
                  <a:pt x="9411009" y="179016"/>
                  <a:pt x="9411009" y="195185"/>
                </a:cubicBezTo>
                <a:cubicBezTo>
                  <a:pt x="9411009" y="211354"/>
                  <a:pt x="9398304" y="224057"/>
                  <a:pt x="9382135" y="224057"/>
                </a:cubicBezTo>
                <a:cubicBezTo>
                  <a:pt x="9365966" y="224057"/>
                  <a:pt x="9353262" y="211354"/>
                  <a:pt x="9353262" y="195185"/>
                </a:cubicBezTo>
                <a:cubicBezTo>
                  <a:pt x="9353262" y="179016"/>
                  <a:pt x="9365966" y="166311"/>
                  <a:pt x="9382135" y="166311"/>
                </a:cubicBezTo>
                <a:close/>
                <a:moveTo>
                  <a:pt x="9112431" y="166311"/>
                </a:moveTo>
                <a:cubicBezTo>
                  <a:pt x="9128600" y="166311"/>
                  <a:pt x="9141305" y="179016"/>
                  <a:pt x="9141305" y="195185"/>
                </a:cubicBezTo>
                <a:cubicBezTo>
                  <a:pt x="9141305" y="211354"/>
                  <a:pt x="9128600" y="224057"/>
                  <a:pt x="9112431" y="224057"/>
                </a:cubicBezTo>
                <a:cubicBezTo>
                  <a:pt x="9096262" y="224057"/>
                  <a:pt x="9083558" y="211354"/>
                  <a:pt x="9083558" y="195185"/>
                </a:cubicBezTo>
                <a:cubicBezTo>
                  <a:pt x="9083558" y="179016"/>
                  <a:pt x="9096262" y="166311"/>
                  <a:pt x="9112431" y="166311"/>
                </a:cubicBezTo>
                <a:close/>
                <a:moveTo>
                  <a:pt x="8299358" y="166311"/>
                </a:moveTo>
                <a:cubicBezTo>
                  <a:pt x="8315526" y="166311"/>
                  <a:pt x="8328231" y="179016"/>
                  <a:pt x="8328231" y="195185"/>
                </a:cubicBezTo>
                <a:cubicBezTo>
                  <a:pt x="8328231" y="211354"/>
                  <a:pt x="8315526" y="224057"/>
                  <a:pt x="8299358" y="224057"/>
                </a:cubicBezTo>
                <a:cubicBezTo>
                  <a:pt x="8283189" y="224057"/>
                  <a:pt x="8270485" y="211354"/>
                  <a:pt x="8270485" y="195185"/>
                </a:cubicBezTo>
                <a:cubicBezTo>
                  <a:pt x="8270485" y="179016"/>
                  <a:pt x="8283189" y="166311"/>
                  <a:pt x="8299358" y="166311"/>
                </a:cubicBezTo>
                <a:close/>
                <a:moveTo>
                  <a:pt x="6809492" y="166311"/>
                </a:moveTo>
                <a:cubicBezTo>
                  <a:pt x="6825661" y="166311"/>
                  <a:pt x="6838367" y="179016"/>
                  <a:pt x="6838367" y="195185"/>
                </a:cubicBezTo>
                <a:cubicBezTo>
                  <a:pt x="6838367" y="211354"/>
                  <a:pt x="6825661" y="224057"/>
                  <a:pt x="6809492" y="224057"/>
                </a:cubicBezTo>
                <a:cubicBezTo>
                  <a:pt x="6793324" y="224057"/>
                  <a:pt x="6780620" y="211354"/>
                  <a:pt x="6780620" y="195185"/>
                </a:cubicBezTo>
                <a:cubicBezTo>
                  <a:pt x="6780620" y="179016"/>
                  <a:pt x="6793324" y="166311"/>
                  <a:pt x="6809492" y="166311"/>
                </a:cubicBezTo>
                <a:close/>
                <a:moveTo>
                  <a:pt x="5726165" y="166311"/>
                </a:moveTo>
                <a:cubicBezTo>
                  <a:pt x="5741178" y="166311"/>
                  <a:pt x="5755038" y="179016"/>
                  <a:pt x="5755038" y="195185"/>
                </a:cubicBezTo>
                <a:cubicBezTo>
                  <a:pt x="5755038" y="211354"/>
                  <a:pt x="5742334" y="224057"/>
                  <a:pt x="5726165" y="224057"/>
                </a:cubicBezTo>
                <a:cubicBezTo>
                  <a:pt x="5709996" y="224057"/>
                  <a:pt x="5697292" y="211354"/>
                  <a:pt x="5697292" y="195185"/>
                </a:cubicBezTo>
                <a:cubicBezTo>
                  <a:pt x="5697292" y="179016"/>
                  <a:pt x="5709996" y="166311"/>
                  <a:pt x="5726165" y="166311"/>
                </a:cubicBezTo>
                <a:close/>
                <a:moveTo>
                  <a:pt x="4776809" y="166311"/>
                </a:moveTo>
                <a:cubicBezTo>
                  <a:pt x="4792978" y="166311"/>
                  <a:pt x="4805682" y="179016"/>
                  <a:pt x="4805682" y="195185"/>
                </a:cubicBezTo>
                <a:cubicBezTo>
                  <a:pt x="4805682" y="211354"/>
                  <a:pt x="4792978" y="224057"/>
                  <a:pt x="4776809" y="224057"/>
                </a:cubicBezTo>
                <a:cubicBezTo>
                  <a:pt x="4760640" y="224057"/>
                  <a:pt x="4747936" y="211354"/>
                  <a:pt x="4747936" y="195185"/>
                </a:cubicBezTo>
                <a:cubicBezTo>
                  <a:pt x="4747936" y="179016"/>
                  <a:pt x="4760640" y="166311"/>
                  <a:pt x="4776809" y="166311"/>
                </a:cubicBezTo>
                <a:close/>
                <a:moveTo>
                  <a:pt x="4499625" y="166311"/>
                </a:moveTo>
                <a:cubicBezTo>
                  <a:pt x="4515793" y="166311"/>
                  <a:pt x="4528499" y="179016"/>
                  <a:pt x="4528499" y="195185"/>
                </a:cubicBezTo>
                <a:cubicBezTo>
                  <a:pt x="4528499" y="211354"/>
                  <a:pt x="4515793" y="224057"/>
                  <a:pt x="4499625" y="224057"/>
                </a:cubicBezTo>
                <a:cubicBezTo>
                  <a:pt x="4483456" y="224057"/>
                  <a:pt x="4470752" y="211354"/>
                  <a:pt x="4470752" y="195185"/>
                </a:cubicBezTo>
                <a:cubicBezTo>
                  <a:pt x="4470752" y="179016"/>
                  <a:pt x="4483456" y="166311"/>
                  <a:pt x="4499625" y="166311"/>
                </a:cubicBezTo>
                <a:close/>
                <a:moveTo>
                  <a:pt x="3686551" y="166311"/>
                </a:moveTo>
                <a:cubicBezTo>
                  <a:pt x="3702719" y="166311"/>
                  <a:pt x="3715424" y="179016"/>
                  <a:pt x="3715424" y="195185"/>
                </a:cubicBezTo>
                <a:cubicBezTo>
                  <a:pt x="3715424" y="211354"/>
                  <a:pt x="3702719" y="224057"/>
                  <a:pt x="3686551" y="224057"/>
                </a:cubicBezTo>
                <a:cubicBezTo>
                  <a:pt x="3670381" y="224057"/>
                  <a:pt x="3657677" y="211354"/>
                  <a:pt x="3657677" y="195185"/>
                </a:cubicBezTo>
                <a:cubicBezTo>
                  <a:pt x="3657677" y="179016"/>
                  <a:pt x="3670381" y="166311"/>
                  <a:pt x="3686551" y="166311"/>
                </a:cubicBezTo>
                <a:close/>
                <a:moveTo>
                  <a:pt x="2196685" y="166311"/>
                </a:moveTo>
                <a:cubicBezTo>
                  <a:pt x="2212854" y="166311"/>
                  <a:pt x="2225559" y="179016"/>
                  <a:pt x="2225559" y="195185"/>
                </a:cubicBezTo>
                <a:cubicBezTo>
                  <a:pt x="2225559" y="211354"/>
                  <a:pt x="2212854" y="224057"/>
                  <a:pt x="2196685" y="224057"/>
                </a:cubicBezTo>
                <a:cubicBezTo>
                  <a:pt x="2180516" y="224057"/>
                  <a:pt x="2167813" y="211354"/>
                  <a:pt x="2167813" y="195185"/>
                </a:cubicBezTo>
                <a:cubicBezTo>
                  <a:pt x="2167813" y="179016"/>
                  <a:pt x="2180516" y="166311"/>
                  <a:pt x="2196685" y="166311"/>
                </a:cubicBezTo>
                <a:close/>
                <a:moveTo>
                  <a:pt x="1112202" y="166311"/>
                </a:moveTo>
                <a:cubicBezTo>
                  <a:pt x="1128371" y="166311"/>
                  <a:pt x="1141075" y="179016"/>
                  <a:pt x="1141075" y="195185"/>
                </a:cubicBezTo>
                <a:cubicBezTo>
                  <a:pt x="1141075" y="211354"/>
                  <a:pt x="1128371" y="224057"/>
                  <a:pt x="1112202" y="224057"/>
                </a:cubicBezTo>
                <a:cubicBezTo>
                  <a:pt x="1096033" y="224057"/>
                  <a:pt x="1083328" y="211354"/>
                  <a:pt x="1083328" y="195185"/>
                </a:cubicBezTo>
                <a:cubicBezTo>
                  <a:pt x="1083328" y="179016"/>
                  <a:pt x="1096033" y="166311"/>
                  <a:pt x="1112202" y="166311"/>
                </a:cubicBezTo>
                <a:close/>
                <a:moveTo>
                  <a:pt x="164001" y="166311"/>
                </a:moveTo>
                <a:cubicBezTo>
                  <a:pt x="180170" y="166311"/>
                  <a:pt x="192875" y="179016"/>
                  <a:pt x="192875" y="195185"/>
                </a:cubicBezTo>
                <a:cubicBezTo>
                  <a:pt x="192875" y="211354"/>
                  <a:pt x="180170" y="224057"/>
                  <a:pt x="164001" y="224057"/>
                </a:cubicBezTo>
                <a:cubicBezTo>
                  <a:pt x="147832" y="224057"/>
                  <a:pt x="135128" y="211354"/>
                  <a:pt x="135128" y="195185"/>
                </a:cubicBezTo>
                <a:cubicBezTo>
                  <a:pt x="135128" y="179016"/>
                  <a:pt x="147832" y="166311"/>
                  <a:pt x="164001" y="166311"/>
                </a:cubicBezTo>
                <a:close/>
                <a:moveTo>
                  <a:pt x="11279692" y="160537"/>
                </a:moveTo>
                <a:cubicBezTo>
                  <a:pt x="11298171" y="160537"/>
                  <a:pt x="11314340" y="176706"/>
                  <a:pt x="11314340" y="195185"/>
                </a:cubicBezTo>
                <a:cubicBezTo>
                  <a:pt x="11314340" y="213664"/>
                  <a:pt x="11299326" y="229833"/>
                  <a:pt x="11279692" y="229833"/>
                </a:cubicBezTo>
                <a:cubicBezTo>
                  <a:pt x="11261213" y="229833"/>
                  <a:pt x="11245044" y="213664"/>
                  <a:pt x="11245044" y="195185"/>
                </a:cubicBezTo>
                <a:cubicBezTo>
                  <a:pt x="11245044" y="176706"/>
                  <a:pt x="11260058" y="160537"/>
                  <a:pt x="11279692" y="160537"/>
                </a:cubicBezTo>
                <a:close/>
                <a:moveTo>
                  <a:pt x="10195208" y="160537"/>
                </a:moveTo>
                <a:cubicBezTo>
                  <a:pt x="10214843" y="160537"/>
                  <a:pt x="10229856" y="176706"/>
                  <a:pt x="10229856" y="195185"/>
                </a:cubicBezTo>
                <a:cubicBezTo>
                  <a:pt x="10229856" y="213664"/>
                  <a:pt x="10213687" y="229833"/>
                  <a:pt x="10195208" y="229833"/>
                </a:cubicBezTo>
                <a:cubicBezTo>
                  <a:pt x="10176729" y="229833"/>
                  <a:pt x="10160560" y="213664"/>
                  <a:pt x="10160560" y="195185"/>
                </a:cubicBezTo>
                <a:cubicBezTo>
                  <a:pt x="10160560" y="176706"/>
                  <a:pt x="10175575" y="160537"/>
                  <a:pt x="10195208" y="160537"/>
                </a:cubicBezTo>
                <a:close/>
                <a:moveTo>
                  <a:pt x="9518417" y="160537"/>
                </a:moveTo>
                <a:cubicBezTo>
                  <a:pt x="9536896" y="160537"/>
                  <a:pt x="9553065" y="176706"/>
                  <a:pt x="9553065" y="195185"/>
                </a:cubicBezTo>
                <a:cubicBezTo>
                  <a:pt x="9553065" y="213664"/>
                  <a:pt x="9536896" y="229833"/>
                  <a:pt x="9518417" y="229833"/>
                </a:cubicBezTo>
                <a:cubicBezTo>
                  <a:pt x="9499938" y="229833"/>
                  <a:pt x="9483769" y="213664"/>
                  <a:pt x="9483769" y="195185"/>
                </a:cubicBezTo>
                <a:cubicBezTo>
                  <a:pt x="9483769" y="176706"/>
                  <a:pt x="9498784" y="160537"/>
                  <a:pt x="9518417" y="160537"/>
                </a:cubicBezTo>
                <a:close/>
                <a:moveTo>
                  <a:pt x="8977304" y="160537"/>
                </a:moveTo>
                <a:cubicBezTo>
                  <a:pt x="8995783" y="160537"/>
                  <a:pt x="9011952" y="176706"/>
                  <a:pt x="9011952" y="195185"/>
                </a:cubicBezTo>
                <a:cubicBezTo>
                  <a:pt x="9011952" y="213664"/>
                  <a:pt x="8996938" y="229833"/>
                  <a:pt x="8977304" y="229833"/>
                </a:cubicBezTo>
                <a:cubicBezTo>
                  <a:pt x="8958825" y="229833"/>
                  <a:pt x="8942656" y="213664"/>
                  <a:pt x="8942656" y="195185"/>
                </a:cubicBezTo>
                <a:cubicBezTo>
                  <a:pt x="8942656" y="176706"/>
                  <a:pt x="8957670" y="160537"/>
                  <a:pt x="8977304" y="160537"/>
                </a:cubicBezTo>
                <a:close/>
                <a:moveTo>
                  <a:pt x="8434485" y="160537"/>
                </a:moveTo>
                <a:cubicBezTo>
                  <a:pt x="8454118" y="160537"/>
                  <a:pt x="8469133" y="176706"/>
                  <a:pt x="8469133" y="195185"/>
                </a:cubicBezTo>
                <a:cubicBezTo>
                  <a:pt x="8469133" y="213664"/>
                  <a:pt x="8454118" y="229833"/>
                  <a:pt x="8434485" y="229833"/>
                </a:cubicBezTo>
                <a:cubicBezTo>
                  <a:pt x="8416006" y="229833"/>
                  <a:pt x="8399837" y="213664"/>
                  <a:pt x="8399837" y="195185"/>
                </a:cubicBezTo>
                <a:cubicBezTo>
                  <a:pt x="8399837" y="176706"/>
                  <a:pt x="8414851" y="160537"/>
                  <a:pt x="8434485" y="160537"/>
                </a:cubicBezTo>
                <a:close/>
                <a:moveTo>
                  <a:pt x="6674366" y="160537"/>
                </a:moveTo>
                <a:cubicBezTo>
                  <a:pt x="6692845" y="160537"/>
                  <a:pt x="6709014" y="176706"/>
                  <a:pt x="6709014" y="195185"/>
                </a:cubicBezTo>
                <a:cubicBezTo>
                  <a:pt x="6709014" y="213664"/>
                  <a:pt x="6692845" y="229833"/>
                  <a:pt x="6674366" y="229833"/>
                </a:cubicBezTo>
                <a:cubicBezTo>
                  <a:pt x="6655888" y="229833"/>
                  <a:pt x="6639717" y="213664"/>
                  <a:pt x="6639717" y="195185"/>
                </a:cubicBezTo>
                <a:cubicBezTo>
                  <a:pt x="6639717" y="176706"/>
                  <a:pt x="6654732" y="160537"/>
                  <a:pt x="6674366" y="160537"/>
                </a:cubicBezTo>
                <a:close/>
                <a:moveTo>
                  <a:pt x="5589882" y="160537"/>
                </a:moveTo>
                <a:cubicBezTo>
                  <a:pt x="5609516" y="160537"/>
                  <a:pt x="5624531" y="176706"/>
                  <a:pt x="5624531" y="195185"/>
                </a:cubicBezTo>
                <a:cubicBezTo>
                  <a:pt x="5624531" y="213664"/>
                  <a:pt x="5609516" y="229833"/>
                  <a:pt x="5589882" y="229833"/>
                </a:cubicBezTo>
                <a:cubicBezTo>
                  <a:pt x="5571403" y="229833"/>
                  <a:pt x="5555234" y="213664"/>
                  <a:pt x="5555234" y="195185"/>
                </a:cubicBezTo>
                <a:cubicBezTo>
                  <a:pt x="5555234" y="176706"/>
                  <a:pt x="5570250" y="160537"/>
                  <a:pt x="5589882" y="160537"/>
                </a:cubicBezTo>
                <a:close/>
                <a:moveTo>
                  <a:pt x="4913091" y="160537"/>
                </a:moveTo>
                <a:cubicBezTo>
                  <a:pt x="4931569" y="160537"/>
                  <a:pt x="4947739" y="176706"/>
                  <a:pt x="4947739" y="195185"/>
                </a:cubicBezTo>
                <a:cubicBezTo>
                  <a:pt x="4947739" y="213664"/>
                  <a:pt x="4932726" y="229833"/>
                  <a:pt x="4913091" y="229833"/>
                </a:cubicBezTo>
                <a:cubicBezTo>
                  <a:pt x="4894612" y="229833"/>
                  <a:pt x="4878443" y="213664"/>
                  <a:pt x="4878443" y="195185"/>
                </a:cubicBezTo>
                <a:cubicBezTo>
                  <a:pt x="4878443" y="176706"/>
                  <a:pt x="4893458" y="160537"/>
                  <a:pt x="4913091" y="160537"/>
                </a:cubicBezTo>
                <a:close/>
                <a:moveTo>
                  <a:pt x="4364498" y="160537"/>
                </a:moveTo>
                <a:cubicBezTo>
                  <a:pt x="4382977" y="160537"/>
                  <a:pt x="4399146" y="176706"/>
                  <a:pt x="4399146" y="195185"/>
                </a:cubicBezTo>
                <a:cubicBezTo>
                  <a:pt x="4399146" y="213664"/>
                  <a:pt x="4384131" y="229833"/>
                  <a:pt x="4364498" y="229833"/>
                </a:cubicBezTo>
                <a:cubicBezTo>
                  <a:pt x="4346018" y="229833"/>
                  <a:pt x="4329850" y="213664"/>
                  <a:pt x="4329850" y="195185"/>
                </a:cubicBezTo>
                <a:cubicBezTo>
                  <a:pt x="4329850" y="176706"/>
                  <a:pt x="4344863" y="160537"/>
                  <a:pt x="4364498" y="160537"/>
                </a:cubicBezTo>
                <a:close/>
                <a:moveTo>
                  <a:pt x="3821678" y="160537"/>
                </a:moveTo>
                <a:cubicBezTo>
                  <a:pt x="3841311" y="160537"/>
                  <a:pt x="3856326" y="176706"/>
                  <a:pt x="3856326" y="195185"/>
                </a:cubicBezTo>
                <a:cubicBezTo>
                  <a:pt x="3856326" y="213664"/>
                  <a:pt x="3841311" y="229833"/>
                  <a:pt x="3821678" y="229833"/>
                </a:cubicBezTo>
                <a:cubicBezTo>
                  <a:pt x="3803199" y="229833"/>
                  <a:pt x="3787030" y="213664"/>
                  <a:pt x="3787030" y="195185"/>
                </a:cubicBezTo>
                <a:cubicBezTo>
                  <a:pt x="3787030" y="176706"/>
                  <a:pt x="3802045" y="160537"/>
                  <a:pt x="3821678" y="160537"/>
                </a:cubicBezTo>
                <a:close/>
                <a:moveTo>
                  <a:pt x="2061558" y="160537"/>
                </a:moveTo>
                <a:cubicBezTo>
                  <a:pt x="2080037" y="160537"/>
                  <a:pt x="2096206" y="176706"/>
                  <a:pt x="2096206" y="195185"/>
                </a:cubicBezTo>
                <a:cubicBezTo>
                  <a:pt x="2096206" y="213664"/>
                  <a:pt x="2081192" y="229833"/>
                  <a:pt x="2061558" y="229833"/>
                </a:cubicBezTo>
                <a:cubicBezTo>
                  <a:pt x="2043080" y="229833"/>
                  <a:pt x="2026910" y="213664"/>
                  <a:pt x="2026910" y="195185"/>
                </a:cubicBezTo>
                <a:cubicBezTo>
                  <a:pt x="2026910" y="176706"/>
                  <a:pt x="2041924" y="160537"/>
                  <a:pt x="2061558" y="160537"/>
                </a:cubicBezTo>
                <a:close/>
                <a:moveTo>
                  <a:pt x="977075" y="160537"/>
                </a:moveTo>
                <a:cubicBezTo>
                  <a:pt x="996709" y="160537"/>
                  <a:pt x="1011723" y="176706"/>
                  <a:pt x="1011723" y="195185"/>
                </a:cubicBezTo>
                <a:cubicBezTo>
                  <a:pt x="1011723" y="213664"/>
                  <a:pt x="995554" y="229833"/>
                  <a:pt x="977075" y="229833"/>
                </a:cubicBezTo>
                <a:cubicBezTo>
                  <a:pt x="958596" y="229833"/>
                  <a:pt x="942427" y="213664"/>
                  <a:pt x="942427" y="195185"/>
                </a:cubicBezTo>
                <a:cubicBezTo>
                  <a:pt x="942427" y="176706"/>
                  <a:pt x="957441" y="160537"/>
                  <a:pt x="977075" y="160537"/>
                </a:cubicBezTo>
                <a:close/>
                <a:moveTo>
                  <a:pt x="300283" y="160537"/>
                </a:moveTo>
                <a:cubicBezTo>
                  <a:pt x="318762" y="160537"/>
                  <a:pt x="334931" y="176706"/>
                  <a:pt x="334931" y="195185"/>
                </a:cubicBezTo>
                <a:cubicBezTo>
                  <a:pt x="334931" y="213664"/>
                  <a:pt x="318762" y="229833"/>
                  <a:pt x="300283" y="229833"/>
                </a:cubicBezTo>
                <a:cubicBezTo>
                  <a:pt x="281804" y="229833"/>
                  <a:pt x="265635" y="213664"/>
                  <a:pt x="265635" y="195185"/>
                </a:cubicBezTo>
                <a:cubicBezTo>
                  <a:pt x="265635" y="176706"/>
                  <a:pt x="280650" y="160537"/>
                  <a:pt x="300283" y="160537"/>
                </a:cubicBezTo>
                <a:close/>
                <a:moveTo>
                  <a:pt x="11143410" y="154761"/>
                </a:moveTo>
                <a:cubicBezTo>
                  <a:pt x="11166509" y="154761"/>
                  <a:pt x="11183832" y="173240"/>
                  <a:pt x="11183832" y="195185"/>
                </a:cubicBezTo>
                <a:cubicBezTo>
                  <a:pt x="11183832" y="217128"/>
                  <a:pt x="11165353" y="235607"/>
                  <a:pt x="11143410" y="235607"/>
                </a:cubicBezTo>
                <a:cubicBezTo>
                  <a:pt x="11121466" y="235607"/>
                  <a:pt x="11102987" y="217128"/>
                  <a:pt x="11102987" y="195185"/>
                </a:cubicBezTo>
                <a:cubicBezTo>
                  <a:pt x="11102987" y="173240"/>
                  <a:pt x="11121466" y="154761"/>
                  <a:pt x="11143410" y="154761"/>
                </a:cubicBezTo>
                <a:close/>
                <a:moveTo>
                  <a:pt x="10873155" y="154761"/>
                </a:moveTo>
                <a:cubicBezTo>
                  <a:pt x="10895098" y="154761"/>
                  <a:pt x="10913577" y="173240"/>
                  <a:pt x="10913577" y="195185"/>
                </a:cubicBezTo>
                <a:cubicBezTo>
                  <a:pt x="10913577" y="217128"/>
                  <a:pt x="10895098" y="235607"/>
                  <a:pt x="10873155" y="235607"/>
                </a:cubicBezTo>
                <a:cubicBezTo>
                  <a:pt x="10851211" y="235607"/>
                  <a:pt x="10832732" y="217128"/>
                  <a:pt x="10832732" y="195185"/>
                </a:cubicBezTo>
                <a:cubicBezTo>
                  <a:pt x="10832732" y="173240"/>
                  <a:pt x="10851211" y="154761"/>
                  <a:pt x="10873155" y="154761"/>
                </a:cubicBezTo>
                <a:close/>
                <a:moveTo>
                  <a:pt x="10060082" y="154761"/>
                </a:moveTo>
                <a:cubicBezTo>
                  <a:pt x="10082025" y="154761"/>
                  <a:pt x="10100504" y="173240"/>
                  <a:pt x="10100504" y="195185"/>
                </a:cubicBezTo>
                <a:cubicBezTo>
                  <a:pt x="10100504" y="217128"/>
                  <a:pt x="10082025" y="235607"/>
                  <a:pt x="10060082" y="235607"/>
                </a:cubicBezTo>
                <a:cubicBezTo>
                  <a:pt x="10038137" y="235607"/>
                  <a:pt x="10019658" y="217128"/>
                  <a:pt x="10019658" y="195185"/>
                </a:cubicBezTo>
                <a:cubicBezTo>
                  <a:pt x="10019658" y="173240"/>
                  <a:pt x="10038137" y="154761"/>
                  <a:pt x="10060082" y="154761"/>
                </a:cubicBezTo>
                <a:close/>
                <a:moveTo>
                  <a:pt x="9653545" y="154761"/>
                </a:moveTo>
                <a:cubicBezTo>
                  <a:pt x="9675488" y="154761"/>
                  <a:pt x="9693967" y="173240"/>
                  <a:pt x="9693967" y="195185"/>
                </a:cubicBezTo>
                <a:cubicBezTo>
                  <a:pt x="9693967" y="217128"/>
                  <a:pt x="9675488" y="235607"/>
                  <a:pt x="9653545" y="235607"/>
                </a:cubicBezTo>
                <a:cubicBezTo>
                  <a:pt x="9631600" y="235607"/>
                  <a:pt x="9613122" y="217128"/>
                  <a:pt x="9613122" y="195185"/>
                </a:cubicBezTo>
                <a:cubicBezTo>
                  <a:pt x="9613122" y="173240"/>
                  <a:pt x="9631600" y="154761"/>
                  <a:pt x="9653545" y="154761"/>
                </a:cubicBezTo>
                <a:close/>
                <a:moveTo>
                  <a:pt x="8841022" y="154761"/>
                </a:moveTo>
                <a:cubicBezTo>
                  <a:pt x="8864121" y="154761"/>
                  <a:pt x="8881444" y="173240"/>
                  <a:pt x="8881444" y="195185"/>
                </a:cubicBezTo>
                <a:cubicBezTo>
                  <a:pt x="8881444" y="217128"/>
                  <a:pt x="8862965" y="235607"/>
                  <a:pt x="8841022" y="235607"/>
                </a:cubicBezTo>
                <a:cubicBezTo>
                  <a:pt x="8819078" y="235607"/>
                  <a:pt x="8800599" y="217128"/>
                  <a:pt x="8800599" y="195185"/>
                </a:cubicBezTo>
                <a:cubicBezTo>
                  <a:pt x="8800599" y="173240"/>
                  <a:pt x="8819078" y="154761"/>
                  <a:pt x="8841022" y="154761"/>
                </a:cubicBezTo>
                <a:close/>
                <a:moveTo>
                  <a:pt x="8570767" y="154761"/>
                </a:moveTo>
                <a:cubicBezTo>
                  <a:pt x="8592711" y="154761"/>
                  <a:pt x="8611190" y="173240"/>
                  <a:pt x="8611190" y="195185"/>
                </a:cubicBezTo>
                <a:cubicBezTo>
                  <a:pt x="8611190" y="217128"/>
                  <a:pt x="8592711" y="235607"/>
                  <a:pt x="8570767" y="235607"/>
                </a:cubicBezTo>
                <a:cubicBezTo>
                  <a:pt x="8548823" y="235607"/>
                  <a:pt x="8530344" y="217128"/>
                  <a:pt x="8530344" y="195185"/>
                </a:cubicBezTo>
                <a:cubicBezTo>
                  <a:pt x="8530344" y="173240"/>
                  <a:pt x="8548823" y="154761"/>
                  <a:pt x="8570767" y="154761"/>
                </a:cubicBezTo>
                <a:close/>
                <a:moveTo>
                  <a:pt x="6538083" y="154761"/>
                </a:moveTo>
                <a:cubicBezTo>
                  <a:pt x="6561183" y="154761"/>
                  <a:pt x="6578507" y="173240"/>
                  <a:pt x="6578507" y="195185"/>
                </a:cubicBezTo>
                <a:cubicBezTo>
                  <a:pt x="6578507" y="217128"/>
                  <a:pt x="6560028" y="235607"/>
                  <a:pt x="6538083" y="235607"/>
                </a:cubicBezTo>
                <a:cubicBezTo>
                  <a:pt x="6516139" y="235607"/>
                  <a:pt x="6497661" y="217128"/>
                  <a:pt x="6497661" y="195185"/>
                </a:cubicBezTo>
                <a:cubicBezTo>
                  <a:pt x="6497661" y="173240"/>
                  <a:pt x="6516139" y="154761"/>
                  <a:pt x="6538083" y="154761"/>
                </a:cubicBezTo>
                <a:close/>
                <a:moveTo>
                  <a:pt x="6267830" y="154761"/>
                </a:moveTo>
                <a:cubicBezTo>
                  <a:pt x="6289772" y="154761"/>
                  <a:pt x="6308251" y="173240"/>
                  <a:pt x="6308251" y="195185"/>
                </a:cubicBezTo>
                <a:cubicBezTo>
                  <a:pt x="6308251" y="217128"/>
                  <a:pt x="6289772" y="235607"/>
                  <a:pt x="6267830" y="235607"/>
                </a:cubicBezTo>
                <a:cubicBezTo>
                  <a:pt x="6245885" y="235607"/>
                  <a:pt x="6227406" y="217128"/>
                  <a:pt x="6227406" y="195185"/>
                </a:cubicBezTo>
                <a:cubicBezTo>
                  <a:pt x="6227406" y="173240"/>
                  <a:pt x="6245885" y="154761"/>
                  <a:pt x="6267830" y="154761"/>
                </a:cubicBezTo>
                <a:close/>
                <a:moveTo>
                  <a:pt x="5454756" y="154761"/>
                </a:moveTo>
                <a:cubicBezTo>
                  <a:pt x="5476698" y="154761"/>
                  <a:pt x="5495178" y="173240"/>
                  <a:pt x="5495178" y="195185"/>
                </a:cubicBezTo>
                <a:cubicBezTo>
                  <a:pt x="5495178" y="217128"/>
                  <a:pt x="5476698" y="235607"/>
                  <a:pt x="5454756" y="235607"/>
                </a:cubicBezTo>
                <a:cubicBezTo>
                  <a:pt x="5432812" y="235607"/>
                  <a:pt x="5414332" y="217128"/>
                  <a:pt x="5414332" y="195185"/>
                </a:cubicBezTo>
                <a:cubicBezTo>
                  <a:pt x="5414332" y="173240"/>
                  <a:pt x="5432812" y="154761"/>
                  <a:pt x="5454756" y="154761"/>
                </a:cubicBezTo>
                <a:close/>
                <a:moveTo>
                  <a:pt x="5048218" y="154761"/>
                </a:moveTo>
                <a:cubicBezTo>
                  <a:pt x="5070162" y="154761"/>
                  <a:pt x="5088641" y="173240"/>
                  <a:pt x="5088641" y="195185"/>
                </a:cubicBezTo>
                <a:cubicBezTo>
                  <a:pt x="5088641" y="217128"/>
                  <a:pt x="5070162" y="235607"/>
                  <a:pt x="5048218" y="235607"/>
                </a:cubicBezTo>
                <a:cubicBezTo>
                  <a:pt x="5026274" y="235607"/>
                  <a:pt x="5007796" y="217128"/>
                  <a:pt x="5007796" y="195185"/>
                </a:cubicBezTo>
                <a:cubicBezTo>
                  <a:pt x="5007796" y="173240"/>
                  <a:pt x="5026274" y="154761"/>
                  <a:pt x="5048218" y="154761"/>
                </a:cubicBezTo>
                <a:close/>
                <a:moveTo>
                  <a:pt x="4228216" y="154761"/>
                </a:moveTo>
                <a:cubicBezTo>
                  <a:pt x="4251315" y="154761"/>
                  <a:pt x="4268637" y="173240"/>
                  <a:pt x="4268637" y="195185"/>
                </a:cubicBezTo>
                <a:cubicBezTo>
                  <a:pt x="4268637" y="217128"/>
                  <a:pt x="4250159" y="235607"/>
                  <a:pt x="4228216" y="235607"/>
                </a:cubicBezTo>
                <a:cubicBezTo>
                  <a:pt x="4206271" y="235607"/>
                  <a:pt x="4187792" y="217128"/>
                  <a:pt x="4187792" y="195185"/>
                </a:cubicBezTo>
                <a:cubicBezTo>
                  <a:pt x="4187792" y="173240"/>
                  <a:pt x="4206271" y="154761"/>
                  <a:pt x="4228216" y="154761"/>
                </a:cubicBezTo>
                <a:close/>
                <a:moveTo>
                  <a:pt x="3957960" y="154761"/>
                </a:moveTo>
                <a:cubicBezTo>
                  <a:pt x="3979904" y="154761"/>
                  <a:pt x="3998382" y="173240"/>
                  <a:pt x="3998382" y="195185"/>
                </a:cubicBezTo>
                <a:cubicBezTo>
                  <a:pt x="3998382" y="217128"/>
                  <a:pt x="3979904" y="235607"/>
                  <a:pt x="3957960" y="235607"/>
                </a:cubicBezTo>
                <a:cubicBezTo>
                  <a:pt x="3936016" y="235607"/>
                  <a:pt x="3917537" y="217128"/>
                  <a:pt x="3917537" y="195185"/>
                </a:cubicBezTo>
                <a:cubicBezTo>
                  <a:pt x="3917537" y="173240"/>
                  <a:pt x="3936016" y="154761"/>
                  <a:pt x="3957960" y="154761"/>
                </a:cubicBezTo>
                <a:close/>
                <a:moveTo>
                  <a:pt x="1925276" y="154761"/>
                </a:moveTo>
                <a:cubicBezTo>
                  <a:pt x="1948375" y="154761"/>
                  <a:pt x="1965698" y="173240"/>
                  <a:pt x="1965698" y="195185"/>
                </a:cubicBezTo>
                <a:cubicBezTo>
                  <a:pt x="1965698" y="217128"/>
                  <a:pt x="1947219" y="235607"/>
                  <a:pt x="1925276" y="235607"/>
                </a:cubicBezTo>
                <a:cubicBezTo>
                  <a:pt x="1903332" y="235607"/>
                  <a:pt x="1884853" y="217128"/>
                  <a:pt x="1884853" y="195185"/>
                </a:cubicBezTo>
                <a:cubicBezTo>
                  <a:pt x="1884853" y="173240"/>
                  <a:pt x="1903332" y="154761"/>
                  <a:pt x="1925276" y="154761"/>
                </a:cubicBezTo>
                <a:close/>
                <a:moveTo>
                  <a:pt x="1655022" y="154761"/>
                </a:moveTo>
                <a:cubicBezTo>
                  <a:pt x="1676965" y="154761"/>
                  <a:pt x="1695444" y="173240"/>
                  <a:pt x="1695444" y="195185"/>
                </a:cubicBezTo>
                <a:cubicBezTo>
                  <a:pt x="1695444" y="217128"/>
                  <a:pt x="1676965" y="235607"/>
                  <a:pt x="1655022" y="235607"/>
                </a:cubicBezTo>
                <a:cubicBezTo>
                  <a:pt x="1633077" y="235607"/>
                  <a:pt x="1614598" y="217128"/>
                  <a:pt x="1614598" y="195185"/>
                </a:cubicBezTo>
                <a:cubicBezTo>
                  <a:pt x="1614598" y="173240"/>
                  <a:pt x="1633077" y="154761"/>
                  <a:pt x="1655022" y="154761"/>
                </a:cubicBezTo>
                <a:close/>
                <a:moveTo>
                  <a:pt x="841948" y="154761"/>
                </a:moveTo>
                <a:cubicBezTo>
                  <a:pt x="863891" y="154761"/>
                  <a:pt x="882370" y="173240"/>
                  <a:pt x="882370" y="195185"/>
                </a:cubicBezTo>
                <a:cubicBezTo>
                  <a:pt x="882370" y="217128"/>
                  <a:pt x="863891" y="235607"/>
                  <a:pt x="841948" y="235607"/>
                </a:cubicBezTo>
                <a:cubicBezTo>
                  <a:pt x="820004" y="235607"/>
                  <a:pt x="801525" y="217128"/>
                  <a:pt x="801525" y="195185"/>
                </a:cubicBezTo>
                <a:cubicBezTo>
                  <a:pt x="801525" y="173240"/>
                  <a:pt x="820004" y="154761"/>
                  <a:pt x="841948" y="154761"/>
                </a:cubicBezTo>
                <a:close/>
                <a:moveTo>
                  <a:pt x="435411" y="154761"/>
                </a:moveTo>
                <a:cubicBezTo>
                  <a:pt x="457354" y="154761"/>
                  <a:pt x="475833" y="173240"/>
                  <a:pt x="475833" y="195185"/>
                </a:cubicBezTo>
                <a:cubicBezTo>
                  <a:pt x="475833" y="217128"/>
                  <a:pt x="457354" y="235607"/>
                  <a:pt x="435411" y="235607"/>
                </a:cubicBezTo>
                <a:cubicBezTo>
                  <a:pt x="413467" y="235607"/>
                  <a:pt x="394988" y="217128"/>
                  <a:pt x="394988" y="195185"/>
                </a:cubicBezTo>
                <a:cubicBezTo>
                  <a:pt x="394988" y="173240"/>
                  <a:pt x="413467" y="154761"/>
                  <a:pt x="435411" y="154761"/>
                </a:cubicBezTo>
                <a:close/>
                <a:moveTo>
                  <a:pt x="11008282" y="144368"/>
                </a:moveTo>
                <a:cubicBezTo>
                  <a:pt x="11036000" y="144368"/>
                  <a:pt x="11059099" y="167466"/>
                  <a:pt x="11059099" y="195185"/>
                </a:cubicBezTo>
                <a:cubicBezTo>
                  <a:pt x="11059099" y="222903"/>
                  <a:pt x="11037156" y="246002"/>
                  <a:pt x="11008282" y="246002"/>
                </a:cubicBezTo>
                <a:cubicBezTo>
                  <a:pt x="10980564" y="246002"/>
                  <a:pt x="10957465" y="222903"/>
                  <a:pt x="10957465" y="195185"/>
                </a:cubicBezTo>
                <a:cubicBezTo>
                  <a:pt x="10957465" y="167466"/>
                  <a:pt x="10979409" y="144368"/>
                  <a:pt x="11008282" y="144368"/>
                </a:cubicBezTo>
                <a:close/>
                <a:moveTo>
                  <a:pt x="9924954" y="144368"/>
                </a:moveTo>
                <a:cubicBezTo>
                  <a:pt x="9952672" y="144368"/>
                  <a:pt x="9975771" y="167466"/>
                  <a:pt x="9975771" y="195185"/>
                </a:cubicBezTo>
                <a:cubicBezTo>
                  <a:pt x="9975771" y="222903"/>
                  <a:pt x="9953828" y="246002"/>
                  <a:pt x="9924954" y="246002"/>
                </a:cubicBezTo>
                <a:cubicBezTo>
                  <a:pt x="9897235" y="246002"/>
                  <a:pt x="9874137" y="222903"/>
                  <a:pt x="9874137" y="195185"/>
                </a:cubicBezTo>
                <a:cubicBezTo>
                  <a:pt x="9874137" y="167466"/>
                  <a:pt x="9896081" y="144368"/>
                  <a:pt x="9924954" y="144368"/>
                </a:cubicBezTo>
                <a:close/>
                <a:moveTo>
                  <a:pt x="9788672" y="144368"/>
                </a:moveTo>
                <a:cubicBezTo>
                  <a:pt x="9817545" y="144368"/>
                  <a:pt x="9839489" y="167466"/>
                  <a:pt x="9839489" y="195185"/>
                </a:cubicBezTo>
                <a:cubicBezTo>
                  <a:pt x="9839489" y="222903"/>
                  <a:pt x="9816390" y="246002"/>
                  <a:pt x="9788672" y="246002"/>
                </a:cubicBezTo>
                <a:cubicBezTo>
                  <a:pt x="9760953" y="246002"/>
                  <a:pt x="9737854" y="222903"/>
                  <a:pt x="9737854" y="195185"/>
                </a:cubicBezTo>
                <a:cubicBezTo>
                  <a:pt x="9737854" y="167466"/>
                  <a:pt x="9759799" y="144368"/>
                  <a:pt x="9788672" y="144368"/>
                </a:cubicBezTo>
                <a:close/>
                <a:moveTo>
                  <a:pt x="8705894" y="144368"/>
                </a:moveTo>
                <a:cubicBezTo>
                  <a:pt x="8733613" y="144368"/>
                  <a:pt x="8756711" y="167466"/>
                  <a:pt x="8756711" y="195185"/>
                </a:cubicBezTo>
                <a:cubicBezTo>
                  <a:pt x="8756711" y="222903"/>
                  <a:pt x="8733613" y="246002"/>
                  <a:pt x="8705894" y="246002"/>
                </a:cubicBezTo>
                <a:cubicBezTo>
                  <a:pt x="8678176" y="246002"/>
                  <a:pt x="8655077" y="222903"/>
                  <a:pt x="8655077" y="195185"/>
                </a:cubicBezTo>
                <a:cubicBezTo>
                  <a:pt x="8655077" y="167466"/>
                  <a:pt x="8677021" y="144368"/>
                  <a:pt x="8705894" y="144368"/>
                </a:cubicBezTo>
                <a:close/>
                <a:moveTo>
                  <a:pt x="6402956" y="144368"/>
                </a:moveTo>
                <a:cubicBezTo>
                  <a:pt x="6431830" y="144368"/>
                  <a:pt x="6453773" y="167466"/>
                  <a:pt x="6453773" y="195185"/>
                </a:cubicBezTo>
                <a:cubicBezTo>
                  <a:pt x="6453773" y="222903"/>
                  <a:pt x="6431830" y="246002"/>
                  <a:pt x="6402956" y="246002"/>
                </a:cubicBezTo>
                <a:cubicBezTo>
                  <a:pt x="6375237" y="246002"/>
                  <a:pt x="6352139" y="222903"/>
                  <a:pt x="6352139" y="195185"/>
                </a:cubicBezTo>
                <a:cubicBezTo>
                  <a:pt x="6352139" y="167466"/>
                  <a:pt x="6374084" y="144368"/>
                  <a:pt x="6402956" y="144368"/>
                </a:cubicBezTo>
                <a:close/>
                <a:moveTo>
                  <a:pt x="5319627" y="144368"/>
                </a:moveTo>
                <a:cubicBezTo>
                  <a:pt x="5347347" y="144368"/>
                  <a:pt x="5370444" y="167466"/>
                  <a:pt x="5370444" y="195185"/>
                </a:cubicBezTo>
                <a:cubicBezTo>
                  <a:pt x="5370444" y="222903"/>
                  <a:pt x="5347347" y="246002"/>
                  <a:pt x="5319627" y="246002"/>
                </a:cubicBezTo>
                <a:cubicBezTo>
                  <a:pt x="5291910" y="246002"/>
                  <a:pt x="5268810" y="222903"/>
                  <a:pt x="5268810" y="195185"/>
                </a:cubicBezTo>
                <a:cubicBezTo>
                  <a:pt x="5268810" y="167466"/>
                  <a:pt x="5290756" y="144368"/>
                  <a:pt x="5319627" y="144368"/>
                </a:cubicBezTo>
                <a:close/>
                <a:moveTo>
                  <a:pt x="5183345" y="144368"/>
                </a:moveTo>
                <a:cubicBezTo>
                  <a:pt x="5212220" y="144368"/>
                  <a:pt x="5234162" y="167466"/>
                  <a:pt x="5234162" y="195185"/>
                </a:cubicBezTo>
                <a:cubicBezTo>
                  <a:pt x="5234162" y="222903"/>
                  <a:pt x="5211064" y="246002"/>
                  <a:pt x="5183345" y="246002"/>
                </a:cubicBezTo>
                <a:cubicBezTo>
                  <a:pt x="5155627" y="246002"/>
                  <a:pt x="5132528" y="222903"/>
                  <a:pt x="5132528" y="195185"/>
                </a:cubicBezTo>
                <a:cubicBezTo>
                  <a:pt x="5132528" y="167466"/>
                  <a:pt x="5154472" y="144368"/>
                  <a:pt x="5183345" y="144368"/>
                </a:cubicBezTo>
                <a:close/>
                <a:moveTo>
                  <a:pt x="4093087" y="144368"/>
                </a:moveTo>
                <a:cubicBezTo>
                  <a:pt x="4120806" y="144368"/>
                  <a:pt x="4143904" y="167466"/>
                  <a:pt x="4143904" y="195185"/>
                </a:cubicBezTo>
                <a:cubicBezTo>
                  <a:pt x="4143904" y="222903"/>
                  <a:pt x="4120806" y="246002"/>
                  <a:pt x="4093087" y="246002"/>
                </a:cubicBezTo>
                <a:cubicBezTo>
                  <a:pt x="4065369" y="246002"/>
                  <a:pt x="4042270" y="222903"/>
                  <a:pt x="4042270" y="195185"/>
                </a:cubicBezTo>
                <a:cubicBezTo>
                  <a:pt x="4042270" y="167466"/>
                  <a:pt x="4064214" y="144368"/>
                  <a:pt x="4093087" y="144368"/>
                </a:cubicBezTo>
                <a:close/>
                <a:moveTo>
                  <a:pt x="1790148" y="144368"/>
                </a:moveTo>
                <a:cubicBezTo>
                  <a:pt x="1817867" y="144368"/>
                  <a:pt x="1840965" y="167466"/>
                  <a:pt x="1840965" y="195185"/>
                </a:cubicBezTo>
                <a:cubicBezTo>
                  <a:pt x="1840965" y="222903"/>
                  <a:pt x="1819022" y="246002"/>
                  <a:pt x="1790148" y="246002"/>
                </a:cubicBezTo>
                <a:cubicBezTo>
                  <a:pt x="1762430" y="246002"/>
                  <a:pt x="1739331" y="222903"/>
                  <a:pt x="1739331" y="195185"/>
                </a:cubicBezTo>
                <a:cubicBezTo>
                  <a:pt x="1739331" y="167466"/>
                  <a:pt x="1761275" y="144368"/>
                  <a:pt x="1790148" y="144368"/>
                </a:cubicBezTo>
                <a:close/>
                <a:moveTo>
                  <a:pt x="706820" y="144368"/>
                </a:moveTo>
                <a:cubicBezTo>
                  <a:pt x="734538" y="144368"/>
                  <a:pt x="757637" y="167466"/>
                  <a:pt x="757637" y="195185"/>
                </a:cubicBezTo>
                <a:cubicBezTo>
                  <a:pt x="757637" y="222903"/>
                  <a:pt x="735694" y="246002"/>
                  <a:pt x="706820" y="246002"/>
                </a:cubicBezTo>
                <a:cubicBezTo>
                  <a:pt x="679101" y="246002"/>
                  <a:pt x="656003" y="222903"/>
                  <a:pt x="656003" y="195185"/>
                </a:cubicBezTo>
                <a:cubicBezTo>
                  <a:pt x="656003" y="167466"/>
                  <a:pt x="677947" y="144368"/>
                  <a:pt x="706820" y="144368"/>
                </a:cubicBezTo>
                <a:close/>
                <a:moveTo>
                  <a:pt x="570538" y="144368"/>
                </a:moveTo>
                <a:cubicBezTo>
                  <a:pt x="599412" y="144368"/>
                  <a:pt x="621355" y="167466"/>
                  <a:pt x="621355" y="195185"/>
                </a:cubicBezTo>
                <a:cubicBezTo>
                  <a:pt x="621355" y="222903"/>
                  <a:pt x="598256" y="246002"/>
                  <a:pt x="570538" y="246002"/>
                </a:cubicBezTo>
                <a:cubicBezTo>
                  <a:pt x="542819" y="246002"/>
                  <a:pt x="519721" y="222903"/>
                  <a:pt x="519721" y="195185"/>
                </a:cubicBezTo>
                <a:cubicBezTo>
                  <a:pt x="519721" y="167466"/>
                  <a:pt x="541665" y="144368"/>
                  <a:pt x="570538" y="144368"/>
                </a:cubicBezTo>
                <a:close/>
                <a:moveTo>
                  <a:pt x="12180541" y="31184"/>
                </a:moveTo>
                <a:cubicBezTo>
                  <a:pt x="12192090" y="31184"/>
                  <a:pt x="12201330" y="40424"/>
                  <a:pt x="12201330" y="51973"/>
                </a:cubicBezTo>
                <a:cubicBezTo>
                  <a:pt x="12201330" y="63522"/>
                  <a:pt x="12192090" y="72762"/>
                  <a:pt x="12180541" y="72762"/>
                </a:cubicBezTo>
                <a:cubicBezTo>
                  <a:pt x="12168992" y="72762"/>
                  <a:pt x="12159752" y="63522"/>
                  <a:pt x="12159752" y="51973"/>
                </a:cubicBezTo>
                <a:cubicBezTo>
                  <a:pt x="12159752" y="40424"/>
                  <a:pt x="12168992" y="31184"/>
                  <a:pt x="12180541" y="31184"/>
                </a:cubicBezTo>
                <a:close/>
                <a:moveTo>
                  <a:pt x="12040793" y="31184"/>
                </a:moveTo>
                <a:cubicBezTo>
                  <a:pt x="12052342" y="31184"/>
                  <a:pt x="12061582" y="40424"/>
                  <a:pt x="12061582" y="51973"/>
                </a:cubicBezTo>
                <a:cubicBezTo>
                  <a:pt x="12061582" y="63522"/>
                  <a:pt x="12052342" y="72762"/>
                  <a:pt x="12040793" y="72762"/>
                </a:cubicBezTo>
                <a:cubicBezTo>
                  <a:pt x="12029244" y="72762"/>
                  <a:pt x="12020004" y="63522"/>
                  <a:pt x="12020004" y="51973"/>
                </a:cubicBezTo>
                <a:cubicBezTo>
                  <a:pt x="12020004" y="40424"/>
                  <a:pt x="12029244" y="31184"/>
                  <a:pt x="12040793" y="31184"/>
                </a:cubicBezTo>
                <a:close/>
                <a:moveTo>
                  <a:pt x="11901047" y="31184"/>
                </a:moveTo>
                <a:cubicBezTo>
                  <a:pt x="11912596" y="31184"/>
                  <a:pt x="11921836" y="40424"/>
                  <a:pt x="11921836" y="51973"/>
                </a:cubicBezTo>
                <a:cubicBezTo>
                  <a:pt x="11921836" y="63522"/>
                  <a:pt x="11912596" y="72762"/>
                  <a:pt x="11901047" y="72762"/>
                </a:cubicBezTo>
                <a:cubicBezTo>
                  <a:pt x="11889498" y="72762"/>
                  <a:pt x="11880258" y="63522"/>
                  <a:pt x="11880258" y="51973"/>
                </a:cubicBezTo>
                <a:cubicBezTo>
                  <a:pt x="11880258" y="40424"/>
                  <a:pt x="11889498" y="31184"/>
                  <a:pt x="11901047" y="31184"/>
                </a:cubicBezTo>
                <a:close/>
                <a:moveTo>
                  <a:pt x="11761299" y="31184"/>
                </a:moveTo>
                <a:cubicBezTo>
                  <a:pt x="11772848" y="31184"/>
                  <a:pt x="11782088" y="40424"/>
                  <a:pt x="11782088" y="51973"/>
                </a:cubicBezTo>
                <a:cubicBezTo>
                  <a:pt x="11782088" y="63522"/>
                  <a:pt x="11772848" y="72762"/>
                  <a:pt x="11761299" y="72762"/>
                </a:cubicBezTo>
                <a:cubicBezTo>
                  <a:pt x="11749750" y="72762"/>
                  <a:pt x="11740510" y="63522"/>
                  <a:pt x="11740510" y="51973"/>
                </a:cubicBezTo>
                <a:cubicBezTo>
                  <a:pt x="11740510" y="40424"/>
                  <a:pt x="11749750" y="31184"/>
                  <a:pt x="11761299" y="31184"/>
                </a:cubicBezTo>
                <a:close/>
                <a:moveTo>
                  <a:pt x="11621553" y="31184"/>
                </a:moveTo>
                <a:cubicBezTo>
                  <a:pt x="11633102" y="31184"/>
                  <a:pt x="11642342" y="40424"/>
                  <a:pt x="11642342" y="51973"/>
                </a:cubicBezTo>
                <a:cubicBezTo>
                  <a:pt x="11642342" y="63522"/>
                  <a:pt x="11633102" y="72762"/>
                  <a:pt x="11621553" y="72762"/>
                </a:cubicBezTo>
                <a:cubicBezTo>
                  <a:pt x="11610003" y="72762"/>
                  <a:pt x="11600764" y="63522"/>
                  <a:pt x="11600764" y="51973"/>
                </a:cubicBezTo>
                <a:cubicBezTo>
                  <a:pt x="11600764" y="40424"/>
                  <a:pt x="11610003" y="31184"/>
                  <a:pt x="11621553" y="31184"/>
                </a:cubicBezTo>
                <a:close/>
                <a:moveTo>
                  <a:pt x="11481805" y="31184"/>
                </a:moveTo>
                <a:cubicBezTo>
                  <a:pt x="11493354" y="31184"/>
                  <a:pt x="11502594" y="40424"/>
                  <a:pt x="11502594" y="51973"/>
                </a:cubicBezTo>
                <a:cubicBezTo>
                  <a:pt x="11502594" y="63522"/>
                  <a:pt x="11493354" y="72762"/>
                  <a:pt x="11481805" y="72762"/>
                </a:cubicBezTo>
                <a:cubicBezTo>
                  <a:pt x="11470256" y="72762"/>
                  <a:pt x="11461016" y="63522"/>
                  <a:pt x="11461016" y="51973"/>
                </a:cubicBezTo>
                <a:cubicBezTo>
                  <a:pt x="11461016" y="40424"/>
                  <a:pt x="11470256" y="31184"/>
                  <a:pt x="11481805" y="31184"/>
                </a:cubicBezTo>
                <a:close/>
                <a:moveTo>
                  <a:pt x="10644478" y="31184"/>
                </a:moveTo>
                <a:cubicBezTo>
                  <a:pt x="10656028" y="31184"/>
                  <a:pt x="10665267" y="40424"/>
                  <a:pt x="10665267" y="51973"/>
                </a:cubicBezTo>
                <a:cubicBezTo>
                  <a:pt x="10665267" y="63522"/>
                  <a:pt x="10656028" y="72762"/>
                  <a:pt x="10644478" y="72762"/>
                </a:cubicBezTo>
                <a:cubicBezTo>
                  <a:pt x="10632929" y="72762"/>
                  <a:pt x="10623690" y="63522"/>
                  <a:pt x="10623690" y="51973"/>
                </a:cubicBezTo>
                <a:cubicBezTo>
                  <a:pt x="10623690" y="40424"/>
                  <a:pt x="10632929" y="31184"/>
                  <a:pt x="10644478" y="31184"/>
                </a:cubicBezTo>
                <a:close/>
                <a:moveTo>
                  <a:pt x="10504731" y="31184"/>
                </a:moveTo>
                <a:cubicBezTo>
                  <a:pt x="10516280" y="31184"/>
                  <a:pt x="10525520" y="40424"/>
                  <a:pt x="10525520" y="51973"/>
                </a:cubicBezTo>
                <a:cubicBezTo>
                  <a:pt x="10525520" y="63522"/>
                  <a:pt x="10516280" y="72762"/>
                  <a:pt x="10504731" y="72762"/>
                </a:cubicBezTo>
                <a:cubicBezTo>
                  <a:pt x="10493181" y="72762"/>
                  <a:pt x="10483942" y="63522"/>
                  <a:pt x="10483942" y="51973"/>
                </a:cubicBezTo>
                <a:cubicBezTo>
                  <a:pt x="10483942" y="40424"/>
                  <a:pt x="10493181" y="31184"/>
                  <a:pt x="10504731" y="31184"/>
                </a:cubicBezTo>
                <a:close/>
                <a:moveTo>
                  <a:pt x="10364984" y="31184"/>
                </a:moveTo>
                <a:cubicBezTo>
                  <a:pt x="10376534" y="31184"/>
                  <a:pt x="10385773" y="40424"/>
                  <a:pt x="10385773" y="51973"/>
                </a:cubicBezTo>
                <a:cubicBezTo>
                  <a:pt x="10385773" y="63522"/>
                  <a:pt x="10376534" y="72762"/>
                  <a:pt x="10364984" y="72762"/>
                </a:cubicBezTo>
                <a:cubicBezTo>
                  <a:pt x="10353435" y="72762"/>
                  <a:pt x="10344196" y="63522"/>
                  <a:pt x="10344196" y="51973"/>
                </a:cubicBezTo>
                <a:cubicBezTo>
                  <a:pt x="10344196" y="40424"/>
                  <a:pt x="10353435" y="31184"/>
                  <a:pt x="10364984" y="31184"/>
                </a:cubicBezTo>
                <a:close/>
                <a:moveTo>
                  <a:pt x="7854709" y="31184"/>
                </a:moveTo>
                <a:cubicBezTo>
                  <a:pt x="7866258" y="31184"/>
                  <a:pt x="7875498" y="40424"/>
                  <a:pt x="7875498" y="51973"/>
                </a:cubicBezTo>
                <a:cubicBezTo>
                  <a:pt x="7875498" y="63522"/>
                  <a:pt x="7866258" y="72762"/>
                  <a:pt x="7854709" y="72762"/>
                </a:cubicBezTo>
                <a:cubicBezTo>
                  <a:pt x="7843160" y="72762"/>
                  <a:pt x="7833921" y="63522"/>
                  <a:pt x="7833921" y="51973"/>
                </a:cubicBezTo>
                <a:cubicBezTo>
                  <a:pt x="7833921" y="40424"/>
                  <a:pt x="7843160" y="31184"/>
                  <a:pt x="7854709" y="31184"/>
                </a:cubicBezTo>
                <a:close/>
                <a:moveTo>
                  <a:pt x="7714960" y="31184"/>
                </a:moveTo>
                <a:cubicBezTo>
                  <a:pt x="7726511" y="31184"/>
                  <a:pt x="7735749" y="40424"/>
                  <a:pt x="7735749" y="51973"/>
                </a:cubicBezTo>
                <a:cubicBezTo>
                  <a:pt x="7735749" y="63522"/>
                  <a:pt x="7726511" y="72762"/>
                  <a:pt x="7714960" y="72762"/>
                </a:cubicBezTo>
                <a:cubicBezTo>
                  <a:pt x="7703411" y="72762"/>
                  <a:pt x="7694172" y="63522"/>
                  <a:pt x="7694172" y="51973"/>
                </a:cubicBezTo>
                <a:cubicBezTo>
                  <a:pt x="7694172" y="40424"/>
                  <a:pt x="7703411" y="31184"/>
                  <a:pt x="7714960" y="31184"/>
                </a:cubicBezTo>
                <a:close/>
                <a:moveTo>
                  <a:pt x="7575214" y="31184"/>
                </a:moveTo>
                <a:cubicBezTo>
                  <a:pt x="7586765" y="31184"/>
                  <a:pt x="7596004" y="40424"/>
                  <a:pt x="7596004" y="51973"/>
                </a:cubicBezTo>
                <a:cubicBezTo>
                  <a:pt x="7596004" y="63522"/>
                  <a:pt x="7586765" y="72762"/>
                  <a:pt x="7575214" y="72762"/>
                </a:cubicBezTo>
                <a:cubicBezTo>
                  <a:pt x="7563665" y="72762"/>
                  <a:pt x="7554427" y="63522"/>
                  <a:pt x="7554427" y="51973"/>
                </a:cubicBezTo>
                <a:cubicBezTo>
                  <a:pt x="7554427" y="40424"/>
                  <a:pt x="7563665" y="31184"/>
                  <a:pt x="7575214" y="31184"/>
                </a:cubicBezTo>
                <a:close/>
                <a:moveTo>
                  <a:pt x="7435467" y="31184"/>
                </a:moveTo>
                <a:cubicBezTo>
                  <a:pt x="7447016" y="31184"/>
                  <a:pt x="7456257" y="40424"/>
                  <a:pt x="7456257" y="51973"/>
                </a:cubicBezTo>
                <a:cubicBezTo>
                  <a:pt x="7456257" y="63522"/>
                  <a:pt x="7447016" y="72762"/>
                  <a:pt x="7435467" y="72762"/>
                </a:cubicBezTo>
                <a:cubicBezTo>
                  <a:pt x="7423918" y="72762"/>
                  <a:pt x="7414678" y="63522"/>
                  <a:pt x="7414678" y="51973"/>
                </a:cubicBezTo>
                <a:cubicBezTo>
                  <a:pt x="7414678" y="40424"/>
                  <a:pt x="7423918" y="31184"/>
                  <a:pt x="7435467" y="31184"/>
                </a:cubicBezTo>
                <a:close/>
                <a:moveTo>
                  <a:pt x="7295720" y="31184"/>
                </a:moveTo>
                <a:cubicBezTo>
                  <a:pt x="7307271" y="31184"/>
                  <a:pt x="7316509" y="40424"/>
                  <a:pt x="7316509" y="51973"/>
                </a:cubicBezTo>
                <a:cubicBezTo>
                  <a:pt x="7316509" y="63522"/>
                  <a:pt x="7307271" y="72762"/>
                  <a:pt x="7295720" y="72762"/>
                </a:cubicBezTo>
                <a:cubicBezTo>
                  <a:pt x="7284172" y="72762"/>
                  <a:pt x="7274932" y="63522"/>
                  <a:pt x="7274932" y="51973"/>
                </a:cubicBezTo>
                <a:cubicBezTo>
                  <a:pt x="7274932" y="40424"/>
                  <a:pt x="7284172" y="31184"/>
                  <a:pt x="7295720" y="31184"/>
                </a:cubicBezTo>
                <a:close/>
                <a:moveTo>
                  <a:pt x="7155974" y="31184"/>
                </a:moveTo>
                <a:cubicBezTo>
                  <a:pt x="7167522" y="31184"/>
                  <a:pt x="7176762" y="40424"/>
                  <a:pt x="7176762" y="51973"/>
                </a:cubicBezTo>
                <a:cubicBezTo>
                  <a:pt x="7176762" y="63522"/>
                  <a:pt x="7167522" y="72762"/>
                  <a:pt x="7155974" y="72762"/>
                </a:cubicBezTo>
                <a:cubicBezTo>
                  <a:pt x="7144423" y="72762"/>
                  <a:pt x="7135183" y="63522"/>
                  <a:pt x="7135183" y="51973"/>
                </a:cubicBezTo>
                <a:cubicBezTo>
                  <a:pt x="7135183" y="40424"/>
                  <a:pt x="7144423" y="31184"/>
                  <a:pt x="7155974" y="31184"/>
                </a:cubicBezTo>
                <a:close/>
                <a:moveTo>
                  <a:pt x="7016227" y="31184"/>
                </a:moveTo>
                <a:cubicBezTo>
                  <a:pt x="7027776" y="31184"/>
                  <a:pt x="7037016" y="40424"/>
                  <a:pt x="7037016" y="51973"/>
                </a:cubicBezTo>
                <a:cubicBezTo>
                  <a:pt x="7037016" y="63522"/>
                  <a:pt x="7027776" y="72762"/>
                  <a:pt x="7016227" y="72762"/>
                </a:cubicBezTo>
                <a:cubicBezTo>
                  <a:pt x="7004678" y="72762"/>
                  <a:pt x="6995438" y="63522"/>
                  <a:pt x="6995438" y="51973"/>
                </a:cubicBezTo>
                <a:cubicBezTo>
                  <a:pt x="6995438" y="40424"/>
                  <a:pt x="7004678" y="31184"/>
                  <a:pt x="7016227" y="31184"/>
                </a:cubicBezTo>
                <a:close/>
                <a:moveTo>
                  <a:pt x="6877634" y="31184"/>
                </a:moveTo>
                <a:cubicBezTo>
                  <a:pt x="6888028" y="31184"/>
                  <a:pt x="6898424" y="40424"/>
                  <a:pt x="6898424" y="51973"/>
                </a:cubicBezTo>
                <a:cubicBezTo>
                  <a:pt x="6898424" y="63522"/>
                  <a:pt x="6889184" y="72762"/>
                  <a:pt x="6877634" y="72762"/>
                </a:cubicBezTo>
                <a:cubicBezTo>
                  <a:pt x="6866085" y="72762"/>
                  <a:pt x="6856845" y="63522"/>
                  <a:pt x="6856845" y="51973"/>
                </a:cubicBezTo>
                <a:cubicBezTo>
                  <a:pt x="6856845" y="40424"/>
                  <a:pt x="6866085" y="31184"/>
                  <a:pt x="6877634" y="31184"/>
                </a:cubicBezTo>
                <a:close/>
                <a:moveTo>
                  <a:pt x="6039151" y="31184"/>
                </a:moveTo>
                <a:cubicBezTo>
                  <a:pt x="6050702" y="31184"/>
                  <a:pt x="6059942" y="40424"/>
                  <a:pt x="6059942" y="51973"/>
                </a:cubicBezTo>
                <a:cubicBezTo>
                  <a:pt x="6059942" y="63522"/>
                  <a:pt x="6050702" y="72762"/>
                  <a:pt x="6039151" y="72762"/>
                </a:cubicBezTo>
                <a:cubicBezTo>
                  <a:pt x="6027603" y="72762"/>
                  <a:pt x="6018363" y="63522"/>
                  <a:pt x="6018363" y="51973"/>
                </a:cubicBezTo>
                <a:cubicBezTo>
                  <a:pt x="6018363" y="40424"/>
                  <a:pt x="6027603" y="31184"/>
                  <a:pt x="6039151" y="31184"/>
                </a:cubicBezTo>
                <a:close/>
                <a:moveTo>
                  <a:pt x="5899405" y="31184"/>
                </a:moveTo>
                <a:cubicBezTo>
                  <a:pt x="5910953" y="31184"/>
                  <a:pt x="5920193" y="40424"/>
                  <a:pt x="5920193" y="51973"/>
                </a:cubicBezTo>
                <a:cubicBezTo>
                  <a:pt x="5920193" y="63522"/>
                  <a:pt x="5910953" y="72762"/>
                  <a:pt x="5899405" y="72762"/>
                </a:cubicBezTo>
                <a:cubicBezTo>
                  <a:pt x="5887855" y="72762"/>
                  <a:pt x="5878616" y="63522"/>
                  <a:pt x="5878616" y="51973"/>
                </a:cubicBezTo>
                <a:cubicBezTo>
                  <a:pt x="5878616" y="40424"/>
                  <a:pt x="5887855" y="31184"/>
                  <a:pt x="5899405" y="31184"/>
                </a:cubicBezTo>
                <a:close/>
                <a:moveTo>
                  <a:pt x="5759658" y="31184"/>
                </a:moveTo>
                <a:cubicBezTo>
                  <a:pt x="5771207" y="31184"/>
                  <a:pt x="5780447" y="40424"/>
                  <a:pt x="5780447" y="51973"/>
                </a:cubicBezTo>
                <a:cubicBezTo>
                  <a:pt x="5780447" y="63522"/>
                  <a:pt x="5771207" y="72762"/>
                  <a:pt x="5759658" y="72762"/>
                </a:cubicBezTo>
                <a:cubicBezTo>
                  <a:pt x="5748109" y="72762"/>
                  <a:pt x="5738869" y="63522"/>
                  <a:pt x="5738869" y="51973"/>
                </a:cubicBezTo>
                <a:cubicBezTo>
                  <a:pt x="5738869" y="40424"/>
                  <a:pt x="5748109" y="31184"/>
                  <a:pt x="5759658" y="31184"/>
                </a:cubicBezTo>
                <a:close/>
                <a:moveTo>
                  <a:pt x="3241901" y="31184"/>
                </a:moveTo>
                <a:cubicBezTo>
                  <a:pt x="3253450" y="31184"/>
                  <a:pt x="3262690" y="40424"/>
                  <a:pt x="3262690" y="51973"/>
                </a:cubicBezTo>
                <a:cubicBezTo>
                  <a:pt x="3262690" y="63522"/>
                  <a:pt x="3253450" y="72762"/>
                  <a:pt x="3241901" y="72762"/>
                </a:cubicBezTo>
                <a:cubicBezTo>
                  <a:pt x="3230352" y="72762"/>
                  <a:pt x="3221112" y="63522"/>
                  <a:pt x="3221112" y="51973"/>
                </a:cubicBezTo>
                <a:cubicBezTo>
                  <a:pt x="3221112" y="40424"/>
                  <a:pt x="3230352" y="31184"/>
                  <a:pt x="3241901" y="31184"/>
                </a:cubicBezTo>
                <a:close/>
                <a:moveTo>
                  <a:pt x="3102153" y="31184"/>
                </a:moveTo>
                <a:cubicBezTo>
                  <a:pt x="3113703" y="31184"/>
                  <a:pt x="3122942" y="40424"/>
                  <a:pt x="3122942" y="51973"/>
                </a:cubicBezTo>
                <a:cubicBezTo>
                  <a:pt x="3122942" y="63522"/>
                  <a:pt x="3113703" y="72762"/>
                  <a:pt x="3102153" y="72762"/>
                </a:cubicBezTo>
                <a:cubicBezTo>
                  <a:pt x="3090605" y="72762"/>
                  <a:pt x="3081365" y="63522"/>
                  <a:pt x="3081365" y="51973"/>
                </a:cubicBezTo>
                <a:cubicBezTo>
                  <a:pt x="3081365" y="40424"/>
                  <a:pt x="3090605" y="31184"/>
                  <a:pt x="3102153" y="31184"/>
                </a:cubicBezTo>
                <a:close/>
                <a:moveTo>
                  <a:pt x="2962407" y="31184"/>
                </a:moveTo>
                <a:cubicBezTo>
                  <a:pt x="2973956" y="31184"/>
                  <a:pt x="2983196" y="40424"/>
                  <a:pt x="2983196" y="51973"/>
                </a:cubicBezTo>
                <a:cubicBezTo>
                  <a:pt x="2983196" y="63522"/>
                  <a:pt x="2973956" y="72762"/>
                  <a:pt x="2962407" y="72762"/>
                </a:cubicBezTo>
                <a:cubicBezTo>
                  <a:pt x="2950858" y="72762"/>
                  <a:pt x="2941618" y="63522"/>
                  <a:pt x="2941618" y="51973"/>
                </a:cubicBezTo>
                <a:cubicBezTo>
                  <a:pt x="2941618" y="40424"/>
                  <a:pt x="2950858" y="31184"/>
                  <a:pt x="2962407" y="31184"/>
                </a:cubicBezTo>
                <a:close/>
                <a:moveTo>
                  <a:pt x="2822659" y="31184"/>
                </a:moveTo>
                <a:cubicBezTo>
                  <a:pt x="2834209" y="31184"/>
                  <a:pt x="2843448" y="40424"/>
                  <a:pt x="2843448" y="51973"/>
                </a:cubicBezTo>
                <a:cubicBezTo>
                  <a:pt x="2843448" y="63522"/>
                  <a:pt x="2834209" y="72762"/>
                  <a:pt x="2822659" y="72762"/>
                </a:cubicBezTo>
                <a:cubicBezTo>
                  <a:pt x="2811110" y="72762"/>
                  <a:pt x="2801871" y="63522"/>
                  <a:pt x="2801871" y="51973"/>
                </a:cubicBezTo>
                <a:cubicBezTo>
                  <a:pt x="2801871" y="40424"/>
                  <a:pt x="2811110" y="31184"/>
                  <a:pt x="2822659" y="31184"/>
                </a:cubicBezTo>
                <a:close/>
                <a:moveTo>
                  <a:pt x="2682913" y="31184"/>
                </a:moveTo>
                <a:cubicBezTo>
                  <a:pt x="2694462" y="31184"/>
                  <a:pt x="2703702" y="40424"/>
                  <a:pt x="2703702" y="51973"/>
                </a:cubicBezTo>
                <a:cubicBezTo>
                  <a:pt x="2703702" y="63522"/>
                  <a:pt x="2694462" y="72762"/>
                  <a:pt x="2682913" y="72762"/>
                </a:cubicBezTo>
                <a:cubicBezTo>
                  <a:pt x="2671365" y="72762"/>
                  <a:pt x="2662124" y="63522"/>
                  <a:pt x="2662124" y="51973"/>
                </a:cubicBezTo>
                <a:cubicBezTo>
                  <a:pt x="2662124" y="40424"/>
                  <a:pt x="2671365" y="31184"/>
                  <a:pt x="2682913" y="31184"/>
                </a:cubicBezTo>
                <a:close/>
                <a:moveTo>
                  <a:pt x="2543167" y="31184"/>
                </a:moveTo>
                <a:cubicBezTo>
                  <a:pt x="2554715" y="31184"/>
                  <a:pt x="2563954" y="40424"/>
                  <a:pt x="2563954" y="51973"/>
                </a:cubicBezTo>
                <a:cubicBezTo>
                  <a:pt x="2563954" y="63522"/>
                  <a:pt x="2554715" y="72762"/>
                  <a:pt x="2543167" y="72762"/>
                </a:cubicBezTo>
                <a:cubicBezTo>
                  <a:pt x="2531616" y="72762"/>
                  <a:pt x="2522376" y="63522"/>
                  <a:pt x="2522376" y="51973"/>
                </a:cubicBezTo>
                <a:cubicBezTo>
                  <a:pt x="2522376" y="40424"/>
                  <a:pt x="2531616" y="31184"/>
                  <a:pt x="2543167" y="31184"/>
                </a:cubicBezTo>
                <a:close/>
                <a:moveTo>
                  <a:pt x="2403419" y="31184"/>
                </a:moveTo>
                <a:cubicBezTo>
                  <a:pt x="2414969" y="31184"/>
                  <a:pt x="2424209" y="40424"/>
                  <a:pt x="2424209" y="51973"/>
                </a:cubicBezTo>
                <a:cubicBezTo>
                  <a:pt x="2424209" y="63522"/>
                  <a:pt x="2414969" y="72762"/>
                  <a:pt x="2403419" y="72762"/>
                </a:cubicBezTo>
                <a:cubicBezTo>
                  <a:pt x="2391869" y="72762"/>
                  <a:pt x="2382630" y="63522"/>
                  <a:pt x="2382630" y="51973"/>
                </a:cubicBezTo>
                <a:cubicBezTo>
                  <a:pt x="2382630" y="40424"/>
                  <a:pt x="2391869" y="31184"/>
                  <a:pt x="2403419" y="31184"/>
                </a:cubicBezTo>
                <a:close/>
                <a:moveTo>
                  <a:pt x="2263671" y="31184"/>
                </a:moveTo>
                <a:cubicBezTo>
                  <a:pt x="2275221" y="31184"/>
                  <a:pt x="2284460" y="40424"/>
                  <a:pt x="2284460" y="51973"/>
                </a:cubicBezTo>
                <a:cubicBezTo>
                  <a:pt x="2284460" y="63522"/>
                  <a:pt x="2275221" y="72762"/>
                  <a:pt x="2263671" y="72762"/>
                </a:cubicBezTo>
                <a:cubicBezTo>
                  <a:pt x="2252122" y="72762"/>
                  <a:pt x="2242883" y="63522"/>
                  <a:pt x="2242883" y="51973"/>
                </a:cubicBezTo>
                <a:cubicBezTo>
                  <a:pt x="2242883" y="40424"/>
                  <a:pt x="2252122" y="31184"/>
                  <a:pt x="2263671" y="31184"/>
                </a:cubicBezTo>
                <a:close/>
                <a:moveTo>
                  <a:pt x="1426344" y="31184"/>
                </a:moveTo>
                <a:cubicBezTo>
                  <a:pt x="1437894" y="31184"/>
                  <a:pt x="1447133" y="40424"/>
                  <a:pt x="1447133" y="51973"/>
                </a:cubicBezTo>
                <a:cubicBezTo>
                  <a:pt x="1447133" y="63522"/>
                  <a:pt x="1437894" y="72762"/>
                  <a:pt x="1426344" y="72762"/>
                </a:cubicBezTo>
                <a:cubicBezTo>
                  <a:pt x="1414795" y="72762"/>
                  <a:pt x="1405556" y="63522"/>
                  <a:pt x="1405556" y="51973"/>
                </a:cubicBezTo>
                <a:cubicBezTo>
                  <a:pt x="1405556" y="40424"/>
                  <a:pt x="1414795" y="31184"/>
                  <a:pt x="1426344" y="31184"/>
                </a:cubicBezTo>
                <a:close/>
                <a:moveTo>
                  <a:pt x="1286597" y="31184"/>
                </a:moveTo>
                <a:cubicBezTo>
                  <a:pt x="1298146" y="31184"/>
                  <a:pt x="1307386" y="40424"/>
                  <a:pt x="1307386" y="51973"/>
                </a:cubicBezTo>
                <a:cubicBezTo>
                  <a:pt x="1307386" y="63522"/>
                  <a:pt x="1298146" y="72762"/>
                  <a:pt x="1286597" y="72762"/>
                </a:cubicBezTo>
                <a:cubicBezTo>
                  <a:pt x="1275048" y="72762"/>
                  <a:pt x="1265808" y="63522"/>
                  <a:pt x="1265808" y="51973"/>
                </a:cubicBezTo>
                <a:cubicBezTo>
                  <a:pt x="1265808" y="40424"/>
                  <a:pt x="1275048" y="31184"/>
                  <a:pt x="1286597" y="31184"/>
                </a:cubicBezTo>
                <a:close/>
                <a:moveTo>
                  <a:pt x="1146851" y="31184"/>
                </a:moveTo>
                <a:cubicBezTo>
                  <a:pt x="1158400" y="31184"/>
                  <a:pt x="1167639" y="40424"/>
                  <a:pt x="1167639" y="51973"/>
                </a:cubicBezTo>
                <a:cubicBezTo>
                  <a:pt x="1167639" y="63522"/>
                  <a:pt x="1158400" y="72762"/>
                  <a:pt x="1146851" y="72762"/>
                </a:cubicBezTo>
                <a:cubicBezTo>
                  <a:pt x="1135301" y="72762"/>
                  <a:pt x="1126062" y="63522"/>
                  <a:pt x="1126062" y="51973"/>
                </a:cubicBezTo>
                <a:cubicBezTo>
                  <a:pt x="1126062" y="40424"/>
                  <a:pt x="1135301" y="31184"/>
                  <a:pt x="1146851" y="31184"/>
                </a:cubicBezTo>
                <a:close/>
                <a:moveTo>
                  <a:pt x="11343213" y="27719"/>
                </a:moveTo>
                <a:cubicBezTo>
                  <a:pt x="11355918" y="27719"/>
                  <a:pt x="11366312" y="38114"/>
                  <a:pt x="11366312" y="50817"/>
                </a:cubicBezTo>
                <a:cubicBezTo>
                  <a:pt x="11366312" y="63522"/>
                  <a:pt x="11355918" y="73916"/>
                  <a:pt x="11343213" y="73916"/>
                </a:cubicBezTo>
                <a:cubicBezTo>
                  <a:pt x="11330509" y="73916"/>
                  <a:pt x="11320114" y="63522"/>
                  <a:pt x="11320114" y="50817"/>
                </a:cubicBezTo>
                <a:cubicBezTo>
                  <a:pt x="11320114" y="38114"/>
                  <a:pt x="11330509" y="27719"/>
                  <a:pt x="11343213" y="27719"/>
                </a:cubicBezTo>
                <a:close/>
                <a:moveTo>
                  <a:pt x="10225237" y="27719"/>
                </a:moveTo>
                <a:cubicBezTo>
                  <a:pt x="10237942" y="27719"/>
                  <a:pt x="10248335" y="38114"/>
                  <a:pt x="10248335" y="50817"/>
                </a:cubicBezTo>
                <a:cubicBezTo>
                  <a:pt x="10248335" y="63522"/>
                  <a:pt x="10237942" y="73916"/>
                  <a:pt x="10225237" y="73916"/>
                </a:cubicBezTo>
                <a:cubicBezTo>
                  <a:pt x="10212533" y="73916"/>
                  <a:pt x="10202138" y="63522"/>
                  <a:pt x="10202138" y="50817"/>
                </a:cubicBezTo>
                <a:cubicBezTo>
                  <a:pt x="10202138" y="38114"/>
                  <a:pt x="10212533" y="27719"/>
                  <a:pt x="10225237" y="27719"/>
                </a:cubicBezTo>
                <a:close/>
                <a:moveTo>
                  <a:pt x="9112431" y="27719"/>
                </a:moveTo>
                <a:cubicBezTo>
                  <a:pt x="9125136" y="27719"/>
                  <a:pt x="9135530" y="38114"/>
                  <a:pt x="9135530" y="50817"/>
                </a:cubicBezTo>
                <a:cubicBezTo>
                  <a:pt x="9135530" y="63522"/>
                  <a:pt x="9125136" y="73916"/>
                  <a:pt x="9112431" y="73916"/>
                </a:cubicBezTo>
                <a:cubicBezTo>
                  <a:pt x="9099727" y="73916"/>
                  <a:pt x="9089332" y="63522"/>
                  <a:pt x="9089332" y="50817"/>
                </a:cubicBezTo>
                <a:cubicBezTo>
                  <a:pt x="9089332" y="38114"/>
                  <a:pt x="9099727" y="27719"/>
                  <a:pt x="9112431" y="27719"/>
                </a:cubicBezTo>
                <a:close/>
                <a:moveTo>
                  <a:pt x="7994456" y="27719"/>
                </a:moveTo>
                <a:cubicBezTo>
                  <a:pt x="8007160" y="27719"/>
                  <a:pt x="8017555" y="38114"/>
                  <a:pt x="8017555" y="50817"/>
                </a:cubicBezTo>
                <a:cubicBezTo>
                  <a:pt x="8017555" y="63522"/>
                  <a:pt x="8007160" y="73916"/>
                  <a:pt x="7994456" y="73916"/>
                </a:cubicBezTo>
                <a:cubicBezTo>
                  <a:pt x="7981752" y="73916"/>
                  <a:pt x="7971356" y="63522"/>
                  <a:pt x="7971356" y="50817"/>
                </a:cubicBezTo>
                <a:cubicBezTo>
                  <a:pt x="7971356" y="38114"/>
                  <a:pt x="7981752" y="27719"/>
                  <a:pt x="7994456" y="27719"/>
                </a:cubicBezTo>
                <a:close/>
                <a:moveTo>
                  <a:pt x="6737887" y="27719"/>
                </a:moveTo>
                <a:cubicBezTo>
                  <a:pt x="6750591" y="27719"/>
                  <a:pt x="6760986" y="38114"/>
                  <a:pt x="6760986" y="50817"/>
                </a:cubicBezTo>
                <a:cubicBezTo>
                  <a:pt x="6760986" y="63522"/>
                  <a:pt x="6750591" y="73916"/>
                  <a:pt x="6737887" y="73916"/>
                </a:cubicBezTo>
                <a:cubicBezTo>
                  <a:pt x="6725183" y="73916"/>
                  <a:pt x="6714789" y="63522"/>
                  <a:pt x="6714789" y="50817"/>
                </a:cubicBezTo>
                <a:cubicBezTo>
                  <a:pt x="6714789" y="38114"/>
                  <a:pt x="6725183" y="27719"/>
                  <a:pt x="6737887" y="27719"/>
                </a:cubicBezTo>
                <a:close/>
                <a:moveTo>
                  <a:pt x="5619911" y="27719"/>
                </a:moveTo>
                <a:cubicBezTo>
                  <a:pt x="5632616" y="27719"/>
                  <a:pt x="5643008" y="38114"/>
                  <a:pt x="5643008" y="50817"/>
                </a:cubicBezTo>
                <a:cubicBezTo>
                  <a:pt x="5643008" y="63522"/>
                  <a:pt x="5632616" y="73916"/>
                  <a:pt x="5619911" y="73916"/>
                </a:cubicBezTo>
                <a:cubicBezTo>
                  <a:pt x="5607207" y="73916"/>
                  <a:pt x="5596812" y="63522"/>
                  <a:pt x="5596812" y="50817"/>
                </a:cubicBezTo>
                <a:cubicBezTo>
                  <a:pt x="5596812" y="38114"/>
                  <a:pt x="5607207" y="27719"/>
                  <a:pt x="5619911" y="27719"/>
                </a:cubicBezTo>
                <a:close/>
                <a:moveTo>
                  <a:pt x="4499625" y="27719"/>
                </a:moveTo>
                <a:cubicBezTo>
                  <a:pt x="4512329" y="27719"/>
                  <a:pt x="4522722" y="38114"/>
                  <a:pt x="4522722" y="50817"/>
                </a:cubicBezTo>
                <a:cubicBezTo>
                  <a:pt x="4522722" y="63522"/>
                  <a:pt x="4512329" y="73916"/>
                  <a:pt x="4499625" y="73916"/>
                </a:cubicBezTo>
                <a:cubicBezTo>
                  <a:pt x="4486920" y="73916"/>
                  <a:pt x="4476525" y="63522"/>
                  <a:pt x="4476525" y="50817"/>
                </a:cubicBezTo>
                <a:cubicBezTo>
                  <a:pt x="4476525" y="38114"/>
                  <a:pt x="4486920" y="27719"/>
                  <a:pt x="4499625" y="27719"/>
                </a:cubicBezTo>
                <a:close/>
                <a:moveTo>
                  <a:pt x="3381648" y="27719"/>
                </a:moveTo>
                <a:cubicBezTo>
                  <a:pt x="3394352" y="27719"/>
                  <a:pt x="3404746" y="38114"/>
                  <a:pt x="3404746" y="50817"/>
                </a:cubicBezTo>
                <a:cubicBezTo>
                  <a:pt x="3404746" y="63522"/>
                  <a:pt x="3394352" y="73916"/>
                  <a:pt x="3381648" y="73916"/>
                </a:cubicBezTo>
                <a:cubicBezTo>
                  <a:pt x="3368944" y="73916"/>
                  <a:pt x="3358549" y="63522"/>
                  <a:pt x="3358549" y="50817"/>
                </a:cubicBezTo>
                <a:cubicBezTo>
                  <a:pt x="3358549" y="38114"/>
                  <a:pt x="3368944" y="27719"/>
                  <a:pt x="3381648" y="27719"/>
                </a:cubicBezTo>
                <a:close/>
                <a:moveTo>
                  <a:pt x="2125079" y="27719"/>
                </a:moveTo>
                <a:cubicBezTo>
                  <a:pt x="2137784" y="27719"/>
                  <a:pt x="2148178" y="38114"/>
                  <a:pt x="2148178" y="50817"/>
                </a:cubicBezTo>
                <a:cubicBezTo>
                  <a:pt x="2148178" y="63522"/>
                  <a:pt x="2137784" y="73916"/>
                  <a:pt x="2125079" y="73916"/>
                </a:cubicBezTo>
                <a:cubicBezTo>
                  <a:pt x="2112376" y="73916"/>
                  <a:pt x="2101980" y="63522"/>
                  <a:pt x="2101980" y="50817"/>
                </a:cubicBezTo>
                <a:cubicBezTo>
                  <a:pt x="2101980" y="38114"/>
                  <a:pt x="2112376" y="27719"/>
                  <a:pt x="2125079" y="27719"/>
                </a:cubicBezTo>
                <a:close/>
                <a:moveTo>
                  <a:pt x="1007103" y="27719"/>
                </a:moveTo>
                <a:cubicBezTo>
                  <a:pt x="1019808" y="27719"/>
                  <a:pt x="1030201" y="38114"/>
                  <a:pt x="1030201" y="50817"/>
                </a:cubicBezTo>
                <a:cubicBezTo>
                  <a:pt x="1030201" y="63522"/>
                  <a:pt x="1019808" y="73916"/>
                  <a:pt x="1007103" y="73916"/>
                </a:cubicBezTo>
                <a:cubicBezTo>
                  <a:pt x="994399" y="73916"/>
                  <a:pt x="984004" y="63522"/>
                  <a:pt x="984004" y="50817"/>
                </a:cubicBezTo>
                <a:cubicBezTo>
                  <a:pt x="984004" y="38114"/>
                  <a:pt x="994399" y="27719"/>
                  <a:pt x="1007103" y="27719"/>
                </a:cubicBezTo>
                <a:close/>
                <a:moveTo>
                  <a:pt x="11203466" y="21945"/>
                </a:moveTo>
                <a:cubicBezTo>
                  <a:pt x="11218480" y="21945"/>
                  <a:pt x="11232339" y="34648"/>
                  <a:pt x="11232339" y="50817"/>
                </a:cubicBezTo>
                <a:cubicBezTo>
                  <a:pt x="11232339" y="66986"/>
                  <a:pt x="11219636" y="79691"/>
                  <a:pt x="11203466" y="79691"/>
                </a:cubicBezTo>
                <a:cubicBezTo>
                  <a:pt x="11187298" y="79691"/>
                  <a:pt x="11174593" y="66986"/>
                  <a:pt x="11174593" y="50817"/>
                </a:cubicBezTo>
                <a:cubicBezTo>
                  <a:pt x="11174593" y="34648"/>
                  <a:pt x="11187298" y="21945"/>
                  <a:pt x="11203466" y="21945"/>
                </a:cubicBezTo>
                <a:close/>
                <a:moveTo>
                  <a:pt x="10085490" y="21945"/>
                </a:moveTo>
                <a:cubicBezTo>
                  <a:pt x="10101659" y="21945"/>
                  <a:pt x="10114363" y="35804"/>
                  <a:pt x="10114363" y="51973"/>
                </a:cubicBezTo>
                <a:cubicBezTo>
                  <a:pt x="10114363" y="68142"/>
                  <a:pt x="10101659" y="80846"/>
                  <a:pt x="10085490" y="80846"/>
                </a:cubicBezTo>
                <a:cubicBezTo>
                  <a:pt x="10069321" y="80846"/>
                  <a:pt x="10056616" y="66986"/>
                  <a:pt x="10056616" y="50817"/>
                </a:cubicBezTo>
                <a:cubicBezTo>
                  <a:pt x="10056616" y="34648"/>
                  <a:pt x="10069321" y="21945"/>
                  <a:pt x="10085490" y="21945"/>
                </a:cubicBezTo>
                <a:close/>
                <a:moveTo>
                  <a:pt x="9247008" y="21945"/>
                </a:moveTo>
                <a:cubicBezTo>
                  <a:pt x="9263177" y="21945"/>
                  <a:pt x="9275881" y="34648"/>
                  <a:pt x="9275881" y="50817"/>
                </a:cubicBezTo>
                <a:cubicBezTo>
                  <a:pt x="9275881" y="66986"/>
                  <a:pt x="9263177" y="80846"/>
                  <a:pt x="9247008" y="80846"/>
                </a:cubicBezTo>
                <a:cubicBezTo>
                  <a:pt x="9230839" y="80846"/>
                  <a:pt x="9218134" y="65832"/>
                  <a:pt x="9218134" y="50817"/>
                </a:cubicBezTo>
                <a:cubicBezTo>
                  <a:pt x="9218134" y="35804"/>
                  <a:pt x="9230839" y="21945"/>
                  <a:pt x="9247008" y="21945"/>
                </a:cubicBezTo>
                <a:close/>
                <a:moveTo>
                  <a:pt x="8972685" y="21945"/>
                </a:moveTo>
                <a:cubicBezTo>
                  <a:pt x="8988854" y="21945"/>
                  <a:pt x="9001557" y="34648"/>
                  <a:pt x="9001557" y="50817"/>
                </a:cubicBezTo>
                <a:cubicBezTo>
                  <a:pt x="9001557" y="66986"/>
                  <a:pt x="8988854" y="79691"/>
                  <a:pt x="8972685" y="79691"/>
                </a:cubicBezTo>
                <a:cubicBezTo>
                  <a:pt x="8956515" y="79691"/>
                  <a:pt x="8943811" y="66986"/>
                  <a:pt x="8943811" y="50817"/>
                </a:cubicBezTo>
                <a:cubicBezTo>
                  <a:pt x="8943811" y="34648"/>
                  <a:pt x="8956515" y="21945"/>
                  <a:pt x="8972685" y="21945"/>
                </a:cubicBezTo>
                <a:close/>
                <a:moveTo>
                  <a:pt x="8134203" y="21945"/>
                </a:moveTo>
                <a:cubicBezTo>
                  <a:pt x="8150373" y="21945"/>
                  <a:pt x="8163075" y="34648"/>
                  <a:pt x="8163075" y="50817"/>
                </a:cubicBezTo>
                <a:cubicBezTo>
                  <a:pt x="8163075" y="66986"/>
                  <a:pt x="8150373" y="79691"/>
                  <a:pt x="8134203" y="79691"/>
                </a:cubicBezTo>
                <a:cubicBezTo>
                  <a:pt x="8118034" y="79691"/>
                  <a:pt x="8105330" y="66986"/>
                  <a:pt x="8105330" y="50817"/>
                </a:cubicBezTo>
                <a:cubicBezTo>
                  <a:pt x="8105330" y="34648"/>
                  <a:pt x="8118034" y="21945"/>
                  <a:pt x="8134203" y="21945"/>
                </a:cubicBezTo>
                <a:close/>
                <a:moveTo>
                  <a:pt x="6598140" y="21945"/>
                </a:moveTo>
                <a:cubicBezTo>
                  <a:pt x="6613155" y="21945"/>
                  <a:pt x="6627013" y="34648"/>
                  <a:pt x="6627013" y="50817"/>
                </a:cubicBezTo>
                <a:cubicBezTo>
                  <a:pt x="6627013" y="66986"/>
                  <a:pt x="6614309" y="79691"/>
                  <a:pt x="6598140" y="79691"/>
                </a:cubicBezTo>
                <a:cubicBezTo>
                  <a:pt x="6581971" y="79691"/>
                  <a:pt x="6569267" y="66986"/>
                  <a:pt x="6569267" y="50817"/>
                </a:cubicBezTo>
                <a:cubicBezTo>
                  <a:pt x="6569267" y="34648"/>
                  <a:pt x="6581971" y="21945"/>
                  <a:pt x="6598140" y="21945"/>
                </a:cubicBezTo>
                <a:close/>
                <a:moveTo>
                  <a:pt x="5480165" y="21945"/>
                </a:moveTo>
                <a:cubicBezTo>
                  <a:pt x="5496333" y="21945"/>
                  <a:pt x="5509037" y="34648"/>
                  <a:pt x="5509037" y="50817"/>
                </a:cubicBezTo>
                <a:cubicBezTo>
                  <a:pt x="5509037" y="66986"/>
                  <a:pt x="5496333" y="79691"/>
                  <a:pt x="5480165" y="79691"/>
                </a:cubicBezTo>
                <a:cubicBezTo>
                  <a:pt x="5463996" y="79691"/>
                  <a:pt x="5451289" y="66986"/>
                  <a:pt x="5451289" y="50817"/>
                </a:cubicBezTo>
                <a:cubicBezTo>
                  <a:pt x="5451289" y="34648"/>
                  <a:pt x="5463996" y="21945"/>
                  <a:pt x="5480165" y="21945"/>
                </a:cubicBezTo>
                <a:close/>
                <a:moveTo>
                  <a:pt x="4641682" y="21945"/>
                </a:moveTo>
                <a:cubicBezTo>
                  <a:pt x="4657851" y="21945"/>
                  <a:pt x="4670555" y="34648"/>
                  <a:pt x="4670555" y="50817"/>
                </a:cubicBezTo>
                <a:cubicBezTo>
                  <a:pt x="4670555" y="66986"/>
                  <a:pt x="4657851" y="79691"/>
                  <a:pt x="4641682" y="79691"/>
                </a:cubicBezTo>
                <a:cubicBezTo>
                  <a:pt x="4625513" y="79691"/>
                  <a:pt x="4612809" y="66986"/>
                  <a:pt x="4612809" y="50817"/>
                </a:cubicBezTo>
                <a:cubicBezTo>
                  <a:pt x="4612809" y="34648"/>
                  <a:pt x="4625513" y="21945"/>
                  <a:pt x="4641682" y="21945"/>
                </a:cubicBezTo>
                <a:close/>
                <a:moveTo>
                  <a:pt x="4359878" y="21945"/>
                </a:moveTo>
                <a:cubicBezTo>
                  <a:pt x="4376046" y="21945"/>
                  <a:pt x="4388751" y="34648"/>
                  <a:pt x="4388751" y="50817"/>
                </a:cubicBezTo>
                <a:cubicBezTo>
                  <a:pt x="4388751" y="66986"/>
                  <a:pt x="4376046" y="79691"/>
                  <a:pt x="4359878" y="79691"/>
                </a:cubicBezTo>
                <a:cubicBezTo>
                  <a:pt x="4343709" y="79691"/>
                  <a:pt x="4331003" y="66986"/>
                  <a:pt x="4331003" y="50817"/>
                </a:cubicBezTo>
                <a:cubicBezTo>
                  <a:pt x="4331003" y="34648"/>
                  <a:pt x="4343709" y="21945"/>
                  <a:pt x="4359878" y="21945"/>
                </a:cubicBezTo>
                <a:close/>
                <a:moveTo>
                  <a:pt x="3521396" y="21945"/>
                </a:moveTo>
                <a:cubicBezTo>
                  <a:pt x="3537564" y="21945"/>
                  <a:pt x="3550268" y="34648"/>
                  <a:pt x="3550268" y="50817"/>
                </a:cubicBezTo>
                <a:cubicBezTo>
                  <a:pt x="3550268" y="66986"/>
                  <a:pt x="3537564" y="79691"/>
                  <a:pt x="3521396" y="79691"/>
                </a:cubicBezTo>
                <a:cubicBezTo>
                  <a:pt x="3505226" y="79691"/>
                  <a:pt x="3492521" y="66986"/>
                  <a:pt x="3492521" y="50817"/>
                </a:cubicBezTo>
                <a:cubicBezTo>
                  <a:pt x="3492521" y="34648"/>
                  <a:pt x="3505226" y="21945"/>
                  <a:pt x="3521396" y="21945"/>
                </a:cubicBezTo>
                <a:close/>
                <a:moveTo>
                  <a:pt x="1985333" y="21945"/>
                </a:moveTo>
                <a:cubicBezTo>
                  <a:pt x="2000346" y="21945"/>
                  <a:pt x="2014205" y="34648"/>
                  <a:pt x="2014205" y="50817"/>
                </a:cubicBezTo>
                <a:cubicBezTo>
                  <a:pt x="2014205" y="66986"/>
                  <a:pt x="2001502" y="79691"/>
                  <a:pt x="1985333" y="79691"/>
                </a:cubicBezTo>
                <a:cubicBezTo>
                  <a:pt x="1969164" y="79691"/>
                  <a:pt x="1956459" y="66986"/>
                  <a:pt x="1956459" y="50817"/>
                </a:cubicBezTo>
                <a:cubicBezTo>
                  <a:pt x="1956459" y="34648"/>
                  <a:pt x="1969164" y="21945"/>
                  <a:pt x="1985333" y="21945"/>
                </a:cubicBezTo>
                <a:close/>
                <a:moveTo>
                  <a:pt x="867356" y="21945"/>
                </a:moveTo>
                <a:cubicBezTo>
                  <a:pt x="883525" y="21945"/>
                  <a:pt x="896229" y="35804"/>
                  <a:pt x="896229" y="51973"/>
                </a:cubicBezTo>
                <a:cubicBezTo>
                  <a:pt x="896229" y="68142"/>
                  <a:pt x="883525" y="80846"/>
                  <a:pt x="867356" y="80846"/>
                </a:cubicBezTo>
                <a:cubicBezTo>
                  <a:pt x="851187" y="80846"/>
                  <a:pt x="838482" y="66986"/>
                  <a:pt x="838482" y="50817"/>
                </a:cubicBezTo>
                <a:cubicBezTo>
                  <a:pt x="838482" y="34648"/>
                  <a:pt x="851187" y="21945"/>
                  <a:pt x="867356" y="21945"/>
                </a:cubicBezTo>
                <a:close/>
                <a:moveTo>
                  <a:pt x="28874" y="21945"/>
                </a:moveTo>
                <a:cubicBezTo>
                  <a:pt x="45043" y="21945"/>
                  <a:pt x="57747" y="34648"/>
                  <a:pt x="57747" y="50817"/>
                </a:cubicBezTo>
                <a:cubicBezTo>
                  <a:pt x="57747" y="66986"/>
                  <a:pt x="45043" y="80846"/>
                  <a:pt x="28874" y="80846"/>
                </a:cubicBezTo>
                <a:cubicBezTo>
                  <a:pt x="12705" y="80846"/>
                  <a:pt x="0" y="65832"/>
                  <a:pt x="0" y="50817"/>
                </a:cubicBezTo>
                <a:cubicBezTo>
                  <a:pt x="0" y="35804"/>
                  <a:pt x="12705" y="21945"/>
                  <a:pt x="28874" y="21945"/>
                </a:cubicBezTo>
                <a:close/>
                <a:moveTo>
                  <a:pt x="11063719" y="16169"/>
                </a:moveTo>
                <a:cubicBezTo>
                  <a:pt x="11082198" y="16169"/>
                  <a:pt x="11098367" y="32338"/>
                  <a:pt x="11098367" y="50817"/>
                </a:cubicBezTo>
                <a:cubicBezTo>
                  <a:pt x="11098367" y="69296"/>
                  <a:pt x="11083353" y="85465"/>
                  <a:pt x="11063719" y="85465"/>
                </a:cubicBezTo>
                <a:cubicBezTo>
                  <a:pt x="11045240" y="85465"/>
                  <a:pt x="11029071" y="69296"/>
                  <a:pt x="11029071" y="50817"/>
                </a:cubicBezTo>
                <a:cubicBezTo>
                  <a:pt x="11029071" y="32338"/>
                  <a:pt x="11044086" y="16169"/>
                  <a:pt x="11063719" y="16169"/>
                </a:cubicBezTo>
                <a:close/>
                <a:moveTo>
                  <a:pt x="9945743" y="16169"/>
                </a:moveTo>
                <a:cubicBezTo>
                  <a:pt x="9965377" y="16169"/>
                  <a:pt x="9980391" y="32338"/>
                  <a:pt x="9980391" y="50817"/>
                </a:cubicBezTo>
                <a:cubicBezTo>
                  <a:pt x="9980391" y="69296"/>
                  <a:pt x="9964222" y="85465"/>
                  <a:pt x="9945743" y="85465"/>
                </a:cubicBezTo>
                <a:cubicBezTo>
                  <a:pt x="9927264" y="85465"/>
                  <a:pt x="9911094" y="69296"/>
                  <a:pt x="9911094" y="50817"/>
                </a:cubicBezTo>
                <a:cubicBezTo>
                  <a:pt x="9911094" y="32338"/>
                  <a:pt x="9926109" y="16169"/>
                  <a:pt x="9945743" y="16169"/>
                </a:cubicBezTo>
                <a:close/>
                <a:moveTo>
                  <a:pt x="9386754" y="16169"/>
                </a:moveTo>
                <a:cubicBezTo>
                  <a:pt x="9406389" y="16169"/>
                  <a:pt x="9421402" y="32338"/>
                  <a:pt x="9421402" y="50817"/>
                </a:cubicBezTo>
                <a:cubicBezTo>
                  <a:pt x="9421402" y="69296"/>
                  <a:pt x="9405233" y="85465"/>
                  <a:pt x="9386754" y="85465"/>
                </a:cubicBezTo>
                <a:cubicBezTo>
                  <a:pt x="9368275" y="85465"/>
                  <a:pt x="9352106" y="69296"/>
                  <a:pt x="9352106" y="50817"/>
                </a:cubicBezTo>
                <a:cubicBezTo>
                  <a:pt x="9352106" y="32338"/>
                  <a:pt x="9367121" y="16169"/>
                  <a:pt x="9386754" y="16169"/>
                </a:cubicBezTo>
                <a:close/>
                <a:moveTo>
                  <a:pt x="8832937" y="16169"/>
                </a:moveTo>
                <a:cubicBezTo>
                  <a:pt x="8852571" y="16169"/>
                  <a:pt x="8867585" y="32338"/>
                  <a:pt x="8867585" y="50817"/>
                </a:cubicBezTo>
                <a:cubicBezTo>
                  <a:pt x="8867585" y="69296"/>
                  <a:pt x="8852571" y="85465"/>
                  <a:pt x="8832937" y="85465"/>
                </a:cubicBezTo>
                <a:cubicBezTo>
                  <a:pt x="8814458" y="85465"/>
                  <a:pt x="8798289" y="69296"/>
                  <a:pt x="8798289" y="50817"/>
                </a:cubicBezTo>
                <a:cubicBezTo>
                  <a:pt x="8798289" y="32338"/>
                  <a:pt x="8813304" y="16169"/>
                  <a:pt x="8832937" y="16169"/>
                </a:cubicBezTo>
                <a:close/>
                <a:moveTo>
                  <a:pt x="8273949" y="16169"/>
                </a:moveTo>
                <a:cubicBezTo>
                  <a:pt x="8293584" y="16169"/>
                  <a:pt x="8308598" y="32338"/>
                  <a:pt x="8308598" y="50817"/>
                </a:cubicBezTo>
                <a:cubicBezTo>
                  <a:pt x="8308598" y="69296"/>
                  <a:pt x="8293584" y="85465"/>
                  <a:pt x="8273949" y="85465"/>
                </a:cubicBezTo>
                <a:cubicBezTo>
                  <a:pt x="8255471" y="85465"/>
                  <a:pt x="8239301" y="69296"/>
                  <a:pt x="8239301" y="50817"/>
                </a:cubicBezTo>
                <a:cubicBezTo>
                  <a:pt x="8239301" y="32338"/>
                  <a:pt x="8254316" y="16169"/>
                  <a:pt x="8273949" y="16169"/>
                </a:cubicBezTo>
                <a:close/>
                <a:moveTo>
                  <a:pt x="6458393" y="16169"/>
                </a:moveTo>
                <a:cubicBezTo>
                  <a:pt x="6476871" y="16169"/>
                  <a:pt x="6493041" y="32338"/>
                  <a:pt x="6493041" y="50817"/>
                </a:cubicBezTo>
                <a:cubicBezTo>
                  <a:pt x="6493041" y="69296"/>
                  <a:pt x="6476871" y="85465"/>
                  <a:pt x="6458393" y="85465"/>
                </a:cubicBezTo>
                <a:cubicBezTo>
                  <a:pt x="6439914" y="85465"/>
                  <a:pt x="6423745" y="69296"/>
                  <a:pt x="6423745" y="50817"/>
                </a:cubicBezTo>
                <a:cubicBezTo>
                  <a:pt x="6423745" y="32338"/>
                  <a:pt x="6438760" y="16169"/>
                  <a:pt x="6458393" y="16169"/>
                </a:cubicBezTo>
                <a:close/>
                <a:moveTo>
                  <a:pt x="5340416" y="16169"/>
                </a:moveTo>
                <a:cubicBezTo>
                  <a:pt x="5360051" y="16169"/>
                  <a:pt x="5375064" y="32338"/>
                  <a:pt x="5375064" y="50817"/>
                </a:cubicBezTo>
                <a:cubicBezTo>
                  <a:pt x="5375064" y="69296"/>
                  <a:pt x="5358895" y="85465"/>
                  <a:pt x="5340416" y="85465"/>
                </a:cubicBezTo>
                <a:cubicBezTo>
                  <a:pt x="5321938" y="85465"/>
                  <a:pt x="5305769" y="69296"/>
                  <a:pt x="5305769" y="50817"/>
                </a:cubicBezTo>
                <a:cubicBezTo>
                  <a:pt x="5305769" y="32338"/>
                  <a:pt x="5320783" y="16169"/>
                  <a:pt x="5340416" y="16169"/>
                </a:cubicBezTo>
                <a:close/>
                <a:moveTo>
                  <a:pt x="4781429" y="16169"/>
                </a:moveTo>
                <a:cubicBezTo>
                  <a:pt x="4801062" y="16169"/>
                  <a:pt x="4816075" y="32338"/>
                  <a:pt x="4816075" y="50817"/>
                </a:cubicBezTo>
                <a:cubicBezTo>
                  <a:pt x="4816075" y="69296"/>
                  <a:pt x="4799906" y="85465"/>
                  <a:pt x="4781429" y="85465"/>
                </a:cubicBezTo>
                <a:cubicBezTo>
                  <a:pt x="4762949" y="85465"/>
                  <a:pt x="4746781" y="69296"/>
                  <a:pt x="4746781" y="50817"/>
                </a:cubicBezTo>
                <a:cubicBezTo>
                  <a:pt x="4746781" y="32338"/>
                  <a:pt x="4761794" y="16169"/>
                  <a:pt x="4781429" y="16169"/>
                </a:cubicBezTo>
                <a:close/>
                <a:moveTo>
                  <a:pt x="4220129" y="16169"/>
                </a:moveTo>
                <a:cubicBezTo>
                  <a:pt x="4239764" y="16169"/>
                  <a:pt x="4254779" y="32338"/>
                  <a:pt x="4254779" y="50817"/>
                </a:cubicBezTo>
                <a:cubicBezTo>
                  <a:pt x="4254779" y="69296"/>
                  <a:pt x="4239764" y="85465"/>
                  <a:pt x="4220129" y="85465"/>
                </a:cubicBezTo>
                <a:cubicBezTo>
                  <a:pt x="4201651" y="85465"/>
                  <a:pt x="4185482" y="69296"/>
                  <a:pt x="4185482" y="50817"/>
                </a:cubicBezTo>
                <a:cubicBezTo>
                  <a:pt x="4185482" y="32338"/>
                  <a:pt x="4200498" y="16169"/>
                  <a:pt x="4220129" y="16169"/>
                </a:cubicBezTo>
                <a:close/>
                <a:moveTo>
                  <a:pt x="3661142" y="16169"/>
                </a:moveTo>
                <a:cubicBezTo>
                  <a:pt x="3680776" y="16169"/>
                  <a:pt x="3695791" y="32338"/>
                  <a:pt x="3695791" y="50817"/>
                </a:cubicBezTo>
                <a:cubicBezTo>
                  <a:pt x="3695791" y="69296"/>
                  <a:pt x="3680776" y="85465"/>
                  <a:pt x="3661142" y="85465"/>
                </a:cubicBezTo>
                <a:cubicBezTo>
                  <a:pt x="3642663" y="85465"/>
                  <a:pt x="3626494" y="69296"/>
                  <a:pt x="3626494" y="50817"/>
                </a:cubicBezTo>
                <a:cubicBezTo>
                  <a:pt x="3626494" y="32338"/>
                  <a:pt x="3641508" y="16169"/>
                  <a:pt x="3661142" y="16169"/>
                </a:cubicBezTo>
                <a:close/>
                <a:moveTo>
                  <a:pt x="1845585" y="16169"/>
                </a:moveTo>
                <a:cubicBezTo>
                  <a:pt x="1864064" y="16169"/>
                  <a:pt x="1880233" y="32338"/>
                  <a:pt x="1880233" y="50817"/>
                </a:cubicBezTo>
                <a:cubicBezTo>
                  <a:pt x="1880233" y="69296"/>
                  <a:pt x="1865220" y="85465"/>
                  <a:pt x="1845585" y="85465"/>
                </a:cubicBezTo>
                <a:cubicBezTo>
                  <a:pt x="1827106" y="85465"/>
                  <a:pt x="1810937" y="69296"/>
                  <a:pt x="1810937" y="50817"/>
                </a:cubicBezTo>
                <a:cubicBezTo>
                  <a:pt x="1810937" y="32338"/>
                  <a:pt x="1825952" y="16169"/>
                  <a:pt x="1845585" y="16169"/>
                </a:cubicBezTo>
                <a:close/>
                <a:moveTo>
                  <a:pt x="727609" y="16169"/>
                </a:moveTo>
                <a:cubicBezTo>
                  <a:pt x="747243" y="16169"/>
                  <a:pt x="762257" y="32338"/>
                  <a:pt x="762257" y="50817"/>
                </a:cubicBezTo>
                <a:cubicBezTo>
                  <a:pt x="762257" y="69296"/>
                  <a:pt x="746088" y="85465"/>
                  <a:pt x="727609" y="85465"/>
                </a:cubicBezTo>
                <a:cubicBezTo>
                  <a:pt x="709130" y="85465"/>
                  <a:pt x="692961" y="69296"/>
                  <a:pt x="692961" y="50817"/>
                </a:cubicBezTo>
                <a:cubicBezTo>
                  <a:pt x="692961" y="32338"/>
                  <a:pt x="707976" y="16169"/>
                  <a:pt x="727609" y="16169"/>
                </a:cubicBezTo>
                <a:close/>
                <a:moveTo>
                  <a:pt x="168621" y="16169"/>
                </a:moveTo>
                <a:cubicBezTo>
                  <a:pt x="188255" y="16169"/>
                  <a:pt x="203269" y="32338"/>
                  <a:pt x="203269" y="50817"/>
                </a:cubicBezTo>
                <a:cubicBezTo>
                  <a:pt x="203269" y="69296"/>
                  <a:pt x="187100" y="85465"/>
                  <a:pt x="168621" y="85465"/>
                </a:cubicBezTo>
                <a:cubicBezTo>
                  <a:pt x="150142" y="85465"/>
                  <a:pt x="133973" y="69296"/>
                  <a:pt x="133973" y="50817"/>
                </a:cubicBezTo>
                <a:cubicBezTo>
                  <a:pt x="133973" y="32338"/>
                  <a:pt x="148988" y="16169"/>
                  <a:pt x="168621" y="16169"/>
                </a:cubicBezTo>
                <a:close/>
                <a:moveTo>
                  <a:pt x="10923972" y="10395"/>
                </a:moveTo>
                <a:cubicBezTo>
                  <a:pt x="10945916" y="10395"/>
                  <a:pt x="10964394" y="28874"/>
                  <a:pt x="10964394" y="50817"/>
                </a:cubicBezTo>
                <a:cubicBezTo>
                  <a:pt x="10964394" y="72762"/>
                  <a:pt x="10945916" y="91241"/>
                  <a:pt x="10923972" y="91241"/>
                </a:cubicBezTo>
                <a:cubicBezTo>
                  <a:pt x="10902028" y="91241"/>
                  <a:pt x="10883549" y="72762"/>
                  <a:pt x="10883549" y="50817"/>
                </a:cubicBezTo>
                <a:cubicBezTo>
                  <a:pt x="10883549" y="28874"/>
                  <a:pt x="10902028" y="10395"/>
                  <a:pt x="10923972" y="10395"/>
                </a:cubicBezTo>
                <a:close/>
                <a:moveTo>
                  <a:pt x="9805996" y="10395"/>
                </a:moveTo>
                <a:cubicBezTo>
                  <a:pt x="9827939" y="10395"/>
                  <a:pt x="9846418" y="30029"/>
                  <a:pt x="9846418" y="51973"/>
                </a:cubicBezTo>
                <a:cubicBezTo>
                  <a:pt x="9846418" y="73916"/>
                  <a:pt x="9827939" y="92395"/>
                  <a:pt x="9805996" y="92395"/>
                </a:cubicBezTo>
                <a:cubicBezTo>
                  <a:pt x="9784052" y="92395"/>
                  <a:pt x="9765573" y="72762"/>
                  <a:pt x="9765573" y="50817"/>
                </a:cubicBezTo>
                <a:cubicBezTo>
                  <a:pt x="9765573" y="28874"/>
                  <a:pt x="9784052" y="10395"/>
                  <a:pt x="9805996" y="10395"/>
                </a:cubicBezTo>
                <a:close/>
                <a:moveTo>
                  <a:pt x="9526502" y="10395"/>
                </a:moveTo>
                <a:cubicBezTo>
                  <a:pt x="9548445" y="10395"/>
                  <a:pt x="9566924" y="30029"/>
                  <a:pt x="9566924" y="51973"/>
                </a:cubicBezTo>
                <a:cubicBezTo>
                  <a:pt x="9566924" y="73916"/>
                  <a:pt x="9548445" y="92395"/>
                  <a:pt x="9526502" y="92395"/>
                </a:cubicBezTo>
                <a:cubicBezTo>
                  <a:pt x="9504558" y="92395"/>
                  <a:pt x="9486079" y="72762"/>
                  <a:pt x="9486079" y="50817"/>
                </a:cubicBezTo>
                <a:cubicBezTo>
                  <a:pt x="9486079" y="28874"/>
                  <a:pt x="9504558" y="10395"/>
                  <a:pt x="9526502" y="10395"/>
                </a:cubicBezTo>
                <a:close/>
                <a:moveTo>
                  <a:pt x="8693190" y="10395"/>
                </a:moveTo>
                <a:cubicBezTo>
                  <a:pt x="8715134" y="10395"/>
                  <a:pt x="8733613" y="28874"/>
                  <a:pt x="8733613" y="50817"/>
                </a:cubicBezTo>
                <a:cubicBezTo>
                  <a:pt x="8733613" y="72762"/>
                  <a:pt x="8715134" y="91241"/>
                  <a:pt x="8693190" y="91241"/>
                </a:cubicBezTo>
                <a:cubicBezTo>
                  <a:pt x="8671246" y="91241"/>
                  <a:pt x="8652767" y="72762"/>
                  <a:pt x="8652767" y="50817"/>
                </a:cubicBezTo>
                <a:cubicBezTo>
                  <a:pt x="8652767" y="28874"/>
                  <a:pt x="8671246" y="10395"/>
                  <a:pt x="8693190" y="10395"/>
                </a:cubicBezTo>
                <a:close/>
                <a:moveTo>
                  <a:pt x="8413696" y="10395"/>
                </a:moveTo>
                <a:cubicBezTo>
                  <a:pt x="8435640" y="10395"/>
                  <a:pt x="8454118" y="28874"/>
                  <a:pt x="8454118" y="50817"/>
                </a:cubicBezTo>
                <a:cubicBezTo>
                  <a:pt x="8454118" y="72762"/>
                  <a:pt x="8435640" y="91241"/>
                  <a:pt x="8413696" y="91241"/>
                </a:cubicBezTo>
                <a:cubicBezTo>
                  <a:pt x="8391752" y="91241"/>
                  <a:pt x="8373274" y="72762"/>
                  <a:pt x="8373274" y="50817"/>
                </a:cubicBezTo>
                <a:cubicBezTo>
                  <a:pt x="8373274" y="28874"/>
                  <a:pt x="8391752" y="10395"/>
                  <a:pt x="8413696" y="10395"/>
                </a:cubicBezTo>
                <a:close/>
                <a:moveTo>
                  <a:pt x="6318647" y="10395"/>
                </a:moveTo>
                <a:cubicBezTo>
                  <a:pt x="6340589" y="10395"/>
                  <a:pt x="6359068" y="28874"/>
                  <a:pt x="6359068" y="50817"/>
                </a:cubicBezTo>
                <a:cubicBezTo>
                  <a:pt x="6359068" y="72762"/>
                  <a:pt x="6340589" y="91241"/>
                  <a:pt x="6318647" y="91241"/>
                </a:cubicBezTo>
                <a:cubicBezTo>
                  <a:pt x="6296702" y="91241"/>
                  <a:pt x="6278223" y="72762"/>
                  <a:pt x="6278223" y="50817"/>
                </a:cubicBezTo>
                <a:cubicBezTo>
                  <a:pt x="6278223" y="28874"/>
                  <a:pt x="6296702" y="10395"/>
                  <a:pt x="6318647" y="10395"/>
                </a:cubicBezTo>
                <a:close/>
                <a:moveTo>
                  <a:pt x="5200669" y="10395"/>
                </a:moveTo>
                <a:cubicBezTo>
                  <a:pt x="5222613" y="10395"/>
                  <a:pt x="5241093" y="28874"/>
                  <a:pt x="5241093" y="50817"/>
                </a:cubicBezTo>
                <a:cubicBezTo>
                  <a:pt x="5241093" y="72762"/>
                  <a:pt x="5222613" y="91241"/>
                  <a:pt x="5200669" y="91241"/>
                </a:cubicBezTo>
                <a:cubicBezTo>
                  <a:pt x="5178725" y="91241"/>
                  <a:pt x="5160247" y="72762"/>
                  <a:pt x="5160247" y="50817"/>
                </a:cubicBezTo>
                <a:cubicBezTo>
                  <a:pt x="5160247" y="28874"/>
                  <a:pt x="5178725" y="10395"/>
                  <a:pt x="5200669" y="10395"/>
                </a:cubicBezTo>
                <a:close/>
                <a:moveTo>
                  <a:pt x="4921176" y="10395"/>
                </a:moveTo>
                <a:cubicBezTo>
                  <a:pt x="4944275" y="10395"/>
                  <a:pt x="4961597" y="28874"/>
                  <a:pt x="4961597" y="50817"/>
                </a:cubicBezTo>
                <a:cubicBezTo>
                  <a:pt x="4961597" y="72762"/>
                  <a:pt x="4943120" y="91241"/>
                  <a:pt x="4921176" y="91241"/>
                </a:cubicBezTo>
                <a:cubicBezTo>
                  <a:pt x="4899232" y="91241"/>
                  <a:pt x="4880752" y="72762"/>
                  <a:pt x="4880752" y="50817"/>
                </a:cubicBezTo>
                <a:cubicBezTo>
                  <a:pt x="4880752" y="28874"/>
                  <a:pt x="4899232" y="10395"/>
                  <a:pt x="4921176" y="10395"/>
                </a:cubicBezTo>
                <a:close/>
                <a:moveTo>
                  <a:pt x="4080383" y="10395"/>
                </a:moveTo>
                <a:cubicBezTo>
                  <a:pt x="4102326" y="10395"/>
                  <a:pt x="4120806" y="28874"/>
                  <a:pt x="4120806" y="50817"/>
                </a:cubicBezTo>
                <a:cubicBezTo>
                  <a:pt x="4120806" y="72762"/>
                  <a:pt x="4102326" y="91241"/>
                  <a:pt x="4080383" y="91241"/>
                </a:cubicBezTo>
                <a:cubicBezTo>
                  <a:pt x="4058439" y="91241"/>
                  <a:pt x="4039961" y="72762"/>
                  <a:pt x="4039961" y="50817"/>
                </a:cubicBezTo>
                <a:cubicBezTo>
                  <a:pt x="4039961" y="28874"/>
                  <a:pt x="4058439" y="10395"/>
                  <a:pt x="4080383" y="10395"/>
                </a:cubicBezTo>
                <a:close/>
                <a:moveTo>
                  <a:pt x="3800889" y="10395"/>
                </a:moveTo>
                <a:cubicBezTo>
                  <a:pt x="3822833" y="10395"/>
                  <a:pt x="3841311" y="28874"/>
                  <a:pt x="3841311" y="50817"/>
                </a:cubicBezTo>
                <a:cubicBezTo>
                  <a:pt x="3841311" y="72762"/>
                  <a:pt x="3822833" y="91241"/>
                  <a:pt x="3800889" y="91241"/>
                </a:cubicBezTo>
                <a:cubicBezTo>
                  <a:pt x="3778945" y="91241"/>
                  <a:pt x="3760466" y="72762"/>
                  <a:pt x="3760466" y="50817"/>
                </a:cubicBezTo>
                <a:cubicBezTo>
                  <a:pt x="3760466" y="28874"/>
                  <a:pt x="3778945" y="10395"/>
                  <a:pt x="3800889" y="10395"/>
                </a:cubicBezTo>
                <a:close/>
                <a:moveTo>
                  <a:pt x="1705839" y="10395"/>
                </a:moveTo>
                <a:cubicBezTo>
                  <a:pt x="1727782" y="10395"/>
                  <a:pt x="1746261" y="28874"/>
                  <a:pt x="1746261" y="50817"/>
                </a:cubicBezTo>
                <a:cubicBezTo>
                  <a:pt x="1746261" y="72762"/>
                  <a:pt x="1727782" y="91241"/>
                  <a:pt x="1705839" y="91241"/>
                </a:cubicBezTo>
                <a:cubicBezTo>
                  <a:pt x="1683894" y="91241"/>
                  <a:pt x="1665415" y="72762"/>
                  <a:pt x="1665415" y="50817"/>
                </a:cubicBezTo>
                <a:cubicBezTo>
                  <a:pt x="1665415" y="28874"/>
                  <a:pt x="1683894" y="10395"/>
                  <a:pt x="1705839" y="10395"/>
                </a:cubicBezTo>
                <a:close/>
                <a:moveTo>
                  <a:pt x="587862" y="10395"/>
                </a:moveTo>
                <a:cubicBezTo>
                  <a:pt x="609806" y="10395"/>
                  <a:pt x="628284" y="30029"/>
                  <a:pt x="628284" y="51973"/>
                </a:cubicBezTo>
                <a:cubicBezTo>
                  <a:pt x="628284" y="73916"/>
                  <a:pt x="609806" y="92395"/>
                  <a:pt x="587862" y="92395"/>
                </a:cubicBezTo>
                <a:cubicBezTo>
                  <a:pt x="565918" y="92395"/>
                  <a:pt x="547439" y="72762"/>
                  <a:pt x="547439" y="50817"/>
                </a:cubicBezTo>
                <a:cubicBezTo>
                  <a:pt x="547439" y="28874"/>
                  <a:pt x="565918" y="10395"/>
                  <a:pt x="587862" y="10395"/>
                </a:cubicBezTo>
                <a:close/>
                <a:moveTo>
                  <a:pt x="308368" y="10395"/>
                </a:moveTo>
                <a:cubicBezTo>
                  <a:pt x="330311" y="10395"/>
                  <a:pt x="348790" y="30029"/>
                  <a:pt x="348790" y="51973"/>
                </a:cubicBezTo>
                <a:cubicBezTo>
                  <a:pt x="348790" y="73916"/>
                  <a:pt x="330311" y="92395"/>
                  <a:pt x="308368" y="92395"/>
                </a:cubicBezTo>
                <a:cubicBezTo>
                  <a:pt x="286424" y="92395"/>
                  <a:pt x="267945" y="72762"/>
                  <a:pt x="267945" y="50817"/>
                </a:cubicBezTo>
                <a:cubicBezTo>
                  <a:pt x="267945" y="28874"/>
                  <a:pt x="286424" y="10395"/>
                  <a:pt x="308368" y="10395"/>
                </a:cubicBezTo>
                <a:close/>
                <a:moveTo>
                  <a:pt x="10784225" y="0"/>
                </a:moveTo>
                <a:cubicBezTo>
                  <a:pt x="10811943" y="0"/>
                  <a:pt x="10835042" y="23099"/>
                  <a:pt x="10835042" y="50817"/>
                </a:cubicBezTo>
                <a:cubicBezTo>
                  <a:pt x="10835042" y="78536"/>
                  <a:pt x="10811943" y="101634"/>
                  <a:pt x="10784225" y="101634"/>
                </a:cubicBezTo>
                <a:cubicBezTo>
                  <a:pt x="10756506" y="101634"/>
                  <a:pt x="10733408" y="78536"/>
                  <a:pt x="10733408" y="50817"/>
                </a:cubicBezTo>
                <a:cubicBezTo>
                  <a:pt x="10733408" y="23099"/>
                  <a:pt x="10755352" y="0"/>
                  <a:pt x="10784225" y="0"/>
                </a:cubicBezTo>
                <a:close/>
                <a:moveTo>
                  <a:pt x="9666248" y="0"/>
                </a:moveTo>
                <a:cubicBezTo>
                  <a:pt x="9695122" y="0"/>
                  <a:pt x="9717066" y="23099"/>
                  <a:pt x="9717066" y="50817"/>
                </a:cubicBezTo>
                <a:cubicBezTo>
                  <a:pt x="9717066" y="78536"/>
                  <a:pt x="9695122" y="101634"/>
                  <a:pt x="9666248" y="101634"/>
                </a:cubicBezTo>
                <a:cubicBezTo>
                  <a:pt x="9638530" y="101634"/>
                  <a:pt x="9615431" y="78536"/>
                  <a:pt x="9615431" y="50817"/>
                </a:cubicBezTo>
                <a:cubicBezTo>
                  <a:pt x="9615431" y="23099"/>
                  <a:pt x="9637376" y="0"/>
                  <a:pt x="9666248" y="0"/>
                </a:cubicBezTo>
                <a:close/>
                <a:moveTo>
                  <a:pt x="8553443" y="0"/>
                </a:moveTo>
                <a:cubicBezTo>
                  <a:pt x="8582317" y="0"/>
                  <a:pt x="8604260" y="23099"/>
                  <a:pt x="8604260" y="50817"/>
                </a:cubicBezTo>
                <a:cubicBezTo>
                  <a:pt x="8604260" y="78536"/>
                  <a:pt x="8582317" y="101634"/>
                  <a:pt x="8553443" y="101634"/>
                </a:cubicBezTo>
                <a:cubicBezTo>
                  <a:pt x="8525724" y="101634"/>
                  <a:pt x="8502626" y="78536"/>
                  <a:pt x="8502626" y="50817"/>
                </a:cubicBezTo>
                <a:cubicBezTo>
                  <a:pt x="8502626" y="23099"/>
                  <a:pt x="8524570" y="0"/>
                  <a:pt x="8553443" y="0"/>
                </a:cubicBezTo>
                <a:close/>
                <a:moveTo>
                  <a:pt x="6178898" y="0"/>
                </a:moveTo>
                <a:cubicBezTo>
                  <a:pt x="6206618" y="0"/>
                  <a:pt x="6229715" y="23099"/>
                  <a:pt x="6229715" y="50817"/>
                </a:cubicBezTo>
                <a:cubicBezTo>
                  <a:pt x="6229715" y="78536"/>
                  <a:pt x="6206618" y="101634"/>
                  <a:pt x="6178898" y="101634"/>
                </a:cubicBezTo>
                <a:cubicBezTo>
                  <a:pt x="6151180" y="101634"/>
                  <a:pt x="6128081" y="78536"/>
                  <a:pt x="6128081" y="50817"/>
                </a:cubicBezTo>
                <a:cubicBezTo>
                  <a:pt x="6128081" y="23099"/>
                  <a:pt x="6150025" y="0"/>
                  <a:pt x="6178898" y="0"/>
                </a:cubicBezTo>
                <a:close/>
                <a:moveTo>
                  <a:pt x="5060922" y="0"/>
                </a:moveTo>
                <a:cubicBezTo>
                  <a:pt x="5089795" y="0"/>
                  <a:pt x="5111739" y="23099"/>
                  <a:pt x="5111739" y="50817"/>
                </a:cubicBezTo>
                <a:cubicBezTo>
                  <a:pt x="5111739" y="78536"/>
                  <a:pt x="5088641" y="101634"/>
                  <a:pt x="5060922" y="101634"/>
                </a:cubicBezTo>
                <a:cubicBezTo>
                  <a:pt x="5033205" y="101634"/>
                  <a:pt x="5010105" y="78536"/>
                  <a:pt x="5010105" y="50817"/>
                </a:cubicBezTo>
                <a:cubicBezTo>
                  <a:pt x="5010105" y="23099"/>
                  <a:pt x="5032050" y="0"/>
                  <a:pt x="5060922" y="0"/>
                </a:cubicBezTo>
                <a:close/>
                <a:moveTo>
                  <a:pt x="3940636" y="0"/>
                </a:moveTo>
                <a:cubicBezTo>
                  <a:pt x="3969510" y="0"/>
                  <a:pt x="3991453" y="23099"/>
                  <a:pt x="3991453" y="50817"/>
                </a:cubicBezTo>
                <a:cubicBezTo>
                  <a:pt x="3991453" y="78536"/>
                  <a:pt x="3969510" y="101634"/>
                  <a:pt x="3940636" y="101634"/>
                </a:cubicBezTo>
                <a:cubicBezTo>
                  <a:pt x="3912917" y="101634"/>
                  <a:pt x="3889819" y="78536"/>
                  <a:pt x="3889819" y="50817"/>
                </a:cubicBezTo>
                <a:cubicBezTo>
                  <a:pt x="3889819" y="23099"/>
                  <a:pt x="3911763" y="0"/>
                  <a:pt x="3940636" y="0"/>
                </a:cubicBezTo>
                <a:close/>
                <a:moveTo>
                  <a:pt x="1566091" y="0"/>
                </a:moveTo>
                <a:cubicBezTo>
                  <a:pt x="1593810" y="0"/>
                  <a:pt x="1616908" y="23099"/>
                  <a:pt x="1616908" y="50817"/>
                </a:cubicBezTo>
                <a:cubicBezTo>
                  <a:pt x="1616908" y="78536"/>
                  <a:pt x="1593810" y="101634"/>
                  <a:pt x="1566091" y="101634"/>
                </a:cubicBezTo>
                <a:cubicBezTo>
                  <a:pt x="1538373" y="101634"/>
                  <a:pt x="1515274" y="78536"/>
                  <a:pt x="1515274" y="50817"/>
                </a:cubicBezTo>
                <a:cubicBezTo>
                  <a:pt x="1515274" y="23099"/>
                  <a:pt x="1537218" y="0"/>
                  <a:pt x="1566091" y="0"/>
                </a:cubicBezTo>
                <a:close/>
                <a:moveTo>
                  <a:pt x="448115" y="0"/>
                </a:moveTo>
                <a:cubicBezTo>
                  <a:pt x="476989" y="0"/>
                  <a:pt x="498932" y="23099"/>
                  <a:pt x="498932" y="50817"/>
                </a:cubicBezTo>
                <a:cubicBezTo>
                  <a:pt x="498932" y="78536"/>
                  <a:pt x="476989" y="101634"/>
                  <a:pt x="448115" y="101634"/>
                </a:cubicBezTo>
                <a:cubicBezTo>
                  <a:pt x="420396" y="101634"/>
                  <a:pt x="397298" y="78536"/>
                  <a:pt x="397298" y="50817"/>
                </a:cubicBezTo>
                <a:cubicBezTo>
                  <a:pt x="397298" y="23099"/>
                  <a:pt x="419242" y="0"/>
                  <a:pt x="448115" y="0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80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E0526AF-A3E0-4BF9-92D3-0B47E6AED7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2971800"/>
            <a:ext cx="12192000" cy="2286001"/>
          </a:xfrm>
          <a:prstGeom prst="rect">
            <a:avLst/>
          </a:prstGeom>
        </p:spPr>
      </p:pic>
      <p:sp>
        <p:nvSpPr>
          <p:cNvPr id="28" name="Dot Pattern crop">
            <a:extLst>
              <a:ext uri="{FF2B5EF4-FFF2-40B4-BE49-F238E27FC236}">
                <a16:creationId xmlns:a16="http://schemas.microsoft.com/office/drawing/2014/main" id="{9016D9B6-4941-4923-9792-AC1FAE070EC9}"/>
              </a:ext>
            </a:extLst>
          </p:cNvPr>
          <p:cNvSpPr/>
          <p:nvPr userDrawn="1"/>
        </p:nvSpPr>
        <p:spPr>
          <a:xfrm>
            <a:off x="-3082" y="4648002"/>
            <a:ext cx="12251873" cy="609800"/>
          </a:xfrm>
          <a:custGeom>
            <a:avLst/>
            <a:gdLst>
              <a:gd name="connsiteX0" fmla="*/ 12227892 w 12248682"/>
              <a:gd name="connsiteY0" fmla="*/ 608651 h 609800"/>
              <a:gd name="connsiteX1" fmla="*/ 12230601 w 12248682"/>
              <a:gd name="connsiteY1" fmla="*/ 609800 h 609800"/>
              <a:gd name="connsiteX2" fmla="*/ 12225102 w 12248682"/>
              <a:gd name="connsiteY2" fmla="*/ 609800 h 609800"/>
              <a:gd name="connsiteX3" fmla="*/ 12091610 w 12248682"/>
              <a:gd name="connsiteY3" fmla="*/ 608651 h 609800"/>
              <a:gd name="connsiteX4" fmla="*/ 12094400 w 12248682"/>
              <a:gd name="connsiteY4" fmla="*/ 609800 h 609800"/>
              <a:gd name="connsiteX5" fmla="*/ 12088820 w 12248682"/>
              <a:gd name="connsiteY5" fmla="*/ 609800 h 609800"/>
              <a:gd name="connsiteX6" fmla="*/ 11956484 w 12248682"/>
              <a:gd name="connsiteY6" fmla="*/ 608651 h 609800"/>
              <a:gd name="connsiteX7" fmla="*/ 11959274 w 12248682"/>
              <a:gd name="connsiteY7" fmla="*/ 609800 h 609800"/>
              <a:gd name="connsiteX8" fmla="*/ 11953693 w 12248682"/>
              <a:gd name="connsiteY8" fmla="*/ 609800 h 609800"/>
              <a:gd name="connsiteX9" fmla="*/ 11821356 w 12248682"/>
              <a:gd name="connsiteY9" fmla="*/ 608651 h 609800"/>
              <a:gd name="connsiteX10" fmla="*/ 11824146 w 12248682"/>
              <a:gd name="connsiteY10" fmla="*/ 609800 h 609800"/>
              <a:gd name="connsiteX11" fmla="*/ 11818565 w 12248682"/>
              <a:gd name="connsiteY11" fmla="*/ 609800 h 609800"/>
              <a:gd name="connsiteX12" fmla="*/ 11685074 w 12248682"/>
              <a:gd name="connsiteY12" fmla="*/ 608651 h 609800"/>
              <a:gd name="connsiteX13" fmla="*/ 11687864 w 12248682"/>
              <a:gd name="connsiteY13" fmla="*/ 609800 h 609800"/>
              <a:gd name="connsiteX14" fmla="*/ 11682283 w 12248682"/>
              <a:gd name="connsiteY14" fmla="*/ 609800 h 609800"/>
              <a:gd name="connsiteX15" fmla="*/ 10736873 w 12248682"/>
              <a:gd name="connsiteY15" fmla="*/ 608651 h 609800"/>
              <a:gd name="connsiteX16" fmla="*/ 10739663 w 12248682"/>
              <a:gd name="connsiteY16" fmla="*/ 609800 h 609800"/>
              <a:gd name="connsiteX17" fmla="*/ 10734082 w 12248682"/>
              <a:gd name="connsiteY17" fmla="*/ 609800 h 609800"/>
              <a:gd name="connsiteX18" fmla="*/ 10601745 w 12248682"/>
              <a:gd name="connsiteY18" fmla="*/ 608651 h 609800"/>
              <a:gd name="connsiteX19" fmla="*/ 10604536 w 12248682"/>
              <a:gd name="connsiteY19" fmla="*/ 609800 h 609800"/>
              <a:gd name="connsiteX20" fmla="*/ 10598955 w 12248682"/>
              <a:gd name="connsiteY20" fmla="*/ 609800 h 609800"/>
              <a:gd name="connsiteX21" fmla="*/ 8027949 w 12248682"/>
              <a:gd name="connsiteY21" fmla="*/ 608651 h 609800"/>
              <a:gd name="connsiteX22" fmla="*/ 8030740 w 12248682"/>
              <a:gd name="connsiteY22" fmla="*/ 609800 h 609800"/>
              <a:gd name="connsiteX23" fmla="*/ 8025159 w 12248682"/>
              <a:gd name="connsiteY23" fmla="*/ 609800 h 609800"/>
              <a:gd name="connsiteX24" fmla="*/ 7892822 w 12248682"/>
              <a:gd name="connsiteY24" fmla="*/ 608651 h 609800"/>
              <a:gd name="connsiteX25" fmla="*/ 7895613 w 12248682"/>
              <a:gd name="connsiteY25" fmla="*/ 609800 h 609800"/>
              <a:gd name="connsiteX26" fmla="*/ 7890031 w 12248682"/>
              <a:gd name="connsiteY26" fmla="*/ 609800 h 609800"/>
              <a:gd name="connsiteX27" fmla="*/ 7757693 w 12248682"/>
              <a:gd name="connsiteY27" fmla="*/ 608651 h 609800"/>
              <a:gd name="connsiteX28" fmla="*/ 7760484 w 12248682"/>
              <a:gd name="connsiteY28" fmla="*/ 609800 h 609800"/>
              <a:gd name="connsiteX29" fmla="*/ 7754903 w 12248682"/>
              <a:gd name="connsiteY29" fmla="*/ 609800 h 609800"/>
              <a:gd name="connsiteX30" fmla="*/ 7622566 w 12248682"/>
              <a:gd name="connsiteY30" fmla="*/ 608651 h 609800"/>
              <a:gd name="connsiteX31" fmla="*/ 7625275 w 12248682"/>
              <a:gd name="connsiteY31" fmla="*/ 609800 h 609800"/>
              <a:gd name="connsiteX32" fmla="*/ 7619776 w 12248682"/>
              <a:gd name="connsiteY32" fmla="*/ 609800 h 609800"/>
              <a:gd name="connsiteX33" fmla="*/ 7486284 w 12248682"/>
              <a:gd name="connsiteY33" fmla="*/ 608651 h 609800"/>
              <a:gd name="connsiteX34" fmla="*/ 7489075 w 12248682"/>
              <a:gd name="connsiteY34" fmla="*/ 609800 h 609800"/>
              <a:gd name="connsiteX35" fmla="*/ 7483494 w 12248682"/>
              <a:gd name="connsiteY35" fmla="*/ 609800 h 609800"/>
              <a:gd name="connsiteX36" fmla="*/ 7351157 w 12248682"/>
              <a:gd name="connsiteY36" fmla="*/ 608651 h 609800"/>
              <a:gd name="connsiteX37" fmla="*/ 7353948 w 12248682"/>
              <a:gd name="connsiteY37" fmla="*/ 609800 h 609800"/>
              <a:gd name="connsiteX38" fmla="*/ 7348367 w 12248682"/>
              <a:gd name="connsiteY38" fmla="*/ 609800 h 609800"/>
              <a:gd name="connsiteX39" fmla="*/ 7216030 w 12248682"/>
              <a:gd name="connsiteY39" fmla="*/ 608651 h 609800"/>
              <a:gd name="connsiteX40" fmla="*/ 7218821 w 12248682"/>
              <a:gd name="connsiteY40" fmla="*/ 609800 h 609800"/>
              <a:gd name="connsiteX41" fmla="*/ 7213240 w 12248682"/>
              <a:gd name="connsiteY41" fmla="*/ 609800 h 609800"/>
              <a:gd name="connsiteX42" fmla="*/ 7079748 w 12248682"/>
              <a:gd name="connsiteY42" fmla="*/ 608651 h 609800"/>
              <a:gd name="connsiteX43" fmla="*/ 7082539 w 12248682"/>
              <a:gd name="connsiteY43" fmla="*/ 609800 h 609800"/>
              <a:gd name="connsiteX44" fmla="*/ 7076958 w 12248682"/>
              <a:gd name="connsiteY44" fmla="*/ 609800 h 609800"/>
              <a:gd name="connsiteX45" fmla="*/ 6131548 w 12248682"/>
              <a:gd name="connsiteY45" fmla="*/ 608651 h 609800"/>
              <a:gd name="connsiteX46" fmla="*/ 6134339 w 12248682"/>
              <a:gd name="connsiteY46" fmla="*/ 609800 h 609800"/>
              <a:gd name="connsiteX47" fmla="*/ 6128758 w 12248682"/>
              <a:gd name="connsiteY47" fmla="*/ 609800 h 609800"/>
              <a:gd name="connsiteX48" fmla="*/ 5996418 w 12248682"/>
              <a:gd name="connsiteY48" fmla="*/ 608651 h 609800"/>
              <a:gd name="connsiteX49" fmla="*/ 5999209 w 12248682"/>
              <a:gd name="connsiteY49" fmla="*/ 609800 h 609800"/>
              <a:gd name="connsiteX50" fmla="*/ 5993628 w 12248682"/>
              <a:gd name="connsiteY50" fmla="*/ 609800 h 609800"/>
              <a:gd name="connsiteX51" fmla="*/ 3415142 w 12248682"/>
              <a:gd name="connsiteY51" fmla="*/ 608651 h 609800"/>
              <a:gd name="connsiteX52" fmla="*/ 3417933 w 12248682"/>
              <a:gd name="connsiteY52" fmla="*/ 609800 h 609800"/>
              <a:gd name="connsiteX53" fmla="*/ 3412352 w 12248682"/>
              <a:gd name="connsiteY53" fmla="*/ 609800 h 609800"/>
              <a:gd name="connsiteX54" fmla="*/ 3280013 w 12248682"/>
              <a:gd name="connsiteY54" fmla="*/ 608651 h 609800"/>
              <a:gd name="connsiteX55" fmla="*/ 3282804 w 12248682"/>
              <a:gd name="connsiteY55" fmla="*/ 609800 h 609800"/>
              <a:gd name="connsiteX56" fmla="*/ 3277223 w 12248682"/>
              <a:gd name="connsiteY56" fmla="*/ 609800 h 609800"/>
              <a:gd name="connsiteX57" fmla="*/ 3144887 w 12248682"/>
              <a:gd name="connsiteY57" fmla="*/ 608651 h 609800"/>
              <a:gd name="connsiteX58" fmla="*/ 3147678 w 12248682"/>
              <a:gd name="connsiteY58" fmla="*/ 609800 h 609800"/>
              <a:gd name="connsiteX59" fmla="*/ 3142097 w 12248682"/>
              <a:gd name="connsiteY59" fmla="*/ 609800 h 609800"/>
              <a:gd name="connsiteX60" fmla="*/ 3009759 w 12248682"/>
              <a:gd name="connsiteY60" fmla="*/ 608651 h 609800"/>
              <a:gd name="connsiteX61" fmla="*/ 3012468 w 12248682"/>
              <a:gd name="connsiteY61" fmla="*/ 609800 h 609800"/>
              <a:gd name="connsiteX62" fmla="*/ 3006969 w 12248682"/>
              <a:gd name="connsiteY62" fmla="*/ 609800 h 609800"/>
              <a:gd name="connsiteX63" fmla="*/ 2873476 w 12248682"/>
              <a:gd name="connsiteY63" fmla="*/ 608651 h 609800"/>
              <a:gd name="connsiteX64" fmla="*/ 2876267 w 12248682"/>
              <a:gd name="connsiteY64" fmla="*/ 609800 h 609800"/>
              <a:gd name="connsiteX65" fmla="*/ 2870686 w 12248682"/>
              <a:gd name="connsiteY65" fmla="*/ 609800 h 609800"/>
              <a:gd name="connsiteX66" fmla="*/ 2738350 w 12248682"/>
              <a:gd name="connsiteY66" fmla="*/ 608651 h 609800"/>
              <a:gd name="connsiteX67" fmla="*/ 2741141 w 12248682"/>
              <a:gd name="connsiteY67" fmla="*/ 609800 h 609800"/>
              <a:gd name="connsiteX68" fmla="*/ 2735560 w 12248682"/>
              <a:gd name="connsiteY68" fmla="*/ 609800 h 609800"/>
              <a:gd name="connsiteX69" fmla="*/ 2603222 w 12248682"/>
              <a:gd name="connsiteY69" fmla="*/ 608651 h 609800"/>
              <a:gd name="connsiteX70" fmla="*/ 2606013 w 12248682"/>
              <a:gd name="connsiteY70" fmla="*/ 609800 h 609800"/>
              <a:gd name="connsiteX71" fmla="*/ 2600432 w 12248682"/>
              <a:gd name="connsiteY71" fmla="*/ 609800 h 609800"/>
              <a:gd name="connsiteX72" fmla="*/ 2466940 w 12248682"/>
              <a:gd name="connsiteY72" fmla="*/ 608651 h 609800"/>
              <a:gd name="connsiteX73" fmla="*/ 2469731 w 12248682"/>
              <a:gd name="connsiteY73" fmla="*/ 609800 h 609800"/>
              <a:gd name="connsiteX74" fmla="*/ 2464150 w 12248682"/>
              <a:gd name="connsiteY74" fmla="*/ 609800 h 609800"/>
              <a:gd name="connsiteX75" fmla="*/ 1518739 w 12248682"/>
              <a:gd name="connsiteY75" fmla="*/ 608651 h 609800"/>
              <a:gd name="connsiteX76" fmla="*/ 1521530 w 12248682"/>
              <a:gd name="connsiteY76" fmla="*/ 609800 h 609800"/>
              <a:gd name="connsiteX77" fmla="*/ 1515949 w 12248682"/>
              <a:gd name="connsiteY77" fmla="*/ 609800 h 609800"/>
              <a:gd name="connsiteX78" fmla="*/ 1383611 w 12248682"/>
              <a:gd name="connsiteY78" fmla="*/ 608651 h 609800"/>
              <a:gd name="connsiteX79" fmla="*/ 1386402 w 12248682"/>
              <a:gd name="connsiteY79" fmla="*/ 609800 h 609800"/>
              <a:gd name="connsiteX80" fmla="*/ 1380821 w 12248682"/>
              <a:gd name="connsiteY80" fmla="*/ 609800 h 609800"/>
              <a:gd name="connsiteX81" fmla="*/ 11549947 w 12248682"/>
              <a:gd name="connsiteY81" fmla="*/ 606341 h 609800"/>
              <a:gd name="connsiteX82" fmla="*/ 11558263 w 12248682"/>
              <a:gd name="connsiteY82" fmla="*/ 609800 h 609800"/>
              <a:gd name="connsiteX83" fmla="*/ 11541630 w 12248682"/>
              <a:gd name="connsiteY83" fmla="*/ 609800 h 609800"/>
              <a:gd name="connsiteX84" fmla="*/ 10466618 w 12248682"/>
              <a:gd name="connsiteY84" fmla="*/ 606341 h 609800"/>
              <a:gd name="connsiteX85" fmla="*/ 10474935 w 12248682"/>
              <a:gd name="connsiteY85" fmla="*/ 609800 h 609800"/>
              <a:gd name="connsiteX86" fmla="*/ 10458302 w 12248682"/>
              <a:gd name="connsiteY86" fmla="*/ 609800 h 609800"/>
              <a:gd name="connsiteX87" fmla="*/ 9244698 w 12248682"/>
              <a:gd name="connsiteY87" fmla="*/ 606341 h 609800"/>
              <a:gd name="connsiteX88" fmla="*/ 9256325 w 12248682"/>
              <a:gd name="connsiteY88" fmla="*/ 609800 h 609800"/>
              <a:gd name="connsiteX89" fmla="*/ 9238257 w 12248682"/>
              <a:gd name="connsiteY89" fmla="*/ 609800 h 609800"/>
              <a:gd name="connsiteX90" fmla="*/ 8164231 w 12248682"/>
              <a:gd name="connsiteY90" fmla="*/ 606341 h 609800"/>
              <a:gd name="connsiteX91" fmla="*/ 8172548 w 12248682"/>
              <a:gd name="connsiteY91" fmla="*/ 609800 h 609800"/>
              <a:gd name="connsiteX92" fmla="*/ 8155915 w 12248682"/>
              <a:gd name="connsiteY92" fmla="*/ 609800 h 609800"/>
              <a:gd name="connsiteX93" fmla="*/ 6944621 w 12248682"/>
              <a:gd name="connsiteY93" fmla="*/ 606341 h 609800"/>
              <a:gd name="connsiteX94" fmla="*/ 6952937 w 12248682"/>
              <a:gd name="connsiteY94" fmla="*/ 609800 h 609800"/>
              <a:gd name="connsiteX95" fmla="*/ 6936304 w 12248682"/>
              <a:gd name="connsiteY95" fmla="*/ 609800 h 609800"/>
              <a:gd name="connsiteX96" fmla="*/ 5861292 w 12248682"/>
              <a:gd name="connsiteY96" fmla="*/ 606341 h 609800"/>
              <a:gd name="connsiteX97" fmla="*/ 5869609 w 12248682"/>
              <a:gd name="connsiteY97" fmla="*/ 609800 h 609800"/>
              <a:gd name="connsiteX98" fmla="*/ 5852976 w 12248682"/>
              <a:gd name="connsiteY98" fmla="*/ 609800 h 609800"/>
              <a:gd name="connsiteX99" fmla="*/ 4639374 w 12248682"/>
              <a:gd name="connsiteY99" fmla="*/ 606341 h 609800"/>
              <a:gd name="connsiteX100" fmla="*/ 4651000 w 12248682"/>
              <a:gd name="connsiteY100" fmla="*/ 609800 h 609800"/>
              <a:gd name="connsiteX101" fmla="*/ 4632932 w 12248682"/>
              <a:gd name="connsiteY101" fmla="*/ 609800 h 609800"/>
              <a:gd name="connsiteX102" fmla="*/ 3551423 w 12248682"/>
              <a:gd name="connsiteY102" fmla="*/ 606341 h 609800"/>
              <a:gd name="connsiteX103" fmla="*/ 3559740 w 12248682"/>
              <a:gd name="connsiteY103" fmla="*/ 609800 h 609800"/>
              <a:gd name="connsiteX104" fmla="*/ 3543107 w 12248682"/>
              <a:gd name="connsiteY104" fmla="*/ 609800 h 609800"/>
              <a:gd name="connsiteX105" fmla="*/ 2331813 w 12248682"/>
              <a:gd name="connsiteY105" fmla="*/ 606341 h 609800"/>
              <a:gd name="connsiteX106" fmla="*/ 2340130 w 12248682"/>
              <a:gd name="connsiteY106" fmla="*/ 609800 h 609800"/>
              <a:gd name="connsiteX107" fmla="*/ 2323497 w 12248682"/>
              <a:gd name="connsiteY107" fmla="*/ 609800 h 609800"/>
              <a:gd name="connsiteX108" fmla="*/ 1248485 w 12248682"/>
              <a:gd name="connsiteY108" fmla="*/ 606341 h 609800"/>
              <a:gd name="connsiteX109" fmla="*/ 1256801 w 12248682"/>
              <a:gd name="connsiteY109" fmla="*/ 609800 h 609800"/>
              <a:gd name="connsiteX110" fmla="*/ 1240169 w 12248682"/>
              <a:gd name="connsiteY110" fmla="*/ 609800 h 609800"/>
              <a:gd name="connsiteX111" fmla="*/ 26564 w 12248682"/>
              <a:gd name="connsiteY111" fmla="*/ 606341 h 609800"/>
              <a:gd name="connsiteX112" fmla="*/ 38192 w 12248682"/>
              <a:gd name="connsiteY112" fmla="*/ 609800 h 609800"/>
              <a:gd name="connsiteX113" fmla="*/ 20123 w 12248682"/>
              <a:gd name="connsiteY113" fmla="*/ 609800 h 609800"/>
              <a:gd name="connsiteX114" fmla="*/ 11414819 w 12248682"/>
              <a:gd name="connsiteY114" fmla="*/ 600566 h 609800"/>
              <a:gd name="connsiteX115" fmla="*/ 11435319 w 12248682"/>
              <a:gd name="connsiteY115" fmla="*/ 608940 h 609800"/>
              <a:gd name="connsiteX116" fmla="*/ 11435671 w 12248682"/>
              <a:gd name="connsiteY116" fmla="*/ 609800 h 609800"/>
              <a:gd name="connsiteX117" fmla="*/ 11393968 w 12248682"/>
              <a:gd name="connsiteY117" fmla="*/ 609800 h 609800"/>
              <a:gd name="connsiteX118" fmla="*/ 11394319 w 12248682"/>
              <a:gd name="connsiteY118" fmla="*/ 608940 h 609800"/>
              <a:gd name="connsiteX119" fmla="*/ 11414819 w 12248682"/>
              <a:gd name="connsiteY119" fmla="*/ 600566 h 609800"/>
              <a:gd name="connsiteX120" fmla="*/ 10330336 w 12248682"/>
              <a:gd name="connsiteY120" fmla="*/ 600566 h 609800"/>
              <a:gd name="connsiteX121" fmla="*/ 10350836 w 12248682"/>
              <a:gd name="connsiteY121" fmla="*/ 608940 h 609800"/>
              <a:gd name="connsiteX122" fmla="*/ 10351187 w 12248682"/>
              <a:gd name="connsiteY122" fmla="*/ 609800 h 609800"/>
              <a:gd name="connsiteX123" fmla="*/ 10309484 w 12248682"/>
              <a:gd name="connsiteY123" fmla="*/ 609800 h 609800"/>
              <a:gd name="connsiteX124" fmla="*/ 10309836 w 12248682"/>
              <a:gd name="connsiteY124" fmla="*/ 608940 h 609800"/>
              <a:gd name="connsiteX125" fmla="*/ 10330336 w 12248682"/>
              <a:gd name="connsiteY125" fmla="*/ 600566 h 609800"/>
              <a:gd name="connsiteX126" fmla="*/ 9382135 w 12248682"/>
              <a:gd name="connsiteY126" fmla="*/ 600566 h 609800"/>
              <a:gd name="connsiteX127" fmla="*/ 9402635 w 12248682"/>
              <a:gd name="connsiteY127" fmla="*/ 608940 h 609800"/>
              <a:gd name="connsiteX128" fmla="*/ 9402987 w 12248682"/>
              <a:gd name="connsiteY128" fmla="*/ 609800 h 609800"/>
              <a:gd name="connsiteX129" fmla="*/ 9361284 w 12248682"/>
              <a:gd name="connsiteY129" fmla="*/ 609800 h 609800"/>
              <a:gd name="connsiteX130" fmla="*/ 9361635 w 12248682"/>
              <a:gd name="connsiteY130" fmla="*/ 608940 h 609800"/>
              <a:gd name="connsiteX131" fmla="*/ 9382135 w 12248682"/>
              <a:gd name="connsiteY131" fmla="*/ 600566 h 609800"/>
              <a:gd name="connsiteX132" fmla="*/ 9112431 w 12248682"/>
              <a:gd name="connsiteY132" fmla="*/ 600566 h 609800"/>
              <a:gd name="connsiteX133" fmla="*/ 9132931 w 12248682"/>
              <a:gd name="connsiteY133" fmla="*/ 608940 h 609800"/>
              <a:gd name="connsiteX134" fmla="*/ 9133283 w 12248682"/>
              <a:gd name="connsiteY134" fmla="*/ 609800 h 609800"/>
              <a:gd name="connsiteX135" fmla="*/ 9091580 w 12248682"/>
              <a:gd name="connsiteY135" fmla="*/ 609800 h 609800"/>
              <a:gd name="connsiteX136" fmla="*/ 9091931 w 12248682"/>
              <a:gd name="connsiteY136" fmla="*/ 608940 h 609800"/>
              <a:gd name="connsiteX137" fmla="*/ 9112431 w 12248682"/>
              <a:gd name="connsiteY137" fmla="*/ 600566 h 609800"/>
              <a:gd name="connsiteX138" fmla="*/ 8299358 w 12248682"/>
              <a:gd name="connsiteY138" fmla="*/ 600566 h 609800"/>
              <a:gd name="connsiteX139" fmla="*/ 8319858 w 12248682"/>
              <a:gd name="connsiteY139" fmla="*/ 608940 h 609800"/>
              <a:gd name="connsiteX140" fmla="*/ 8320209 w 12248682"/>
              <a:gd name="connsiteY140" fmla="*/ 609800 h 609800"/>
              <a:gd name="connsiteX141" fmla="*/ 8278507 w 12248682"/>
              <a:gd name="connsiteY141" fmla="*/ 609800 h 609800"/>
              <a:gd name="connsiteX142" fmla="*/ 8278858 w 12248682"/>
              <a:gd name="connsiteY142" fmla="*/ 608940 h 609800"/>
              <a:gd name="connsiteX143" fmla="*/ 8299358 w 12248682"/>
              <a:gd name="connsiteY143" fmla="*/ 600566 h 609800"/>
              <a:gd name="connsiteX144" fmla="*/ 6809492 w 12248682"/>
              <a:gd name="connsiteY144" fmla="*/ 600566 h 609800"/>
              <a:gd name="connsiteX145" fmla="*/ 6829993 w 12248682"/>
              <a:gd name="connsiteY145" fmla="*/ 608940 h 609800"/>
              <a:gd name="connsiteX146" fmla="*/ 6830345 w 12248682"/>
              <a:gd name="connsiteY146" fmla="*/ 609800 h 609800"/>
              <a:gd name="connsiteX147" fmla="*/ 6788642 w 12248682"/>
              <a:gd name="connsiteY147" fmla="*/ 609800 h 609800"/>
              <a:gd name="connsiteX148" fmla="*/ 6788993 w 12248682"/>
              <a:gd name="connsiteY148" fmla="*/ 608940 h 609800"/>
              <a:gd name="connsiteX149" fmla="*/ 6809492 w 12248682"/>
              <a:gd name="connsiteY149" fmla="*/ 600566 h 609800"/>
              <a:gd name="connsiteX150" fmla="*/ 5726165 w 12248682"/>
              <a:gd name="connsiteY150" fmla="*/ 600566 h 609800"/>
              <a:gd name="connsiteX151" fmla="*/ 5746232 w 12248682"/>
              <a:gd name="connsiteY151" fmla="*/ 608940 h 609800"/>
              <a:gd name="connsiteX152" fmla="*/ 5746601 w 12248682"/>
              <a:gd name="connsiteY152" fmla="*/ 609800 h 609800"/>
              <a:gd name="connsiteX153" fmla="*/ 5705314 w 12248682"/>
              <a:gd name="connsiteY153" fmla="*/ 609800 h 609800"/>
              <a:gd name="connsiteX154" fmla="*/ 5705666 w 12248682"/>
              <a:gd name="connsiteY154" fmla="*/ 608940 h 609800"/>
              <a:gd name="connsiteX155" fmla="*/ 5726165 w 12248682"/>
              <a:gd name="connsiteY155" fmla="*/ 600566 h 609800"/>
              <a:gd name="connsiteX156" fmla="*/ 4776809 w 12248682"/>
              <a:gd name="connsiteY156" fmla="*/ 600566 h 609800"/>
              <a:gd name="connsiteX157" fmla="*/ 4797309 w 12248682"/>
              <a:gd name="connsiteY157" fmla="*/ 608940 h 609800"/>
              <a:gd name="connsiteX158" fmla="*/ 4797661 w 12248682"/>
              <a:gd name="connsiteY158" fmla="*/ 609800 h 609800"/>
              <a:gd name="connsiteX159" fmla="*/ 4755958 w 12248682"/>
              <a:gd name="connsiteY159" fmla="*/ 609800 h 609800"/>
              <a:gd name="connsiteX160" fmla="*/ 4756310 w 12248682"/>
              <a:gd name="connsiteY160" fmla="*/ 608940 h 609800"/>
              <a:gd name="connsiteX161" fmla="*/ 4776809 w 12248682"/>
              <a:gd name="connsiteY161" fmla="*/ 600566 h 609800"/>
              <a:gd name="connsiteX162" fmla="*/ 4499625 w 12248682"/>
              <a:gd name="connsiteY162" fmla="*/ 600566 h 609800"/>
              <a:gd name="connsiteX163" fmla="*/ 4520126 w 12248682"/>
              <a:gd name="connsiteY163" fmla="*/ 608940 h 609800"/>
              <a:gd name="connsiteX164" fmla="*/ 4520477 w 12248682"/>
              <a:gd name="connsiteY164" fmla="*/ 609800 h 609800"/>
              <a:gd name="connsiteX165" fmla="*/ 4478774 w 12248682"/>
              <a:gd name="connsiteY165" fmla="*/ 609800 h 609800"/>
              <a:gd name="connsiteX166" fmla="*/ 4479126 w 12248682"/>
              <a:gd name="connsiteY166" fmla="*/ 608940 h 609800"/>
              <a:gd name="connsiteX167" fmla="*/ 4499625 w 12248682"/>
              <a:gd name="connsiteY167" fmla="*/ 600566 h 609800"/>
              <a:gd name="connsiteX168" fmla="*/ 3686551 w 12248682"/>
              <a:gd name="connsiteY168" fmla="*/ 600566 h 609800"/>
              <a:gd name="connsiteX169" fmla="*/ 3707051 w 12248682"/>
              <a:gd name="connsiteY169" fmla="*/ 608940 h 609800"/>
              <a:gd name="connsiteX170" fmla="*/ 3707402 w 12248682"/>
              <a:gd name="connsiteY170" fmla="*/ 609800 h 609800"/>
              <a:gd name="connsiteX171" fmla="*/ 3665699 w 12248682"/>
              <a:gd name="connsiteY171" fmla="*/ 609800 h 609800"/>
              <a:gd name="connsiteX172" fmla="*/ 3666051 w 12248682"/>
              <a:gd name="connsiteY172" fmla="*/ 608940 h 609800"/>
              <a:gd name="connsiteX173" fmla="*/ 3686551 w 12248682"/>
              <a:gd name="connsiteY173" fmla="*/ 600566 h 609800"/>
              <a:gd name="connsiteX174" fmla="*/ 2196685 w 12248682"/>
              <a:gd name="connsiteY174" fmla="*/ 600566 h 609800"/>
              <a:gd name="connsiteX175" fmla="*/ 2217186 w 12248682"/>
              <a:gd name="connsiteY175" fmla="*/ 608940 h 609800"/>
              <a:gd name="connsiteX176" fmla="*/ 2217537 w 12248682"/>
              <a:gd name="connsiteY176" fmla="*/ 609800 h 609800"/>
              <a:gd name="connsiteX177" fmla="*/ 2175835 w 12248682"/>
              <a:gd name="connsiteY177" fmla="*/ 609800 h 609800"/>
              <a:gd name="connsiteX178" fmla="*/ 2176186 w 12248682"/>
              <a:gd name="connsiteY178" fmla="*/ 608940 h 609800"/>
              <a:gd name="connsiteX179" fmla="*/ 2196685 w 12248682"/>
              <a:gd name="connsiteY179" fmla="*/ 600566 h 609800"/>
              <a:gd name="connsiteX180" fmla="*/ 1112202 w 12248682"/>
              <a:gd name="connsiteY180" fmla="*/ 600566 h 609800"/>
              <a:gd name="connsiteX181" fmla="*/ 1132702 w 12248682"/>
              <a:gd name="connsiteY181" fmla="*/ 608940 h 609800"/>
              <a:gd name="connsiteX182" fmla="*/ 1133053 w 12248682"/>
              <a:gd name="connsiteY182" fmla="*/ 609800 h 609800"/>
              <a:gd name="connsiteX183" fmla="*/ 1091351 w 12248682"/>
              <a:gd name="connsiteY183" fmla="*/ 609800 h 609800"/>
              <a:gd name="connsiteX184" fmla="*/ 1091702 w 12248682"/>
              <a:gd name="connsiteY184" fmla="*/ 608940 h 609800"/>
              <a:gd name="connsiteX185" fmla="*/ 1112202 w 12248682"/>
              <a:gd name="connsiteY185" fmla="*/ 600566 h 609800"/>
              <a:gd name="connsiteX186" fmla="*/ 164001 w 12248682"/>
              <a:gd name="connsiteY186" fmla="*/ 600566 h 609800"/>
              <a:gd name="connsiteX187" fmla="*/ 184502 w 12248682"/>
              <a:gd name="connsiteY187" fmla="*/ 608940 h 609800"/>
              <a:gd name="connsiteX188" fmla="*/ 184853 w 12248682"/>
              <a:gd name="connsiteY188" fmla="*/ 609800 h 609800"/>
              <a:gd name="connsiteX189" fmla="*/ 143150 w 12248682"/>
              <a:gd name="connsiteY189" fmla="*/ 609800 h 609800"/>
              <a:gd name="connsiteX190" fmla="*/ 143501 w 12248682"/>
              <a:gd name="connsiteY190" fmla="*/ 608940 h 609800"/>
              <a:gd name="connsiteX191" fmla="*/ 164001 w 12248682"/>
              <a:gd name="connsiteY191" fmla="*/ 600566 h 609800"/>
              <a:gd name="connsiteX192" fmla="*/ 11279692 w 12248682"/>
              <a:gd name="connsiteY192" fmla="*/ 594792 h 609800"/>
              <a:gd name="connsiteX193" fmla="*/ 11303946 w 12248682"/>
              <a:gd name="connsiteY193" fmla="*/ 605187 h 609800"/>
              <a:gd name="connsiteX194" fmla="*/ 11305923 w 12248682"/>
              <a:gd name="connsiteY194" fmla="*/ 609800 h 609800"/>
              <a:gd name="connsiteX195" fmla="*/ 11253110 w 12248682"/>
              <a:gd name="connsiteY195" fmla="*/ 609800 h 609800"/>
              <a:gd name="connsiteX196" fmla="*/ 11255005 w 12248682"/>
              <a:gd name="connsiteY196" fmla="*/ 605187 h 609800"/>
              <a:gd name="connsiteX197" fmla="*/ 11279692 w 12248682"/>
              <a:gd name="connsiteY197" fmla="*/ 594792 h 609800"/>
              <a:gd name="connsiteX198" fmla="*/ 10195208 w 12248682"/>
              <a:gd name="connsiteY198" fmla="*/ 594792 h 609800"/>
              <a:gd name="connsiteX199" fmla="*/ 10219895 w 12248682"/>
              <a:gd name="connsiteY199" fmla="*/ 605187 h 609800"/>
              <a:gd name="connsiteX200" fmla="*/ 10221790 w 12248682"/>
              <a:gd name="connsiteY200" fmla="*/ 609800 h 609800"/>
              <a:gd name="connsiteX201" fmla="*/ 10168627 w 12248682"/>
              <a:gd name="connsiteY201" fmla="*/ 609800 h 609800"/>
              <a:gd name="connsiteX202" fmla="*/ 10170522 w 12248682"/>
              <a:gd name="connsiteY202" fmla="*/ 605187 h 609800"/>
              <a:gd name="connsiteX203" fmla="*/ 10195208 w 12248682"/>
              <a:gd name="connsiteY203" fmla="*/ 594792 h 609800"/>
              <a:gd name="connsiteX204" fmla="*/ 9518417 w 12248682"/>
              <a:gd name="connsiteY204" fmla="*/ 594792 h 609800"/>
              <a:gd name="connsiteX205" fmla="*/ 9542671 w 12248682"/>
              <a:gd name="connsiteY205" fmla="*/ 605187 h 609800"/>
              <a:gd name="connsiteX206" fmla="*/ 9544648 w 12248682"/>
              <a:gd name="connsiteY206" fmla="*/ 609800 h 609800"/>
              <a:gd name="connsiteX207" fmla="*/ 9491836 w 12248682"/>
              <a:gd name="connsiteY207" fmla="*/ 609800 h 609800"/>
              <a:gd name="connsiteX208" fmla="*/ 9493731 w 12248682"/>
              <a:gd name="connsiteY208" fmla="*/ 605187 h 609800"/>
              <a:gd name="connsiteX209" fmla="*/ 9518417 w 12248682"/>
              <a:gd name="connsiteY209" fmla="*/ 594792 h 609800"/>
              <a:gd name="connsiteX210" fmla="*/ 8977304 w 12248682"/>
              <a:gd name="connsiteY210" fmla="*/ 594792 h 609800"/>
              <a:gd name="connsiteX211" fmla="*/ 9001558 w 12248682"/>
              <a:gd name="connsiteY211" fmla="*/ 605187 h 609800"/>
              <a:gd name="connsiteX212" fmla="*/ 9003535 w 12248682"/>
              <a:gd name="connsiteY212" fmla="*/ 609800 h 609800"/>
              <a:gd name="connsiteX213" fmla="*/ 8950722 w 12248682"/>
              <a:gd name="connsiteY213" fmla="*/ 609800 h 609800"/>
              <a:gd name="connsiteX214" fmla="*/ 8952617 w 12248682"/>
              <a:gd name="connsiteY214" fmla="*/ 605187 h 609800"/>
              <a:gd name="connsiteX215" fmla="*/ 8977304 w 12248682"/>
              <a:gd name="connsiteY215" fmla="*/ 594792 h 609800"/>
              <a:gd name="connsiteX216" fmla="*/ 8434485 w 12248682"/>
              <a:gd name="connsiteY216" fmla="*/ 594792 h 609800"/>
              <a:gd name="connsiteX217" fmla="*/ 8459172 w 12248682"/>
              <a:gd name="connsiteY217" fmla="*/ 605187 h 609800"/>
              <a:gd name="connsiteX218" fmla="*/ 8461066 w 12248682"/>
              <a:gd name="connsiteY218" fmla="*/ 609800 h 609800"/>
              <a:gd name="connsiteX219" fmla="*/ 8407903 w 12248682"/>
              <a:gd name="connsiteY219" fmla="*/ 609800 h 609800"/>
              <a:gd name="connsiteX220" fmla="*/ 8409798 w 12248682"/>
              <a:gd name="connsiteY220" fmla="*/ 605187 h 609800"/>
              <a:gd name="connsiteX221" fmla="*/ 8434485 w 12248682"/>
              <a:gd name="connsiteY221" fmla="*/ 594792 h 609800"/>
              <a:gd name="connsiteX222" fmla="*/ 6674366 w 12248682"/>
              <a:gd name="connsiteY222" fmla="*/ 594792 h 609800"/>
              <a:gd name="connsiteX223" fmla="*/ 6698620 w 12248682"/>
              <a:gd name="connsiteY223" fmla="*/ 605187 h 609800"/>
              <a:gd name="connsiteX224" fmla="*/ 6700597 w 12248682"/>
              <a:gd name="connsiteY224" fmla="*/ 609800 h 609800"/>
              <a:gd name="connsiteX225" fmla="*/ 6647784 w 12248682"/>
              <a:gd name="connsiteY225" fmla="*/ 609800 h 609800"/>
              <a:gd name="connsiteX226" fmla="*/ 6649679 w 12248682"/>
              <a:gd name="connsiteY226" fmla="*/ 605187 h 609800"/>
              <a:gd name="connsiteX227" fmla="*/ 6674366 w 12248682"/>
              <a:gd name="connsiteY227" fmla="*/ 594792 h 609800"/>
              <a:gd name="connsiteX228" fmla="*/ 5589882 w 12248682"/>
              <a:gd name="connsiteY228" fmla="*/ 594792 h 609800"/>
              <a:gd name="connsiteX229" fmla="*/ 5614570 w 12248682"/>
              <a:gd name="connsiteY229" fmla="*/ 605187 h 609800"/>
              <a:gd name="connsiteX230" fmla="*/ 5616465 w 12248682"/>
              <a:gd name="connsiteY230" fmla="*/ 609800 h 609800"/>
              <a:gd name="connsiteX231" fmla="*/ 5563301 w 12248682"/>
              <a:gd name="connsiteY231" fmla="*/ 609800 h 609800"/>
              <a:gd name="connsiteX232" fmla="*/ 5565196 w 12248682"/>
              <a:gd name="connsiteY232" fmla="*/ 605187 h 609800"/>
              <a:gd name="connsiteX233" fmla="*/ 5589882 w 12248682"/>
              <a:gd name="connsiteY233" fmla="*/ 594792 h 609800"/>
              <a:gd name="connsiteX234" fmla="*/ 4913091 w 12248682"/>
              <a:gd name="connsiteY234" fmla="*/ 594792 h 609800"/>
              <a:gd name="connsiteX235" fmla="*/ 4937345 w 12248682"/>
              <a:gd name="connsiteY235" fmla="*/ 605187 h 609800"/>
              <a:gd name="connsiteX236" fmla="*/ 4939322 w 12248682"/>
              <a:gd name="connsiteY236" fmla="*/ 609800 h 609800"/>
              <a:gd name="connsiteX237" fmla="*/ 4886510 w 12248682"/>
              <a:gd name="connsiteY237" fmla="*/ 609800 h 609800"/>
              <a:gd name="connsiteX238" fmla="*/ 4888405 w 12248682"/>
              <a:gd name="connsiteY238" fmla="*/ 605187 h 609800"/>
              <a:gd name="connsiteX239" fmla="*/ 4913091 w 12248682"/>
              <a:gd name="connsiteY239" fmla="*/ 594792 h 609800"/>
              <a:gd name="connsiteX240" fmla="*/ 4364499 w 12248682"/>
              <a:gd name="connsiteY240" fmla="*/ 594792 h 609800"/>
              <a:gd name="connsiteX241" fmla="*/ 4388752 w 12248682"/>
              <a:gd name="connsiteY241" fmla="*/ 605187 h 609800"/>
              <a:gd name="connsiteX242" fmla="*/ 4390729 w 12248682"/>
              <a:gd name="connsiteY242" fmla="*/ 609800 h 609800"/>
              <a:gd name="connsiteX243" fmla="*/ 4337917 w 12248682"/>
              <a:gd name="connsiteY243" fmla="*/ 609800 h 609800"/>
              <a:gd name="connsiteX244" fmla="*/ 4339811 w 12248682"/>
              <a:gd name="connsiteY244" fmla="*/ 605187 h 609800"/>
              <a:gd name="connsiteX245" fmla="*/ 4364499 w 12248682"/>
              <a:gd name="connsiteY245" fmla="*/ 594792 h 609800"/>
              <a:gd name="connsiteX246" fmla="*/ 3821678 w 12248682"/>
              <a:gd name="connsiteY246" fmla="*/ 594792 h 609800"/>
              <a:gd name="connsiteX247" fmla="*/ 3846365 w 12248682"/>
              <a:gd name="connsiteY247" fmla="*/ 605187 h 609800"/>
              <a:gd name="connsiteX248" fmla="*/ 3848260 w 12248682"/>
              <a:gd name="connsiteY248" fmla="*/ 609800 h 609800"/>
              <a:gd name="connsiteX249" fmla="*/ 3795097 w 12248682"/>
              <a:gd name="connsiteY249" fmla="*/ 609800 h 609800"/>
              <a:gd name="connsiteX250" fmla="*/ 3796992 w 12248682"/>
              <a:gd name="connsiteY250" fmla="*/ 605187 h 609800"/>
              <a:gd name="connsiteX251" fmla="*/ 3821678 w 12248682"/>
              <a:gd name="connsiteY251" fmla="*/ 594792 h 609800"/>
              <a:gd name="connsiteX252" fmla="*/ 2061558 w 12248682"/>
              <a:gd name="connsiteY252" fmla="*/ 594792 h 609800"/>
              <a:gd name="connsiteX253" fmla="*/ 2085812 w 12248682"/>
              <a:gd name="connsiteY253" fmla="*/ 605187 h 609800"/>
              <a:gd name="connsiteX254" fmla="*/ 2087789 w 12248682"/>
              <a:gd name="connsiteY254" fmla="*/ 609800 h 609800"/>
              <a:gd name="connsiteX255" fmla="*/ 2034977 w 12248682"/>
              <a:gd name="connsiteY255" fmla="*/ 609800 h 609800"/>
              <a:gd name="connsiteX256" fmla="*/ 2036871 w 12248682"/>
              <a:gd name="connsiteY256" fmla="*/ 605187 h 609800"/>
              <a:gd name="connsiteX257" fmla="*/ 2061558 w 12248682"/>
              <a:gd name="connsiteY257" fmla="*/ 594792 h 609800"/>
              <a:gd name="connsiteX258" fmla="*/ 977075 w 12248682"/>
              <a:gd name="connsiteY258" fmla="*/ 594792 h 609800"/>
              <a:gd name="connsiteX259" fmla="*/ 1001762 w 12248682"/>
              <a:gd name="connsiteY259" fmla="*/ 605187 h 609800"/>
              <a:gd name="connsiteX260" fmla="*/ 1003657 w 12248682"/>
              <a:gd name="connsiteY260" fmla="*/ 609800 h 609800"/>
              <a:gd name="connsiteX261" fmla="*/ 950494 w 12248682"/>
              <a:gd name="connsiteY261" fmla="*/ 609800 h 609800"/>
              <a:gd name="connsiteX262" fmla="*/ 952388 w 12248682"/>
              <a:gd name="connsiteY262" fmla="*/ 605187 h 609800"/>
              <a:gd name="connsiteX263" fmla="*/ 977075 w 12248682"/>
              <a:gd name="connsiteY263" fmla="*/ 594792 h 609800"/>
              <a:gd name="connsiteX264" fmla="*/ 300283 w 12248682"/>
              <a:gd name="connsiteY264" fmla="*/ 594792 h 609800"/>
              <a:gd name="connsiteX265" fmla="*/ 324537 w 12248682"/>
              <a:gd name="connsiteY265" fmla="*/ 605187 h 609800"/>
              <a:gd name="connsiteX266" fmla="*/ 326514 w 12248682"/>
              <a:gd name="connsiteY266" fmla="*/ 609800 h 609800"/>
              <a:gd name="connsiteX267" fmla="*/ 273702 w 12248682"/>
              <a:gd name="connsiteY267" fmla="*/ 609800 h 609800"/>
              <a:gd name="connsiteX268" fmla="*/ 275597 w 12248682"/>
              <a:gd name="connsiteY268" fmla="*/ 605187 h 609800"/>
              <a:gd name="connsiteX269" fmla="*/ 300283 w 12248682"/>
              <a:gd name="connsiteY269" fmla="*/ 594792 h 609800"/>
              <a:gd name="connsiteX270" fmla="*/ 11143410 w 12248682"/>
              <a:gd name="connsiteY270" fmla="*/ 589016 h 609800"/>
              <a:gd name="connsiteX271" fmla="*/ 11172283 w 12248682"/>
              <a:gd name="connsiteY271" fmla="*/ 600999 h 609800"/>
              <a:gd name="connsiteX272" fmla="*/ 11175857 w 12248682"/>
              <a:gd name="connsiteY272" fmla="*/ 609800 h 609800"/>
              <a:gd name="connsiteX273" fmla="*/ 11111262 w 12248682"/>
              <a:gd name="connsiteY273" fmla="*/ 609800 h 609800"/>
              <a:gd name="connsiteX274" fmla="*/ 11114970 w 12248682"/>
              <a:gd name="connsiteY274" fmla="*/ 600999 h 609800"/>
              <a:gd name="connsiteX275" fmla="*/ 11143410 w 12248682"/>
              <a:gd name="connsiteY275" fmla="*/ 589016 h 609800"/>
              <a:gd name="connsiteX276" fmla="*/ 10873155 w 12248682"/>
              <a:gd name="connsiteY276" fmla="*/ 589016 h 609800"/>
              <a:gd name="connsiteX277" fmla="*/ 10901595 w 12248682"/>
              <a:gd name="connsiteY277" fmla="*/ 600999 h 609800"/>
              <a:gd name="connsiteX278" fmla="*/ 10905303 w 12248682"/>
              <a:gd name="connsiteY278" fmla="*/ 609800 h 609800"/>
              <a:gd name="connsiteX279" fmla="*/ 10841006 w 12248682"/>
              <a:gd name="connsiteY279" fmla="*/ 609800 h 609800"/>
              <a:gd name="connsiteX280" fmla="*/ 10844715 w 12248682"/>
              <a:gd name="connsiteY280" fmla="*/ 600999 h 609800"/>
              <a:gd name="connsiteX281" fmla="*/ 10873155 w 12248682"/>
              <a:gd name="connsiteY281" fmla="*/ 589016 h 609800"/>
              <a:gd name="connsiteX282" fmla="*/ 10060082 w 12248682"/>
              <a:gd name="connsiteY282" fmla="*/ 589016 h 609800"/>
              <a:gd name="connsiteX283" fmla="*/ 10088522 w 12248682"/>
              <a:gd name="connsiteY283" fmla="*/ 600999 h 609800"/>
              <a:gd name="connsiteX284" fmla="*/ 10092230 w 12248682"/>
              <a:gd name="connsiteY284" fmla="*/ 609800 h 609800"/>
              <a:gd name="connsiteX285" fmla="*/ 10027932 w 12248682"/>
              <a:gd name="connsiteY285" fmla="*/ 609800 h 609800"/>
              <a:gd name="connsiteX286" fmla="*/ 10031640 w 12248682"/>
              <a:gd name="connsiteY286" fmla="*/ 600999 h 609800"/>
              <a:gd name="connsiteX287" fmla="*/ 10060082 w 12248682"/>
              <a:gd name="connsiteY287" fmla="*/ 589016 h 609800"/>
              <a:gd name="connsiteX288" fmla="*/ 9653545 w 12248682"/>
              <a:gd name="connsiteY288" fmla="*/ 589016 h 609800"/>
              <a:gd name="connsiteX289" fmla="*/ 9681985 w 12248682"/>
              <a:gd name="connsiteY289" fmla="*/ 600999 h 609800"/>
              <a:gd name="connsiteX290" fmla="*/ 9685693 w 12248682"/>
              <a:gd name="connsiteY290" fmla="*/ 609800 h 609800"/>
              <a:gd name="connsiteX291" fmla="*/ 9621396 w 12248682"/>
              <a:gd name="connsiteY291" fmla="*/ 609800 h 609800"/>
              <a:gd name="connsiteX292" fmla="*/ 9625104 w 12248682"/>
              <a:gd name="connsiteY292" fmla="*/ 600999 h 609800"/>
              <a:gd name="connsiteX293" fmla="*/ 9653545 w 12248682"/>
              <a:gd name="connsiteY293" fmla="*/ 589016 h 609800"/>
              <a:gd name="connsiteX294" fmla="*/ 8841022 w 12248682"/>
              <a:gd name="connsiteY294" fmla="*/ 589016 h 609800"/>
              <a:gd name="connsiteX295" fmla="*/ 8869895 w 12248682"/>
              <a:gd name="connsiteY295" fmla="*/ 600999 h 609800"/>
              <a:gd name="connsiteX296" fmla="*/ 8873469 w 12248682"/>
              <a:gd name="connsiteY296" fmla="*/ 609800 h 609800"/>
              <a:gd name="connsiteX297" fmla="*/ 8808873 w 12248682"/>
              <a:gd name="connsiteY297" fmla="*/ 609800 h 609800"/>
              <a:gd name="connsiteX298" fmla="*/ 8812582 w 12248682"/>
              <a:gd name="connsiteY298" fmla="*/ 600999 h 609800"/>
              <a:gd name="connsiteX299" fmla="*/ 8841022 w 12248682"/>
              <a:gd name="connsiteY299" fmla="*/ 589016 h 609800"/>
              <a:gd name="connsiteX300" fmla="*/ 8570767 w 12248682"/>
              <a:gd name="connsiteY300" fmla="*/ 589016 h 609800"/>
              <a:gd name="connsiteX301" fmla="*/ 8599207 w 12248682"/>
              <a:gd name="connsiteY301" fmla="*/ 600999 h 609800"/>
              <a:gd name="connsiteX302" fmla="*/ 8602916 w 12248682"/>
              <a:gd name="connsiteY302" fmla="*/ 609800 h 609800"/>
              <a:gd name="connsiteX303" fmla="*/ 8538618 w 12248682"/>
              <a:gd name="connsiteY303" fmla="*/ 609800 h 609800"/>
              <a:gd name="connsiteX304" fmla="*/ 8542327 w 12248682"/>
              <a:gd name="connsiteY304" fmla="*/ 600999 h 609800"/>
              <a:gd name="connsiteX305" fmla="*/ 8570767 w 12248682"/>
              <a:gd name="connsiteY305" fmla="*/ 589016 h 609800"/>
              <a:gd name="connsiteX306" fmla="*/ 6538083 w 12248682"/>
              <a:gd name="connsiteY306" fmla="*/ 589016 h 609800"/>
              <a:gd name="connsiteX307" fmla="*/ 6566958 w 12248682"/>
              <a:gd name="connsiteY307" fmla="*/ 600999 h 609800"/>
              <a:gd name="connsiteX308" fmla="*/ 6570532 w 12248682"/>
              <a:gd name="connsiteY308" fmla="*/ 609800 h 609800"/>
              <a:gd name="connsiteX309" fmla="*/ 6505935 w 12248682"/>
              <a:gd name="connsiteY309" fmla="*/ 609800 h 609800"/>
              <a:gd name="connsiteX310" fmla="*/ 6509643 w 12248682"/>
              <a:gd name="connsiteY310" fmla="*/ 600999 h 609800"/>
              <a:gd name="connsiteX311" fmla="*/ 6538083 w 12248682"/>
              <a:gd name="connsiteY311" fmla="*/ 589016 h 609800"/>
              <a:gd name="connsiteX312" fmla="*/ 6267830 w 12248682"/>
              <a:gd name="connsiteY312" fmla="*/ 589016 h 609800"/>
              <a:gd name="connsiteX313" fmla="*/ 6296269 w 12248682"/>
              <a:gd name="connsiteY313" fmla="*/ 600999 h 609800"/>
              <a:gd name="connsiteX314" fmla="*/ 6299977 w 12248682"/>
              <a:gd name="connsiteY314" fmla="*/ 609800 h 609800"/>
              <a:gd name="connsiteX315" fmla="*/ 6235681 w 12248682"/>
              <a:gd name="connsiteY315" fmla="*/ 609800 h 609800"/>
              <a:gd name="connsiteX316" fmla="*/ 6239389 w 12248682"/>
              <a:gd name="connsiteY316" fmla="*/ 600999 h 609800"/>
              <a:gd name="connsiteX317" fmla="*/ 6267830 w 12248682"/>
              <a:gd name="connsiteY317" fmla="*/ 589016 h 609800"/>
              <a:gd name="connsiteX318" fmla="*/ 5454756 w 12248682"/>
              <a:gd name="connsiteY318" fmla="*/ 589016 h 609800"/>
              <a:gd name="connsiteX319" fmla="*/ 5483196 w 12248682"/>
              <a:gd name="connsiteY319" fmla="*/ 600999 h 609800"/>
              <a:gd name="connsiteX320" fmla="*/ 5486904 w 12248682"/>
              <a:gd name="connsiteY320" fmla="*/ 609800 h 609800"/>
              <a:gd name="connsiteX321" fmla="*/ 5422607 w 12248682"/>
              <a:gd name="connsiteY321" fmla="*/ 609800 h 609800"/>
              <a:gd name="connsiteX322" fmla="*/ 5426315 w 12248682"/>
              <a:gd name="connsiteY322" fmla="*/ 600999 h 609800"/>
              <a:gd name="connsiteX323" fmla="*/ 5454756 w 12248682"/>
              <a:gd name="connsiteY323" fmla="*/ 589016 h 609800"/>
              <a:gd name="connsiteX324" fmla="*/ 5048218 w 12248682"/>
              <a:gd name="connsiteY324" fmla="*/ 589016 h 609800"/>
              <a:gd name="connsiteX325" fmla="*/ 5076659 w 12248682"/>
              <a:gd name="connsiteY325" fmla="*/ 600999 h 609800"/>
              <a:gd name="connsiteX326" fmla="*/ 5080367 w 12248682"/>
              <a:gd name="connsiteY326" fmla="*/ 609800 h 609800"/>
              <a:gd name="connsiteX327" fmla="*/ 5016070 w 12248682"/>
              <a:gd name="connsiteY327" fmla="*/ 609800 h 609800"/>
              <a:gd name="connsiteX328" fmla="*/ 5019778 w 12248682"/>
              <a:gd name="connsiteY328" fmla="*/ 600999 h 609800"/>
              <a:gd name="connsiteX329" fmla="*/ 5048218 w 12248682"/>
              <a:gd name="connsiteY329" fmla="*/ 589016 h 609800"/>
              <a:gd name="connsiteX330" fmla="*/ 4228217 w 12248682"/>
              <a:gd name="connsiteY330" fmla="*/ 589016 h 609800"/>
              <a:gd name="connsiteX331" fmla="*/ 4257089 w 12248682"/>
              <a:gd name="connsiteY331" fmla="*/ 600999 h 609800"/>
              <a:gd name="connsiteX332" fmla="*/ 4260663 w 12248682"/>
              <a:gd name="connsiteY332" fmla="*/ 609800 h 609800"/>
              <a:gd name="connsiteX333" fmla="*/ 4196067 w 12248682"/>
              <a:gd name="connsiteY333" fmla="*/ 609800 h 609800"/>
              <a:gd name="connsiteX334" fmla="*/ 4199775 w 12248682"/>
              <a:gd name="connsiteY334" fmla="*/ 600999 h 609800"/>
              <a:gd name="connsiteX335" fmla="*/ 4228217 w 12248682"/>
              <a:gd name="connsiteY335" fmla="*/ 589016 h 609800"/>
              <a:gd name="connsiteX336" fmla="*/ 3957960 w 12248682"/>
              <a:gd name="connsiteY336" fmla="*/ 589016 h 609800"/>
              <a:gd name="connsiteX337" fmla="*/ 3986400 w 12248682"/>
              <a:gd name="connsiteY337" fmla="*/ 600999 h 609800"/>
              <a:gd name="connsiteX338" fmla="*/ 3990108 w 12248682"/>
              <a:gd name="connsiteY338" fmla="*/ 609800 h 609800"/>
              <a:gd name="connsiteX339" fmla="*/ 3925812 w 12248682"/>
              <a:gd name="connsiteY339" fmla="*/ 609800 h 609800"/>
              <a:gd name="connsiteX340" fmla="*/ 3929520 w 12248682"/>
              <a:gd name="connsiteY340" fmla="*/ 600999 h 609800"/>
              <a:gd name="connsiteX341" fmla="*/ 3957960 w 12248682"/>
              <a:gd name="connsiteY341" fmla="*/ 589016 h 609800"/>
              <a:gd name="connsiteX342" fmla="*/ 1925276 w 12248682"/>
              <a:gd name="connsiteY342" fmla="*/ 589016 h 609800"/>
              <a:gd name="connsiteX343" fmla="*/ 1954149 w 12248682"/>
              <a:gd name="connsiteY343" fmla="*/ 600999 h 609800"/>
              <a:gd name="connsiteX344" fmla="*/ 1957723 w 12248682"/>
              <a:gd name="connsiteY344" fmla="*/ 609800 h 609800"/>
              <a:gd name="connsiteX345" fmla="*/ 1893128 w 12248682"/>
              <a:gd name="connsiteY345" fmla="*/ 609800 h 609800"/>
              <a:gd name="connsiteX346" fmla="*/ 1896836 w 12248682"/>
              <a:gd name="connsiteY346" fmla="*/ 600999 h 609800"/>
              <a:gd name="connsiteX347" fmla="*/ 1925276 w 12248682"/>
              <a:gd name="connsiteY347" fmla="*/ 589016 h 609800"/>
              <a:gd name="connsiteX348" fmla="*/ 1655022 w 12248682"/>
              <a:gd name="connsiteY348" fmla="*/ 589016 h 609800"/>
              <a:gd name="connsiteX349" fmla="*/ 1683462 w 12248682"/>
              <a:gd name="connsiteY349" fmla="*/ 600999 h 609800"/>
              <a:gd name="connsiteX350" fmla="*/ 1687170 w 12248682"/>
              <a:gd name="connsiteY350" fmla="*/ 609800 h 609800"/>
              <a:gd name="connsiteX351" fmla="*/ 1622873 w 12248682"/>
              <a:gd name="connsiteY351" fmla="*/ 609800 h 609800"/>
              <a:gd name="connsiteX352" fmla="*/ 1626581 w 12248682"/>
              <a:gd name="connsiteY352" fmla="*/ 600999 h 609800"/>
              <a:gd name="connsiteX353" fmla="*/ 1655022 w 12248682"/>
              <a:gd name="connsiteY353" fmla="*/ 589016 h 609800"/>
              <a:gd name="connsiteX354" fmla="*/ 841948 w 12248682"/>
              <a:gd name="connsiteY354" fmla="*/ 589016 h 609800"/>
              <a:gd name="connsiteX355" fmla="*/ 870388 w 12248682"/>
              <a:gd name="connsiteY355" fmla="*/ 600999 h 609800"/>
              <a:gd name="connsiteX356" fmla="*/ 874096 w 12248682"/>
              <a:gd name="connsiteY356" fmla="*/ 609800 h 609800"/>
              <a:gd name="connsiteX357" fmla="*/ 809800 w 12248682"/>
              <a:gd name="connsiteY357" fmla="*/ 609800 h 609800"/>
              <a:gd name="connsiteX358" fmla="*/ 813508 w 12248682"/>
              <a:gd name="connsiteY358" fmla="*/ 600999 h 609800"/>
              <a:gd name="connsiteX359" fmla="*/ 841948 w 12248682"/>
              <a:gd name="connsiteY359" fmla="*/ 589016 h 609800"/>
              <a:gd name="connsiteX360" fmla="*/ 435411 w 12248682"/>
              <a:gd name="connsiteY360" fmla="*/ 589016 h 609800"/>
              <a:gd name="connsiteX361" fmla="*/ 463851 w 12248682"/>
              <a:gd name="connsiteY361" fmla="*/ 600999 h 609800"/>
              <a:gd name="connsiteX362" fmla="*/ 467559 w 12248682"/>
              <a:gd name="connsiteY362" fmla="*/ 609800 h 609800"/>
              <a:gd name="connsiteX363" fmla="*/ 403263 w 12248682"/>
              <a:gd name="connsiteY363" fmla="*/ 609800 h 609800"/>
              <a:gd name="connsiteX364" fmla="*/ 406971 w 12248682"/>
              <a:gd name="connsiteY364" fmla="*/ 600999 h 609800"/>
              <a:gd name="connsiteX365" fmla="*/ 435411 w 12248682"/>
              <a:gd name="connsiteY365" fmla="*/ 589016 h 609800"/>
              <a:gd name="connsiteX366" fmla="*/ 11008282 w 12248682"/>
              <a:gd name="connsiteY366" fmla="*/ 577467 h 609800"/>
              <a:gd name="connsiteX367" fmla="*/ 11044085 w 12248682"/>
              <a:gd name="connsiteY367" fmla="*/ 592481 h 609800"/>
              <a:gd name="connsiteX368" fmla="*/ 11051348 w 12248682"/>
              <a:gd name="connsiteY368" fmla="*/ 609800 h 609800"/>
              <a:gd name="connsiteX369" fmla="*/ 10964993 w 12248682"/>
              <a:gd name="connsiteY369" fmla="*/ 609800 h 609800"/>
              <a:gd name="connsiteX370" fmla="*/ 10972046 w 12248682"/>
              <a:gd name="connsiteY370" fmla="*/ 592481 h 609800"/>
              <a:gd name="connsiteX371" fmla="*/ 11008282 w 12248682"/>
              <a:gd name="connsiteY371" fmla="*/ 577467 h 609800"/>
              <a:gd name="connsiteX372" fmla="*/ 9924954 w 12248682"/>
              <a:gd name="connsiteY372" fmla="*/ 577467 h 609800"/>
              <a:gd name="connsiteX373" fmla="*/ 9960757 w 12248682"/>
              <a:gd name="connsiteY373" fmla="*/ 592481 h 609800"/>
              <a:gd name="connsiteX374" fmla="*/ 9968020 w 12248682"/>
              <a:gd name="connsiteY374" fmla="*/ 609800 h 609800"/>
              <a:gd name="connsiteX375" fmla="*/ 9881665 w 12248682"/>
              <a:gd name="connsiteY375" fmla="*/ 609800 h 609800"/>
              <a:gd name="connsiteX376" fmla="*/ 9888718 w 12248682"/>
              <a:gd name="connsiteY376" fmla="*/ 592481 h 609800"/>
              <a:gd name="connsiteX377" fmla="*/ 9924954 w 12248682"/>
              <a:gd name="connsiteY377" fmla="*/ 577467 h 609800"/>
              <a:gd name="connsiteX378" fmla="*/ 9788672 w 12248682"/>
              <a:gd name="connsiteY378" fmla="*/ 577467 h 609800"/>
              <a:gd name="connsiteX379" fmla="*/ 9824908 w 12248682"/>
              <a:gd name="connsiteY379" fmla="*/ 593059 h 609800"/>
              <a:gd name="connsiteX380" fmla="*/ 9831618 w 12248682"/>
              <a:gd name="connsiteY380" fmla="*/ 609800 h 609800"/>
              <a:gd name="connsiteX381" fmla="*/ 9745864 w 12248682"/>
              <a:gd name="connsiteY381" fmla="*/ 609800 h 609800"/>
              <a:gd name="connsiteX382" fmla="*/ 9752868 w 12248682"/>
              <a:gd name="connsiteY382" fmla="*/ 592626 h 609800"/>
              <a:gd name="connsiteX383" fmla="*/ 9788672 w 12248682"/>
              <a:gd name="connsiteY383" fmla="*/ 577467 h 609800"/>
              <a:gd name="connsiteX384" fmla="*/ 8705894 w 12248682"/>
              <a:gd name="connsiteY384" fmla="*/ 577467 h 609800"/>
              <a:gd name="connsiteX385" fmla="*/ 8741697 w 12248682"/>
              <a:gd name="connsiteY385" fmla="*/ 592481 h 609800"/>
              <a:gd name="connsiteX386" fmla="*/ 8748960 w 12248682"/>
              <a:gd name="connsiteY386" fmla="*/ 609800 h 609800"/>
              <a:gd name="connsiteX387" fmla="*/ 8662605 w 12248682"/>
              <a:gd name="connsiteY387" fmla="*/ 609800 h 609800"/>
              <a:gd name="connsiteX388" fmla="*/ 8669658 w 12248682"/>
              <a:gd name="connsiteY388" fmla="*/ 592481 h 609800"/>
              <a:gd name="connsiteX389" fmla="*/ 8705894 w 12248682"/>
              <a:gd name="connsiteY389" fmla="*/ 577467 h 609800"/>
              <a:gd name="connsiteX390" fmla="*/ 6402956 w 12248682"/>
              <a:gd name="connsiteY390" fmla="*/ 577467 h 609800"/>
              <a:gd name="connsiteX391" fmla="*/ 6439192 w 12248682"/>
              <a:gd name="connsiteY391" fmla="*/ 592481 h 609800"/>
              <a:gd name="connsiteX392" fmla="*/ 6446246 w 12248682"/>
              <a:gd name="connsiteY392" fmla="*/ 609800 h 609800"/>
              <a:gd name="connsiteX393" fmla="*/ 6359667 w 12248682"/>
              <a:gd name="connsiteY393" fmla="*/ 609800 h 609800"/>
              <a:gd name="connsiteX394" fmla="*/ 6366721 w 12248682"/>
              <a:gd name="connsiteY394" fmla="*/ 592481 h 609800"/>
              <a:gd name="connsiteX395" fmla="*/ 6402956 w 12248682"/>
              <a:gd name="connsiteY395" fmla="*/ 577467 h 609800"/>
              <a:gd name="connsiteX396" fmla="*/ 5319628 w 12248682"/>
              <a:gd name="connsiteY396" fmla="*/ 577467 h 609800"/>
              <a:gd name="connsiteX397" fmla="*/ 5355431 w 12248682"/>
              <a:gd name="connsiteY397" fmla="*/ 592481 h 609800"/>
              <a:gd name="connsiteX398" fmla="*/ 5362693 w 12248682"/>
              <a:gd name="connsiteY398" fmla="*/ 609800 h 609800"/>
              <a:gd name="connsiteX399" fmla="*/ 5276339 w 12248682"/>
              <a:gd name="connsiteY399" fmla="*/ 609800 h 609800"/>
              <a:gd name="connsiteX400" fmla="*/ 5283392 w 12248682"/>
              <a:gd name="connsiteY400" fmla="*/ 592481 h 609800"/>
              <a:gd name="connsiteX401" fmla="*/ 5319628 w 12248682"/>
              <a:gd name="connsiteY401" fmla="*/ 577467 h 609800"/>
              <a:gd name="connsiteX402" fmla="*/ 5183346 w 12248682"/>
              <a:gd name="connsiteY402" fmla="*/ 577467 h 609800"/>
              <a:gd name="connsiteX403" fmla="*/ 5219582 w 12248682"/>
              <a:gd name="connsiteY403" fmla="*/ 592481 h 609800"/>
              <a:gd name="connsiteX404" fmla="*/ 5226635 w 12248682"/>
              <a:gd name="connsiteY404" fmla="*/ 609800 h 609800"/>
              <a:gd name="connsiteX405" fmla="*/ 5140056 w 12248682"/>
              <a:gd name="connsiteY405" fmla="*/ 609800 h 609800"/>
              <a:gd name="connsiteX406" fmla="*/ 5147110 w 12248682"/>
              <a:gd name="connsiteY406" fmla="*/ 592481 h 609800"/>
              <a:gd name="connsiteX407" fmla="*/ 5183346 w 12248682"/>
              <a:gd name="connsiteY407" fmla="*/ 577467 h 609800"/>
              <a:gd name="connsiteX408" fmla="*/ 4093087 w 12248682"/>
              <a:gd name="connsiteY408" fmla="*/ 577467 h 609800"/>
              <a:gd name="connsiteX409" fmla="*/ 4128890 w 12248682"/>
              <a:gd name="connsiteY409" fmla="*/ 592481 h 609800"/>
              <a:gd name="connsiteX410" fmla="*/ 4136153 w 12248682"/>
              <a:gd name="connsiteY410" fmla="*/ 609800 h 609800"/>
              <a:gd name="connsiteX411" fmla="*/ 4049798 w 12248682"/>
              <a:gd name="connsiteY411" fmla="*/ 609800 h 609800"/>
              <a:gd name="connsiteX412" fmla="*/ 4056851 w 12248682"/>
              <a:gd name="connsiteY412" fmla="*/ 592481 h 609800"/>
              <a:gd name="connsiteX413" fmla="*/ 4093087 w 12248682"/>
              <a:gd name="connsiteY413" fmla="*/ 577467 h 609800"/>
              <a:gd name="connsiteX414" fmla="*/ 1790148 w 12248682"/>
              <a:gd name="connsiteY414" fmla="*/ 577467 h 609800"/>
              <a:gd name="connsiteX415" fmla="*/ 1825951 w 12248682"/>
              <a:gd name="connsiteY415" fmla="*/ 592481 h 609800"/>
              <a:gd name="connsiteX416" fmla="*/ 1833214 w 12248682"/>
              <a:gd name="connsiteY416" fmla="*/ 609800 h 609800"/>
              <a:gd name="connsiteX417" fmla="*/ 1746859 w 12248682"/>
              <a:gd name="connsiteY417" fmla="*/ 609800 h 609800"/>
              <a:gd name="connsiteX418" fmla="*/ 1753912 w 12248682"/>
              <a:gd name="connsiteY418" fmla="*/ 592481 h 609800"/>
              <a:gd name="connsiteX419" fmla="*/ 1790148 w 12248682"/>
              <a:gd name="connsiteY419" fmla="*/ 577467 h 609800"/>
              <a:gd name="connsiteX420" fmla="*/ 706820 w 12248682"/>
              <a:gd name="connsiteY420" fmla="*/ 577467 h 609800"/>
              <a:gd name="connsiteX421" fmla="*/ 742623 w 12248682"/>
              <a:gd name="connsiteY421" fmla="*/ 592481 h 609800"/>
              <a:gd name="connsiteX422" fmla="*/ 749886 w 12248682"/>
              <a:gd name="connsiteY422" fmla="*/ 609800 h 609800"/>
              <a:gd name="connsiteX423" fmla="*/ 663531 w 12248682"/>
              <a:gd name="connsiteY423" fmla="*/ 609800 h 609800"/>
              <a:gd name="connsiteX424" fmla="*/ 670584 w 12248682"/>
              <a:gd name="connsiteY424" fmla="*/ 592481 h 609800"/>
              <a:gd name="connsiteX425" fmla="*/ 706820 w 12248682"/>
              <a:gd name="connsiteY425" fmla="*/ 577467 h 609800"/>
              <a:gd name="connsiteX426" fmla="*/ 570538 w 12248682"/>
              <a:gd name="connsiteY426" fmla="*/ 577467 h 609800"/>
              <a:gd name="connsiteX427" fmla="*/ 606775 w 12248682"/>
              <a:gd name="connsiteY427" fmla="*/ 593059 h 609800"/>
              <a:gd name="connsiteX428" fmla="*/ 613484 w 12248682"/>
              <a:gd name="connsiteY428" fmla="*/ 609800 h 609800"/>
              <a:gd name="connsiteX429" fmla="*/ 527731 w 12248682"/>
              <a:gd name="connsiteY429" fmla="*/ 609800 h 609800"/>
              <a:gd name="connsiteX430" fmla="*/ 534735 w 12248682"/>
              <a:gd name="connsiteY430" fmla="*/ 592626 h 609800"/>
              <a:gd name="connsiteX431" fmla="*/ 570538 w 12248682"/>
              <a:gd name="connsiteY431" fmla="*/ 577467 h 609800"/>
              <a:gd name="connsiteX432" fmla="*/ 12180541 w 12248682"/>
              <a:gd name="connsiteY432" fmla="*/ 464284 h 609800"/>
              <a:gd name="connsiteX433" fmla="*/ 12201330 w 12248682"/>
              <a:gd name="connsiteY433" fmla="*/ 485072 h 609800"/>
              <a:gd name="connsiteX434" fmla="*/ 12180541 w 12248682"/>
              <a:gd name="connsiteY434" fmla="*/ 505861 h 609800"/>
              <a:gd name="connsiteX435" fmla="*/ 12159752 w 12248682"/>
              <a:gd name="connsiteY435" fmla="*/ 485072 h 609800"/>
              <a:gd name="connsiteX436" fmla="*/ 12180541 w 12248682"/>
              <a:gd name="connsiteY436" fmla="*/ 464284 h 609800"/>
              <a:gd name="connsiteX437" fmla="*/ 12040793 w 12248682"/>
              <a:gd name="connsiteY437" fmla="*/ 464284 h 609800"/>
              <a:gd name="connsiteX438" fmla="*/ 12061582 w 12248682"/>
              <a:gd name="connsiteY438" fmla="*/ 485072 h 609800"/>
              <a:gd name="connsiteX439" fmla="*/ 12040793 w 12248682"/>
              <a:gd name="connsiteY439" fmla="*/ 505861 h 609800"/>
              <a:gd name="connsiteX440" fmla="*/ 12020004 w 12248682"/>
              <a:gd name="connsiteY440" fmla="*/ 485072 h 609800"/>
              <a:gd name="connsiteX441" fmla="*/ 12040793 w 12248682"/>
              <a:gd name="connsiteY441" fmla="*/ 464284 h 609800"/>
              <a:gd name="connsiteX442" fmla="*/ 11901047 w 12248682"/>
              <a:gd name="connsiteY442" fmla="*/ 464284 h 609800"/>
              <a:gd name="connsiteX443" fmla="*/ 11921836 w 12248682"/>
              <a:gd name="connsiteY443" fmla="*/ 485072 h 609800"/>
              <a:gd name="connsiteX444" fmla="*/ 11901047 w 12248682"/>
              <a:gd name="connsiteY444" fmla="*/ 505861 h 609800"/>
              <a:gd name="connsiteX445" fmla="*/ 11880258 w 12248682"/>
              <a:gd name="connsiteY445" fmla="*/ 485072 h 609800"/>
              <a:gd name="connsiteX446" fmla="*/ 11901047 w 12248682"/>
              <a:gd name="connsiteY446" fmla="*/ 464284 h 609800"/>
              <a:gd name="connsiteX447" fmla="*/ 11761299 w 12248682"/>
              <a:gd name="connsiteY447" fmla="*/ 464284 h 609800"/>
              <a:gd name="connsiteX448" fmla="*/ 11782088 w 12248682"/>
              <a:gd name="connsiteY448" fmla="*/ 485072 h 609800"/>
              <a:gd name="connsiteX449" fmla="*/ 11761299 w 12248682"/>
              <a:gd name="connsiteY449" fmla="*/ 505861 h 609800"/>
              <a:gd name="connsiteX450" fmla="*/ 11740510 w 12248682"/>
              <a:gd name="connsiteY450" fmla="*/ 485072 h 609800"/>
              <a:gd name="connsiteX451" fmla="*/ 11761299 w 12248682"/>
              <a:gd name="connsiteY451" fmla="*/ 464284 h 609800"/>
              <a:gd name="connsiteX452" fmla="*/ 11621553 w 12248682"/>
              <a:gd name="connsiteY452" fmla="*/ 464284 h 609800"/>
              <a:gd name="connsiteX453" fmla="*/ 11642342 w 12248682"/>
              <a:gd name="connsiteY453" fmla="*/ 485072 h 609800"/>
              <a:gd name="connsiteX454" fmla="*/ 11621553 w 12248682"/>
              <a:gd name="connsiteY454" fmla="*/ 505861 h 609800"/>
              <a:gd name="connsiteX455" fmla="*/ 11600764 w 12248682"/>
              <a:gd name="connsiteY455" fmla="*/ 485072 h 609800"/>
              <a:gd name="connsiteX456" fmla="*/ 11621553 w 12248682"/>
              <a:gd name="connsiteY456" fmla="*/ 464284 h 609800"/>
              <a:gd name="connsiteX457" fmla="*/ 11481805 w 12248682"/>
              <a:gd name="connsiteY457" fmla="*/ 464284 h 609800"/>
              <a:gd name="connsiteX458" fmla="*/ 11502594 w 12248682"/>
              <a:gd name="connsiteY458" fmla="*/ 485072 h 609800"/>
              <a:gd name="connsiteX459" fmla="*/ 11481805 w 12248682"/>
              <a:gd name="connsiteY459" fmla="*/ 505861 h 609800"/>
              <a:gd name="connsiteX460" fmla="*/ 11461016 w 12248682"/>
              <a:gd name="connsiteY460" fmla="*/ 485072 h 609800"/>
              <a:gd name="connsiteX461" fmla="*/ 11481805 w 12248682"/>
              <a:gd name="connsiteY461" fmla="*/ 464284 h 609800"/>
              <a:gd name="connsiteX462" fmla="*/ 10644478 w 12248682"/>
              <a:gd name="connsiteY462" fmla="*/ 464284 h 609800"/>
              <a:gd name="connsiteX463" fmla="*/ 10665267 w 12248682"/>
              <a:gd name="connsiteY463" fmla="*/ 485072 h 609800"/>
              <a:gd name="connsiteX464" fmla="*/ 10644478 w 12248682"/>
              <a:gd name="connsiteY464" fmla="*/ 505861 h 609800"/>
              <a:gd name="connsiteX465" fmla="*/ 10623690 w 12248682"/>
              <a:gd name="connsiteY465" fmla="*/ 485072 h 609800"/>
              <a:gd name="connsiteX466" fmla="*/ 10644478 w 12248682"/>
              <a:gd name="connsiteY466" fmla="*/ 464284 h 609800"/>
              <a:gd name="connsiteX467" fmla="*/ 10504731 w 12248682"/>
              <a:gd name="connsiteY467" fmla="*/ 464284 h 609800"/>
              <a:gd name="connsiteX468" fmla="*/ 10525520 w 12248682"/>
              <a:gd name="connsiteY468" fmla="*/ 485072 h 609800"/>
              <a:gd name="connsiteX469" fmla="*/ 10504731 w 12248682"/>
              <a:gd name="connsiteY469" fmla="*/ 505861 h 609800"/>
              <a:gd name="connsiteX470" fmla="*/ 10483942 w 12248682"/>
              <a:gd name="connsiteY470" fmla="*/ 485072 h 609800"/>
              <a:gd name="connsiteX471" fmla="*/ 10504731 w 12248682"/>
              <a:gd name="connsiteY471" fmla="*/ 464284 h 609800"/>
              <a:gd name="connsiteX472" fmla="*/ 10364984 w 12248682"/>
              <a:gd name="connsiteY472" fmla="*/ 464284 h 609800"/>
              <a:gd name="connsiteX473" fmla="*/ 10385773 w 12248682"/>
              <a:gd name="connsiteY473" fmla="*/ 485072 h 609800"/>
              <a:gd name="connsiteX474" fmla="*/ 10364984 w 12248682"/>
              <a:gd name="connsiteY474" fmla="*/ 505861 h 609800"/>
              <a:gd name="connsiteX475" fmla="*/ 10344196 w 12248682"/>
              <a:gd name="connsiteY475" fmla="*/ 485072 h 609800"/>
              <a:gd name="connsiteX476" fmla="*/ 10364984 w 12248682"/>
              <a:gd name="connsiteY476" fmla="*/ 464284 h 609800"/>
              <a:gd name="connsiteX477" fmla="*/ 7854709 w 12248682"/>
              <a:gd name="connsiteY477" fmla="*/ 464284 h 609800"/>
              <a:gd name="connsiteX478" fmla="*/ 7875498 w 12248682"/>
              <a:gd name="connsiteY478" fmla="*/ 485072 h 609800"/>
              <a:gd name="connsiteX479" fmla="*/ 7854709 w 12248682"/>
              <a:gd name="connsiteY479" fmla="*/ 505861 h 609800"/>
              <a:gd name="connsiteX480" fmla="*/ 7833921 w 12248682"/>
              <a:gd name="connsiteY480" fmla="*/ 485072 h 609800"/>
              <a:gd name="connsiteX481" fmla="*/ 7854709 w 12248682"/>
              <a:gd name="connsiteY481" fmla="*/ 464284 h 609800"/>
              <a:gd name="connsiteX482" fmla="*/ 7714960 w 12248682"/>
              <a:gd name="connsiteY482" fmla="*/ 464284 h 609800"/>
              <a:gd name="connsiteX483" fmla="*/ 7735749 w 12248682"/>
              <a:gd name="connsiteY483" fmla="*/ 485072 h 609800"/>
              <a:gd name="connsiteX484" fmla="*/ 7714960 w 12248682"/>
              <a:gd name="connsiteY484" fmla="*/ 505861 h 609800"/>
              <a:gd name="connsiteX485" fmla="*/ 7694172 w 12248682"/>
              <a:gd name="connsiteY485" fmla="*/ 485072 h 609800"/>
              <a:gd name="connsiteX486" fmla="*/ 7714960 w 12248682"/>
              <a:gd name="connsiteY486" fmla="*/ 464284 h 609800"/>
              <a:gd name="connsiteX487" fmla="*/ 7575214 w 12248682"/>
              <a:gd name="connsiteY487" fmla="*/ 464284 h 609800"/>
              <a:gd name="connsiteX488" fmla="*/ 7596004 w 12248682"/>
              <a:gd name="connsiteY488" fmla="*/ 485072 h 609800"/>
              <a:gd name="connsiteX489" fmla="*/ 7575214 w 12248682"/>
              <a:gd name="connsiteY489" fmla="*/ 505861 h 609800"/>
              <a:gd name="connsiteX490" fmla="*/ 7554427 w 12248682"/>
              <a:gd name="connsiteY490" fmla="*/ 485072 h 609800"/>
              <a:gd name="connsiteX491" fmla="*/ 7575214 w 12248682"/>
              <a:gd name="connsiteY491" fmla="*/ 464284 h 609800"/>
              <a:gd name="connsiteX492" fmla="*/ 7435467 w 12248682"/>
              <a:gd name="connsiteY492" fmla="*/ 464284 h 609800"/>
              <a:gd name="connsiteX493" fmla="*/ 7456257 w 12248682"/>
              <a:gd name="connsiteY493" fmla="*/ 485072 h 609800"/>
              <a:gd name="connsiteX494" fmla="*/ 7435467 w 12248682"/>
              <a:gd name="connsiteY494" fmla="*/ 505861 h 609800"/>
              <a:gd name="connsiteX495" fmla="*/ 7414678 w 12248682"/>
              <a:gd name="connsiteY495" fmla="*/ 485072 h 609800"/>
              <a:gd name="connsiteX496" fmla="*/ 7435467 w 12248682"/>
              <a:gd name="connsiteY496" fmla="*/ 464284 h 609800"/>
              <a:gd name="connsiteX497" fmla="*/ 7295720 w 12248682"/>
              <a:gd name="connsiteY497" fmla="*/ 464284 h 609800"/>
              <a:gd name="connsiteX498" fmla="*/ 7316509 w 12248682"/>
              <a:gd name="connsiteY498" fmla="*/ 485072 h 609800"/>
              <a:gd name="connsiteX499" fmla="*/ 7295720 w 12248682"/>
              <a:gd name="connsiteY499" fmla="*/ 505861 h 609800"/>
              <a:gd name="connsiteX500" fmla="*/ 7274932 w 12248682"/>
              <a:gd name="connsiteY500" fmla="*/ 485072 h 609800"/>
              <a:gd name="connsiteX501" fmla="*/ 7295720 w 12248682"/>
              <a:gd name="connsiteY501" fmla="*/ 464284 h 609800"/>
              <a:gd name="connsiteX502" fmla="*/ 7155974 w 12248682"/>
              <a:gd name="connsiteY502" fmla="*/ 464284 h 609800"/>
              <a:gd name="connsiteX503" fmla="*/ 7176762 w 12248682"/>
              <a:gd name="connsiteY503" fmla="*/ 485072 h 609800"/>
              <a:gd name="connsiteX504" fmla="*/ 7155974 w 12248682"/>
              <a:gd name="connsiteY504" fmla="*/ 505861 h 609800"/>
              <a:gd name="connsiteX505" fmla="*/ 7135183 w 12248682"/>
              <a:gd name="connsiteY505" fmla="*/ 485072 h 609800"/>
              <a:gd name="connsiteX506" fmla="*/ 7155974 w 12248682"/>
              <a:gd name="connsiteY506" fmla="*/ 464284 h 609800"/>
              <a:gd name="connsiteX507" fmla="*/ 7016227 w 12248682"/>
              <a:gd name="connsiteY507" fmla="*/ 464284 h 609800"/>
              <a:gd name="connsiteX508" fmla="*/ 7037016 w 12248682"/>
              <a:gd name="connsiteY508" fmla="*/ 485072 h 609800"/>
              <a:gd name="connsiteX509" fmla="*/ 7016227 w 12248682"/>
              <a:gd name="connsiteY509" fmla="*/ 505861 h 609800"/>
              <a:gd name="connsiteX510" fmla="*/ 6995438 w 12248682"/>
              <a:gd name="connsiteY510" fmla="*/ 485072 h 609800"/>
              <a:gd name="connsiteX511" fmla="*/ 7016227 w 12248682"/>
              <a:gd name="connsiteY511" fmla="*/ 464284 h 609800"/>
              <a:gd name="connsiteX512" fmla="*/ 6877634 w 12248682"/>
              <a:gd name="connsiteY512" fmla="*/ 464284 h 609800"/>
              <a:gd name="connsiteX513" fmla="*/ 6898424 w 12248682"/>
              <a:gd name="connsiteY513" fmla="*/ 485072 h 609800"/>
              <a:gd name="connsiteX514" fmla="*/ 6877634 w 12248682"/>
              <a:gd name="connsiteY514" fmla="*/ 505861 h 609800"/>
              <a:gd name="connsiteX515" fmla="*/ 6856845 w 12248682"/>
              <a:gd name="connsiteY515" fmla="*/ 485072 h 609800"/>
              <a:gd name="connsiteX516" fmla="*/ 6877634 w 12248682"/>
              <a:gd name="connsiteY516" fmla="*/ 464284 h 609800"/>
              <a:gd name="connsiteX517" fmla="*/ 6039151 w 12248682"/>
              <a:gd name="connsiteY517" fmla="*/ 464284 h 609800"/>
              <a:gd name="connsiteX518" fmla="*/ 6059942 w 12248682"/>
              <a:gd name="connsiteY518" fmla="*/ 485072 h 609800"/>
              <a:gd name="connsiteX519" fmla="*/ 6039151 w 12248682"/>
              <a:gd name="connsiteY519" fmla="*/ 505861 h 609800"/>
              <a:gd name="connsiteX520" fmla="*/ 6018363 w 12248682"/>
              <a:gd name="connsiteY520" fmla="*/ 485072 h 609800"/>
              <a:gd name="connsiteX521" fmla="*/ 6039151 w 12248682"/>
              <a:gd name="connsiteY521" fmla="*/ 464284 h 609800"/>
              <a:gd name="connsiteX522" fmla="*/ 5899406 w 12248682"/>
              <a:gd name="connsiteY522" fmla="*/ 464284 h 609800"/>
              <a:gd name="connsiteX523" fmla="*/ 5920193 w 12248682"/>
              <a:gd name="connsiteY523" fmla="*/ 485072 h 609800"/>
              <a:gd name="connsiteX524" fmla="*/ 5899406 w 12248682"/>
              <a:gd name="connsiteY524" fmla="*/ 505861 h 609800"/>
              <a:gd name="connsiteX525" fmla="*/ 5878616 w 12248682"/>
              <a:gd name="connsiteY525" fmla="*/ 485072 h 609800"/>
              <a:gd name="connsiteX526" fmla="*/ 5899406 w 12248682"/>
              <a:gd name="connsiteY526" fmla="*/ 464284 h 609800"/>
              <a:gd name="connsiteX527" fmla="*/ 5759658 w 12248682"/>
              <a:gd name="connsiteY527" fmla="*/ 464284 h 609800"/>
              <a:gd name="connsiteX528" fmla="*/ 5780448 w 12248682"/>
              <a:gd name="connsiteY528" fmla="*/ 485072 h 609800"/>
              <a:gd name="connsiteX529" fmla="*/ 5759658 w 12248682"/>
              <a:gd name="connsiteY529" fmla="*/ 505861 h 609800"/>
              <a:gd name="connsiteX530" fmla="*/ 5738869 w 12248682"/>
              <a:gd name="connsiteY530" fmla="*/ 485072 h 609800"/>
              <a:gd name="connsiteX531" fmla="*/ 5759658 w 12248682"/>
              <a:gd name="connsiteY531" fmla="*/ 464284 h 609800"/>
              <a:gd name="connsiteX532" fmla="*/ 3241901 w 12248682"/>
              <a:gd name="connsiteY532" fmla="*/ 464284 h 609800"/>
              <a:gd name="connsiteX533" fmla="*/ 3262690 w 12248682"/>
              <a:gd name="connsiteY533" fmla="*/ 485072 h 609800"/>
              <a:gd name="connsiteX534" fmla="*/ 3241901 w 12248682"/>
              <a:gd name="connsiteY534" fmla="*/ 505861 h 609800"/>
              <a:gd name="connsiteX535" fmla="*/ 3221112 w 12248682"/>
              <a:gd name="connsiteY535" fmla="*/ 485072 h 609800"/>
              <a:gd name="connsiteX536" fmla="*/ 3241901 w 12248682"/>
              <a:gd name="connsiteY536" fmla="*/ 464284 h 609800"/>
              <a:gd name="connsiteX537" fmla="*/ 3102153 w 12248682"/>
              <a:gd name="connsiteY537" fmla="*/ 464284 h 609800"/>
              <a:gd name="connsiteX538" fmla="*/ 3122942 w 12248682"/>
              <a:gd name="connsiteY538" fmla="*/ 485072 h 609800"/>
              <a:gd name="connsiteX539" fmla="*/ 3102153 w 12248682"/>
              <a:gd name="connsiteY539" fmla="*/ 505861 h 609800"/>
              <a:gd name="connsiteX540" fmla="*/ 3081365 w 12248682"/>
              <a:gd name="connsiteY540" fmla="*/ 485072 h 609800"/>
              <a:gd name="connsiteX541" fmla="*/ 3102153 w 12248682"/>
              <a:gd name="connsiteY541" fmla="*/ 464284 h 609800"/>
              <a:gd name="connsiteX542" fmla="*/ 2962407 w 12248682"/>
              <a:gd name="connsiteY542" fmla="*/ 464284 h 609800"/>
              <a:gd name="connsiteX543" fmla="*/ 2983196 w 12248682"/>
              <a:gd name="connsiteY543" fmla="*/ 485072 h 609800"/>
              <a:gd name="connsiteX544" fmla="*/ 2962407 w 12248682"/>
              <a:gd name="connsiteY544" fmla="*/ 505861 h 609800"/>
              <a:gd name="connsiteX545" fmla="*/ 2941618 w 12248682"/>
              <a:gd name="connsiteY545" fmla="*/ 485072 h 609800"/>
              <a:gd name="connsiteX546" fmla="*/ 2962407 w 12248682"/>
              <a:gd name="connsiteY546" fmla="*/ 464284 h 609800"/>
              <a:gd name="connsiteX547" fmla="*/ 2822659 w 12248682"/>
              <a:gd name="connsiteY547" fmla="*/ 464284 h 609800"/>
              <a:gd name="connsiteX548" fmla="*/ 2843448 w 12248682"/>
              <a:gd name="connsiteY548" fmla="*/ 485072 h 609800"/>
              <a:gd name="connsiteX549" fmla="*/ 2822659 w 12248682"/>
              <a:gd name="connsiteY549" fmla="*/ 505861 h 609800"/>
              <a:gd name="connsiteX550" fmla="*/ 2801871 w 12248682"/>
              <a:gd name="connsiteY550" fmla="*/ 485072 h 609800"/>
              <a:gd name="connsiteX551" fmla="*/ 2822659 w 12248682"/>
              <a:gd name="connsiteY551" fmla="*/ 464284 h 609800"/>
              <a:gd name="connsiteX552" fmla="*/ 2682913 w 12248682"/>
              <a:gd name="connsiteY552" fmla="*/ 464284 h 609800"/>
              <a:gd name="connsiteX553" fmla="*/ 2703702 w 12248682"/>
              <a:gd name="connsiteY553" fmla="*/ 485072 h 609800"/>
              <a:gd name="connsiteX554" fmla="*/ 2682913 w 12248682"/>
              <a:gd name="connsiteY554" fmla="*/ 505861 h 609800"/>
              <a:gd name="connsiteX555" fmla="*/ 2662124 w 12248682"/>
              <a:gd name="connsiteY555" fmla="*/ 485072 h 609800"/>
              <a:gd name="connsiteX556" fmla="*/ 2682913 w 12248682"/>
              <a:gd name="connsiteY556" fmla="*/ 464284 h 609800"/>
              <a:gd name="connsiteX557" fmla="*/ 2543167 w 12248682"/>
              <a:gd name="connsiteY557" fmla="*/ 464284 h 609800"/>
              <a:gd name="connsiteX558" fmla="*/ 2563954 w 12248682"/>
              <a:gd name="connsiteY558" fmla="*/ 485072 h 609800"/>
              <a:gd name="connsiteX559" fmla="*/ 2543167 w 12248682"/>
              <a:gd name="connsiteY559" fmla="*/ 505861 h 609800"/>
              <a:gd name="connsiteX560" fmla="*/ 2522376 w 12248682"/>
              <a:gd name="connsiteY560" fmla="*/ 485072 h 609800"/>
              <a:gd name="connsiteX561" fmla="*/ 2543167 w 12248682"/>
              <a:gd name="connsiteY561" fmla="*/ 464284 h 609800"/>
              <a:gd name="connsiteX562" fmla="*/ 2403419 w 12248682"/>
              <a:gd name="connsiteY562" fmla="*/ 464284 h 609800"/>
              <a:gd name="connsiteX563" fmla="*/ 2424209 w 12248682"/>
              <a:gd name="connsiteY563" fmla="*/ 485072 h 609800"/>
              <a:gd name="connsiteX564" fmla="*/ 2403419 w 12248682"/>
              <a:gd name="connsiteY564" fmla="*/ 505861 h 609800"/>
              <a:gd name="connsiteX565" fmla="*/ 2382630 w 12248682"/>
              <a:gd name="connsiteY565" fmla="*/ 485072 h 609800"/>
              <a:gd name="connsiteX566" fmla="*/ 2403419 w 12248682"/>
              <a:gd name="connsiteY566" fmla="*/ 464284 h 609800"/>
              <a:gd name="connsiteX567" fmla="*/ 2263671 w 12248682"/>
              <a:gd name="connsiteY567" fmla="*/ 464284 h 609800"/>
              <a:gd name="connsiteX568" fmla="*/ 2284460 w 12248682"/>
              <a:gd name="connsiteY568" fmla="*/ 485072 h 609800"/>
              <a:gd name="connsiteX569" fmla="*/ 2263671 w 12248682"/>
              <a:gd name="connsiteY569" fmla="*/ 505861 h 609800"/>
              <a:gd name="connsiteX570" fmla="*/ 2242883 w 12248682"/>
              <a:gd name="connsiteY570" fmla="*/ 485072 h 609800"/>
              <a:gd name="connsiteX571" fmla="*/ 2263671 w 12248682"/>
              <a:gd name="connsiteY571" fmla="*/ 464284 h 609800"/>
              <a:gd name="connsiteX572" fmla="*/ 1426344 w 12248682"/>
              <a:gd name="connsiteY572" fmla="*/ 464284 h 609800"/>
              <a:gd name="connsiteX573" fmla="*/ 1447133 w 12248682"/>
              <a:gd name="connsiteY573" fmla="*/ 485072 h 609800"/>
              <a:gd name="connsiteX574" fmla="*/ 1426344 w 12248682"/>
              <a:gd name="connsiteY574" fmla="*/ 505861 h 609800"/>
              <a:gd name="connsiteX575" fmla="*/ 1405556 w 12248682"/>
              <a:gd name="connsiteY575" fmla="*/ 485072 h 609800"/>
              <a:gd name="connsiteX576" fmla="*/ 1426344 w 12248682"/>
              <a:gd name="connsiteY576" fmla="*/ 464284 h 609800"/>
              <a:gd name="connsiteX577" fmla="*/ 1286597 w 12248682"/>
              <a:gd name="connsiteY577" fmla="*/ 464284 h 609800"/>
              <a:gd name="connsiteX578" fmla="*/ 1307386 w 12248682"/>
              <a:gd name="connsiteY578" fmla="*/ 485072 h 609800"/>
              <a:gd name="connsiteX579" fmla="*/ 1286597 w 12248682"/>
              <a:gd name="connsiteY579" fmla="*/ 505861 h 609800"/>
              <a:gd name="connsiteX580" fmla="*/ 1265808 w 12248682"/>
              <a:gd name="connsiteY580" fmla="*/ 485072 h 609800"/>
              <a:gd name="connsiteX581" fmla="*/ 1286597 w 12248682"/>
              <a:gd name="connsiteY581" fmla="*/ 464284 h 609800"/>
              <a:gd name="connsiteX582" fmla="*/ 1146851 w 12248682"/>
              <a:gd name="connsiteY582" fmla="*/ 464284 h 609800"/>
              <a:gd name="connsiteX583" fmla="*/ 1167639 w 12248682"/>
              <a:gd name="connsiteY583" fmla="*/ 485072 h 609800"/>
              <a:gd name="connsiteX584" fmla="*/ 1146851 w 12248682"/>
              <a:gd name="connsiteY584" fmla="*/ 505861 h 609800"/>
              <a:gd name="connsiteX585" fmla="*/ 1126062 w 12248682"/>
              <a:gd name="connsiteY585" fmla="*/ 485072 h 609800"/>
              <a:gd name="connsiteX586" fmla="*/ 1146851 w 12248682"/>
              <a:gd name="connsiteY586" fmla="*/ 464284 h 609800"/>
              <a:gd name="connsiteX587" fmla="*/ 11343213 w 12248682"/>
              <a:gd name="connsiteY587" fmla="*/ 461974 h 609800"/>
              <a:gd name="connsiteX588" fmla="*/ 11366312 w 12248682"/>
              <a:gd name="connsiteY588" fmla="*/ 485072 h 609800"/>
              <a:gd name="connsiteX589" fmla="*/ 11343213 w 12248682"/>
              <a:gd name="connsiteY589" fmla="*/ 508171 h 609800"/>
              <a:gd name="connsiteX590" fmla="*/ 11320114 w 12248682"/>
              <a:gd name="connsiteY590" fmla="*/ 485072 h 609800"/>
              <a:gd name="connsiteX591" fmla="*/ 11343213 w 12248682"/>
              <a:gd name="connsiteY591" fmla="*/ 461974 h 609800"/>
              <a:gd name="connsiteX592" fmla="*/ 10225237 w 12248682"/>
              <a:gd name="connsiteY592" fmla="*/ 461974 h 609800"/>
              <a:gd name="connsiteX593" fmla="*/ 10248335 w 12248682"/>
              <a:gd name="connsiteY593" fmla="*/ 485072 h 609800"/>
              <a:gd name="connsiteX594" fmla="*/ 10225237 w 12248682"/>
              <a:gd name="connsiteY594" fmla="*/ 508171 h 609800"/>
              <a:gd name="connsiteX595" fmla="*/ 10202138 w 12248682"/>
              <a:gd name="connsiteY595" fmla="*/ 485072 h 609800"/>
              <a:gd name="connsiteX596" fmla="*/ 10225237 w 12248682"/>
              <a:gd name="connsiteY596" fmla="*/ 461974 h 609800"/>
              <a:gd name="connsiteX597" fmla="*/ 9112431 w 12248682"/>
              <a:gd name="connsiteY597" fmla="*/ 461974 h 609800"/>
              <a:gd name="connsiteX598" fmla="*/ 9135530 w 12248682"/>
              <a:gd name="connsiteY598" fmla="*/ 485072 h 609800"/>
              <a:gd name="connsiteX599" fmla="*/ 9112431 w 12248682"/>
              <a:gd name="connsiteY599" fmla="*/ 508171 h 609800"/>
              <a:gd name="connsiteX600" fmla="*/ 9089332 w 12248682"/>
              <a:gd name="connsiteY600" fmla="*/ 485072 h 609800"/>
              <a:gd name="connsiteX601" fmla="*/ 9112431 w 12248682"/>
              <a:gd name="connsiteY601" fmla="*/ 461974 h 609800"/>
              <a:gd name="connsiteX602" fmla="*/ 7994456 w 12248682"/>
              <a:gd name="connsiteY602" fmla="*/ 461974 h 609800"/>
              <a:gd name="connsiteX603" fmla="*/ 8017555 w 12248682"/>
              <a:gd name="connsiteY603" fmla="*/ 485072 h 609800"/>
              <a:gd name="connsiteX604" fmla="*/ 7994456 w 12248682"/>
              <a:gd name="connsiteY604" fmla="*/ 508171 h 609800"/>
              <a:gd name="connsiteX605" fmla="*/ 7971356 w 12248682"/>
              <a:gd name="connsiteY605" fmla="*/ 485072 h 609800"/>
              <a:gd name="connsiteX606" fmla="*/ 7994456 w 12248682"/>
              <a:gd name="connsiteY606" fmla="*/ 461974 h 609800"/>
              <a:gd name="connsiteX607" fmla="*/ 6737887 w 12248682"/>
              <a:gd name="connsiteY607" fmla="*/ 461974 h 609800"/>
              <a:gd name="connsiteX608" fmla="*/ 6760986 w 12248682"/>
              <a:gd name="connsiteY608" fmla="*/ 485072 h 609800"/>
              <a:gd name="connsiteX609" fmla="*/ 6737887 w 12248682"/>
              <a:gd name="connsiteY609" fmla="*/ 508171 h 609800"/>
              <a:gd name="connsiteX610" fmla="*/ 6714789 w 12248682"/>
              <a:gd name="connsiteY610" fmla="*/ 485072 h 609800"/>
              <a:gd name="connsiteX611" fmla="*/ 6737887 w 12248682"/>
              <a:gd name="connsiteY611" fmla="*/ 461974 h 609800"/>
              <a:gd name="connsiteX612" fmla="*/ 5619912 w 12248682"/>
              <a:gd name="connsiteY612" fmla="*/ 461974 h 609800"/>
              <a:gd name="connsiteX613" fmla="*/ 5643008 w 12248682"/>
              <a:gd name="connsiteY613" fmla="*/ 485072 h 609800"/>
              <a:gd name="connsiteX614" fmla="*/ 5619912 w 12248682"/>
              <a:gd name="connsiteY614" fmla="*/ 508171 h 609800"/>
              <a:gd name="connsiteX615" fmla="*/ 5596812 w 12248682"/>
              <a:gd name="connsiteY615" fmla="*/ 485072 h 609800"/>
              <a:gd name="connsiteX616" fmla="*/ 5619912 w 12248682"/>
              <a:gd name="connsiteY616" fmla="*/ 461974 h 609800"/>
              <a:gd name="connsiteX617" fmla="*/ 4499625 w 12248682"/>
              <a:gd name="connsiteY617" fmla="*/ 461974 h 609800"/>
              <a:gd name="connsiteX618" fmla="*/ 4522722 w 12248682"/>
              <a:gd name="connsiteY618" fmla="*/ 485072 h 609800"/>
              <a:gd name="connsiteX619" fmla="*/ 4499625 w 12248682"/>
              <a:gd name="connsiteY619" fmla="*/ 508171 h 609800"/>
              <a:gd name="connsiteX620" fmla="*/ 4476525 w 12248682"/>
              <a:gd name="connsiteY620" fmla="*/ 485072 h 609800"/>
              <a:gd name="connsiteX621" fmla="*/ 4499625 w 12248682"/>
              <a:gd name="connsiteY621" fmla="*/ 461974 h 609800"/>
              <a:gd name="connsiteX622" fmla="*/ 3381648 w 12248682"/>
              <a:gd name="connsiteY622" fmla="*/ 461974 h 609800"/>
              <a:gd name="connsiteX623" fmla="*/ 3404746 w 12248682"/>
              <a:gd name="connsiteY623" fmla="*/ 485072 h 609800"/>
              <a:gd name="connsiteX624" fmla="*/ 3381648 w 12248682"/>
              <a:gd name="connsiteY624" fmla="*/ 508171 h 609800"/>
              <a:gd name="connsiteX625" fmla="*/ 3358549 w 12248682"/>
              <a:gd name="connsiteY625" fmla="*/ 485072 h 609800"/>
              <a:gd name="connsiteX626" fmla="*/ 3381648 w 12248682"/>
              <a:gd name="connsiteY626" fmla="*/ 461974 h 609800"/>
              <a:gd name="connsiteX627" fmla="*/ 2125079 w 12248682"/>
              <a:gd name="connsiteY627" fmla="*/ 461974 h 609800"/>
              <a:gd name="connsiteX628" fmla="*/ 2148178 w 12248682"/>
              <a:gd name="connsiteY628" fmla="*/ 485072 h 609800"/>
              <a:gd name="connsiteX629" fmla="*/ 2125079 w 12248682"/>
              <a:gd name="connsiteY629" fmla="*/ 508171 h 609800"/>
              <a:gd name="connsiteX630" fmla="*/ 2101980 w 12248682"/>
              <a:gd name="connsiteY630" fmla="*/ 485072 h 609800"/>
              <a:gd name="connsiteX631" fmla="*/ 2125079 w 12248682"/>
              <a:gd name="connsiteY631" fmla="*/ 461974 h 609800"/>
              <a:gd name="connsiteX632" fmla="*/ 1007103 w 12248682"/>
              <a:gd name="connsiteY632" fmla="*/ 461974 h 609800"/>
              <a:gd name="connsiteX633" fmla="*/ 1030201 w 12248682"/>
              <a:gd name="connsiteY633" fmla="*/ 485072 h 609800"/>
              <a:gd name="connsiteX634" fmla="*/ 1007103 w 12248682"/>
              <a:gd name="connsiteY634" fmla="*/ 508171 h 609800"/>
              <a:gd name="connsiteX635" fmla="*/ 984004 w 12248682"/>
              <a:gd name="connsiteY635" fmla="*/ 485072 h 609800"/>
              <a:gd name="connsiteX636" fmla="*/ 1007103 w 12248682"/>
              <a:gd name="connsiteY636" fmla="*/ 461974 h 609800"/>
              <a:gd name="connsiteX637" fmla="*/ 11203466 w 12248682"/>
              <a:gd name="connsiteY637" fmla="*/ 456200 h 609800"/>
              <a:gd name="connsiteX638" fmla="*/ 11232339 w 12248682"/>
              <a:gd name="connsiteY638" fmla="*/ 485072 h 609800"/>
              <a:gd name="connsiteX639" fmla="*/ 11203466 w 12248682"/>
              <a:gd name="connsiteY639" fmla="*/ 513946 h 609800"/>
              <a:gd name="connsiteX640" fmla="*/ 11174593 w 12248682"/>
              <a:gd name="connsiteY640" fmla="*/ 485072 h 609800"/>
              <a:gd name="connsiteX641" fmla="*/ 11203466 w 12248682"/>
              <a:gd name="connsiteY641" fmla="*/ 456200 h 609800"/>
              <a:gd name="connsiteX642" fmla="*/ 10085490 w 12248682"/>
              <a:gd name="connsiteY642" fmla="*/ 456200 h 609800"/>
              <a:gd name="connsiteX643" fmla="*/ 10114363 w 12248682"/>
              <a:gd name="connsiteY643" fmla="*/ 485072 h 609800"/>
              <a:gd name="connsiteX644" fmla="*/ 10085490 w 12248682"/>
              <a:gd name="connsiteY644" fmla="*/ 513946 h 609800"/>
              <a:gd name="connsiteX645" fmla="*/ 10056616 w 12248682"/>
              <a:gd name="connsiteY645" fmla="*/ 485072 h 609800"/>
              <a:gd name="connsiteX646" fmla="*/ 10085490 w 12248682"/>
              <a:gd name="connsiteY646" fmla="*/ 456200 h 609800"/>
              <a:gd name="connsiteX647" fmla="*/ 9247008 w 12248682"/>
              <a:gd name="connsiteY647" fmla="*/ 456200 h 609800"/>
              <a:gd name="connsiteX648" fmla="*/ 9275881 w 12248682"/>
              <a:gd name="connsiteY648" fmla="*/ 485072 h 609800"/>
              <a:gd name="connsiteX649" fmla="*/ 9247008 w 12248682"/>
              <a:gd name="connsiteY649" fmla="*/ 513946 h 609800"/>
              <a:gd name="connsiteX650" fmla="*/ 9218134 w 12248682"/>
              <a:gd name="connsiteY650" fmla="*/ 485072 h 609800"/>
              <a:gd name="connsiteX651" fmla="*/ 9247008 w 12248682"/>
              <a:gd name="connsiteY651" fmla="*/ 456200 h 609800"/>
              <a:gd name="connsiteX652" fmla="*/ 8972685 w 12248682"/>
              <a:gd name="connsiteY652" fmla="*/ 456200 h 609800"/>
              <a:gd name="connsiteX653" fmla="*/ 9001557 w 12248682"/>
              <a:gd name="connsiteY653" fmla="*/ 485072 h 609800"/>
              <a:gd name="connsiteX654" fmla="*/ 8972685 w 12248682"/>
              <a:gd name="connsiteY654" fmla="*/ 513946 h 609800"/>
              <a:gd name="connsiteX655" fmla="*/ 8943811 w 12248682"/>
              <a:gd name="connsiteY655" fmla="*/ 485072 h 609800"/>
              <a:gd name="connsiteX656" fmla="*/ 8972685 w 12248682"/>
              <a:gd name="connsiteY656" fmla="*/ 456200 h 609800"/>
              <a:gd name="connsiteX657" fmla="*/ 8134203 w 12248682"/>
              <a:gd name="connsiteY657" fmla="*/ 456200 h 609800"/>
              <a:gd name="connsiteX658" fmla="*/ 8163075 w 12248682"/>
              <a:gd name="connsiteY658" fmla="*/ 485072 h 609800"/>
              <a:gd name="connsiteX659" fmla="*/ 8134203 w 12248682"/>
              <a:gd name="connsiteY659" fmla="*/ 513946 h 609800"/>
              <a:gd name="connsiteX660" fmla="*/ 8105330 w 12248682"/>
              <a:gd name="connsiteY660" fmla="*/ 485072 h 609800"/>
              <a:gd name="connsiteX661" fmla="*/ 8134203 w 12248682"/>
              <a:gd name="connsiteY661" fmla="*/ 456200 h 609800"/>
              <a:gd name="connsiteX662" fmla="*/ 6598140 w 12248682"/>
              <a:gd name="connsiteY662" fmla="*/ 456200 h 609800"/>
              <a:gd name="connsiteX663" fmla="*/ 6627013 w 12248682"/>
              <a:gd name="connsiteY663" fmla="*/ 485072 h 609800"/>
              <a:gd name="connsiteX664" fmla="*/ 6598140 w 12248682"/>
              <a:gd name="connsiteY664" fmla="*/ 513946 h 609800"/>
              <a:gd name="connsiteX665" fmla="*/ 6569267 w 12248682"/>
              <a:gd name="connsiteY665" fmla="*/ 485072 h 609800"/>
              <a:gd name="connsiteX666" fmla="*/ 6598140 w 12248682"/>
              <a:gd name="connsiteY666" fmla="*/ 456200 h 609800"/>
              <a:gd name="connsiteX667" fmla="*/ 5480165 w 12248682"/>
              <a:gd name="connsiteY667" fmla="*/ 456200 h 609800"/>
              <a:gd name="connsiteX668" fmla="*/ 5509037 w 12248682"/>
              <a:gd name="connsiteY668" fmla="*/ 485072 h 609800"/>
              <a:gd name="connsiteX669" fmla="*/ 5480165 w 12248682"/>
              <a:gd name="connsiteY669" fmla="*/ 513946 h 609800"/>
              <a:gd name="connsiteX670" fmla="*/ 5451289 w 12248682"/>
              <a:gd name="connsiteY670" fmla="*/ 485072 h 609800"/>
              <a:gd name="connsiteX671" fmla="*/ 5480165 w 12248682"/>
              <a:gd name="connsiteY671" fmla="*/ 456200 h 609800"/>
              <a:gd name="connsiteX672" fmla="*/ 4641682 w 12248682"/>
              <a:gd name="connsiteY672" fmla="*/ 456200 h 609800"/>
              <a:gd name="connsiteX673" fmla="*/ 4670555 w 12248682"/>
              <a:gd name="connsiteY673" fmla="*/ 485072 h 609800"/>
              <a:gd name="connsiteX674" fmla="*/ 4641682 w 12248682"/>
              <a:gd name="connsiteY674" fmla="*/ 513946 h 609800"/>
              <a:gd name="connsiteX675" fmla="*/ 4612809 w 12248682"/>
              <a:gd name="connsiteY675" fmla="*/ 485072 h 609800"/>
              <a:gd name="connsiteX676" fmla="*/ 4641682 w 12248682"/>
              <a:gd name="connsiteY676" fmla="*/ 456200 h 609800"/>
              <a:gd name="connsiteX677" fmla="*/ 4359878 w 12248682"/>
              <a:gd name="connsiteY677" fmla="*/ 456200 h 609800"/>
              <a:gd name="connsiteX678" fmla="*/ 4388751 w 12248682"/>
              <a:gd name="connsiteY678" fmla="*/ 485072 h 609800"/>
              <a:gd name="connsiteX679" fmla="*/ 4359878 w 12248682"/>
              <a:gd name="connsiteY679" fmla="*/ 513946 h 609800"/>
              <a:gd name="connsiteX680" fmla="*/ 4331004 w 12248682"/>
              <a:gd name="connsiteY680" fmla="*/ 485072 h 609800"/>
              <a:gd name="connsiteX681" fmla="*/ 4359878 w 12248682"/>
              <a:gd name="connsiteY681" fmla="*/ 456200 h 609800"/>
              <a:gd name="connsiteX682" fmla="*/ 3521396 w 12248682"/>
              <a:gd name="connsiteY682" fmla="*/ 456200 h 609800"/>
              <a:gd name="connsiteX683" fmla="*/ 3550268 w 12248682"/>
              <a:gd name="connsiteY683" fmla="*/ 485072 h 609800"/>
              <a:gd name="connsiteX684" fmla="*/ 3521396 w 12248682"/>
              <a:gd name="connsiteY684" fmla="*/ 513946 h 609800"/>
              <a:gd name="connsiteX685" fmla="*/ 3492521 w 12248682"/>
              <a:gd name="connsiteY685" fmla="*/ 485072 h 609800"/>
              <a:gd name="connsiteX686" fmla="*/ 3521396 w 12248682"/>
              <a:gd name="connsiteY686" fmla="*/ 456200 h 609800"/>
              <a:gd name="connsiteX687" fmla="*/ 1985333 w 12248682"/>
              <a:gd name="connsiteY687" fmla="*/ 456200 h 609800"/>
              <a:gd name="connsiteX688" fmla="*/ 2014205 w 12248682"/>
              <a:gd name="connsiteY688" fmla="*/ 485072 h 609800"/>
              <a:gd name="connsiteX689" fmla="*/ 1985333 w 12248682"/>
              <a:gd name="connsiteY689" fmla="*/ 513946 h 609800"/>
              <a:gd name="connsiteX690" fmla="*/ 1956459 w 12248682"/>
              <a:gd name="connsiteY690" fmla="*/ 485072 h 609800"/>
              <a:gd name="connsiteX691" fmla="*/ 1985333 w 12248682"/>
              <a:gd name="connsiteY691" fmla="*/ 456200 h 609800"/>
              <a:gd name="connsiteX692" fmla="*/ 867356 w 12248682"/>
              <a:gd name="connsiteY692" fmla="*/ 456200 h 609800"/>
              <a:gd name="connsiteX693" fmla="*/ 896229 w 12248682"/>
              <a:gd name="connsiteY693" fmla="*/ 485072 h 609800"/>
              <a:gd name="connsiteX694" fmla="*/ 867356 w 12248682"/>
              <a:gd name="connsiteY694" fmla="*/ 513946 h 609800"/>
              <a:gd name="connsiteX695" fmla="*/ 838482 w 12248682"/>
              <a:gd name="connsiteY695" fmla="*/ 485072 h 609800"/>
              <a:gd name="connsiteX696" fmla="*/ 867356 w 12248682"/>
              <a:gd name="connsiteY696" fmla="*/ 456200 h 609800"/>
              <a:gd name="connsiteX697" fmla="*/ 28874 w 12248682"/>
              <a:gd name="connsiteY697" fmla="*/ 456200 h 609800"/>
              <a:gd name="connsiteX698" fmla="*/ 57747 w 12248682"/>
              <a:gd name="connsiteY698" fmla="*/ 485072 h 609800"/>
              <a:gd name="connsiteX699" fmla="*/ 28874 w 12248682"/>
              <a:gd name="connsiteY699" fmla="*/ 513946 h 609800"/>
              <a:gd name="connsiteX700" fmla="*/ 0 w 12248682"/>
              <a:gd name="connsiteY700" fmla="*/ 485072 h 609800"/>
              <a:gd name="connsiteX701" fmla="*/ 28874 w 12248682"/>
              <a:gd name="connsiteY701" fmla="*/ 456200 h 609800"/>
              <a:gd name="connsiteX702" fmla="*/ 11063719 w 12248682"/>
              <a:gd name="connsiteY702" fmla="*/ 449270 h 609800"/>
              <a:gd name="connsiteX703" fmla="*/ 11098367 w 12248682"/>
              <a:gd name="connsiteY703" fmla="*/ 483918 h 609800"/>
              <a:gd name="connsiteX704" fmla="*/ 11063719 w 12248682"/>
              <a:gd name="connsiteY704" fmla="*/ 518566 h 609800"/>
              <a:gd name="connsiteX705" fmla="*/ 11029071 w 12248682"/>
              <a:gd name="connsiteY705" fmla="*/ 483918 h 609800"/>
              <a:gd name="connsiteX706" fmla="*/ 11063719 w 12248682"/>
              <a:gd name="connsiteY706" fmla="*/ 449270 h 609800"/>
              <a:gd name="connsiteX707" fmla="*/ 9945743 w 12248682"/>
              <a:gd name="connsiteY707" fmla="*/ 449270 h 609800"/>
              <a:gd name="connsiteX708" fmla="*/ 9980391 w 12248682"/>
              <a:gd name="connsiteY708" fmla="*/ 483918 h 609800"/>
              <a:gd name="connsiteX709" fmla="*/ 9945743 w 12248682"/>
              <a:gd name="connsiteY709" fmla="*/ 518566 h 609800"/>
              <a:gd name="connsiteX710" fmla="*/ 9911094 w 12248682"/>
              <a:gd name="connsiteY710" fmla="*/ 483918 h 609800"/>
              <a:gd name="connsiteX711" fmla="*/ 9945743 w 12248682"/>
              <a:gd name="connsiteY711" fmla="*/ 449270 h 609800"/>
              <a:gd name="connsiteX712" fmla="*/ 9386754 w 12248682"/>
              <a:gd name="connsiteY712" fmla="*/ 449270 h 609800"/>
              <a:gd name="connsiteX713" fmla="*/ 9421402 w 12248682"/>
              <a:gd name="connsiteY713" fmla="*/ 483918 h 609800"/>
              <a:gd name="connsiteX714" fmla="*/ 9386754 w 12248682"/>
              <a:gd name="connsiteY714" fmla="*/ 518566 h 609800"/>
              <a:gd name="connsiteX715" fmla="*/ 9352106 w 12248682"/>
              <a:gd name="connsiteY715" fmla="*/ 483918 h 609800"/>
              <a:gd name="connsiteX716" fmla="*/ 9386754 w 12248682"/>
              <a:gd name="connsiteY716" fmla="*/ 449270 h 609800"/>
              <a:gd name="connsiteX717" fmla="*/ 8832937 w 12248682"/>
              <a:gd name="connsiteY717" fmla="*/ 449270 h 609800"/>
              <a:gd name="connsiteX718" fmla="*/ 8867585 w 12248682"/>
              <a:gd name="connsiteY718" fmla="*/ 483918 h 609800"/>
              <a:gd name="connsiteX719" fmla="*/ 8832937 w 12248682"/>
              <a:gd name="connsiteY719" fmla="*/ 518566 h 609800"/>
              <a:gd name="connsiteX720" fmla="*/ 8798289 w 12248682"/>
              <a:gd name="connsiteY720" fmla="*/ 483918 h 609800"/>
              <a:gd name="connsiteX721" fmla="*/ 8832937 w 12248682"/>
              <a:gd name="connsiteY721" fmla="*/ 449270 h 609800"/>
              <a:gd name="connsiteX722" fmla="*/ 8273949 w 12248682"/>
              <a:gd name="connsiteY722" fmla="*/ 449270 h 609800"/>
              <a:gd name="connsiteX723" fmla="*/ 8308598 w 12248682"/>
              <a:gd name="connsiteY723" fmla="*/ 483918 h 609800"/>
              <a:gd name="connsiteX724" fmla="*/ 8273949 w 12248682"/>
              <a:gd name="connsiteY724" fmla="*/ 518566 h 609800"/>
              <a:gd name="connsiteX725" fmla="*/ 8239301 w 12248682"/>
              <a:gd name="connsiteY725" fmla="*/ 483918 h 609800"/>
              <a:gd name="connsiteX726" fmla="*/ 8273949 w 12248682"/>
              <a:gd name="connsiteY726" fmla="*/ 449270 h 609800"/>
              <a:gd name="connsiteX727" fmla="*/ 6458393 w 12248682"/>
              <a:gd name="connsiteY727" fmla="*/ 449270 h 609800"/>
              <a:gd name="connsiteX728" fmla="*/ 6493041 w 12248682"/>
              <a:gd name="connsiteY728" fmla="*/ 483918 h 609800"/>
              <a:gd name="connsiteX729" fmla="*/ 6458393 w 12248682"/>
              <a:gd name="connsiteY729" fmla="*/ 518566 h 609800"/>
              <a:gd name="connsiteX730" fmla="*/ 6423745 w 12248682"/>
              <a:gd name="connsiteY730" fmla="*/ 483918 h 609800"/>
              <a:gd name="connsiteX731" fmla="*/ 6458393 w 12248682"/>
              <a:gd name="connsiteY731" fmla="*/ 449270 h 609800"/>
              <a:gd name="connsiteX732" fmla="*/ 5340416 w 12248682"/>
              <a:gd name="connsiteY732" fmla="*/ 449270 h 609800"/>
              <a:gd name="connsiteX733" fmla="*/ 5375064 w 12248682"/>
              <a:gd name="connsiteY733" fmla="*/ 483918 h 609800"/>
              <a:gd name="connsiteX734" fmla="*/ 5340416 w 12248682"/>
              <a:gd name="connsiteY734" fmla="*/ 518566 h 609800"/>
              <a:gd name="connsiteX735" fmla="*/ 5305769 w 12248682"/>
              <a:gd name="connsiteY735" fmla="*/ 483918 h 609800"/>
              <a:gd name="connsiteX736" fmla="*/ 5340416 w 12248682"/>
              <a:gd name="connsiteY736" fmla="*/ 449270 h 609800"/>
              <a:gd name="connsiteX737" fmla="*/ 4781429 w 12248682"/>
              <a:gd name="connsiteY737" fmla="*/ 449270 h 609800"/>
              <a:gd name="connsiteX738" fmla="*/ 4816075 w 12248682"/>
              <a:gd name="connsiteY738" fmla="*/ 483918 h 609800"/>
              <a:gd name="connsiteX739" fmla="*/ 4781429 w 12248682"/>
              <a:gd name="connsiteY739" fmla="*/ 518566 h 609800"/>
              <a:gd name="connsiteX740" fmla="*/ 4746781 w 12248682"/>
              <a:gd name="connsiteY740" fmla="*/ 483918 h 609800"/>
              <a:gd name="connsiteX741" fmla="*/ 4781429 w 12248682"/>
              <a:gd name="connsiteY741" fmla="*/ 449270 h 609800"/>
              <a:gd name="connsiteX742" fmla="*/ 4220129 w 12248682"/>
              <a:gd name="connsiteY742" fmla="*/ 449270 h 609800"/>
              <a:gd name="connsiteX743" fmla="*/ 4254779 w 12248682"/>
              <a:gd name="connsiteY743" fmla="*/ 483918 h 609800"/>
              <a:gd name="connsiteX744" fmla="*/ 4220129 w 12248682"/>
              <a:gd name="connsiteY744" fmla="*/ 518566 h 609800"/>
              <a:gd name="connsiteX745" fmla="*/ 4185482 w 12248682"/>
              <a:gd name="connsiteY745" fmla="*/ 483918 h 609800"/>
              <a:gd name="connsiteX746" fmla="*/ 4220129 w 12248682"/>
              <a:gd name="connsiteY746" fmla="*/ 449270 h 609800"/>
              <a:gd name="connsiteX747" fmla="*/ 3661142 w 12248682"/>
              <a:gd name="connsiteY747" fmla="*/ 449270 h 609800"/>
              <a:gd name="connsiteX748" fmla="*/ 3695791 w 12248682"/>
              <a:gd name="connsiteY748" fmla="*/ 483918 h 609800"/>
              <a:gd name="connsiteX749" fmla="*/ 3661142 w 12248682"/>
              <a:gd name="connsiteY749" fmla="*/ 518566 h 609800"/>
              <a:gd name="connsiteX750" fmla="*/ 3626494 w 12248682"/>
              <a:gd name="connsiteY750" fmla="*/ 483918 h 609800"/>
              <a:gd name="connsiteX751" fmla="*/ 3661142 w 12248682"/>
              <a:gd name="connsiteY751" fmla="*/ 449270 h 609800"/>
              <a:gd name="connsiteX752" fmla="*/ 1845585 w 12248682"/>
              <a:gd name="connsiteY752" fmla="*/ 449270 h 609800"/>
              <a:gd name="connsiteX753" fmla="*/ 1880233 w 12248682"/>
              <a:gd name="connsiteY753" fmla="*/ 483918 h 609800"/>
              <a:gd name="connsiteX754" fmla="*/ 1845585 w 12248682"/>
              <a:gd name="connsiteY754" fmla="*/ 518566 h 609800"/>
              <a:gd name="connsiteX755" fmla="*/ 1810937 w 12248682"/>
              <a:gd name="connsiteY755" fmla="*/ 483918 h 609800"/>
              <a:gd name="connsiteX756" fmla="*/ 1845585 w 12248682"/>
              <a:gd name="connsiteY756" fmla="*/ 449270 h 609800"/>
              <a:gd name="connsiteX757" fmla="*/ 727609 w 12248682"/>
              <a:gd name="connsiteY757" fmla="*/ 449270 h 609800"/>
              <a:gd name="connsiteX758" fmla="*/ 762257 w 12248682"/>
              <a:gd name="connsiteY758" fmla="*/ 483918 h 609800"/>
              <a:gd name="connsiteX759" fmla="*/ 727609 w 12248682"/>
              <a:gd name="connsiteY759" fmla="*/ 518566 h 609800"/>
              <a:gd name="connsiteX760" fmla="*/ 692961 w 12248682"/>
              <a:gd name="connsiteY760" fmla="*/ 483918 h 609800"/>
              <a:gd name="connsiteX761" fmla="*/ 727609 w 12248682"/>
              <a:gd name="connsiteY761" fmla="*/ 449270 h 609800"/>
              <a:gd name="connsiteX762" fmla="*/ 168621 w 12248682"/>
              <a:gd name="connsiteY762" fmla="*/ 449270 h 609800"/>
              <a:gd name="connsiteX763" fmla="*/ 203269 w 12248682"/>
              <a:gd name="connsiteY763" fmla="*/ 483918 h 609800"/>
              <a:gd name="connsiteX764" fmla="*/ 168621 w 12248682"/>
              <a:gd name="connsiteY764" fmla="*/ 518566 h 609800"/>
              <a:gd name="connsiteX765" fmla="*/ 133973 w 12248682"/>
              <a:gd name="connsiteY765" fmla="*/ 483918 h 609800"/>
              <a:gd name="connsiteX766" fmla="*/ 168621 w 12248682"/>
              <a:gd name="connsiteY766" fmla="*/ 449270 h 609800"/>
              <a:gd name="connsiteX767" fmla="*/ 10923972 w 12248682"/>
              <a:gd name="connsiteY767" fmla="*/ 443495 h 609800"/>
              <a:gd name="connsiteX768" fmla="*/ 10964394 w 12248682"/>
              <a:gd name="connsiteY768" fmla="*/ 483918 h 609800"/>
              <a:gd name="connsiteX769" fmla="*/ 10923972 w 12248682"/>
              <a:gd name="connsiteY769" fmla="*/ 524340 h 609800"/>
              <a:gd name="connsiteX770" fmla="*/ 10883549 w 12248682"/>
              <a:gd name="connsiteY770" fmla="*/ 483918 h 609800"/>
              <a:gd name="connsiteX771" fmla="*/ 10923972 w 12248682"/>
              <a:gd name="connsiteY771" fmla="*/ 443495 h 609800"/>
              <a:gd name="connsiteX772" fmla="*/ 9805996 w 12248682"/>
              <a:gd name="connsiteY772" fmla="*/ 443495 h 609800"/>
              <a:gd name="connsiteX773" fmla="*/ 9846418 w 12248682"/>
              <a:gd name="connsiteY773" fmla="*/ 483918 h 609800"/>
              <a:gd name="connsiteX774" fmla="*/ 9805996 w 12248682"/>
              <a:gd name="connsiteY774" fmla="*/ 524340 h 609800"/>
              <a:gd name="connsiteX775" fmla="*/ 9765573 w 12248682"/>
              <a:gd name="connsiteY775" fmla="*/ 483918 h 609800"/>
              <a:gd name="connsiteX776" fmla="*/ 9805996 w 12248682"/>
              <a:gd name="connsiteY776" fmla="*/ 443495 h 609800"/>
              <a:gd name="connsiteX777" fmla="*/ 9526502 w 12248682"/>
              <a:gd name="connsiteY777" fmla="*/ 443495 h 609800"/>
              <a:gd name="connsiteX778" fmla="*/ 9566924 w 12248682"/>
              <a:gd name="connsiteY778" fmla="*/ 483918 h 609800"/>
              <a:gd name="connsiteX779" fmla="*/ 9526502 w 12248682"/>
              <a:gd name="connsiteY779" fmla="*/ 524340 h 609800"/>
              <a:gd name="connsiteX780" fmla="*/ 9486079 w 12248682"/>
              <a:gd name="connsiteY780" fmla="*/ 483918 h 609800"/>
              <a:gd name="connsiteX781" fmla="*/ 9526502 w 12248682"/>
              <a:gd name="connsiteY781" fmla="*/ 443495 h 609800"/>
              <a:gd name="connsiteX782" fmla="*/ 8693190 w 12248682"/>
              <a:gd name="connsiteY782" fmla="*/ 443495 h 609800"/>
              <a:gd name="connsiteX783" fmla="*/ 8733613 w 12248682"/>
              <a:gd name="connsiteY783" fmla="*/ 483918 h 609800"/>
              <a:gd name="connsiteX784" fmla="*/ 8693190 w 12248682"/>
              <a:gd name="connsiteY784" fmla="*/ 524340 h 609800"/>
              <a:gd name="connsiteX785" fmla="*/ 8652767 w 12248682"/>
              <a:gd name="connsiteY785" fmla="*/ 483918 h 609800"/>
              <a:gd name="connsiteX786" fmla="*/ 8693190 w 12248682"/>
              <a:gd name="connsiteY786" fmla="*/ 443495 h 609800"/>
              <a:gd name="connsiteX787" fmla="*/ 8413696 w 12248682"/>
              <a:gd name="connsiteY787" fmla="*/ 443495 h 609800"/>
              <a:gd name="connsiteX788" fmla="*/ 8454118 w 12248682"/>
              <a:gd name="connsiteY788" fmla="*/ 483918 h 609800"/>
              <a:gd name="connsiteX789" fmla="*/ 8413696 w 12248682"/>
              <a:gd name="connsiteY789" fmla="*/ 524340 h 609800"/>
              <a:gd name="connsiteX790" fmla="*/ 8373274 w 12248682"/>
              <a:gd name="connsiteY790" fmla="*/ 483918 h 609800"/>
              <a:gd name="connsiteX791" fmla="*/ 8413696 w 12248682"/>
              <a:gd name="connsiteY791" fmla="*/ 443495 h 609800"/>
              <a:gd name="connsiteX792" fmla="*/ 6318647 w 12248682"/>
              <a:gd name="connsiteY792" fmla="*/ 443495 h 609800"/>
              <a:gd name="connsiteX793" fmla="*/ 6359068 w 12248682"/>
              <a:gd name="connsiteY793" fmla="*/ 483918 h 609800"/>
              <a:gd name="connsiteX794" fmla="*/ 6318647 w 12248682"/>
              <a:gd name="connsiteY794" fmla="*/ 524340 h 609800"/>
              <a:gd name="connsiteX795" fmla="*/ 6278223 w 12248682"/>
              <a:gd name="connsiteY795" fmla="*/ 483918 h 609800"/>
              <a:gd name="connsiteX796" fmla="*/ 6318647 w 12248682"/>
              <a:gd name="connsiteY796" fmla="*/ 443495 h 609800"/>
              <a:gd name="connsiteX797" fmla="*/ 5200670 w 12248682"/>
              <a:gd name="connsiteY797" fmla="*/ 443495 h 609800"/>
              <a:gd name="connsiteX798" fmla="*/ 5241093 w 12248682"/>
              <a:gd name="connsiteY798" fmla="*/ 483918 h 609800"/>
              <a:gd name="connsiteX799" fmla="*/ 5200670 w 12248682"/>
              <a:gd name="connsiteY799" fmla="*/ 524340 h 609800"/>
              <a:gd name="connsiteX800" fmla="*/ 5160247 w 12248682"/>
              <a:gd name="connsiteY800" fmla="*/ 483918 h 609800"/>
              <a:gd name="connsiteX801" fmla="*/ 5200670 w 12248682"/>
              <a:gd name="connsiteY801" fmla="*/ 443495 h 609800"/>
              <a:gd name="connsiteX802" fmla="*/ 4921176 w 12248682"/>
              <a:gd name="connsiteY802" fmla="*/ 443495 h 609800"/>
              <a:gd name="connsiteX803" fmla="*/ 4961598 w 12248682"/>
              <a:gd name="connsiteY803" fmla="*/ 483918 h 609800"/>
              <a:gd name="connsiteX804" fmla="*/ 4921176 w 12248682"/>
              <a:gd name="connsiteY804" fmla="*/ 524340 h 609800"/>
              <a:gd name="connsiteX805" fmla="*/ 4880752 w 12248682"/>
              <a:gd name="connsiteY805" fmla="*/ 483918 h 609800"/>
              <a:gd name="connsiteX806" fmla="*/ 4921176 w 12248682"/>
              <a:gd name="connsiteY806" fmla="*/ 443495 h 609800"/>
              <a:gd name="connsiteX807" fmla="*/ 4080383 w 12248682"/>
              <a:gd name="connsiteY807" fmla="*/ 443495 h 609800"/>
              <a:gd name="connsiteX808" fmla="*/ 4120806 w 12248682"/>
              <a:gd name="connsiteY808" fmla="*/ 483918 h 609800"/>
              <a:gd name="connsiteX809" fmla="*/ 4080383 w 12248682"/>
              <a:gd name="connsiteY809" fmla="*/ 524340 h 609800"/>
              <a:gd name="connsiteX810" fmla="*/ 4039961 w 12248682"/>
              <a:gd name="connsiteY810" fmla="*/ 483918 h 609800"/>
              <a:gd name="connsiteX811" fmla="*/ 4080383 w 12248682"/>
              <a:gd name="connsiteY811" fmla="*/ 443495 h 609800"/>
              <a:gd name="connsiteX812" fmla="*/ 3800889 w 12248682"/>
              <a:gd name="connsiteY812" fmla="*/ 443495 h 609800"/>
              <a:gd name="connsiteX813" fmla="*/ 3841311 w 12248682"/>
              <a:gd name="connsiteY813" fmla="*/ 483918 h 609800"/>
              <a:gd name="connsiteX814" fmla="*/ 3800889 w 12248682"/>
              <a:gd name="connsiteY814" fmla="*/ 524340 h 609800"/>
              <a:gd name="connsiteX815" fmla="*/ 3760466 w 12248682"/>
              <a:gd name="connsiteY815" fmla="*/ 483918 h 609800"/>
              <a:gd name="connsiteX816" fmla="*/ 3800889 w 12248682"/>
              <a:gd name="connsiteY816" fmla="*/ 443495 h 609800"/>
              <a:gd name="connsiteX817" fmla="*/ 1705839 w 12248682"/>
              <a:gd name="connsiteY817" fmla="*/ 443495 h 609800"/>
              <a:gd name="connsiteX818" fmla="*/ 1746261 w 12248682"/>
              <a:gd name="connsiteY818" fmla="*/ 483918 h 609800"/>
              <a:gd name="connsiteX819" fmla="*/ 1705839 w 12248682"/>
              <a:gd name="connsiteY819" fmla="*/ 524340 h 609800"/>
              <a:gd name="connsiteX820" fmla="*/ 1665415 w 12248682"/>
              <a:gd name="connsiteY820" fmla="*/ 483918 h 609800"/>
              <a:gd name="connsiteX821" fmla="*/ 1705839 w 12248682"/>
              <a:gd name="connsiteY821" fmla="*/ 443495 h 609800"/>
              <a:gd name="connsiteX822" fmla="*/ 587862 w 12248682"/>
              <a:gd name="connsiteY822" fmla="*/ 443495 h 609800"/>
              <a:gd name="connsiteX823" fmla="*/ 628284 w 12248682"/>
              <a:gd name="connsiteY823" fmla="*/ 483918 h 609800"/>
              <a:gd name="connsiteX824" fmla="*/ 587862 w 12248682"/>
              <a:gd name="connsiteY824" fmla="*/ 524340 h 609800"/>
              <a:gd name="connsiteX825" fmla="*/ 547439 w 12248682"/>
              <a:gd name="connsiteY825" fmla="*/ 483918 h 609800"/>
              <a:gd name="connsiteX826" fmla="*/ 587862 w 12248682"/>
              <a:gd name="connsiteY826" fmla="*/ 443495 h 609800"/>
              <a:gd name="connsiteX827" fmla="*/ 308368 w 12248682"/>
              <a:gd name="connsiteY827" fmla="*/ 443495 h 609800"/>
              <a:gd name="connsiteX828" fmla="*/ 348790 w 12248682"/>
              <a:gd name="connsiteY828" fmla="*/ 483918 h 609800"/>
              <a:gd name="connsiteX829" fmla="*/ 308368 w 12248682"/>
              <a:gd name="connsiteY829" fmla="*/ 524340 h 609800"/>
              <a:gd name="connsiteX830" fmla="*/ 267945 w 12248682"/>
              <a:gd name="connsiteY830" fmla="*/ 483918 h 609800"/>
              <a:gd name="connsiteX831" fmla="*/ 308368 w 12248682"/>
              <a:gd name="connsiteY831" fmla="*/ 443495 h 609800"/>
              <a:gd name="connsiteX832" fmla="*/ 10784225 w 12248682"/>
              <a:gd name="connsiteY832" fmla="*/ 433101 h 609800"/>
              <a:gd name="connsiteX833" fmla="*/ 10835042 w 12248682"/>
              <a:gd name="connsiteY833" fmla="*/ 483918 h 609800"/>
              <a:gd name="connsiteX834" fmla="*/ 10784225 w 12248682"/>
              <a:gd name="connsiteY834" fmla="*/ 534735 h 609800"/>
              <a:gd name="connsiteX835" fmla="*/ 10733408 w 12248682"/>
              <a:gd name="connsiteY835" fmla="*/ 483918 h 609800"/>
              <a:gd name="connsiteX836" fmla="*/ 10784225 w 12248682"/>
              <a:gd name="connsiteY836" fmla="*/ 433101 h 609800"/>
              <a:gd name="connsiteX837" fmla="*/ 9666248 w 12248682"/>
              <a:gd name="connsiteY837" fmla="*/ 433101 h 609800"/>
              <a:gd name="connsiteX838" fmla="*/ 9717066 w 12248682"/>
              <a:gd name="connsiteY838" fmla="*/ 483918 h 609800"/>
              <a:gd name="connsiteX839" fmla="*/ 9666248 w 12248682"/>
              <a:gd name="connsiteY839" fmla="*/ 534735 h 609800"/>
              <a:gd name="connsiteX840" fmla="*/ 9615431 w 12248682"/>
              <a:gd name="connsiteY840" fmla="*/ 483918 h 609800"/>
              <a:gd name="connsiteX841" fmla="*/ 9666248 w 12248682"/>
              <a:gd name="connsiteY841" fmla="*/ 433101 h 609800"/>
              <a:gd name="connsiteX842" fmla="*/ 8553443 w 12248682"/>
              <a:gd name="connsiteY842" fmla="*/ 433101 h 609800"/>
              <a:gd name="connsiteX843" fmla="*/ 8604260 w 12248682"/>
              <a:gd name="connsiteY843" fmla="*/ 483918 h 609800"/>
              <a:gd name="connsiteX844" fmla="*/ 8553443 w 12248682"/>
              <a:gd name="connsiteY844" fmla="*/ 534735 h 609800"/>
              <a:gd name="connsiteX845" fmla="*/ 8502626 w 12248682"/>
              <a:gd name="connsiteY845" fmla="*/ 483918 h 609800"/>
              <a:gd name="connsiteX846" fmla="*/ 8553443 w 12248682"/>
              <a:gd name="connsiteY846" fmla="*/ 433101 h 609800"/>
              <a:gd name="connsiteX847" fmla="*/ 6178898 w 12248682"/>
              <a:gd name="connsiteY847" fmla="*/ 433101 h 609800"/>
              <a:gd name="connsiteX848" fmla="*/ 6229715 w 12248682"/>
              <a:gd name="connsiteY848" fmla="*/ 483918 h 609800"/>
              <a:gd name="connsiteX849" fmla="*/ 6178898 w 12248682"/>
              <a:gd name="connsiteY849" fmla="*/ 534735 h 609800"/>
              <a:gd name="connsiteX850" fmla="*/ 6128081 w 12248682"/>
              <a:gd name="connsiteY850" fmla="*/ 483918 h 609800"/>
              <a:gd name="connsiteX851" fmla="*/ 6178898 w 12248682"/>
              <a:gd name="connsiteY851" fmla="*/ 433101 h 609800"/>
              <a:gd name="connsiteX852" fmla="*/ 5060922 w 12248682"/>
              <a:gd name="connsiteY852" fmla="*/ 433101 h 609800"/>
              <a:gd name="connsiteX853" fmla="*/ 5111740 w 12248682"/>
              <a:gd name="connsiteY853" fmla="*/ 483918 h 609800"/>
              <a:gd name="connsiteX854" fmla="*/ 5060922 w 12248682"/>
              <a:gd name="connsiteY854" fmla="*/ 534735 h 609800"/>
              <a:gd name="connsiteX855" fmla="*/ 5010105 w 12248682"/>
              <a:gd name="connsiteY855" fmla="*/ 483918 h 609800"/>
              <a:gd name="connsiteX856" fmla="*/ 5060922 w 12248682"/>
              <a:gd name="connsiteY856" fmla="*/ 433101 h 609800"/>
              <a:gd name="connsiteX857" fmla="*/ 3940636 w 12248682"/>
              <a:gd name="connsiteY857" fmla="*/ 433101 h 609800"/>
              <a:gd name="connsiteX858" fmla="*/ 3991453 w 12248682"/>
              <a:gd name="connsiteY858" fmla="*/ 483918 h 609800"/>
              <a:gd name="connsiteX859" fmla="*/ 3940636 w 12248682"/>
              <a:gd name="connsiteY859" fmla="*/ 534735 h 609800"/>
              <a:gd name="connsiteX860" fmla="*/ 3889819 w 12248682"/>
              <a:gd name="connsiteY860" fmla="*/ 483918 h 609800"/>
              <a:gd name="connsiteX861" fmla="*/ 3940636 w 12248682"/>
              <a:gd name="connsiteY861" fmla="*/ 433101 h 609800"/>
              <a:gd name="connsiteX862" fmla="*/ 1566091 w 12248682"/>
              <a:gd name="connsiteY862" fmla="*/ 433101 h 609800"/>
              <a:gd name="connsiteX863" fmla="*/ 1616908 w 12248682"/>
              <a:gd name="connsiteY863" fmla="*/ 483918 h 609800"/>
              <a:gd name="connsiteX864" fmla="*/ 1566091 w 12248682"/>
              <a:gd name="connsiteY864" fmla="*/ 534735 h 609800"/>
              <a:gd name="connsiteX865" fmla="*/ 1515274 w 12248682"/>
              <a:gd name="connsiteY865" fmla="*/ 483918 h 609800"/>
              <a:gd name="connsiteX866" fmla="*/ 1566091 w 12248682"/>
              <a:gd name="connsiteY866" fmla="*/ 433101 h 609800"/>
              <a:gd name="connsiteX867" fmla="*/ 448115 w 12248682"/>
              <a:gd name="connsiteY867" fmla="*/ 433101 h 609800"/>
              <a:gd name="connsiteX868" fmla="*/ 498932 w 12248682"/>
              <a:gd name="connsiteY868" fmla="*/ 483918 h 609800"/>
              <a:gd name="connsiteX869" fmla="*/ 448115 w 12248682"/>
              <a:gd name="connsiteY869" fmla="*/ 534735 h 609800"/>
              <a:gd name="connsiteX870" fmla="*/ 397298 w 12248682"/>
              <a:gd name="connsiteY870" fmla="*/ 483918 h 609800"/>
              <a:gd name="connsiteX871" fmla="*/ 448115 w 12248682"/>
              <a:gd name="connsiteY871" fmla="*/ 433101 h 609800"/>
              <a:gd name="connsiteX872" fmla="*/ 12210569 w 12248682"/>
              <a:gd name="connsiteY872" fmla="*/ 319917 h 609800"/>
              <a:gd name="connsiteX873" fmla="*/ 12231358 w 12248682"/>
              <a:gd name="connsiteY873" fmla="*/ 340706 h 609800"/>
              <a:gd name="connsiteX874" fmla="*/ 12210569 w 12248682"/>
              <a:gd name="connsiteY874" fmla="*/ 361495 h 609800"/>
              <a:gd name="connsiteX875" fmla="*/ 12189780 w 12248682"/>
              <a:gd name="connsiteY875" fmla="*/ 340706 h 609800"/>
              <a:gd name="connsiteX876" fmla="*/ 12210569 w 12248682"/>
              <a:gd name="connsiteY876" fmla="*/ 319917 h 609800"/>
              <a:gd name="connsiteX877" fmla="*/ 12071977 w 12248682"/>
              <a:gd name="connsiteY877" fmla="*/ 319917 h 609800"/>
              <a:gd name="connsiteX878" fmla="*/ 12092766 w 12248682"/>
              <a:gd name="connsiteY878" fmla="*/ 340706 h 609800"/>
              <a:gd name="connsiteX879" fmla="*/ 12071977 w 12248682"/>
              <a:gd name="connsiteY879" fmla="*/ 361495 h 609800"/>
              <a:gd name="connsiteX880" fmla="*/ 12051188 w 12248682"/>
              <a:gd name="connsiteY880" fmla="*/ 340706 h 609800"/>
              <a:gd name="connsiteX881" fmla="*/ 12071977 w 12248682"/>
              <a:gd name="connsiteY881" fmla="*/ 319917 h 609800"/>
              <a:gd name="connsiteX882" fmla="*/ 11934539 w 12248682"/>
              <a:gd name="connsiteY882" fmla="*/ 319917 h 609800"/>
              <a:gd name="connsiteX883" fmla="*/ 11955328 w 12248682"/>
              <a:gd name="connsiteY883" fmla="*/ 340706 h 609800"/>
              <a:gd name="connsiteX884" fmla="*/ 11934539 w 12248682"/>
              <a:gd name="connsiteY884" fmla="*/ 361495 h 609800"/>
              <a:gd name="connsiteX885" fmla="*/ 11913750 w 12248682"/>
              <a:gd name="connsiteY885" fmla="*/ 340706 h 609800"/>
              <a:gd name="connsiteX886" fmla="*/ 11934539 w 12248682"/>
              <a:gd name="connsiteY886" fmla="*/ 319917 h 609800"/>
              <a:gd name="connsiteX887" fmla="*/ 11797103 w 12248682"/>
              <a:gd name="connsiteY887" fmla="*/ 319917 h 609800"/>
              <a:gd name="connsiteX888" fmla="*/ 11817892 w 12248682"/>
              <a:gd name="connsiteY888" fmla="*/ 340706 h 609800"/>
              <a:gd name="connsiteX889" fmla="*/ 11797103 w 12248682"/>
              <a:gd name="connsiteY889" fmla="*/ 361495 h 609800"/>
              <a:gd name="connsiteX890" fmla="*/ 11776314 w 12248682"/>
              <a:gd name="connsiteY890" fmla="*/ 340706 h 609800"/>
              <a:gd name="connsiteX891" fmla="*/ 11797103 w 12248682"/>
              <a:gd name="connsiteY891" fmla="*/ 319917 h 609800"/>
              <a:gd name="connsiteX892" fmla="*/ 10645633 w 12248682"/>
              <a:gd name="connsiteY892" fmla="*/ 319917 h 609800"/>
              <a:gd name="connsiteX893" fmla="*/ 10666422 w 12248682"/>
              <a:gd name="connsiteY893" fmla="*/ 340706 h 609800"/>
              <a:gd name="connsiteX894" fmla="*/ 10645633 w 12248682"/>
              <a:gd name="connsiteY894" fmla="*/ 361495 h 609800"/>
              <a:gd name="connsiteX895" fmla="*/ 10624844 w 12248682"/>
              <a:gd name="connsiteY895" fmla="*/ 340706 h 609800"/>
              <a:gd name="connsiteX896" fmla="*/ 10645633 w 12248682"/>
              <a:gd name="connsiteY896" fmla="*/ 319917 h 609800"/>
              <a:gd name="connsiteX897" fmla="*/ 9247008 w 12248682"/>
              <a:gd name="connsiteY897" fmla="*/ 319917 h 609800"/>
              <a:gd name="connsiteX898" fmla="*/ 9267797 w 12248682"/>
              <a:gd name="connsiteY898" fmla="*/ 340706 h 609800"/>
              <a:gd name="connsiteX899" fmla="*/ 9247008 w 12248682"/>
              <a:gd name="connsiteY899" fmla="*/ 361495 h 609800"/>
              <a:gd name="connsiteX900" fmla="*/ 9226219 w 12248682"/>
              <a:gd name="connsiteY900" fmla="*/ 340706 h 609800"/>
              <a:gd name="connsiteX901" fmla="*/ 9247008 w 12248682"/>
              <a:gd name="connsiteY901" fmla="*/ 319917 h 609800"/>
              <a:gd name="connsiteX902" fmla="*/ 8148062 w 12248682"/>
              <a:gd name="connsiteY902" fmla="*/ 319917 h 609800"/>
              <a:gd name="connsiteX903" fmla="*/ 8168851 w 12248682"/>
              <a:gd name="connsiteY903" fmla="*/ 340706 h 609800"/>
              <a:gd name="connsiteX904" fmla="*/ 8148062 w 12248682"/>
              <a:gd name="connsiteY904" fmla="*/ 361495 h 609800"/>
              <a:gd name="connsiteX905" fmla="*/ 8127274 w 12248682"/>
              <a:gd name="connsiteY905" fmla="*/ 340706 h 609800"/>
              <a:gd name="connsiteX906" fmla="*/ 8148062 w 12248682"/>
              <a:gd name="connsiteY906" fmla="*/ 319917 h 609800"/>
              <a:gd name="connsiteX907" fmla="*/ 8009471 w 12248682"/>
              <a:gd name="connsiteY907" fmla="*/ 319917 h 609800"/>
              <a:gd name="connsiteX908" fmla="*/ 8030259 w 12248682"/>
              <a:gd name="connsiteY908" fmla="*/ 340706 h 609800"/>
              <a:gd name="connsiteX909" fmla="*/ 8009471 w 12248682"/>
              <a:gd name="connsiteY909" fmla="*/ 361495 h 609800"/>
              <a:gd name="connsiteX910" fmla="*/ 7988682 w 12248682"/>
              <a:gd name="connsiteY910" fmla="*/ 340706 h 609800"/>
              <a:gd name="connsiteX911" fmla="*/ 8009471 w 12248682"/>
              <a:gd name="connsiteY911" fmla="*/ 319917 h 609800"/>
              <a:gd name="connsiteX912" fmla="*/ 7872031 w 12248682"/>
              <a:gd name="connsiteY912" fmla="*/ 319917 h 609800"/>
              <a:gd name="connsiteX913" fmla="*/ 7892822 w 12248682"/>
              <a:gd name="connsiteY913" fmla="*/ 340706 h 609800"/>
              <a:gd name="connsiteX914" fmla="*/ 7872031 w 12248682"/>
              <a:gd name="connsiteY914" fmla="*/ 361495 h 609800"/>
              <a:gd name="connsiteX915" fmla="*/ 7851244 w 12248682"/>
              <a:gd name="connsiteY915" fmla="*/ 340706 h 609800"/>
              <a:gd name="connsiteX916" fmla="*/ 7872031 w 12248682"/>
              <a:gd name="connsiteY916" fmla="*/ 319917 h 609800"/>
              <a:gd name="connsiteX917" fmla="*/ 7713807 w 12248682"/>
              <a:gd name="connsiteY917" fmla="*/ 319917 h 609800"/>
              <a:gd name="connsiteX918" fmla="*/ 7734596 w 12248682"/>
              <a:gd name="connsiteY918" fmla="*/ 340706 h 609800"/>
              <a:gd name="connsiteX919" fmla="*/ 7713807 w 12248682"/>
              <a:gd name="connsiteY919" fmla="*/ 361495 h 609800"/>
              <a:gd name="connsiteX920" fmla="*/ 7693019 w 12248682"/>
              <a:gd name="connsiteY920" fmla="*/ 340706 h 609800"/>
              <a:gd name="connsiteX921" fmla="*/ 7713807 w 12248682"/>
              <a:gd name="connsiteY921" fmla="*/ 319917 h 609800"/>
              <a:gd name="connsiteX922" fmla="*/ 7605244 w 12248682"/>
              <a:gd name="connsiteY922" fmla="*/ 319917 h 609800"/>
              <a:gd name="connsiteX923" fmla="*/ 7626031 w 12248682"/>
              <a:gd name="connsiteY923" fmla="*/ 340706 h 609800"/>
              <a:gd name="connsiteX924" fmla="*/ 7605244 w 12248682"/>
              <a:gd name="connsiteY924" fmla="*/ 361495 h 609800"/>
              <a:gd name="connsiteX925" fmla="*/ 7584454 w 12248682"/>
              <a:gd name="connsiteY925" fmla="*/ 340706 h 609800"/>
              <a:gd name="connsiteX926" fmla="*/ 7605244 w 12248682"/>
              <a:gd name="connsiteY926" fmla="*/ 319917 h 609800"/>
              <a:gd name="connsiteX927" fmla="*/ 7466651 w 12248682"/>
              <a:gd name="connsiteY927" fmla="*/ 319917 h 609800"/>
              <a:gd name="connsiteX928" fmla="*/ 7487439 w 12248682"/>
              <a:gd name="connsiteY928" fmla="*/ 340706 h 609800"/>
              <a:gd name="connsiteX929" fmla="*/ 7466651 w 12248682"/>
              <a:gd name="connsiteY929" fmla="*/ 361495 h 609800"/>
              <a:gd name="connsiteX930" fmla="*/ 7445863 w 12248682"/>
              <a:gd name="connsiteY930" fmla="*/ 340706 h 609800"/>
              <a:gd name="connsiteX931" fmla="*/ 7466651 w 12248682"/>
              <a:gd name="connsiteY931" fmla="*/ 319917 h 609800"/>
              <a:gd name="connsiteX932" fmla="*/ 7329213 w 12248682"/>
              <a:gd name="connsiteY932" fmla="*/ 319917 h 609800"/>
              <a:gd name="connsiteX933" fmla="*/ 7350002 w 12248682"/>
              <a:gd name="connsiteY933" fmla="*/ 340706 h 609800"/>
              <a:gd name="connsiteX934" fmla="*/ 7329213 w 12248682"/>
              <a:gd name="connsiteY934" fmla="*/ 361495 h 609800"/>
              <a:gd name="connsiteX935" fmla="*/ 7308425 w 12248682"/>
              <a:gd name="connsiteY935" fmla="*/ 340706 h 609800"/>
              <a:gd name="connsiteX936" fmla="*/ 7329213 w 12248682"/>
              <a:gd name="connsiteY936" fmla="*/ 319917 h 609800"/>
              <a:gd name="connsiteX937" fmla="*/ 7191777 w 12248682"/>
              <a:gd name="connsiteY937" fmla="*/ 319917 h 609800"/>
              <a:gd name="connsiteX938" fmla="*/ 7212566 w 12248682"/>
              <a:gd name="connsiteY938" fmla="*/ 340706 h 609800"/>
              <a:gd name="connsiteX939" fmla="*/ 7191777 w 12248682"/>
              <a:gd name="connsiteY939" fmla="*/ 361495 h 609800"/>
              <a:gd name="connsiteX940" fmla="*/ 7170987 w 12248682"/>
              <a:gd name="connsiteY940" fmla="*/ 340706 h 609800"/>
              <a:gd name="connsiteX941" fmla="*/ 7191777 w 12248682"/>
              <a:gd name="connsiteY941" fmla="*/ 319917 h 609800"/>
              <a:gd name="connsiteX942" fmla="*/ 6040307 w 12248682"/>
              <a:gd name="connsiteY942" fmla="*/ 319917 h 609800"/>
              <a:gd name="connsiteX943" fmla="*/ 6061095 w 12248682"/>
              <a:gd name="connsiteY943" fmla="*/ 340706 h 609800"/>
              <a:gd name="connsiteX944" fmla="*/ 6040307 w 12248682"/>
              <a:gd name="connsiteY944" fmla="*/ 361495 h 609800"/>
              <a:gd name="connsiteX945" fmla="*/ 6019518 w 12248682"/>
              <a:gd name="connsiteY945" fmla="*/ 340706 h 609800"/>
              <a:gd name="connsiteX946" fmla="*/ 6040307 w 12248682"/>
              <a:gd name="connsiteY946" fmla="*/ 319917 h 609800"/>
              <a:gd name="connsiteX947" fmla="*/ 4641682 w 12248682"/>
              <a:gd name="connsiteY947" fmla="*/ 319917 h 609800"/>
              <a:gd name="connsiteX948" fmla="*/ 4662472 w 12248682"/>
              <a:gd name="connsiteY948" fmla="*/ 340706 h 609800"/>
              <a:gd name="connsiteX949" fmla="*/ 4641682 w 12248682"/>
              <a:gd name="connsiteY949" fmla="*/ 361495 h 609800"/>
              <a:gd name="connsiteX950" fmla="*/ 4620893 w 12248682"/>
              <a:gd name="connsiteY950" fmla="*/ 340706 h 609800"/>
              <a:gd name="connsiteX951" fmla="*/ 4641682 w 12248682"/>
              <a:gd name="connsiteY951" fmla="*/ 319917 h 609800"/>
              <a:gd name="connsiteX952" fmla="*/ 3535254 w 12248682"/>
              <a:gd name="connsiteY952" fmla="*/ 319917 h 609800"/>
              <a:gd name="connsiteX953" fmla="*/ 3556043 w 12248682"/>
              <a:gd name="connsiteY953" fmla="*/ 340706 h 609800"/>
              <a:gd name="connsiteX954" fmla="*/ 3535254 w 12248682"/>
              <a:gd name="connsiteY954" fmla="*/ 361495 h 609800"/>
              <a:gd name="connsiteX955" fmla="*/ 3514466 w 12248682"/>
              <a:gd name="connsiteY955" fmla="*/ 340706 h 609800"/>
              <a:gd name="connsiteX956" fmla="*/ 3535254 w 12248682"/>
              <a:gd name="connsiteY956" fmla="*/ 319917 h 609800"/>
              <a:gd name="connsiteX957" fmla="*/ 3396662 w 12248682"/>
              <a:gd name="connsiteY957" fmla="*/ 319917 h 609800"/>
              <a:gd name="connsiteX958" fmla="*/ 3417451 w 12248682"/>
              <a:gd name="connsiteY958" fmla="*/ 340706 h 609800"/>
              <a:gd name="connsiteX959" fmla="*/ 3396662 w 12248682"/>
              <a:gd name="connsiteY959" fmla="*/ 361495 h 609800"/>
              <a:gd name="connsiteX960" fmla="*/ 3375874 w 12248682"/>
              <a:gd name="connsiteY960" fmla="*/ 340706 h 609800"/>
              <a:gd name="connsiteX961" fmla="*/ 3396662 w 12248682"/>
              <a:gd name="connsiteY961" fmla="*/ 319917 h 609800"/>
              <a:gd name="connsiteX962" fmla="*/ 3259224 w 12248682"/>
              <a:gd name="connsiteY962" fmla="*/ 319917 h 609800"/>
              <a:gd name="connsiteX963" fmla="*/ 3280013 w 12248682"/>
              <a:gd name="connsiteY963" fmla="*/ 340706 h 609800"/>
              <a:gd name="connsiteX964" fmla="*/ 3259224 w 12248682"/>
              <a:gd name="connsiteY964" fmla="*/ 361495 h 609800"/>
              <a:gd name="connsiteX965" fmla="*/ 3238436 w 12248682"/>
              <a:gd name="connsiteY965" fmla="*/ 340706 h 609800"/>
              <a:gd name="connsiteX966" fmla="*/ 3259224 w 12248682"/>
              <a:gd name="connsiteY966" fmla="*/ 319917 h 609800"/>
              <a:gd name="connsiteX967" fmla="*/ 3100999 w 12248682"/>
              <a:gd name="connsiteY967" fmla="*/ 319917 h 609800"/>
              <a:gd name="connsiteX968" fmla="*/ 3121789 w 12248682"/>
              <a:gd name="connsiteY968" fmla="*/ 340706 h 609800"/>
              <a:gd name="connsiteX969" fmla="*/ 3100999 w 12248682"/>
              <a:gd name="connsiteY969" fmla="*/ 361495 h 609800"/>
              <a:gd name="connsiteX970" fmla="*/ 3080212 w 12248682"/>
              <a:gd name="connsiteY970" fmla="*/ 340706 h 609800"/>
              <a:gd name="connsiteX971" fmla="*/ 3100999 w 12248682"/>
              <a:gd name="connsiteY971" fmla="*/ 319917 h 609800"/>
              <a:gd name="connsiteX972" fmla="*/ 2992435 w 12248682"/>
              <a:gd name="connsiteY972" fmla="*/ 319917 h 609800"/>
              <a:gd name="connsiteX973" fmla="*/ 3013224 w 12248682"/>
              <a:gd name="connsiteY973" fmla="*/ 340706 h 609800"/>
              <a:gd name="connsiteX974" fmla="*/ 2992435 w 12248682"/>
              <a:gd name="connsiteY974" fmla="*/ 361495 h 609800"/>
              <a:gd name="connsiteX975" fmla="*/ 2971647 w 12248682"/>
              <a:gd name="connsiteY975" fmla="*/ 340706 h 609800"/>
              <a:gd name="connsiteX976" fmla="*/ 2992435 w 12248682"/>
              <a:gd name="connsiteY976" fmla="*/ 319917 h 609800"/>
              <a:gd name="connsiteX977" fmla="*/ 2853843 w 12248682"/>
              <a:gd name="connsiteY977" fmla="*/ 319917 h 609800"/>
              <a:gd name="connsiteX978" fmla="*/ 2874633 w 12248682"/>
              <a:gd name="connsiteY978" fmla="*/ 340706 h 609800"/>
              <a:gd name="connsiteX979" fmla="*/ 2853843 w 12248682"/>
              <a:gd name="connsiteY979" fmla="*/ 361495 h 609800"/>
              <a:gd name="connsiteX980" fmla="*/ 2833056 w 12248682"/>
              <a:gd name="connsiteY980" fmla="*/ 340706 h 609800"/>
              <a:gd name="connsiteX981" fmla="*/ 2853843 w 12248682"/>
              <a:gd name="connsiteY981" fmla="*/ 319917 h 609800"/>
              <a:gd name="connsiteX982" fmla="*/ 2716405 w 12248682"/>
              <a:gd name="connsiteY982" fmla="*/ 319917 h 609800"/>
              <a:gd name="connsiteX983" fmla="*/ 2737195 w 12248682"/>
              <a:gd name="connsiteY983" fmla="*/ 340706 h 609800"/>
              <a:gd name="connsiteX984" fmla="*/ 2716405 w 12248682"/>
              <a:gd name="connsiteY984" fmla="*/ 361495 h 609800"/>
              <a:gd name="connsiteX985" fmla="*/ 2695618 w 12248682"/>
              <a:gd name="connsiteY985" fmla="*/ 340706 h 609800"/>
              <a:gd name="connsiteX986" fmla="*/ 2716405 w 12248682"/>
              <a:gd name="connsiteY986" fmla="*/ 319917 h 609800"/>
              <a:gd name="connsiteX987" fmla="*/ 2578969 w 12248682"/>
              <a:gd name="connsiteY987" fmla="*/ 319917 h 609800"/>
              <a:gd name="connsiteX988" fmla="*/ 2599758 w 12248682"/>
              <a:gd name="connsiteY988" fmla="*/ 340706 h 609800"/>
              <a:gd name="connsiteX989" fmla="*/ 2578969 w 12248682"/>
              <a:gd name="connsiteY989" fmla="*/ 361495 h 609800"/>
              <a:gd name="connsiteX990" fmla="*/ 2558180 w 12248682"/>
              <a:gd name="connsiteY990" fmla="*/ 340706 h 609800"/>
              <a:gd name="connsiteX991" fmla="*/ 2578969 w 12248682"/>
              <a:gd name="connsiteY991" fmla="*/ 319917 h 609800"/>
              <a:gd name="connsiteX992" fmla="*/ 1427499 w 12248682"/>
              <a:gd name="connsiteY992" fmla="*/ 319917 h 609800"/>
              <a:gd name="connsiteX993" fmla="*/ 1448288 w 12248682"/>
              <a:gd name="connsiteY993" fmla="*/ 340706 h 609800"/>
              <a:gd name="connsiteX994" fmla="*/ 1427499 w 12248682"/>
              <a:gd name="connsiteY994" fmla="*/ 361495 h 609800"/>
              <a:gd name="connsiteX995" fmla="*/ 1406710 w 12248682"/>
              <a:gd name="connsiteY995" fmla="*/ 340706 h 609800"/>
              <a:gd name="connsiteX996" fmla="*/ 1427499 w 12248682"/>
              <a:gd name="connsiteY996" fmla="*/ 319917 h 609800"/>
              <a:gd name="connsiteX997" fmla="*/ 28874 w 12248682"/>
              <a:gd name="connsiteY997" fmla="*/ 319917 h 609800"/>
              <a:gd name="connsiteX998" fmla="*/ 49663 w 12248682"/>
              <a:gd name="connsiteY998" fmla="*/ 340706 h 609800"/>
              <a:gd name="connsiteX999" fmla="*/ 28874 w 12248682"/>
              <a:gd name="connsiteY999" fmla="*/ 361495 h 609800"/>
              <a:gd name="connsiteX1000" fmla="*/ 8085 w 12248682"/>
              <a:gd name="connsiteY1000" fmla="*/ 340706 h 609800"/>
              <a:gd name="connsiteX1001" fmla="*/ 28874 w 12248682"/>
              <a:gd name="connsiteY1001" fmla="*/ 319917 h 609800"/>
              <a:gd name="connsiteX1002" fmla="*/ 11658510 w 12248682"/>
              <a:gd name="connsiteY1002" fmla="*/ 316452 h 609800"/>
              <a:gd name="connsiteX1003" fmla="*/ 11681609 w 12248682"/>
              <a:gd name="connsiteY1003" fmla="*/ 339551 h 609800"/>
              <a:gd name="connsiteX1004" fmla="*/ 11658510 w 12248682"/>
              <a:gd name="connsiteY1004" fmla="*/ 362649 h 609800"/>
              <a:gd name="connsiteX1005" fmla="*/ 11635412 w 12248682"/>
              <a:gd name="connsiteY1005" fmla="*/ 339551 h 609800"/>
              <a:gd name="connsiteX1006" fmla="*/ 11658510 w 12248682"/>
              <a:gd name="connsiteY1006" fmla="*/ 316452 h 609800"/>
              <a:gd name="connsiteX1007" fmla="*/ 10508196 w 12248682"/>
              <a:gd name="connsiteY1007" fmla="*/ 316452 h 609800"/>
              <a:gd name="connsiteX1008" fmla="*/ 10531295 w 12248682"/>
              <a:gd name="connsiteY1008" fmla="*/ 339551 h 609800"/>
              <a:gd name="connsiteX1009" fmla="*/ 10508196 w 12248682"/>
              <a:gd name="connsiteY1009" fmla="*/ 362649 h 609800"/>
              <a:gd name="connsiteX1010" fmla="*/ 10485098 w 12248682"/>
              <a:gd name="connsiteY1010" fmla="*/ 339551 h 609800"/>
              <a:gd name="connsiteX1011" fmla="*/ 10508196 w 12248682"/>
              <a:gd name="connsiteY1011" fmla="*/ 316452 h 609800"/>
              <a:gd name="connsiteX1012" fmla="*/ 9405233 w 12248682"/>
              <a:gd name="connsiteY1012" fmla="*/ 316452 h 609800"/>
              <a:gd name="connsiteX1013" fmla="*/ 9428332 w 12248682"/>
              <a:gd name="connsiteY1013" fmla="*/ 339551 h 609800"/>
              <a:gd name="connsiteX1014" fmla="*/ 9405233 w 12248682"/>
              <a:gd name="connsiteY1014" fmla="*/ 362649 h 609800"/>
              <a:gd name="connsiteX1015" fmla="*/ 9382135 w 12248682"/>
              <a:gd name="connsiteY1015" fmla="*/ 339551 h 609800"/>
              <a:gd name="connsiteX1016" fmla="*/ 9405233 w 12248682"/>
              <a:gd name="connsiteY1016" fmla="*/ 316452 h 609800"/>
              <a:gd name="connsiteX1017" fmla="*/ 8285498 w 12248682"/>
              <a:gd name="connsiteY1017" fmla="*/ 316452 h 609800"/>
              <a:gd name="connsiteX1018" fmla="*/ 8308598 w 12248682"/>
              <a:gd name="connsiteY1018" fmla="*/ 339551 h 609800"/>
              <a:gd name="connsiteX1019" fmla="*/ 8285498 w 12248682"/>
              <a:gd name="connsiteY1019" fmla="*/ 362649 h 609800"/>
              <a:gd name="connsiteX1020" fmla="*/ 8262401 w 12248682"/>
              <a:gd name="connsiteY1020" fmla="*/ 339551 h 609800"/>
              <a:gd name="connsiteX1021" fmla="*/ 8285498 w 12248682"/>
              <a:gd name="connsiteY1021" fmla="*/ 316452 h 609800"/>
              <a:gd name="connsiteX1022" fmla="*/ 7053184 w 12248682"/>
              <a:gd name="connsiteY1022" fmla="*/ 316452 h 609800"/>
              <a:gd name="connsiteX1023" fmla="*/ 7076283 w 12248682"/>
              <a:gd name="connsiteY1023" fmla="*/ 339551 h 609800"/>
              <a:gd name="connsiteX1024" fmla="*/ 7053184 w 12248682"/>
              <a:gd name="connsiteY1024" fmla="*/ 362649 h 609800"/>
              <a:gd name="connsiteX1025" fmla="*/ 7030086 w 12248682"/>
              <a:gd name="connsiteY1025" fmla="*/ 339551 h 609800"/>
              <a:gd name="connsiteX1026" fmla="*/ 7053184 w 12248682"/>
              <a:gd name="connsiteY1026" fmla="*/ 316452 h 609800"/>
              <a:gd name="connsiteX1027" fmla="*/ 5902869 w 12248682"/>
              <a:gd name="connsiteY1027" fmla="*/ 316452 h 609800"/>
              <a:gd name="connsiteX1028" fmla="*/ 5925969 w 12248682"/>
              <a:gd name="connsiteY1028" fmla="*/ 339551 h 609800"/>
              <a:gd name="connsiteX1029" fmla="*/ 5902869 w 12248682"/>
              <a:gd name="connsiteY1029" fmla="*/ 362649 h 609800"/>
              <a:gd name="connsiteX1030" fmla="*/ 5879771 w 12248682"/>
              <a:gd name="connsiteY1030" fmla="*/ 339551 h 609800"/>
              <a:gd name="connsiteX1031" fmla="*/ 5902869 w 12248682"/>
              <a:gd name="connsiteY1031" fmla="*/ 316452 h 609800"/>
              <a:gd name="connsiteX1032" fmla="*/ 4799906 w 12248682"/>
              <a:gd name="connsiteY1032" fmla="*/ 316452 h 609800"/>
              <a:gd name="connsiteX1033" fmla="*/ 4823006 w 12248682"/>
              <a:gd name="connsiteY1033" fmla="*/ 339551 h 609800"/>
              <a:gd name="connsiteX1034" fmla="*/ 4799906 w 12248682"/>
              <a:gd name="connsiteY1034" fmla="*/ 362649 h 609800"/>
              <a:gd name="connsiteX1035" fmla="*/ 4776809 w 12248682"/>
              <a:gd name="connsiteY1035" fmla="*/ 339551 h 609800"/>
              <a:gd name="connsiteX1036" fmla="*/ 4799906 w 12248682"/>
              <a:gd name="connsiteY1036" fmla="*/ 316452 h 609800"/>
              <a:gd name="connsiteX1037" fmla="*/ 3672691 w 12248682"/>
              <a:gd name="connsiteY1037" fmla="*/ 316452 h 609800"/>
              <a:gd name="connsiteX1038" fmla="*/ 3695791 w 12248682"/>
              <a:gd name="connsiteY1038" fmla="*/ 339551 h 609800"/>
              <a:gd name="connsiteX1039" fmla="*/ 3672691 w 12248682"/>
              <a:gd name="connsiteY1039" fmla="*/ 362649 h 609800"/>
              <a:gd name="connsiteX1040" fmla="*/ 3649592 w 12248682"/>
              <a:gd name="connsiteY1040" fmla="*/ 339551 h 609800"/>
              <a:gd name="connsiteX1041" fmla="*/ 3672691 w 12248682"/>
              <a:gd name="connsiteY1041" fmla="*/ 316452 h 609800"/>
              <a:gd name="connsiteX1042" fmla="*/ 2440377 w 12248682"/>
              <a:gd name="connsiteY1042" fmla="*/ 316452 h 609800"/>
              <a:gd name="connsiteX1043" fmla="*/ 2463475 w 12248682"/>
              <a:gd name="connsiteY1043" fmla="*/ 339551 h 609800"/>
              <a:gd name="connsiteX1044" fmla="*/ 2440377 w 12248682"/>
              <a:gd name="connsiteY1044" fmla="*/ 362649 h 609800"/>
              <a:gd name="connsiteX1045" fmla="*/ 2417278 w 12248682"/>
              <a:gd name="connsiteY1045" fmla="*/ 339551 h 609800"/>
              <a:gd name="connsiteX1046" fmla="*/ 2440377 w 12248682"/>
              <a:gd name="connsiteY1046" fmla="*/ 316452 h 609800"/>
              <a:gd name="connsiteX1047" fmla="*/ 1290062 w 12248682"/>
              <a:gd name="connsiteY1047" fmla="*/ 316452 h 609800"/>
              <a:gd name="connsiteX1048" fmla="*/ 1313161 w 12248682"/>
              <a:gd name="connsiteY1048" fmla="*/ 339551 h 609800"/>
              <a:gd name="connsiteX1049" fmla="*/ 1290062 w 12248682"/>
              <a:gd name="connsiteY1049" fmla="*/ 362649 h 609800"/>
              <a:gd name="connsiteX1050" fmla="*/ 1266964 w 12248682"/>
              <a:gd name="connsiteY1050" fmla="*/ 339551 h 609800"/>
              <a:gd name="connsiteX1051" fmla="*/ 1290062 w 12248682"/>
              <a:gd name="connsiteY1051" fmla="*/ 316452 h 609800"/>
              <a:gd name="connsiteX1052" fmla="*/ 187100 w 12248682"/>
              <a:gd name="connsiteY1052" fmla="*/ 316452 h 609800"/>
              <a:gd name="connsiteX1053" fmla="*/ 210198 w 12248682"/>
              <a:gd name="connsiteY1053" fmla="*/ 339551 h 609800"/>
              <a:gd name="connsiteX1054" fmla="*/ 187100 w 12248682"/>
              <a:gd name="connsiteY1054" fmla="*/ 362649 h 609800"/>
              <a:gd name="connsiteX1055" fmla="*/ 164001 w 12248682"/>
              <a:gd name="connsiteY1055" fmla="*/ 339551 h 609800"/>
              <a:gd name="connsiteX1056" fmla="*/ 187100 w 12248682"/>
              <a:gd name="connsiteY1056" fmla="*/ 316452 h 609800"/>
              <a:gd name="connsiteX1057" fmla="*/ 11521073 w 12248682"/>
              <a:gd name="connsiteY1057" fmla="*/ 310678 h 609800"/>
              <a:gd name="connsiteX1058" fmla="*/ 11549947 w 12248682"/>
              <a:gd name="connsiteY1058" fmla="*/ 339551 h 609800"/>
              <a:gd name="connsiteX1059" fmla="*/ 11521073 w 12248682"/>
              <a:gd name="connsiteY1059" fmla="*/ 368425 h 609800"/>
              <a:gd name="connsiteX1060" fmla="*/ 11492200 w 12248682"/>
              <a:gd name="connsiteY1060" fmla="*/ 339551 h 609800"/>
              <a:gd name="connsiteX1061" fmla="*/ 11521073 w 12248682"/>
              <a:gd name="connsiteY1061" fmla="*/ 310678 h 609800"/>
              <a:gd name="connsiteX1062" fmla="*/ 10369604 w 12248682"/>
              <a:gd name="connsiteY1062" fmla="*/ 310678 h 609800"/>
              <a:gd name="connsiteX1063" fmla="*/ 10398477 w 12248682"/>
              <a:gd name="connsiteY1063" fmla="*/ 339551 h 609800"/>
              <a:gd name="connsiteX1064" fmla="*/ 10369604 w 12248682"/>
              <a:gd name="connsiteY1064" fmla="*/ 368425 h 609800"/>
              <a:gd name="connsiteX1065" fmla="*/ 10340730 w 12248682"/>
              <a:gd name="connsiteY1065" fmla="*/ 339551 h 609800"/>
              <a:gd name="connsiteX1066" fmla="*/ 10369604 w 12248682"/>
              <a:gd name="connsiteY1066" fmla="*/ 310678 h 609800"/>
              <a:gd name="connsiteX1067" fmla="*/ 9543825 w 12248682"/>
              <a:gd name="connsiteY1067" fmla="*/ 310678 h 609800"/>
              <a:gd name="connsiteX1068" fmla="*/ 9572699 w 12248682"/>
              <a:gd name="connsiteY1068" fmla="*/ 339551 h 609800"/>
              <a:gd name="connsiteX1069" fmla="*/ 9543825 w 12248682"/>
              <a:gd name="connsiteY1069" fmla="*/ 368425 h 609800"/>
              <a:gd name="connsiteX1070" fmla="*/ 9514953 w 12248682"/>
              <a:gd name="connsiteY1070" fmla="*/ 339551 h 609800"/>
              <a:gd name="connsiteX1071" fmla="*/ 9543825 w 12248682"/>
              <a:gd name="connsiteY1071" fmla="*/ 310678 h 609800"/>
              <a:gd name="connsiteX1072" fmla="*/ 8422936 w 12248682"/>
              <a:gd name="connsiteY1072" fmla="*/ 310678 h 609800"/>
              <a:gd name="connsiteX1073" fmla="*/ 8451809 w 12248682"/>
              <a:gd name="connsiteY1073" fmla="*/ 339551 h 609800"/>
              <a:gd name="connsiteX1074" fmla="*/ 8422936 w 12248682"/>
              <a:gd name="connsiteY1074" fmla="*/ 368425 h 609800"/>
              <a:gd name="connsiteX1075" fmla="*/ 8394062 w 12248682"/>
              <a:gd name="connsiteY1075" fmla="*/ 339551 h 609800"/>
              <a:gd name="connsiteX1076" fmla="*/ 8422936 w 12248682"/>
              <a:gd name="connsiteY1076" fmla="*/ 310678 h 609800"/>
              <a:gd name="connsiteX1077" fmla="*/ 6915746 w 12248682"/>
              <a:gd name="connsiteY1077" fmla="*/ 310678 h 609800"/>
              <a:gd name="connsiteX1078" fmla="*/ 6944621 w 12248682"/>
              <a:gd name="connsiteY1078" fmla="*/ 339551 h 609800"/>
              <a:gd name="connsiteX1079" fmla="*/ 6915746 w 12248682"/>
              <a:gd name="connsiteY1079" fmla="*/ 368425 h 609800"/>
              <a:gd name="connsiteX1080" fmla="*/ 6886873 w 12248682"/>
              <a:gd name="connsiteY1080" fmla="*/ 339551 h 609800"/>
              <a:gd name="connsiteX1081" fmla="*/ 6915746 w 12248682"/>
              <a:gd name="connsiteY1081" fmla="*/ 310678 h 609800"/>
              <a:gd name="connsiteX1082" fmla="*/ 5764278 w 12248682"/>
              <a:gd name="connsiteY1082" fmla="*/ 310678 h 609800"/>
              <a:gd name="connsiteX1083" fmla="*/ 5793151 w 12248682"/>
              <a:gd name="connsiteY1083" fmla="*/ 339551 h 609800"/>
              <a:gd name="connsiteX1084" fmla="*/ 5764278 w 12248682"/>
              <a:gd name="connsiteY1084" fmla="*/ 368425 h 609800"/>
              <a:gd name="connsiteX1085" fmla="*/ 5735405 w 12248682"/>
              <a:gd name="connsiteY1085" fmla="*/ 339551 h 609800"/>
              <a:gd name="connsiteX1086" fmla="*/ 5764278 w 12248682"/>
              <a:gd name="connsiteY1086" fmla="*/ 310678 h 609800"/>
              <a:gd name="connsiteX1087" fmla="*/ 4938500 w 12248682"/>
              <a:gd name="connsiteY1087" fmla="*/ 310678 h 609800"/>
              <a:gd name="connsiteX1088" fmla="*/ 4967373 w 12248682"/>
              <a:gd name="connsiteY1088" fmla="*/ 339551 h 609800"/>
              <a:gd name="connsiteX1089" fmla="*/ 4938500 w 12248682"/>
              <a:gd name="connsiteY1089" fmla="*/ 368425 h 609800"/>
              <a:gd name="connsiteX1090" fmla="*/ 4909627 w 12248682"/>
              <a:gd name="connsiteY1090" fmla="*/ 339551 h 609800"/>
              <a:gd name="connsiteX1091" fmla="*/ 4938500 w 12248682"/>
              <a:gd name="connsiteY1091" fmla="*/ 310678 h 609800"/>
              <a:gd name="connsiteX1092" fmla="*/ 3810129 w 12248682"/>
              <a:gd name="connsiteY1092" fmla="*/ 310678 h 609800"/>
              <a:gd name="connsiteX1093" fmla="*/ 3839002 w 12248682"/>
              <a:gd name="connsiteY1093" fmla="*/ 339551 h 609800"/>
              <a:gd name="connsiteX1094" fmla="*/ 3810129 w 12248682"/>
              <a:gd name="connsiteY1094" fmla="*/ 368425 h 609800"/>
              <a:gd name="connsiteX1095" fmla="*/ 3781255 w 12248682"/>
              <a:gd name="connsiteY1095" fmla="*/ 339551 h 609800"/>
              <a:gd name="connsiteX1096" fmla="*/ 3810129 w 12248682"/>
              <a:gd name="connsiteY1096" fmla="*/ 310678 h 609800"/>
              <a:gd name="connsiteX1097" fmla="*/ 2302939 w 12248682"/>
              <a:gd name="connsiteY1097" fmla="*/ 310678 h 609800"/>
              <a:gd name="connsiteX1098" fmla="*/ 2331813 w 12248682"/>
              <a:gd name="connsiteY1098" fmla="*/ 339551 h 609800"/>
              <a:gd name="connsiteX1099" fmla="*/ 2302939 w 12248682"/>
              <a:gd name="connsiteY1099" fmla="*/ 368425 h 609800"/>
              <a:gd name="connsiteX1100" fmla="*/ 2274067 w 12248682"/>
              <a:gd name="connsiteY1100" fmla="*/ 339551 h 609800"/>
              <a:gd name="connsiteX1101" fmla="*/ 2302939 w 12248682"/>
              <a:gd name="connsiteY1101" fmla="*/ 310678 h 609800"/>
              <a:gd name="connsiteX1102" fmla="*/ 1151470 w 12248682"/>
              <a:gd name="connsiteY1102" fmla="*/ 310678 h 609800"/>
              <a:gd name="connsiteX1103" fmla="*/ 1180343 w 12248682"/>
              <a:gd name="connsiteY1103" fmla="*/ 339551 h 609800"/>
              <a:gd name="connsiteX1104" fmla="*/ 1151470 w 12248682"/>
              <a:gd name="connsiteY1104" fmla="*/ 368425 h 609800"/>
              <a:gd name="connsiteX1105" fmla="*/ 1122596 w 12248682"/>
              <a:gd name="connsiteY1105" fmla="*/ 339551 h 609800"/>
              <a:gd name="connsiteX1106" fmla="*/ 1151470 w 12248682"/>
              <a:gd name="connsiteY1106" fmla="*/ 310678 h 609800"/>
              <a:gd name="connsiteX1107" fmla="*/ 325692 w 12248682"/>
              <a:gd name="connsiteY1107" fmla="*/ 310678 h 609800"/>
              <a:gd name="connsiteX1108" fmla="*/ 354566 w 12248682"/>
              <a:gd name="connsiteY1108" fmla="*/ 339551 h 609800"/>
              <a:gd name="connsiteX1109" fmla="*/ 325692 w 12248682"/>
              <a:gd name="connsiteY1109" fmla="*/ 368425 h 609800"/>
              <a:gd name="connsiteX1110" fmla="*/ 296819 w 12248682"/>
              <a:gd name="connsiteY1110" fmla="*/ 339551 h 609800"/>
              <a:gd name="connsiteX1111" fmla="*/ 325692 w 12248682"/>
              <a:gd name="connsiteY1111" fmla="*/ 310678 h 609800"/>
              <a:gd name="connsiteX1112" fmla="*/ 11383636 w 12248682"/>
              <a:gd name="connsiteY1112" fmla="*/ 304903 h 609800"/>
              <a:gd name="connsiteX1113" fmla="*/ 11418284 w 12248682"/>
              <a:gd name="connsiteY1113" fmla="*/ 339551 h 609800"/>
              <a:gd name="connsiteX1114" fmla="*/ 11383636 w 12248682"/>
              <a:gd name="connsiteY1114" fmla="*/ 374199 h 609800"/>
              <a:gd name="connsiteX1115" fmla="*/ 11348988 w 12248682"/>
              <a:gd name="connsiteY1115" fmla="*/ 339551 h 609800"/>
              <a:gd name="connsiteX1116" fmla="*/ 11383636 w 12248682"/>
              <a:gd name="connsiteY1116" fmla="*/ 304903 h 609800"/>
              <a:gd name="connsiteX1117" fmla="*/ 10811943 w 12248682"/>
              <a:gd name="connsiteY1117" fmla="*/ 304903 h 609800"/>
              <a:gd name="connsiteX1118" fmla="*/ 10846591 w 12248682"/>
              <a:gd name="connsiteY1118" fmla="*/ 339551 h 609800"/>
              <a:gd name="connsiteX1119" fmla="*/ 10811943 w 12248682"/>
              <a:gd name="connsiteY1119" fmla="*/ 374199 h 609800"/>
              <a:gd name="connsiteX1120" fmla="*/ 10777295 w 12248682"/>
              <a:gd name="connsiteY1120" fmla="*/ 339551 h 609800"/>
              <a:gd name="connsiteX1121" fmla="*/ 10811943 w 12248682"/>
              <a:gd name="connsiteY1121" fmla="*/ 304903 h 609800"/>
              <a:gd name="connsiteX1122" fmla="*/ 10232166 w 12248682"/>
              <a:gd name="connsiteY1122" fmla="*/ 304903 h 609800"/>
              <a:gd name="connsiteX1123" fmla="*/ 10266814 w 12248682"/>
              <a:gd name="connsiteY1123" fmla="*/ 339551 h 609800"/>
              <a:gd name="connsiteX1124" fmla="*/ 10232166 w 12248682"/>
              <a:gd name="connsiteY1124" fmla="*/ 374199 h 609800"/>
              <a:gd name="connsiteX1125" fmla="*/ 10197518 w 12248682"/>
              <a:gd name="connsiteY1125" fmla="*/ 339551 h 609800"/>
              <a:gd name="connsiteX1126" fmla="*/ 10232166 w 12248682"/>
              <a:gd name="connsiteY1126" fmla="*/ 304903 h 609800"/>
              <a:gd name="connsiteX1127" fmla="*/ 9681263 w 12248682"/>
              <a:gd name="connsiteY1127" fmla="*/ 304903 h 609800"/>
              <a:gd name="connsiteX1128" fmla="*/ 9715911 w 12248682"/>
              <a:gd name="connsiteY1128" fmla="*/ 339551 h 609800"/>
              <a:gd name="connsiteX1129" fmla="*/ 9681263 w 12248682"/>
              <a:gd name="connsiteY1129" fmla="*/ 374199 h 609800"/>
              <a:gd name="connsiteX1130" fmla="*/ 9646615 w 12248682"/>
              <a:gd name="connsiteY1130" fmla="*/ 339551 h 609800"/>
              <a:gd name="connsiteX1131" fmla="*/ 9681263 w 12248682"/>
              <a:gd name="connsiteY1131" fmla="*/ 304903 h 609800"/>
              <a:gd name="connsiteX1132" fmla="*/ 9112431 w 12248682"/>
              <a:gd name="connsiteY1132" fmla="*/ 304903 h 609800"/>
              <a:gd name="connsiteX1133" fmla="*/ 9147079 w 12248682"/>
              <a:gd name="connsiteY1133" fmla="*/ 339551 h 609800"/>
              <a:gd name="connsiteX1134" fmla="*/ 9112431 w 12248682"/>
              <a:gd name="connsiteY1134" fmla="*/ 374199 h 609800"/>
              <a:gd name="connsiteX1135" fmla="*/ 9077783 w 12248682"/>
              <a:gd name="connsiteY1135" fmla="*/ 339551 h 609800"/>
              <a:gd name="connsiteX1136" fmla="*/ 9112431 w 12248682"/>
              <a:gd name="connsiteY1136" fmla="*/ 304903 h 609800"/>
              <a:gd name="connsiteX1137" fmla="*/ 8561528 w 12248682"/>
              <a:gd name="connsiteY1137" fmla="*/ 304903 h 609800"/>
              <a:gd name="connsiteX1138" fmla="*/ 8596176 w 12248682"/>
              <a:gd name="connsiteY1138" fmla="*/ 339551 h 609800"/>
              <a:gd name="connsiteX1139" fmla="*/ 8561528 w 12248682"/>
              <a:gd name="connsiteY1139" fmla="*/ 374199 h 609800"/>
              <a:gd name="connsiteX1140" fmla="*/ 8526880 w 12248682"/>
              <a:gd name="connsiteY1140" fmla="*/ 339551 h 609800"/>
              <a:gd name="connsiteX1141" fmla="*/ 8561528 w 12248682"/>
              <a:gd name="connsiteY1141" fmla="*/ 304903 h 609800"/>
              <a:gd name="connsiteX1142" fmla="*/ 6778310 w 12248682"/>
              <a:gd name="connsiteY1142" fmla="*/ 304903 h 609800"/>
              <a:gd name="connsiteX1143" fmla="*/ 6812959 w 12248682"/>
              <a:gd name="connsiteY1143" fmla="*/ 339551 h 609800"/>
              <a:gd name="connsiteX1144" fmla="*/ 6778310 w 12248682"/>
              <a:gd name="connsiteY1144" fmla="*/ 374199 h 609800"/>
              <a:gd name="connsiteX1145" fmla="*/ 6743662 w 12248682"/>
              <a:gd name="connsiteY1145" fmla="*/ 339551 h 609800"/>
              <a:gd name="connsiteX1146" fmla="*/ 6778310 w 12248682"/>
              <a:gd name="connsiteY1146" fmla="*/ 304903 h 609800"/>
              <a:gd name="connsiteX1147" fmla="*/ 6206618 w 12248682"/>
              <a:gd name="connsiteY1147" fmla="*/ 304903 h 609800"/>
              <a:gd name="connsiteX1148" fmla="*/ 6241265 w 12248682"/>
              <a:gd name="connsiteY1148" fmla="*/ 339551 h 609800"/>
              <a:gd name="connsiteX1149" fmla="*/ 6206618 w 12248682"/>
              <a:gd name="connsiteY1149" fmla="*/ 374199 h 609800"/>
              <a:gd name="connsiteX1150" fmla="*/ 6171969 w 12248682"/>
              <a:gd name="connsiteY1150" fmla="*/ 339551 h 609800"/>
              <a:gd name="connsiteX1151" fmla="*/ 6206618 w 12248682"/>
              <a:gd name="connsiteY1151" fmla="*/ 304903 h 609800"/>
              <a:gd name="connsiteX1152" fmla="*/ 5626840 w 12248682"/>
              <a:gd name="connsiteY1152" fmla="*/ 304903 h 609800"/>
              <a:gd name="connsiteX1153" fmla="*/ 5661488 w 12248682"/>
              <a:gd name="connsiteY1153" fmla="*/ 339551 h 609800"/>
              <a:gd name="connsiteX1154" fmla="*/ 5626840 w 12248682"/>
              <a:gd name="connsiteY1154" fmla="*/ 374199 h 609800"/>
              <a:gd name="connsiteX1155" fmla="*/ 5592192 w 12248682"/>
              <a:gd name="connsiteY1155" fmla="*/ 339551 h 609800"/>
              <a:gd name="connsiteX1156" fmla="*/ 5626840 w 12248682"/>
              <a:gd name="connsiteY1156" fmla="*/ 304903 h 609800"/>
              <a:gd name="connsiteX1157" fmla="*/ 5075938 w 12248682"/>
              <a:gd name="connsiteY1157" fmla="*/ 304903 h 609800"/>
              <a:gd name="connsiteX1158" fmla="*/ 5110584 w 12248682"/>
              <a:gd name="connsiteY1158" fmla="*/ 339551 h 609800"/>
              <a:gd name="connsiteX1159" fmla="*/ 5075938 w 12248682"/>
              <a:gd name="connsiteY1159" fmla="*/ 374199 h 609800"/>
              <a:gd name="connsiteX1160" fmla="*/ 5041289 w 12248682"/>
              <a:gd name="connsiteY1160" fmla="*/ 339551 h 609800"/>
              <a:gd name="connsiteX1161" fmla="*/ 5075938 w 12248682"/>
              <a:gd name="connsiteY1161" fmla="*/ 304903 h 609800"/>
              <a:gd name="connsiteX1162" fmla="*/ 4499625 w 12248682"/>
              <a:gd name="connsiteY1162" fmla="*/ 304903 h 609800"/>
              <a:gd name="connsiteX1163" fmla="*/ 4534273 w 12248682"/>
              <a:gd name="connsiteY1163" fmla="*/ 339551 h 609800"/>
              <a:gd name="connsiteX1164" fmla="*/ 4499625 w 12248682"/>
              <a:gd name="connsiteY1164" fmla="*/ 374199 h 609800"/>
              <a:gd name="connsiteX1165" fmla="*/ 4464976 w 12248682"/>
              <a:gd name="connsiteY1165" fmla="*/ 339551 h 609800"/>
              <a:gd name="connsiteX1166" fmla="*/ 4499625 w 12248682"/>
              <a:gd name="connsiteY1166" fmla="*/ 304903 h 609800"/>
              <a:gd name="connsiteX1167" fmla="*/ 3948721 w 12248682"/>
              <a:gd name="connsiteY1167" fmla="*/ 304903 h 609800"/>
              <a:gd name="connsiteX1168" fmla="*/ 3983369 w 12248682"/>
              <a:gd name="connsiteY1168" fmla="*/ 339551 h 609800"/>
              <a:gd name="connsiteX1169" fmla="*/ 3948721 w 12248682"/>
              <a:gd name="connsiteY1169" fmla="*/ 374199 h 609800"/>
              <a:gd name="connsiteX1170" fmla="*/ 3914073 w 12248682"/>
              <a:gd name="connsiteY1170" fmla="*/ 339551 h 609800"/>
              <a:gd name="connsiteX1171" fmla="*/ 3948721 w 12248682"/>
              <a:gd name="connsiteY1171" fmla="*/ 304903 h 609800"/>
              <a:gd name="connsiteX1172" fmla="*/ 2165502 w 12248682"/>
              <a:gd name="connsiteY1172" fmla="*/ 304903 h 609800"/>
              <a:gd name="connsiteX1173" fmla="*/ 2200150 w 12248682"/>
              <a:gd name="connsiteY1173" fmla="*/ 339551 h 609800"/>
              <a:gd name="connsiteX1174" fmla="*/ 2165502 w 12248682"/>
              <a:gd name="connsiteY1174" fmla="*/ 374199 h 609800"/>
              <a:gd name="connsiteX1175" fmla="*/ 2130854 w 12248682"/>
              <a:gd name="connsiteY1175" fmla="*/ 339551 h 609800"/>
              <a:gd name="connsiteX1176" fmla="*/ 2165502 w 12248682"/>
              <a:gd name="connsiteY1176" fmla="*/ 304903 h 609800"/>
              <a:gd name="connsiteX1177" fmla="*/ 1593810 w 12248682"/>
              <a:gd name="connsiteY1177" fmla="*/ 304903 h 609800"/>
              <a:gd name="connsiteX1178" fmla="*/ 1628457 w 12248682"/>
              <a:gd name="connsiteY1178" fmla="*/ 339551 h 609800"/>
              <a:gd name="connsiteX1179" fmla="*/ 1593810 w 12248682"/>
              <a:gd name="connsiteY1179" fmla="*/ 374199 h 609800"/>
              <a:gd name="connsiteX1180" fmla="*/ 1559161 w 12248682"/>
              <a:gd name="connsiteY1180" fmla="*/ 339551 h 609800"/>
              <a:gd name="connsiteX1181" fmla="*/ 1593810 w 12248682"/>
              <a:gd name="connsiteY1181" fmla="*/ 304903 h 609800"/>
              <a:gd name="connsiteX1182" fmla="*/ 1014032 w 12248682"/>
              <a:gd name="connsiteY1182" fmla="*/ 304903 h 609800"/>
              <a:gd name="connsiteX1183" fmla="*/ 1048681 w 12248682"/>
              <a:gd name="connsiteY1183" fmla="*/ 339551 h 609800"/>
              <a:gd name="connsiteX1184" fmla="*/ 1014032 w 12248682"/>
              <a:gd name="connsiteY1184" fmla="*/ 374199 h 609800"/>
              <a:gd name="connsiteX1185" fmla="*/ 979384 w 12248682"/>
              <a:gd name="connsiteY1185" fmla="*/ 339551 h 609800"/>
              <a:gd name="connsiteX1186" fmla="*/ 1014032 w 12248682"/>
              <a:gd name="connsiteY1186" fmla="*/ 304903 h 609800"/>
              <a:gd name="connsiteX1187" fmla="*/ 463129 w 12248682"/>
              <a:gd name="connsiteY1187" fmla="*/ 304903 h 609800"/>
              <a:gd name="connsiteX1188" fmla="*/ 497778 w 12248682"/>
              <a:gd name="connsiteY1188" fmla="*/ 339551 h 609800"/>
              <a:gd name="connsiteX1189" fmla="*/ 463129 w 12248682"/>
              <a:gd name="connsiteY1189" fmla="*/ 374199 h 609800"/>
              <a:gd name="connsiteX1190" fmla="*/ 428481 w 12248682"/>
              <a:gd name="connsiteY1190" fmla="*/ 339551 h 609800"/>
              <a:gd name="connsiteX1191" fmla="*/ 463129 w 12248682"/>
              <a:gd name="connsiteY1191" fmla="*/ 304903 h 609800"/>
              <a:gd name="connsiteX1192" fmla="*/ 11245044 w 12248682"/>
              <a:gd name="connsiteY1192" fmla="*/ 299129 h 609800"/>
              <a:gd name="connsiteX1193" fmla="*/ 11285466 w 12248682"/>
              <a:gd name="connsiteY1193" fmla="*/ 339551 h 609800"/>
              <a:gd name="connsiteX1194" fmla="*/ 11245044 w 12248682"/>
              <a:gd name="connsiteY1194" fmla="*/ 379974 h 609800"/>
              <a:gd name="connsiteX1195" fmla="*/ 11204621 w 12248682"/>
              <a:gd name="connsiteY1195" fmla="*/ 339551 h 609800"/>
              <a:gd name="connsiteX1196" fmla="*/ 11245044 w 12248682"/>
              <a:gd name="connsiteY1196" fmla="*/ 299129 h 609800"/>
              <a:gd name="connsiteX1197" fmla="*/ 10970170 w 12248682"/>
              <a:gd name="connsiteY1197" fmla="*/ 299129 h 609800"/>
              <a:gd name="connsiteX1198" fmla="*/ 11010592 w 12248682"/>
              <a:gd name="connsiteY1198" fmla="*/ 339551 h 609800"/>
              <a:gd name="connsiteX1199" fmla="*/ 10970170 w 12248682"/>
              <a:gd name="connsiteY1199" fmla="*/ 379974 h 609800"/>
              <a:gd name="connsiteX1200" fmla="*/ 10929746 w 12248682"/>
              <a:gd name="connsiteY1200" fmla="*/ 339551 h 609800"/>
              <a:gd name="connsiteX1201" fmla="*/ 10970170 w 12248682"/>
              <a:gd name="connsiteY1201" fmla="*/ 299129 h 609800"/>
              <a:gd name="connsiteX1202" fmla="*/ 10094730 w 12248682"/>
              <a:gd name="connsiteY1202" fmla="*/ 299129 h 609800"/>
              <a:gd name="connsiteX1203" fmla="*/ 10135152 w 12248682"/>
              <a:gd name="connsiteY1203" fmla="*/ 339551 h 609800"/>
              <a:gd name="connsiteX1204" fmla="*/ 10094730 w 12248682"/>
              <a:gd name="connsiteY1204" fmla="*/ 379974 h 609800"/>
              <a:gd name="connsiteX1205" fmla="*/ 10054306 w 12248682"/>
              <a:gd name="connsiteY1205" fmla="*/ 339551 h 609800"/>
              <a:gd name="connsiteX1206" fmla="*/ 10094730 w 12248682"/>
              <a:gd name="connsiteY1206" fmla="*/ 299129 h 609800"/>
              <a:gd name="connsiteX1207" fmla="*/ 9818700 w 12248682"/>
              <a:gd name="connsiteY1207" fmla="*/ 299129 h 609800"/>
              <a:gd name="connsiteX1208" fmla="*/ 9859123 w 12248682"/>
              <a:gd name="connsiteY1208" fmla="*/ 340706 h 609800"/>
              <a:gd name="connsiteX1209" fmla="*/ 9818700 w 12248682"/>
              <a:gd name="connsiteY1209" fmla="*/ 381128 h 609800"/>
              <a:gd name="connsiteX1210" fmla="*/ 9778278 w 12248682"/>
              <a:gd name="connsiteY1210" fmla="*/ 339551 h 609800"/>
              <a:gd name="connsiteX1211" fmla="*/ 9818700 w 12248682"/>
              <a:gd name="connsiteY1211" fmla="*/ 299129 h 609800"/>
              <a:gd name="connsiteX1212" fmla="*/ 8974994 w 12248682"/>
              <a:gd name="connsiteY1212" fmla="*/ 299129 h 609800"/>
              <a:gd name="connsiteX1213" fmla="*/ 9015416 w 12248682"/>
              <a:gd name="connsiteY1213" fmla="*/ 339551 h 609800"/>
              <a:gd name="connsiteX1214" fmla="*/ 8974994 w 12248682"/>
              <a:gd name="connsiteY1214" fmla="*/ 379974 h 609800"/>
              <a:gd name="connsiteX1215" fmla="*/ 8934571 w 12248682"/>
              <a:gd name="connsiteY1215" fmla="*/ 339551 h 609800"/>
              <a:gd name="connsiteX1216" fmla="*/ 8974994 w 12248682"/>
              <a:gd name="connsiteY1216" fmla="*/ 299129 h 609800"/>
              <a:gd name="connsiteX1217" fmla="*/ 8698965 w 12248682"/>
              <a:gd name="connsiteY1217" fmla="*/ 299129 h 609800"/>
              <a:gd name="connsiteX1218" fmla="*/ 8739388 w 12248682"/>
              <a:gd name="connsiteY1218" fmla="*/ 339551 h 609800"/>
              <a:gd name="connsiteX1219" fmla="*/ 8698965 w 12248682"/>
              <a:gd name="connsiteY1219" fmla="*/ 379974 h 609800"/>
              <a:gd name="connsiteX1220" fmla="*/ 8658542 w 12248682"/>
              <a:gd name="connsiteY1220" fmla="*/ 339551 h 609800"/>
              <a:gd name="connsiteX1221" fmla="*/ 8698965 w 12248682"/>
              <a:gd name="connsiteY1221" fmla="*/ 299129 h 609800"/>
              <a:gd name="connsiteX1222" fmla="*/ 6639717 w 12248682"/>
              <a:gd name="connsiteY1222" fmla="*/ 299129 h 609800"/>
              <a:gd name="connsiteX1223" fmla="*/ 6680139 w 12248682"/>
              <a:gd name="connsiteY1223" fmla="*/ 339551 h 609800"/>
              <a:gd name="connsiteX1224" fmla="*/ 6639717 w 12248682"/>
              <a:gd name="connsiteY1224" fmla="*/ 379974 h 609800"/>
              <a:gd name="connsiteX1225" fmla="*/ 6599295 w 12248682"/>
              <a:gd name="connsiteY1225" fmla="*/ 339551 h 609800"/>
              <a:gd name="connsiteX1226" fmla="*/ 6639717 w 12248682"/>
              <a:gd name="connsiteY1226" fmla="*/ 299129 h 609800"/>
              <a:gd name="connsiteX1227" fmla="*/ 6364844 w 12248682"/>
              <a:gd name="connsiteY1227" fmla="*/ 299129 h 609800"/>
              <a:gd name="connsiteX1228" fmla="*/ 6405265 w 12248682"/>
              <a:gd name="connsiteY1228" fmla="*/ 339551 h 609800"/>
              <a:gd name="connsiteX1229" fmla="*/ 6364844 w 12248682"/>
              <a:gd name="connsiteY1229" fmla="*/ 379974 h 609800"/>
              <a:gd name="connsiteX1230" fmla="*/ 6324420 w 12248682"/>
              <a:gd name="connsiteY1230" fmla="*/ 339551 h 609800"/>
              <a:gd name="connsiteX1231" fmla="*/ 6364844 w 12248682"/>
              <a:gd name="connsiteY1231" fmla="*/ 299129 h 609800"/>
              <a:gd name="connsiteX1232" fmla="*/ 5489405 w 12248682"/>
              <a:gd name="connsiteY1232" fmla="*/ 299129 h 609800"/>
              <a:gd name="connsiteX1233" fmla="*/ 5529827 w 12248682"/>
              <a:gd name="connsiteY1233" fmla="*/ 339551 h 609800"/>
              <a:gd name="connsiteX1234" fmla="*/ 5489405 w 12248682"/>
              <a:gd name="connsiteY1234" fmla="*/ 379974 h 609800"/>
              <a:gd name="connsiteX1235" fmla="*/ 5448980 w 12248682"/>
              <a:gd name="connsiteY1235" fmla="*/ 339551 h 609800"/>
              <a:gd name="connsiteX1236" fmla="*/ 5489405 w 12248682"/>
              <a:gd name="connsiteY1236" fmla="*/ 299129 h 609800"/>
              <a:gd name="connsiteX1237" fmla="*/ 5213373 w 12248682"/>
              <a:gd name="connsiteY1237" fmla="*/ 299129 h 609800"/>
              <a:gd name="connsiteX1238" fmla="*/ 5253797 w 12248682"/>
              <a:gd name="connsiteY1238" fmla="*/ 339551 h 609800"/>
              <a:gd name="connsiteX1239" fmla="*/ 5213373 w 12248682"/>
              <a:gd name="connsiteY1239" fmla="*/ 379974 h 609800"/>
              <a:gd name="connsiteX1240" fmla="*/ 5172952 w 12248682"/>
              <a:gd name="connsiteY1240" fmla="*/ 339551 h 609800"/>
              <a:gd name="connsiteX1241" fmla="*/ 5213373 w 12248682"/>
              <a:gd name="connsiteY1241" fmla="*/ 299129 h 609800"/>
              <a:gd name="connsiteX1242" fmla="*/ 4361031 w 12248682"/>
              <a:gd name="connsiteY1242" fmla="*/ 299129 h 609800"/>
              <a:gd name="connsiteX1243" fmla="*/ 4401455 w 12248682"/>
              <a:gd name="connsiteY1243" fmla="*/ 339551 h 609800"/>
              <a:gd name="connsiteX1244" fmla="*/ 4361031 w 12248682"/>
              <a:gd name="connsiteY1244" fmla="*/ 379974 h 609800"/>
              <a:gd name="connsiteX1245" fmla="*/ 4320610 w 12248682"/>
              <a:gd name="connsiteY1245" fmla="*/ 339551 h 609800"/>
              <a:gd name="connsiteX1246" fmla="*/ 4361031 w 12248682"/>
              <a:gd name="connsiteY1246" fmla="*/ 299129 h 609800"/>
              <a:gd name="connsiteX1247" fmla="*/ 4086158 w 12248682"/>
              <a:gd name="connsiteY1247" fmla="*/ 299129 h 609800"/>
              <a:gd name="connsiteX1248" fmla="*/ 4126582 w 12248682"/>
              <a:gd name="connsiteY1248" fmla="*/ 339551 h 609800"/>
              <a:gd name="connsiteX1249" fmla="*/ 4086158 w 12248682"/>
              <a:gd name="connsiteY1249" fmla="*/ 379974 h 609800"/>
              <a:gd name="connsiteX1250" fmla="*/ 4045735 w 12248682"/>
              <a:gd name="connsiteY1250" fmla="*/ 339551 h 609800"/>
              <a:gd name="connsiteX1251" fmla="*/ 4086158 w 12248682"/>
              <a:gd name="connsiteY1251" fmla="*/ 299129 h 609800"/>
              <a:gd name="connsiteX1252" fmla="*/ 2026910 w 12248682"/>
              <a:gd name="connsiteY1252" fmla="*/ 299129 h 609800"/>
              <a:gd name="connsiteX1253" fmla="*/ 2067332 w 12248682"/>
              <a:gd name="connsiteY1253" fmla="*/ 339551 h 609800"/>
              <a:gd name="connsiteX1254" fmla="*/ 2026910 w 12248682"/>
              <a:gd name="connsiteY1254" fmla="*/ 379974 h 609800"/>
              <a:gd name="connsiteX1255" fmla="*/ 1986487 w 12248682"/>
              <a:gd name="connsiteY1255" fmla="*/ 339551 h 609800"/>
              <a:gd name="connsiteX1256" fmla="*/ 2026910 w 12248682"/>
              <a:gd name="connsiteY1256" fmla="*/ 299129 h 609800"/>
              <a:gd name="connsiteX1257" fmla="*/ 1752036 w 12248682"/>
              <a:gd name="connsiteY1257" fmla="*/ 299129 h 609800"/>
              <a:gd name="connsiteX1258" fmla="*/ 1792458 w 12248682"/>
              <a:gd name="connsiteY1258" fmla="*/ 339551 h 609800"/>
              <a:gd name="connsiteX1259" fmla="*/ 1752036 w 12248682"/>
              <a:gd name="connsiteY1259" fmla="*/ 379974 h 609800"/>
              <a:gd name="connsiteX1260" fmla="*/ 1711613 w 12248682"/>
              <a:gd name="connsiteY1260" fmla="*/ 339551 h 609800"/>
              <a:gd name="connsiteX1261" fmla="*/ 1752036 w 12248682"/>
              <a:gd name="connsiteY1261" fmla="*/ 299129 h 609800"/>
              <a:gd name="connsiteX1262" fmla="*/ 876596 w 12248682"/>
              <a:gd name="connsiteY1262" fmla="*/ 299129 h 609800"/>
              <a:gd name="connsiteX1263" fmla="*/ 917018 w 12248682"/>
              <a:gd name="connsiteY1263" fmla="*/ 339551 h 609800"/>
              <a:gd name="connsiteX1264" fmla="*/ 876596 w 12248682"/>
              <a:gd name="connsiteY1264" fmla="*/ 379974 h 609800"/>
              <a:gd name="connsiteX1265" fmla="*/ 836172 w 12248682"/>
              <a:gd name="connsiteY1265" fmla="*/ 339551 h 609800"/>
              <a:gd name="connsiteX1266" fmla="*/ 876596 w 12248682"/>
              <a:gd name="connsiteY1266" fmla="*/ 299129 h 609800"/>
              <a:gd name="connsiteX1267" fmla="*/ 600566 w 12248682"/>
              <a:gd name="connsiteY1267" fmla="*/ 299129 h 609800"/>
              <a:gd name="connsiteX1268" fmla="*/ 640989 w 12248682"/>
              <a:gd name="connsiteY1268" fmla="*/ 340706 h 609800"/>
              <a:gd name="connsiteX1269" fmla="*/ 600566 w 12248682"/>
              <a:gd name="connsiteY1269" fmla="*/ 381128 h 609800"/>
              <a:gd name="connsiteX1270" fmla="*/ 560144 w 12248682"/>
              <a:gd name="connsiteY1270" fmla="*/ 339551 h 609800"/>
              <a:gd name="connsiteX1271" fmla="*/ 600566 w 12248682"/>
              <a:gd name="connsiteY1271" fmla="*/ 299129 h 609800"/>
              <a:gd name="connsiteX1272" fmla="*/ 11107606 w 12248682"/>
              <a:gd name="connsiteY1272" fmla="*/ 288734 h 609800"/>
              <a:gd name="connsiteX1273" fmla="*/ 11158424 w 12248682"/>
              <a:gd name="connsiteY1273" fmla="*/ 339551 h 609800"/>
              <a:gd name="connsiteX1274" fmla="*/ 11107606 w 12248682"/>
              <a:gd name="connsiteY1274" fmla="*/ 390368 h 609800"/>
              <a:gd name="connsiteX1275" fmla="*/ 11056789 w 12248682"/>
              <a:gd name="connsiteY1275" fmla="*/ 339551 h 609800"/>
              <a:gd name="connsiteX1276" fmla="*/ 11107606 w 12248682"/>
              <a:gd name="connsiteY1276" fmla="*/ 288734 h 609800"/>
              <a:gd name="connsiteX1277" fmla="*/ 9957292 w 12248682"/>
              <a:gd name="connsiteY1277" fmla="*/ 288734 h 609800"/>
              <a:gd name="connsiteX1278" fmla="*/ 10008109 w 12248682"/>
              <a:gd name="connsiteY1278" fmla="*/ 339551 h 609800"/>
              <a:gd name="connsiteX1279" fmla="*/ 9957292 w 12248682"/>
              <a:gd name="connsiteY1279" fmla="*/ 390368 h 609800"/>
              <a:gd name="connsiteX1280" fmla="*/ 9906475 w 12248682"/>
              <a:gd name="connsiteY1280" fmla="*/ 339551 h 609800"/>
              <a:gd name="connsiteX1281" fmla="*/ 9957292 w 12248682"/>
              <a:gd name="connsiteY1281" fmla="*/ 288734 h 609800"/>
              <a:gd name="connsiteX1282" fmla="*/ 8836402 w 12248682"/>
              <a:gd name="connsiteY1282" fmla="*/ 288734 h 609800"/>
              <a:gd name="connsiteX1283" fmla="*/ 8887219 w 12248682"/>
              <a:gd name="connsiteY1283" fmla="*/ 339551 h 609800"/>
              <a:gd name="connsiteX1284" fmla="*/ 8836402 w 12248682"/>
              <a:gd name="connsiteY1284" fmla="*/ 390368 h 609800"/>
              <a:gd name="connsiteX1285" fmla="*/ 8785585 w 12248682"/>
              <a:gd name="connsiteY1285" fmla="*/ 339551 h 609800"/>
              <a:gd name="connsiteX1286" fmla="*/ 8836402 w 12248682"/>
              <a:gd name="connsiteY1286" fmla="*/ 288734 h 609800"/>
              <a:gd name="connsiteX1287" fmla="*/ 6502281 w 12248682"/>
              <a:gd name="connsiteY1287" fmla="*/ 288734 h 609800"/>
              <a:gd name="connsiteX1288" fmla="*/ 6553098 w 12248682"/>
              <a:gd name="connsiteY1288" fmla="*/ 339551 h 609800"/>
              <a:gd name="connsiteX1289" fmla="*/ 6502281 w 12248682"/>
              <a:gd name="connsiteY1289" fmla="*/ 390368 h 609800"/>
              <a:gd name="connsiteX1290" fmla="*/ 6451462 w 12248682"/>
              <a:gd name="connsiteY1290" fmla="*/ 339551 h 609800"/>
              <a:gd name="connsiteX1291" fmla="*/ 6502281 w 12248682"/>
              <a:gd name="connsiteY1291" fmla="*/ 288734 h 609800"/>
              <a:gd name="connsiteX1292" fmla="*/ 5351966 w 12248682"/>
              <a:gd name="connsiteY1292" fmla="*/ 288734 h 609800"/>
              <a:gd name="connsiteX1293" fmla="*/ 5402784 w 12248682"/>
              <a:gd name="connsiteY1293" fmla="*/ 339551 h 609800"/>
              <a:gd name="connsiteX1294" fmla="*/ 5351966 w 12248682"/>
              <a:gd name="connsiteY1294" fmla="*/ 390368 h 609800"/>
              <a:gd name="connsiteX1295" fmla="*/ 5301149 w 12248682"/>
              <a:gd name="connsiteY1295" fmla="*/ 339551 h 609800"/>
              <a:gd name="connsiteX1296" fmla="*/ 5351966 w 12248682"/>
              <a:gd name="connsiteY1296" fmla="*/ 288734 h 609800"/>
              <a:gd name="connsiteX1297" fmla="*/ 4223596 w 12248682"/>
              <a:gd name="connsiteY1297" fmla="*/ 288734 h 609800"/>
              <a:gd name="connsiteX1298" fmla="*/ 4274414 w 12248682"/>
              <a:gd name="connsiteY1298" fmla="*/ 339551 h 609800"/>
              <a:gd name="connsiteX1299" fmla="*/ 4223596 w 12248682"/>
              <a:gd name="connsiteY1299" fmla="*/ 390368 h 609800"/>
              <a:gd name="connsiteX1300" fmla="*/ 4172779 w 12248682"/>
              <a:gd name="connsiteY1300" fmla="*/ 339551 h 609800"/>
              <a:gd name="connsiteX1301" fmla="*/ 4223596 w 12248682"/>
              <a:gd name="connsiteY1301" fmla="*/ 288734 h 609800"/>
              <a:gd name="connsiteX1302" fmla="*/ 1889473 w 12248682"/>
              <a:gd name="connsiteY1302" fmla="*/ 288734 h 609800"/>
              <a:gd name="connsiteX1303" fmla="*/ 1940290 w 12248682"/>
              <a:gd name="connsiteY1303" fmla="*/ 339551 h 609800"/>
              <a:gd name="connsiteX1304" fmla="*/ 1889473 w 12248682"/>
              <a:gd name="connsiteY1304" fmla="*/ 390368 h 609800"/>
              <a:gd name="connsiteX1305" fmla="*/ 1838656 w 12248682"/>
              <a:gd name="connsiteY1305" fmla="*/ 339551 h 609800"/>
              <a:gd name="connsiteX1306" fmla="*/ 1889473 w 12248682"/>
              <a:gd name="connsiteY1306" fmla="*/ 288734 h 609800"/>
              <a:gd name="connsiteX1307" fmla="*/ 739158 w 12248682"/>
              <a:gd name="connsiteY1307" fmla="*/ 288734 h 609800"/>
              <a:gd name="connsiteX1308" fmla="*/ 789975 w 12248682"/>
              <a:gd name="connsiteY1308" fmla="*/ 339551 h 609800"/>
              <a:gd name="connsiteX1309" fmla="*/ 739158 w 12248682"/>
              <a:gd name="connsiteY1309" fmla="*/ 390368 h 609800"/>
              <a:gd name="connsiteX1310" fmla="*/ 688341 w 12248682"/>
              <a:gd name="connsiteY1310" fmla="*/ 339551 h 609800"/>
              <a:gd name="connsiteX1311" fmla="*/ 739158 w 12248682"/>
              <a:gd name="connsiteY1311" fmla="*/ 288734 h 609800"/>
              <a:gd name="connsiteX1312" fmla="*/ 12227892 w 12248682"/>
              <a:gd name="connsiteY1312" fmla="*/ 175550 h 609800"/>
              <a:gd name="connsiteX1313" fmla="*/ 12248682 w 12248682"/>
              <a:gd name="connsiteY1313" fmla="*/ 196339 h 609800"/>
              <a:gd name="connsiteX1314" fmla="*/ 12227892 w 12248682"/>
              <a:gd name="connsiteY1314" fmla="*/ 217128 h 609800"/>
              <a:gd name="connsiteX1315" fmla="*/ 12207104 w 12248682"/>
              <a:gd name="connsiteY1315" fmla="*/ 196339 h 609800"/>
              <a:gd name="connsiteX1316" fmla="*/ 12227892 w 12248682"/>
              <a:gd name="connsiteY1316" fmla="*/ 175550 h 609800"/>
              <a:gd name="connsiteX1317" fmla="*/ 12091610 w 12248682"/>
              <a:gd name="connsiteY1317" fmla="*/ 175550 h 609800"/>
              <a:gd name="connsiteX1318" fmla="*/ 12112399 w 12248682"/>
              <a:gd name="connsiteY1318" fmla="*/ 196339 h 609800"/>
              <a:gd name="connsiteX1319" fmla="*/ 12091610 w 12248682"/>
              <a:gd name="connsiteY1319" fmla="*/ 217128 h 609800"/>
              <a:gd name="connsiteX1320" fmla="*/ 12070822 w 12248682"/>
              <a:gd name="connsiteY1320" fmla="*/ 196339 h 609800"/>
              <a:gd name="connsiteX1321" fmla="*/ 12091610 w 12248682"/>
              <a:gd name="connsiteY1321" fmla="*/ 175550 h 609800"/>
              <a:gd name="connsiteX1322" fmla="*/ 11956484 w 12248682"/>
              <a:gd name="connsiteY1322" fmla="*/ 175550 h 609800"/>
              <a:gd name="connsiteX1323" fmla="*/ 11977272 w 12248682"/>
              <a:gd name="connsiteY1323" fmla="*/ 196339 h 609800"/>
              <a:gd name="connsiteX1324" fmla="*/ 11956484 w 12248682"/>
              <a:gd name="connsiteY1324" fmla="*/ 217128 h 609800"/>
              <a:gd name="connsiteX1325" fmla="*/ 11935695 w 12248682"/>
              <a:gd name="connsiteY1325" fmla="*/ 196339 h 609800"/>
              <a:gd name="connsiteX1326" fmla="*/ 11956484 w 12248682"/>
              <a:gd name="connsiteY1326" fmla="*/ 175550 h 609800"/>
              <a:gd name="connsiteX1327" fmla="*/ 11821356 w 12248682"/>
              <a:gd name="connsiteY1327" fmla="*/ 175550 h 609800"/>
              <a:gd name="connsiteX1328" fmla="*/ 11842144 w 12248682"/>
              <a:gd name="connsiteY1328" fmla="*/ 196339 h 609800"/>
              <a:gd name="connsiteX1329" fmla="*/ 11821356 w 12248682"/>
              <a:gd name="connsiteY1329" fmla="*/ 217128 h 609800"/>
              <a:gd name="connsiteX1330" fmla="*/ 11800567 w 12248682"/>
              <a:gd name="connsiteY1330" fmla="*/ 196339 h 609800"/>
              <a:gd name="connsiteX1331" fmla="*/ 11821356 w 12248682"/>
              <a:gd name="connsiteY1331" fmla="*/ 175550 h 609800"/>
              <a:gd name="connsiteX1332" fmla="*/ 11685074 w 12248682"/>
              <a:gd name="connsiteY1332" fmla="*/ 175550 h 609800"/>
              <a:gd name="connsiteX1333" fmla="*/ 11705862 w 12248682"/>
              <a:gd name="connsiteY1333" fmla="*/ 196339 h 609800"/>
              <a:gd name="connsiteX1334" fmla="*/ 11685074 w 12248682"/>
              <a:gd name="connsiteY1334" fmla="*/ 217128 h 609800"/>
              <a:gd name="connsiteX1335" fmla="*/ 11664285 w 12248682"/>
              <a:gd name="connsiteY1335" fmla="*/ 196339 h 609800"/>
              <a:gd name="connsiteX1336" fmla="*/ 11685074 w 12248682"/>
              <a:gd name="connsiteY1336" fmla="*/ 175550 h 609800"/>
              <a:gd name="connsiteX1337" fmla="*/ 10736873 w 12248682"/>
              <a:gd name="connsiteY1337" fmla="*/ 175550 h 609800"/>
              <a:gd name="connsiteX1338" fmla="*/ 10757662 w 12248682"/>
              <a:gd name="connsiteY1338" fmla="*/ 196339 h 609800"/>
              <a:gd name="connsiteX1339" fmla="*/ 10736873 w 12248682"/>
              <a:gd name="connsiteY1339" fmla="*/ 217128 h 609800"/>
              <a:gd name="connsiteX1340" fmla="*/ 10716084 w 12248682"/>
              <a:gd name="connsiteY1340" fmla="*/ 196339 h 609800"/>
              <a:gd name="connsiteX1341" fmla="*/ 10736873 w 12248682"/>
              <a:gd name="connsiteY1341" fmla="*/ 175550 h 609800"/>
              <a:gd name="connsiteX1342" fmla="*/ 10601745 w 12248682"/>
              <a:gd name="connsiteY1342" fmla="*/ 175550 h 609800"/>
              <a:gd name="connsiteX1343" fmla="*/ 10622534 w 12248682"/>
              <a:gd name="connsiteY1343" fmla="*/ 196339 h 609800"/>
              <a:gd name="connsiteX1344" fmla="*/ 10601745 w 12248682"/>
              <a:gd name="connsiteY1344" fmla="*/ 217128 h 609800"/>
              <a:gd name="connsiteX1345" fmla="*/ 10580956 w 12248682"/>
              <a:gd name="connsiteY1345" fmla="*/ 196339 h 609800"/>
              <a:gd name="connsiteX1346" fmla="*/ 10601745 w 12248682"/>
              <a:gd name="connsiteY1346" fmla="*/ 175550 h 609800"/>
              <a:gd name="connsiteX1347" fmla="*/ 8027949 w 12248682"/>
              <a:gd name="connsiteY1347" fmla="*/ 175550 h 609800"/>
              <a:gd name="connsiteX1348" fmla="*/ 8048737 w 12248682"/>
              <a:gd name="connsiteY1348" fmla="*/ 196339 h 609800"/>
              <a:gd name="connsiteX1349" fmla="*/ 8027949 w 12248682"/>
              <a:gd name="connsiteY1349" fmla="*/ 217128 h 609800"/>
              <a:gd name="connsiteX1350" fmla="*/ 8007160 w 12248682"/>
              <a:gd name="connsiteY1350" fmla="*/ 196339 h 609800"/>
              <a:gd name="connsiteX1351" fmla="*/ 8027949 w 12248682"/>
              <a:gd name="connsiteY1351" fmla="*/ 175550 h 609800"/>
              <a:gd name="connsiteX1352" fmla="*/ 7892822 w 12248682"/>
              <a:gd name="connsiteY1352" fmla="*/ 175550 h 609800"/>
              <a:gd name="connsiteX1353" fmla="*/ 7913611 w 12248682"/>
              <a:gd name="connsiteY1353" fmla="*/ 196339 h 609800"/>
              <a:gd name="connsiteX1354" fmla="*/ 7892822 w 12248682"/>
              <a:gd name="connsiteY1354" fmla="*/ 217128 h 609800"/>
              <a:gd name="connsiteX1355" fmla="*/ 7872031 w 12248682"/>
              <a:gd name="connsiteY1355" fmla="*/ 196339 h 609800"/>
              <a:gd name="connsiteX1356" fmla="*/ 7892822 w 12248682"/>
              <a:gd name="connsiteY1356" fmla="*/ 175550 h 609800"/>
              <a:gd name="connsiteX1357" fmla="*/ 7757693 w 12248682"/>
              <a:gd name="connsiteY1357" fmla="*/ 175550 h 609800"/>
              <a:gd name="connsiteX1358" fmla="*/ 7778483 w 12248682"/>
              <a:gd name="connsiteY1358" fmla="*/ 196339 h 609800"/>
              <a:gd name="connsiteX1359" fmla="*/ 7757693 w 12248682"/>
              <a:gd name="connsiteY1359" fmla="*/ 217128 h 609800"/>
              <a:gd name="connsiteX1360" fmla="*/ 7736906 w 12248682"/>
              <a:gd name="connsiteY1360" fmla="*/ 196339 h 609800"/>
              <a:gd name="connsiteX1361" fmla="*/ 7757693 w 12248682"/>
              <a:gd name="connsiteY1361" fmla="*/ 175550 h 609800"/>
              <a:gd name="connsiteX1362" fmla="*/ 7622566 w 12248682"/>
              <a:gd name="connsiteY1362" fmla="*/ 175550 h 609800"/>
              <a:gd name="connsiteX1363" fmla="*/ 7643355 w 12248682"/>
              <a:gd name="connsiteY1363" fmla="*/ 196339 h 609800"/>
              <a:gd name="connsiteX1364" fmla="*/ 7622566 w 12248682"/>
              <a:gd name="connsiteY1364" fmla="*/ 217128 h 609800"/>
              <a:gd name="connsiteX1365" fmla="*/ 7601778 w 12248682"/>
              <a:gd name="connsiteY1365" fmla="*/ 196339 h 609800"/>
              <a:gd name="connsiteX1366" fmla="*/ 7622566 w 12248682"/>
              <a:gd name="connsiteY1366" fmla="*/ 175550 h 609800"/>
              <a:gd name="connsiteX1367" fmla="*/ 7486284 w 12248682"/>
              <a:gd name="connsiteY1367" fmla="*/ 175550 h 609800"/>
              <a:gd name="connsiteX1368" fmla="*/ 7507074 w 12248682"/>
              <a:gd name="connsiteY1368" fmla="*/ 196339 h 609800"/>
              <a:gd name="connsiteX1369" fmla="*/ 7486284 w 12248682"/>
              <a:gd name="connsiteY1369" fmla="*/ 217128 h 609800"/>
              <a:gd name="connsiteX1370" fmla="*/ 7465495 w 12248682"/>
              <a:gd name="connsiteY1370" fmla="*/ 196339 h 609800"/>
              <a:gd name="connsiteX1371" fmla="*/ 7486284 w 12248682"/>
              <a:gd name="connsiteY1371" fmla="*/ 175550 h 609800"/>
              <a:gd name="connsiteX1372" fmla="*/ 7351157 w 12248682"/>
              <a:gd name="connsiteY1372" fmla="*/ 175550 h 609800"/>
              <a:gd name="connsiteX1373" fmla="*/ 7371946 w 12248682"/>
              <a:gd name="connsiteY1373" fmla="*/ 196339 h 609800"/>
              <a:gd name="connsiteX1374" fmla="*/ 7351157 w 12248682"/>
              <a:gd name="connsiteY1374" fmla="*/ 217128 h 609800"/>
              <a:gd name="connsiteX1375" fmla="*/ 7330369 w 12248682"/>
              <a:gd name="connsiteY1375" fmla="*/ 196339 h 609800"/>
              <a:gd name="connsiteX1376" fmla="*/ 7351157 w 12248682"/>
              <a:gd name="connsiteY1376" fmla="*/ 175550 h 609800"/>
              <a:gd name="connsiteX1377" fmla="*/ 7216030 w 12248682"/>
              <a:gd name="connsiteY1377" fmla="*/ 175550 h 609800"/>
              <a:gd name="connsiteX1378" fmla="*/ 7236819 w 12248682"/>
              <a:gd name="connsiteY1378" fmla="*/ 196339 h 609800"/>
              <a:gd name="connsiteX1379" fmla="*/ 7216030 w 12248682"/>
              <a:gd name="connsiteY1379" fmla="*/ 217128 h 609800"/>
              <a:gd name="connsiteX1380" fmla="*/ 7195241 w 12248682"/>
              <a:gd name="connsiteY1380" fmla="*/ 196339 h 609800"/>
              <a:gd name="connsiteX1381" fmla="*/ 7216030 w 12248682"/>
              <a:gd name="connsiteY1381" fmla="*/ 175550 h 609800"/>
              <a:gd name="connsiteX1382" fmla="*/ 7079748 w 12248682"/>
              <a:gd name="connsiteY1382" fmla="*/ 175550 h 609800"/>
              <a:gd name="connsiteX1383" fmla="*/ 7100537 w 12248682"/>
              <a:gd name="connsiteY1383" fmla="*/ 196339 h 609800"/>
              <a:gd name="connsiteX1384" fmla="*/ 7079748 w 12248682"/>
              <a:gd name="connsiteY1384" fmla="*/ 217128 h 609800"/>
              <a:gd name="connsiteX1385" fmla="*/ 7058959 w 12248682"/>
              <a:gd name="connsiteY1385" fmla="*/ 196339 h 609800"/>
              <a:gd name="connsiteX1386" fmla="*/ 7079748 w 12248682"/>
              <a:gd name="connsiteY1386" fmla="*/ 175550 h 609800"/>
              <a:gd name="connsiteX1387" fmla="*/ 6131548 w 12248682"/>
              <a:gd name="connsiteY1387" fmla="*/ 175550 h 609800"/>
              <a:gd name="connsiteX1388" fmla="*/ 6152336 w 12248682"/>
              <a:gd name="connsiteY1388" fmla="*/ 196339 h 609800"/>
              <a:gd name="connsiteX1389" fmla="*/ 6131548 w 12248682"/>
              <a:gd name="connsiteY1389" fmla="*/ 217128 h 609800"/>
              <a:gd name="connsiteX1390" fmla="*/ 6110759 w 12248682"/>
              <a:gd name="connsiteY1390" fmla="*/ 196339 h 609800"/>
              <a:gd name="connsiteX1391" fmla="*/ 6131548 w 12248682"/>
              <a:gd name="connsiteY1391" fmla="*/ 175550 h 609800"/>
              <a:gd name="connsiteX1392" fmla="*/ 5996418 w 12248682"/>
              <a:gd name="connsiteY1392" fmla="*/ 175550 h 609800"/>
              <a:gd name="connsiteX1393" fmla="*/ 6017209 w 12248682"/>
              <a:gd name="connsiteY1393" fmla="*/ 196339 h 609800"/>
              <a:gd name="connsiteX1394" fmla="*/ 5996418 w 12248682"/>
              <a:gd name="connsiteY1394" fmla="*/ 217128 h 609800"/>
              <a:gd name="connsiteX1395" fmla="*/ 5975631 w 12248682"/>
              <a:gd name="connsiteY1395" fmla="*/ 196339 h 609800"/>
              <a:gd name="connsiteX1396" fmla="*/ 5996418 w 12248682"/>
              <a:gd name="connsiteY1396" fmla="*/ 175550 h 609800"/>
              <a:gd name="connsiteX1397" fmla="*/ 3415142 w 12248682"/>
              <a:gd name="connsiteY1397" fmla="*/ 175550 h 609800"/>
              <a:gd name="connsiteX1398" fmla="*/ 3435930 w 12248682"/>
              <a:gd name="connsiteY1398" fmla="*/ 196339 h 609800"/>
              <a:gd name="connsiteX1399" fmla="*/ 3415142 w 12248682"/>
              <a:gd name="connsiteY1399" fmla="*/ 217128 h 609800"/>
              <a:gd name="connsiteX1400" fmla="*/ 3394352 w 12248682"/>
              <a:gd name="connsiteY1400" fmla="*/ 196339 h 609800"/>
              <a:gd name="connsiteX1401" fmla="*/ 3415142 w 12248682"/>
              <a:gd name="connsiteY1401" fmla="*/ 175550 h 609800"/>
              <a:gd name="connsiteX1402" fmla="*/ 3280013 w 12248682"/>
              <a:gd name="connsiteY1402" fmla="*/ 175550 h 609800"/>
              <a:gd name="connsiteX1403" fmla="*/ 3300802 w 12248682"/>
              <a:gd name="connsiteY1403" fmla="*/ 196339 h 609800"/>
              <a:gd name="connsiteX1404" fmla="*/ 3280013 w 12248682"/>
              <a:gd name="connsiteY1404" fmla="*/ 217128 h 609800"/>
              <a:gd name="connsiteX1405" fmla="*/ 3259224 w 12248682"/>
              <a:gd name="connsiteY1405" fmla="*/ 196339 h 609800"/>
              <a:gd name="connsiteX1406" fmla="*/ 3280013 w 12248682"/>
              <a:gd name="connsiteY1406" fmla="*/ 175550 h 609800"/>
              <a:gd name="connsiteX1407" fmla="*/ 3144887 w 12248682"/>
              <a:gd name="connsiteY1407" fmla="*/ 175550 h 609800"/>
              <a:gd name="connsiteX1408" fmla="*/ 3165675 w 12248682"/>
              <a:gd name="connsiteY1408" fmla="*/ 196339 h 609800"/>
              <a:gd name="connsiteX1409" fmla="*/ 3144887 w 12248682"/>
              <a:gd name="connsiteY1409" fmla="*/ 217128 h 609800"/>
              <a:gd name="connsiteX1410" fmla="*/ 3124098 w 12248682"/>
              <a:gd name="connsiteY1410" fmla="*/ 196339 h 609800"/>
              <a:gd name="connsiteX1411" fmla="*/ 3144887 w 12248682"/>
              <a:gd name="connsiteY1411" fmla="*/ 175550 h 609800"/>
              <a:gd name="connsiteX1412" fmla="*/ 3009759 w 12248682"/>
              <a:gd name="connsiteY1412" fmla="*/ 175550 h 609800"/>
              <a:gd name="connsiteX1413" fmla="*/ 3030548 w 12248682"/>
              <a:gd name="connsiteY1413" fmla="*/ 196339 h 609800"/>
              <a:gd name="connsiteX1414" fmla="*/ 3009759 w 12248682"/>
              <a:gd name="connsiteY1414" fmla="*/ 217128 h 609800"/>
              <a:gd name="connsiteX1415" fmla="*/ 2988971 w 12248682"/>
              <a:gd name="connsiteY1415" fmla="*/ 196339 h 609800"/>
              <a:gd name="connsiteX1416" fmla="*/ 3009759 w 12248682"/>
              <a:gd name="connsiteY1416" fmla="*/ 175550 h 609800"/>
              <a:gd name="connsiteX1417" fmla="*/ 2873476 w 12248682"/>
              <a:gd name="connsiteY1417" fmla="*/ 175550 h 609800"/>
              <a:gd name="connsiteX1418" fmla="*/ 2894265 w 12248682"/>
              <a:gd name="connsiteY1418" fmla="*/ 196339 h 609800"/>
              <a:gd name="connsiteX1419" fmla="*/ 2873476 w 12248682"/>
              <a:gd name="connsiteY1419" fmla="*/ 217128 h 609800"/>
              <a:gd name="connsiteX1420" fmla="*/ 2852688 w 12248682"/>
              <a:gd name="connsiteY1420" fmla="*/ 196339 h 609800"/>
              <a:gd name="connsiteX1421" fmla="*/ 2873476 w 12248682"/>
              <a:gd name="connsiteY1421" fmla="*/ 175550 h 609800"/>
              <a:gd name="connsiteX1422" fmla="*/ 2738350 w 12248682"/>
              <a:gd name="connsiteY1422" fmla="*/ 175550 h 609800"/>
              <a:gd name="connsiteX1423" fmla="*/ 2759139 w 12248682"/>
              <a:gd name="connsiteY1423" fmla="*/ 196339 h 609800"/>
              <a:gd name="connsiteX1424" fmla="*/ 2738350 w 12248682"/>
              <a:gd name="connsiteY1424" fmla="*/ 217128 h 609800"/>
              <a:gd name="connsiteX1425" fmla="*/ 2717562 w 12248682"/>
              <a:gd name="connsiteY1425" fmla="*/ 196339 h 609800"/>
              <a:gd name="connsiteX1426" fmla="*/ 2738350 w 12248682"/>
              <a:gd name="connsiteY1426" fmla="*/ 175550 h 609800"/>
              <a:gd name="connsiteX1427" fmla="*/ 2603222 w 12248682"/>
              <a:gd name="connsiteY1427" fmla="*/ 175550 h 609800"/>
              <a:gd name="connsiteX1428" fmla="*/ 2624011 w 12248682"/>
              <a:gd name="connsiteY1428" fmla="*/ 196339 h 609800"/>
              <a:gd name="connsiteX1429" fmla="*/ 2603222 w 12248682"/>
              <a:gd name="connsiteY1429" fmla="*/ 217128 h 609800"/>
              <a:gd name="connsiteX1430" fmla="*/ 2582433 w 12248682"/>
              <a:gd name="connsiteY1430" fmla="*/ 196339 h 609800"/>
              <a:gd name="connsiteX1431" fmla="*/ 2603222 w 12248682"/>
              <a:gd name="connsiteY1431" fmla="*/ 175550 h 609800"/>
              <a:gd name="connsiteX1432" fmla="*/ 2466940 w 12248682"/>
              <a:gd name="connsiteY1432" fmla="*/ 175550 h 609800"/>
              <a:gd name="connsiteX1433" fmla="*/ 2487729 w 12248682"/>
              <a:gd name="connsiteY1433" fmla="*/ 196339 h 609800"/>
              <a:gd name="connsiteX1434" fmla="*/ 2466940 w 12248682"/>
              <a:gd name="connsiteY1434" fmla="*/ 217128 h 609800"/>
              <a:gd name="connsiteX1435" fmla="*/ 2446151 w 12248682"/>
              <a:gd name="connsiteY1435" fmla="*/ 196339 h 609800"/>
              <a:gd name="connsiteX1436" fmla="*/ 2466940 w 12248682"/>
              <a:gd name="connsiteY1436" fmla="*/ 175550 h 609800"/>
              <a:gd name="connsiteX1437" fmla="*/ 1518739 w 12248682"/>
              <a:gd name="connsiteY1437" fmla="*/ 175550 h 609800"/>
              <a:gd name="connsiteX1438" fmla="*/ 1539528 w 12248682"/>
              <a:gd name="connsiteY1438" fmla="*/ 196339 h 609800"/>
              <a:gd name="connsiteX1439" fmla="*/ 1518739 w 12248682"/>
              <a:gd name="connsiteY1439" fmla="*/ 217128 h 609800"/>
              <a:gd name="connsiteX1440" fmla="*/ 1497951 w 12248682"/>
              <a:gd name="connsiteY1440" fmla="*/ 196339 h 609800"/>
              <a:gd name="connsiteX1441" fmla="*/ 1518739 w 12248682"/>
              <a:gd name="connsiteY1441" fmla="*/ 175550 h 609800"/>
              <a:gd name="connsiteX1442" fmla="*/ 1383611 w 12248682"/>
              <a:gd name="connsiteY1442" fmla="*/ 175550 h 609800"/>
              <a:gd name="connsiteX1443" fmla="*/ 1404400 w 12248682"/>
              <a:gd name="connsiteY1443" fmla="*/ 196339 h 609800"/>
              <a:gd name="connsiteX1444" fmla="*/ 1383611 w 12248682"/>
              <a:gd name="connsiteY1444" fmla="*/ 217128 h 609800"/>
              <a:gd name="connsiteX1445" fmla="*/ 1362823 w 12248682"/>
              <a:gd name="connsiteY1445" fmla="*/ 196339 h 609800"/>
              <a:gd name="connsiteX1446" fmla="*/ 1383611 w 12248682"/>
              <a:gd name="connsiteY1446" fmla="*/ 175550 h 609800"/>
              <a:gd name="connsiteX1447" fmla="*/ 11549947 w 12248682"/>
              <a:gd name="connsiteY1447" fmla="*/ 172086 h 609800"/>
              <a:gd name="connsiteX1448" fmla="*/ 11573046 w 12248682"/>
              <a:gd name="connsiteY1448" fmla="*/ 195185 h 609800"/>
              <a:gd name="connsiteX1449" fmla="*/ 11549947 w 12248682"/>
              <a:gd name="connsiteY1449" fmla="*/ 218283 h 609800"/>
              <a:gd name="connsiteX1450" fmla="*/ 11526848 w 12248682"/>
              <a:gd name="connsiteY1450" fmla="*/ 195185 h 609800"/>
              <a:gd name="connsiteX1451" fmla="*/ 11549947 w 12248682"/>
              <a:gd name="connsiteY1451" fmla="*/ 172086 h 609800"/>
              <a:gd name="connsiteX1452" fmla="*/ 10466618 w 12248682"/>
              <a:gd name="connsiteY1452" fmla="*/ 172086 h 609800"/>
              <a:gd name="connsiteX1453" fmla="*/ 10489717 w 12248682"/>
              <a:gd name="connsiteY1453" fmla="*/ 195185 h 609800"/>
              <a:gd name="connsiteX1454" fmla="*/ 10466618 w 12248682"/>
              <a:gd name="connsiteY1454" fmla="*/ 218283 h 609800"/>
              <a:gd name="connsiteX1455" fmla="*/ 10443520 w 12248682"/>
              <a:gd name="connsiteY1455" fmla="*/ 195185 h 609800"/>
              <a:gd name="connsiteX1456" fmla="*/ 10466618 w 12248682"/>
              <a:gd name="connsiteY1456" fmla="*/ 172086 h 609800"/>
              <a:gd name="connsiteX1457" fmla="*/ 9244698 w 12248682"/>
              <a:gd name="connsiteY1457" fmla="*/ 172086 h 609800"/>
              <a:gd name="connsiteX1458" fmla="*/ 9270107 w 12248682"/>
              <a:gd name="connsiteY1458" fmla="*/ 194029 h 609800"/>
              <a:gd name="connsiteX1459" fmla="*/ 9249318 w 12248682"/>
              <a:gd name="connsiteY1459" fmla="*/ 219438 h 609800"/>
              <a:gd name="connsiteX1460" fmla="*/ 9223909 w 12248682"/>
              <a:gd name="connsiteY1460" fmla="*/ 197494 h 609800"/>
              <a:gd name="connsiteX1461" fmla="*/ 9244698 w 12248682"/>
              <a:gd name="connsiteY1461" fmla="*/ 172086 h 609800"/>
              <a:gd name="connsiteX1462" fmla="*/ 8164231 w 12248682"/>
              <a:gd name="connsiteY1462" fmla="*/ 172086 h 609800"/>
              <a:gd name="connsiteX1463" fmla="*/ 8187331 w 12248682"/>
              <a:gd name="connsiteY1463" fmla="*/ 195185 h 609800"/>
              <a:gd name="connsiteX1464" fmla="*/ 8164231 w 12248682"/>
              <a:gd name="connsiteY1464" fmla="*/ 218283 h 609800"/>
              <a:gd name="connsiteX1465" fmla="*/ 8141133 w 12248682"/>
              <a:gd name="connsiteY1465" fmla="*/ 195185 h 609800"/>
              <a:gd name="connsiteX1466" fmla="*/ 8164231 w 12248682"/>
              <a:gd name="connsiteY1466" fmla="*/ 172086 h 609800"/>
              <a:gd name="connsiteX1467" fmla="*/ 6944621 w 12248682"/>
              <a:gd name="connsiteY1467" fmla="*/ 172086 h 609800"/>
              <a:gd name="connsiteX1468" fmla="*/ 6967719 w 12248682"/>
              <a:gd name="connsiteY1468" fmla="*/ 195185 h 609800"/>
              <a:gd name="connsiteX1469" fmla="*/ 6944621 w 12248682"/>
              <a:gd name="connsiteY1469" fmla="*/ 218283 h 609800"/>
              <a:gd name="connsiteX1470" fmla="*/ 6921522 w 12248682"/>
              <a:gd name="connsiteY1470" fmla="*/ 195185 h 609800"/>
              <a:gd name="connsiteX1471" fmla="*/ 6944621 w 12248682"/>
              <a:gd name="connsiteY1471" fmla="*/ 172086 h 609800"/>
              <a:gd name="connsiteX1472" fmla="*/ 5861292 w 12248682"/>
              <a:gd name="connsiteY1472" fmla="*/ 172086 h 609800"/>
              <a:gd name="connsiteX1473" fmla="*/ 5884392 w 12248682"/>
              <a:gd name="connsiteY1473" fmla="*/ 195185 h 609800"/>
              <a:gd name="connsiteX1474" fmla="*/ 5861292 w 12248682"/>
              <a:gd name="connsiteY1474" fmla="*/ 218283 h 609800"/>
              <a:gd name="connsiteX1475" fmla="*/ 5838194 w 12248682"/>
              <a:gd name="connsiteY1475" fmla="*/ 195185 h 609800"/>
              <a:gd name="connsiteX1476" fmla="*/ 5861292 w 12248682"/>
              <a:gd name="connsiteY1476" fmla="*/ 172086 h 609800"/>
              <a:gd name="connsiteX1477" fmla="*/ 4639374 w 12248682"/>
              <a:gd name="connsiteY1477" fmla="*/ 172086 h 609800"/>
              <a:gd name="connsiteX1478" fmla="*/ 4664780 w 12248682"/>
              <a:gd name="connsiteY1478" fmla="*/ 192875 h 609800"/>
              <a:gd name="connsiteX1479" fmla="*/ 4643991 w 12248682"/>
              <a:gd name="connsiteY1479" fmla="*/ 218283 h 609800"/>
              <a:gd name="connsiteX1480" fmla="*/ 4618583 w 12248682"/>
              <a:gd name="connsiteY1480" fmla="*/ 197494 h 609800"/>
              <a:gd name="connsiteX1481" fmla="*/ 4639374 w 12248682"/>
              <a:gd name="connsiteY1481" fmla="*/ 172086 h 609800"/>
              <a:gd name="connsiteX1482" fmla="*/ 3551423 w 12248682"/>
              <a:gd name="connsiteY1482" fmla="*/ 172086 h 609800"/>
              <a:gd name="connsiteX1483" fmla="*/ 3574522 w 12248682"/>
              <a:gd name="connsiteY1483" fmla="*/ 195185 h 609800"/>
              <a:gd name="connsiteX1484" fmla="*/ 3551423 w 12248682"/>
              <a:gd name="connsiteY1484" fmla="*/ 218283 h 609800"/>
              <a:gd name="connsiteX1485" fmla="*/ 3528325 w 12248682"/>
              <a:gd name="connsiteY1485" fmla="*/ 195185 h 609800"/>
              <a:gd name="connsiteX1486" fmla="*/ 3551423 w 12248682"/>
              <a:gd name="connsiteY1486" fmla="*/ 172086 h 609800"/>
              <a:gd name="connsiteX1487" fmla="*/ 2331813 w 12248682"/>
              <a:gd name="connsiteY1487" fmla="*/ 172086 h 609800"/>
              <a:gd name="connsiteX1488" fmla="*/ 2354912 w 12248682"/>
              <a:gd name="connsiteY1488" fmla="*/ 195185 h 609800"/>
              <a:gd name="connsiteX1489" fmla="*/ 2331813 w 12248682"/>
              <a:gd name="connsiteY1489" fmla="*/ 218283 h 609800"/>
              <a:gd name="connsiteX1490" fmla="*/ 2308714 w 12248682"/>
              <a:gd name="connsiteY1490" fmla="*/ 195185 h 609800"/>
              <a:gd name="connsiteX1491" fmla="*/ 2331813 w 12248682"/>
              <a:gd name="connsiteY1491" fmla="*/ 172086 h 609800"/>
              <a:gd name="connsiteX1492" fmla="*/ 1248485 w 12248682"/>
              <a:gd name="connsiteY1492" fmla="*/ 172086 h 609800"/>
              <a:gd name="connsiteX1493" fmla="*/ 1271583 w 12248682"/>
              <a:gd name="connsiteY1493" fmla="*/ 195185 h 609800"/>
              <a:gd name="connsiteX1494" fmla="*/ 1248485 w 12248682"/>
              <a:gd name="connsiteY1494" fmla="*/ 218283 h 609800"/>
              <a:gd name="connsiteX1495" fmla="*/ 1225386 w 12248682"/>
              <a:gd name="connsiteY1495" fmla="*/ 195185 h 609800"/>
              <a:gd name="connsiteX1496" fmla="*/ 1248485 w 12248682"/>
              <a:gd name="connsiteY1496" fmla="*/ 172086 h 609800"/>
              <a:gd name="connsiteX1497" fmla="*/ 26564 w 12248682"/>
              <a:gd name="connsiteY1497" fmla="*/ 172086 h 609800"/>
              <a:gd name="connsiteX1498" fmla="*/ 51973 w 12248682"/>
              <a:gd name="connsiteY1498" fmla="*/ 194029 h 609800"/>
              <a:gd name="connsiteX1499" fmla="*/ 31184 w 12248682"/>
              <a:gd name="connsiteY1499" fmla="*/ 219438 h 609800"/>
              <a:gd name="connsiteX1500" fmla="*/ 5776 w 12248682"/>
              <a:gd name="connsiteY1500" fmla="*/ 197494 h 609800"/>
              <a:gd name="connsiteX1501" fmla="*/ 26564 w 12248682"/>
              <a:gd name="connsiteY1501" fmla="*/ 172086 h 609800"/>
              <a:gd name="connsiteX1502" fmla="*/ 11414819 w 12248682"/>
              <a:gd name="connsiteY1502" fmla="*/ 166311 h 609800"/>
              <a:gd name="connsiteX1503" fmla="*/ 11443693 w 12248682"/>
              <a:gd name="connsiteY1503" fmla="*/ 195185 h 609800"/>
              <a:gd name="connsiteX1504" fmla="*/ 11414819 w 12248682"/>
              <a:gd name="connsiteY1504" fmla="*/ 224057 h 609800"/>
              <a:gd name="connsiteX1505" fmla="*/ 11385946 w 12248682"/>
              <a:gd name="connsiteY1505" fmla="*/ 195185 h 609800"/>
              <a:gd name="connsiteX1506" fmla="*/ 11414819 w 12248682"/>
              <a:gd name="connsiteY1506" fmla="*/ 166311 h 609800"/>
              <a:gd name="connsiteX1507" fmla="*/ 10330336 w 12248682"/>
              <a:gd name="connsiteY1507" fmla="*/ 166311 h 609800"/>
              <a:gd name="connsiteX1508" fmla="*/ 10359209 w 12248682"/>
              <a:gd name="connsiteY1508" fmla="*/ 195185 h 609800"/>
              <a:gd name="connsiteX1509" fmla="*/ 10330336 w 12248682"/>
              <a:gd name="connsiteY1509" fmla="*/ 224057 h 609800"/>
              <a:gd name="connsiteX1510" fmla="*/ 10301462 w 12248682"/>
              <a:gd name="connsiteY1510" fmla="*/ 195185 h 609800"/>
              <a:gd name="connsiteX1511" fmla="*/ 10330336 w 12248682"/>
              <a:gd name="connsiteY1511" fmla="*/ 166311 h 609800"/>
              <a:gd name="connsiteX1512" fmla="*/ 9382135 w 12248682"/>
              <a:gd name="connsiteY1512" fmla="*/ 166311 h 609800"/>
              <a:gd name="connsiteX1513" fmla="*/ 9411009 w 12248682"/>
              <a:gd name="connsiteY1513" fmla="*/ 195185 h 609800"/>
              <a:gd name="connsiteX1514" fmla="*/ 9382135 w 12248682"/>
              <a:gd name="connsiteY1514" fmla="*/ 224057 h 609800"/>
              <a:gd name="connsiteX1515" fmla="*/ 9353262 w 12248682"/>
              <a:gd name="connsiteY1515" fmla="*/ 195185 h 609800"/>
              <a:gd name="connsiteX1516" fmla="*/ 9382135 w 12248682"/>
              <a:gd name="connsiteY1516" fmla="*/ 166311 h 609800"/>
              <a:gd name="connsiteX1517" fmla="*/ 9112431 w 12248682"/>
              <a:gd name="connsiteY1517" fmla="*/ 166311 h 609800"/>
              <a:gd name="connsiteX1518" fmla="*/ 9141305 w 12248682"/>
              <a:gd name="connsiteY1518" fmla="*/ 195185 h 609800"/>
              <a:gd name="connsiteX1519" fmla="*/ 9112431 w 12248682"/>
              <a:gd name="connsiteY1519" fmla="*/ 224057 h 609800"/>
              <a:gd name="connsiteX1520" fmla="*/ 9083558 w 12248682"/>
              <a:gd name="connsiteY1520" fmla="*/ 195185 h 609800"/>
              <a:gd name="connsiteX1521" fmla="*/ 9112431 w 12248682"/>
              <a:gd name="connsiteY1521" fmla="*/ 166311 h 609800"/>
              <a:gd name="connsiteX1522" fmla="*/ 8299358 w 12248682"/>
              <a:gd name="connsiteY1522" fmla="*/ 166311 h 609800"/>
              <a:gd name="connsiteX1523" fmla="*/ 8328231 w 12248682"/>
              <a:gd name="connsiteY1523" fmla="*/ 195185 h 609800"/>
              <a:gd name="connsiteX1524" fmla="*/ 8299358 w 12248682"/>
              <a:gd name="connsiteY1524" fmla="*/ 224057 h 609800"/>
              <a:gd name="connsiteX1525" fmla="*/ 8270485 w 12248682"/>
              <a:gd name="connsiteY1525" fmla="*/ 195185 h 609800"/>
              <a:gd name="connsiteX1526" fmla="*/ 8299358 w 12248682"/>
              <a:gd name="connsiteY1526" fmla="*/ 166311 h 609800"/>
              <a:gd name="connsiteX1527" fmla="*/ 6809492 w 12248682"/>
              <a:gd name="connsiteY1527" fmla="*/ 166311 h 609800"/>
              <a:gd name="connsiteX1528" fmla="*/ 6838367 w 12248682"/>
              <a:gd name="connsiteY1528" fmla="*/ 195185 h 609800"/>
              <a:gd name="connsiteX1529" fmla="*/ 6809492 w 12248682"/>
              <a:gd name="connsiteY1529" fmla="*/ 224057 h 609800"/>
              <a:gd name="connsiteX1530" fmla="*/ 6780620 w 12248682"/>
              <a:gd name="connsiteY1530" fmla="*/ 195185 h 609800"/>
              <a:gd name="connsiteX1531" fmla="*/ 6809492 w 12248682"/>
              <a:gd name="connsiteY1531" fmla="*/ 166311 h 609800"/>
              <a:gd name="connsiteX1532" fmla="*/ 5726165 w 12248682"/>
              <a:gd name="connsiteY1532" fmla="*/ 166311 h 609800"/>
              <a:gd name="connsiteX1533" fmla="*/ 5755038 w 12248682"/>
              <a:gd name="connsiteY1533" fmla="*/ 195185 h 609800"/>
              <a:gd name="connsiteX1534" fmla="*/ 5726165 w 12248682"/>
              <a:gd name="connsiteY1534" fmla="*/ 224057 h 609800"/>
              <a:gd name="connsiteX1535" fmla="*/ 5697292 w 12248682"/>
              <a:gd name="connsiteY1535" fmla="*/ 195185 h 609800"/>
              <a:gd name="connsiteX1536" fmla="*/ 5726165 w 12248682"/>
              <a:gd name="connsiteY1536" fmla="*/ 166311 h 609800"/>
              <a:gd name="connsiteX1537" fmla="*/ 4776809 w 12248682"/>
              <a:gd name="connsiteY1537" fmla="*/ 166311 h 609800"/>
              <a:gd name="connsiteX1538" fmla="*/ 4805682 w 12248682"/>
              <a:gd name="connsiteY1538" fmla="*/ 195185 h 609800"/>
              <a:gd name="connsiteX1539" fmla="*/ 4776809 w 12248682"/>
              <a:gd name="connsiteY1539" fmla="*/ 224057 h 609800"/>
              <a:gd name="connsiteX1540" fmla="*/ 4747936 w 12248682"/>
              <a:gd name="connsiteY1540" fmla="*/ 195185 h 609800"/>
              <a:gd name="connsiteX1541" fmla="*/ 4776809 w 12248682"/>
              <a:gd name="connsiteY1541" fmla="*/ 166311 h 609800"/>
              <a:gd name="connsiteX1542" fmla="*/ 4499625 w 12248682"/>
              <a:gd name="connsiteY1542" fmla="*/ 166311 h 609800"/>
              <a:gd name="connsiteX1543" fmla="*/ 4528499 w 12248682"/>
              <a:gd name="connsiteY1543" fmla="*/ 195185 h 609800"/>
              <a:gd name="connsiteX1544" fmla="*/ 4499625 w 12248682"/>
              <a:gd name="connsiteY1544" fmla="*/ 224057 h 609800"/>
              <a:gd name="connsiteX1545" fmla="*/ 4470752 w 12248682"/>
              <a:gd name="connsiteY1545" fmla="*/ 195185 h 609800"/>
              <a:gd name="connsiteX1546" fmla="*/ 4499625 w 12248682"/>
              <a:gd name="connsiteY1546" fmla="*/ 166311 h 609800"/>
              <a:gd name="connsiteX1547" fmla="*/ 3686551 w 12248682"/>
              <a:gd name="connsiteY1547" fmla="*/ 166311 h 609800"/>
              <a:gd name="connsiteX1548" fmla="*/ 3715424 w 12248682"/>
              <a:gd name="connsiteY1548" fmla="*/ 195185 h 609800"/>
              <a:gd name="connsiteX1549" fmla="*/ 3686551 w 12248682"/>
              <a:gd name="connsiteY1549" fmla="*/ 224057 h 609800"/>
              <a:gd name="connsiteX1550" fmla="*/ 3657677 w 12248682"/>
              <a:gd name="connsiteY1550" fmla="*/ 195185 h 609800"/>
              <a:gd name="connsiteX1551" fmla="*/ 3686551 w 12248682"/>
              <a:gd name="connsiteY1551" fmla="*/ 166311 h 609800"/>
              <a:gd name="connsiteX1552" fmla="*/ 2196685 w 12248682"/>
              <a:gd name="connsiteY1552" fmla="*/ 166311 h 609800"/>
              <a:gd name="connsiteX1553" fmla="*/ 2225559 w 12248682"/>
              <a:gd name="connsiteY1553" fmla="*/ 195185 h 609800"/>
              <a:gd name="connsiteX1554" fmla="*/ 2196685 w 12248682"/>
              <a:gd name="connsiteY1554" fmla="*/ 224057 h 609800"/>
              <a:gd name="connsiteX1555" fmla="*/ 2167813 w 12248682"/>
              <a:gd name="connsiteY1555" fmla="*/ 195185 h 609800"/>
              <a:gd name="connsiteX1556" fmla="*/ 2196685 w 12248682"/>
              <a:gd name="connsiteY1556" fmla="*/ 166311 h 609800"/>
              <a:gd name="connsiteX1557" fmla="*/ 1112202 w 12248682"/>
              <a:gd name="connsiteY1557" fmla="*/ 166311 h 609800"/>
              <a:gd name="connsiteX1558" fmla="*/ 1141075 w 12248682"/>
              <a:gd name="connsiteY1558" fmla="*/ 195185 h 609800"/>
              <a:gd name="connsiteX1559" fmla="*/ 1112202 w 12248682"/>
              <a:gd name="connsiteY1559" fmla="*/ 224057 h 609800"/>
              <a:gd name="connsiteX1560" fmla="*/ 1083328 w 12248682"/>
              <a:gd name="connsiteY1560" fmla="*/ 195185 h 609800"/>
              <a:gd name="connsiteX1561" fmla="*/ 1112202 w 12248682"/>
              <a:gd name="connsiteY1561" fmla="*/ 166311 h 609800"/>
              <a:gd name="connsiteX1562" fmla="*/ 164001 w 12248682"/>
              <a:gd name="connsiteY1562" fmla="*/ 166311 h 609800"/>
              <a:gd name="connsiteX1563" fmla="*/ 192875 w 12248682"/>
              <a:gd name="connsiteY1563" fmla="*/ 195185 h 609800"/>
              <a:gd name="connsiteX1564" fmla="*/ 164001 w 12248682"/>
              <a:gd name="connsiteY1564" fmla="*/ 224057 h 609800"/>
              <a:gd name="connsiteX1565" fmla="*/ 135128 w 12248682"/>
              <a:gd name="connsiteY1565" fmla="*/ 195185 h 609800"/>
              <a:gd name="connsiteX1566" fmla="*/ 164001 w 12248682"/>
              <a:gd name="connsiteY1566" fmla="*/ 166311 h 609800"/>
              <a:gd name="connsiteX1567" fmla="*/ 11279692 w 12248682"/>
              <a:gd name="connsiteY1567" fmla="*/ 160537 h 609800"/>
              <a:gd name="connsiteX1568" fmla="*/ 11314340 w 12248682"/>
              <a:gd name="connsiteY1568" fmla="*/ 195185 h 609800"/>
              <a:gd name="connsiteX1569" fmla="*/ 11279692 w 12248682"/>
              <a:gd name="connsiteY1569" fmla="*/ 229833 h 609800"/>
              <a:gd name="connsiteX1570" fmla="*/ 11245044 w 12248682"/>
              <a:gd name="connsiteY1570" fmla="*/ 195185 h 609800"/>
              <a:gd name="connsiteX1571" fmla="*/ 11279692 w 12248682"/>
              <a:gd name="connsiteY1571" fmla="*/ 160537 h 609800"/>
              <a:gd name="connsiteX1572" fmla="*/ 10195208 w 12248682"/>
              <a:gd name="connsiteY1572" fmla="*/ 160537 h 609800"/>
              <a:gd name="connsiteX1573" fmla="*/ 10229856 w 12248682"/>
              <a:gd name="connsiteY1573" fmla="*/ 195185 h 609800"/>
              <a:gd name="connsiteX1574" fmla="*/ 10195208 w 12248682"/>
              <a:gd name="connsiteY1574" fmla="*/ 229833 h 609800"/>
              <a:gd name="connsiteX1575" fmla="*/ 10160560 w 12248682"/>
              <a:gd name="connsiteY1575" fmla="*/ 195185 h 609800"/>
              <a:gd name="connsiteX1576" fmla="*/ 10195208 w 12248682"/>
              <a:gd name="connsiteY1576" fmla="*/ 160537 h 609800"/>
              <a:gd name="connsiteX1577" fmla="*/ 9518417 w 12248682"/>
              <a:gd name="connsiteY1577" fmla="*/ 160537 h 609800"/>
              <a:gd name="connsiteX1578" fmla="*/ 9553065 w 12248682"/>
              <a:gd name="connsiteY1578" fmla="*/ 195185 h 609800"/>
              <a:gd name="connsiteX1579" fmla="*/ 9518417 w 12248682"/>
              <a:gd name="connsiteY1579" fmla="*/ 229833 h 609800"/>
              <a:gd name="connsiteX1580" fmla="*/ 9483769 w 12248682"/>
              <a:gd name="connsiteY1580" fmla="*/ 195185 h 609800"/>
              <a:gd name="connsiteX1581" fmla="*/ 9518417 w 12248682"/>
              <a:gd name="connsiteY1581" fmla="*/ 160537 h 609800"/>
              <a:gd name="connsiteX1582" fmla="*/ 8977304 w 12248682"/>
              <a:gd name="connsiteY1582" fmla="*/ 160537 h 609800"/>
              <a:gd name="connsiteX1583" fmla="*/ 9011952 w 12248682"/>
              <a:gd name="connsiteY1583" fmla="*/ 195185 h 609800"/>
              <a:gd name="connsiteX1584" fmla="*/ 8977304 w 12248682"/>
              <a:gd name="connsiteY1584" fmla="*/ 229833 h 609800"/>
              <a:gd name="connsiteX1585" fmla="*/ 8942656 w 12248682"/>
              <a:gd name="connsiteY1585" fmla="*/ 195185 h 609800"/>
              <a:gd name="connsiteX1586" fmla="*/ 8977304 w 12248682"/>
              <a:gd name="connsiteY1586" fmla="*/ 160537 h 609800"/>
              <a:gd name="connsiteX1587" fmla="*/ 8434485 w 12248682"/>
              <a:gd name="connsiteY1587" fmla="*/ 160537 h 609800"/>
              <a:gd name="connsiteX1588" fmla="*/ 8469133 w 12248682"/>
              <a:gd name="connsiteY1588" fmla="*/ 195185 h 609800"/>
              <a:gd name="connsiteX1589" fmla="*/ 8434485 w 12248682"/>
              <a:gd name="connsiteY1589" fmla="*/ 229833 h 609800"/>
              <a:gd name="connsiteX1590" fmla="*/ 8399837 w 12248682"/>
              <a:gd name="connsiteY1590" fmla="*/ 195185 h 609800"/>
              <a:gd name="connsiteX1591" fmla="*/ 8434485 w 12248682"/>
              <a:gd name="connsiteY1591" fmla="*/ 160537 h 609800"/>
              <a:gd name="connsiteX1592" fmla="*/ 6674366 w 12248682"/>
              <a:gd name="connsiteY1592" fmla="*/ 160537 h 609800"/>
              <a:gd name="connsiteX1593" fmla="*/ 6709014 w 12248682"/>
              <a:gd name="connsiteY1593" fmla="*/ 195185 h 609800"/>
              <a:gd name="connsiteX1594" fmla="*/ 6674366 w 12248682"/>
              <a:gd name="connsiteY1594" fmla="*/ 229833 h 609800"/>
              <a:gd name="connsiteX1595" fmla="*/ 6639717 w 12248682"/>
              <a:gd name="connsiteY1595" fmla="*/ 195185 h 609800"/>
              <a:gd name="connsiteX1596" fmla="*/ 6674366 w 12248682"/>
              <a:gd name="connsiteY1596" fmla="*/ 160537 h 609800"/>
              <a:gd name="connsiteX1597" fmla="*/ 5589882 w 12248682"/>
              <a:gd name="connsiteY1597" fmla="*/ 160537 h 609800"/>
              <a:gd name="connsiteX1598" fmla="*/ 5624531 w 12248682"/>
              <a:gd name="connsiteY1598" fmla="*/ 195185 h 609800"/>
              <a:gd name="connsiteX1599" fmla="*/ 5589882 w 12248682"/>
              <a:gd name="connsiteY1599" fmla="*/ 229833 h 609800"/>
              <a:gd name="connsiteX1600" fmla="*/ 5555234 w 12248682"/>
              <a:gd name="connsiteY1600" fmla="*/ 195185 h 609800"/>
              <a:gd name="connsiteX1601" fmla="*/ 5589882 w 12248682"/>
              <a:gd name="connsiteY1601" fmla="*/ 160537 h 609800"/>
              <a:gd name="connsiteX1602" fmla="*/ 4913091 w 12248682"/>
              <a:gd name="connsiteY1602" fmla="*/ 160537 h 609800"/>
              <a:gd name="connsiteX1603" fmla="*/ 4947739 w 12248682"/>
              <a:gd name="connsiteY1603" fmla="*/ 195185 h 609800"/>
              <a:gd name="connsiteX1604" fmla="*/ 4913091 w 12248682"/>
              <a:gd name="connsiteY1604" fmla="*/ 229833 h 609800"/>
              <a:gd name="connsiteX1605" fmla="*/ 4878443 w 12248682"/>
              <a:gd name="connsiteY1605" fmla="*/ 195185 h 609800"/>
              <a:gd name="connsiteX1606" fmla="*/ 4913091 w 12248682"/>
              <a:gd name="connsiteY1606" fmla="*/ 160537 h 609800"/>
              <a:gd name="connsiteX1607" fmla="*/ 4364499 w 12248682"/>
              <a:gd name="connsiteY1607" fmla="*/ 160537 h 609800"/>
              <a:gd name="connsiteX1608" fmla="*/ 4399146 w 12248682"/>
              <a:gd name="connsiteY1608" fmla="*/ 195185 h 609800"/>
              <a:gd name="connsiteX1609" fmla="*/ 4364499 w 12248682"/>
              <a:gd name="connsiteY1609" fmla="*/ 229833 h 609800"/>
              <a:gd name="connsiteX1610" fmla="*/ 4329850 w 12248682"/>
              <a:gd name="connsiteY1610" fmla="*/ 195185 h 609800"/>
              <a:gd name="connsiteX1611" fmla="*/ 4364499 w 12248682"/>
              <a:gd name="connsiteY1611" fmla="*/ 160537 h 609800"/>
              <a:gd name="connsiteX1612" fmla="*/ 3821678 w 12248682"/>
              <a:gd name="connsiteY1612" fmla="*/ 160537 h 609800"/>
              <a:gd name="connsiteX1613" fmla="*/ 3856326 w 12248682"/>
              <a:gd name="connsiteY1613" fmla="*/ 195185 h 609800"/>
              <a:gd name="connsiteX1614" fmla="*/ 3821678 w 12248682"/>
              <a:gd name="connsiteY1614" fmla="*/ 229833 h 609800"/>
              <a:gd name="connsiteX1615" fmla="*/ 3787030 w 12248682"/>
              <a:gd name="connsiteY1615" fmla="*/ 195185 h 609800"/>
              <a:gd name="connsiteX1616" fmla="*/ 3821678 w 12248682"/>
              <a:gd name="connsiteY1616" fmla="*/ 160537 h 609800"/>
              <a:gd name="connsiteX1617" fmla="*/ 2061558 w 12248682"/>
              <a:gd name="connsiteY1617" fmla="*/ 160537 h 609800"/>
              <a:gd name="connsiteX1618" fmla="*/ 2096206 w 12248682"/>
              <a:gd name="connsiteY1618" fmla="*/ 195185 h 609800"/>
              <a:gd name="connsiteX1619" fmla="*/ 2061558 w 12248682"/>
              <a:gd name="connsiteY1619" fmla="*/ 229833 h 609800"/>
              <a:gd name="connsiteX1620" fmla="*/ 2026910 w 12248682"/>
              <a:gd name="connsiteY1620" fmla="*/ 195185 h 609800"/>
              <a:gd name="connsiteX1621" fmla="*/ 2061558 w 12248682"/>
              <a:gd name="connsiteY1621" fmla="*/ 160537 h 609800"/>
              <a:gd name="connsiteX1622" fmla="*/ 977075 w 12248682"/>
              <a:gd name="connsiteY1622" fmla="*/ 160537 h 609800"/>
              <a:gd name="connsiteX1623" fmla="*/ 1011723 w 12248682"/>
              <a:gd name="connsiteY1623" fmla="*/ 195185 h 609800"/>
              <a:gd name="connsiteX1624" fmla="*/ 977075 w 12248682"/>
              <a:gd name="connsiteY1624" fmla="*/ 229833 h 609800"/>
              <a:gd name="connsiteX1625" fmla="*/ 942427 w 12248682"/>
              <a:gd name="connsiteY1625" fmla="*/ 195185 h 609800"/>
              <a:gd name="connsiteX1626" fmla="*/ 977075 w 12248682"/>
              <a:gd name="connsiteY1626" fmla="*/ 160537 h 609800"/>
              <a:gd name="connsiteX1627" fmla="*/ 300283 w 12248682"/>
              <a:gd name="connsiteY1627" fmla="*/ 160537 h 609800"/>
              <a:gd name="connsiteX1628" fmla="*/ 334931 w 12248682"/>
              <a:gd name="connsiteY1628" fmla="*/ 195185 h 609800"/>
              <a:gd name="connsiteX1629" fmla="*/ 300283 w 12248682"/>
              <a:gd name="connsiteY1629" fmla="*/ 229833 h 609800"/>
              <a:gd name="connsiteX1630" fmla="*/ 265635 w 12248682"/>
              <a:gd name="connsiteY1630" fmla="*/ 195185 h 609800"/>
              <a:gd name="connsiteX1631" fmla="*/ 300283 w 12248682"/>
              <a:gd name="connsiteY1631" fmla="*/ 160537 h 609800"/>
              <a:gd name="connsiteX1632" fmla="*/ 11143410 w 12248682"/>
              <a:gd name="connsiteY1632" fmla="*/ 154761 h 609800"/>
              <a:gd name="connsiteX1633" fmla="*/ 11183832 w 12248682"/>
              <a:gd name="connsiteY1633" fmla="*/ 195185 h 609800"/>
              <a:gd name="connsiteX1634" fmla="*/ 11143410 w 12248682"/>
              <a:gd name="connsiteY1634" fmla="*/ 235607 h 609800"/>
              <a:gd name="connsiteX1635" fmla="*/ 11102987 w 12248682"/>
              <a:gd name="connsiteY1635" fmla="*/ 195185 h 609800"/>
              <a:gd name="connsiteX1636" fmla="*/ 11143410 w 12248682"/>
              <a:gd name="connsiteY1636" fmla="*/ 154761 h 609800"/>
              <a:gd name="connsiteX1637" fmla="*/ 10873155 w 12248682"/>
              <a:gd name="connsiteY1637" fmla="*/ 154761 h 609800"/>
              <a:gd name="connsiteX1638" fmla="*/ 10913577 w 12248682"/>
              <a:gd name="connsiteY1638" fmla="*/ 195185 h 609800"/>
              <a:gd name="connsiteX1639" fmla="*/ 10873155 w 12248682"/>
              <a:gd name="connsiteY1639" fmla="*/ 235607 h 609800"/>
              <a:gd name="connsiteX1640" fmla="*/ 10832732 w 12248682"/>
              <a:gd name="connsiteY1640" fmla="*/ 195185 h 609800"/>
              <a:gd name="connsiteX1641" fmla="*/ 10873155 w 12248682"/>
              <a:gd name="connsiteY1641" fmla="*/ 154761 h 609800"/>
              <a:gd name="connsiteX1642" fmla="*/ 10060082 w 12248682"/>
              <a:gd name="connsiteY1642" fmla="*/ 154761 h 609800"/>
              <a:gd name="connsiteX1643" fmla="*/ 10100504 w 12248682"/>
              <a:gd name="connsiteY1643" fmla="*/ 195185 h 609800"/>
              <a:gd name="connsiteX1644" fmla="*/ 10060082 w 12248682"/>
              <a:gd name="connsiteY1644" fmla="*/ 235607 h 609800"/>
              <a:gd name="connsiteX1645" fmla="*/ 10019658 w 12248682"/>
              <a:gd name="connsiteY1645" fmla="*/ 195185 h 609800"/>
              <a:gd name="connsiteX1646" fmla="*/ 10060082 w 12248682"/>
              <a:gd name="connsiteY1646" fmla="*/ 154761 h 609800"/>
              <a:gd name="connsiteX1647" fmla="*/ 9653545 w 12248682"/>
              <a:gd name="connsiteY1647" fmla="*/ 154761 h 609800"/>
              <a:gd name="connsiteX1648" fmla="*/ 9693967 w 12248682"/>
              <a:gd name="connsiteY1648" fmla="*/ 195185 h 609800"/>
              <a:gd name="connsiteX1649" fmla="*/ 9653545 w 12248682"/>
              <a:gd name="connsiteY1649" fmla="*/ 235607 h 609800"/>
              <a:gd name="connsiteX1650" fmla="*/ 9613122 w 12248682"/>
              <a:gd name="connsiteY1650" fmla="*/ 195185 h 609800"/>
              <a:gd name="connsiteX1651" fmla="*/ 9653545 w 12248682"/>
              <a:gd name="connsiteY1651" fmla="*/ 154761 h 609800"/>
              <a:gd name="connsiteX1652" fmla="*/ 8841022 w 12248682"/>
              <a:gd name="connsiteY1652" fmla="*/ 154761 h 609800"/>
              <a:gd name="connsiteX1653" fmla="*/ 8881444 w 12248682"/>
              <a:gd name="connsiteY1653" fmla="*/ 195185 h 609800"/>
              <a:gd name="connsiteX1654" fmla="*/ 8841022 w 12248682"/>
              <a:gd name="connsiteY1654" fmla="*/ 235607 h 609800"/>
              <a:gd name="connsiteX1655" fmla="*/ 8800599 w 12248682"/>
              <a:gd name="connsiteY1655" fmla="*/ 195185 h 609800"/>
              <a:gd name="connsiteX1656" fmla="*/ 8841022 w 12248682"/>
              <a:gd name="connsiteY1656" fmla="*/ 154761 h 609800"/>
              <a:gd name="connsiteX1657" fmla="*/ 8570767 w 12248682"/>
              <a:gd name="connsiteY1657" fmla="*/ 154761 h 609800"/>
              <a:gd name="connsiteX1658" fmla="*/ 8611190 w 12248682"/>
              <a:gd name="connsiteY1658" fmla="*/ 195185 h 609800"/>
              <a:gd name="connsiteX1659" fmla="*/ 8570767 w 12248682"/>
              <a:gd name="connsiteY1659" fmla="*/ 235607 h 609800"/>
              <a:gd name="connsiteX1660" fmla="*/ 8530344 w 12248682"/>
              <a:gd name="connsiteY1660" fmla="*/ 195185 h 609800"/>
              <a:gd name="connsiteX1661" fmla="*/ 8570767 w 12248682"/>
              <a:gd name="connsiteY1661" fmla="*/ 154761 h 609800"/>
              <a:gd name="connsiteX1662" fmla="*/ 6538083 w 12248682"/>
              <a:gd name="connsiteY1662" fmla="*/ 154761 h 609800"/>
              <a:gd name="connsiteX1663" fmla="*/ 6578507 w 12248682"/>
              <a:gd name="connsiteY1663" fmla="*/ 195185 h 609800"/>
              <a:gd name="connsiteX1664" fmla="*/ 6538083 w 12248682"/>
              <a:gd name="connsiteY1664" fmla="*/ 235607 h 609800"/>
              <a:gd name="connsiteX1665" fmla="*/ 6497661 w 12248682"/>
              <a:gd name="connsiteY1665" fmla="*/ 195185 h 609800"/>
              <a:gd name="connsiteX1666" fmla="*/ 6538083 w 12248682"/>
              <a:gd name="connsiteY1666" fmla="*/ 154761 h 609800"/>
              <a:gd name="connsiteX1667" fmla="*/ 6267830 w 12248682"/>
              <a:gd name="connsiteY1667" fmla="*/ 154761 h 609800"/>
              <a:gd name="connsiteX1668" fmla="*/ 6308251 w 12248682"/>
              <a:gd name="connsiteY1668" fmla="*/ 195185 h 609800"/>
              <a:gd name="connsiteX1669" fmla="*/ 6267830 w 12248682"/>
              <a:gd name="connsiteY1669" fmla="*/ 235607 h 609800"/>
              <a:gd name="connsiteX1670" fmla="*/ 6227406 w 12248682"/>
              <a:gd name="connsiteY1670" fmla="*/ 195185 h 609800"/>
              <a:gd name="connsiteX1671" fmla="*/ 6267830 w 12248682"/>
              <a:gd name="connsiteY1671" fmla="*/ 154761 h 609800"/>
              <a:gd name="connsiteX1672" fmla="*/ 5454756 w 12248682"/>
              <a:gd name="connsiteY1672" fmla="*/ 154761 h 609800"/>
              <a:gd name="connsiteX1673" fmla="*/ 5495178 w 12248682"/>
              <a:gd name="connsiteY1673" fmla="*/ 195185 h 609800"/>
              <a:gd name="connsiteX1674" fmla="*/ 5454756 w 12248682"/>
              <a:gd name="connsiteY1674" fmla="*/ 235607 h 609800"/>
              <a:gd name="connsiteX1675" fmla="*/ 5414332 w 12248682"/>
              <a:gd name="connsiteY1675" fmla="*/ 195185 h 609800"/>
              <a:gd name="connsiteX1676" fmla="*/ 5454756 w 12248682"/>
              <a:gd name="connsiteY1676" fmla="*/ 154761 h 609800"/>
              <a:gd name="connsiteX1677" fmla="*/ 5048218 w 12248682"/>
              <a:gd name="connsiteY1677" fmla="*/ 154761 h 609800"/>
              <a:gd name="connsiteX1678" fmla="*/ 5088641 w 12248682"/>
              <a:gd name="connsiteY1678" fmla="*/ 195185 h 609800"/>
              <a:gd name="connsiteX1679" fmla="*/ 5048218 w 12248682"/>
              <a:gd name="connsiteY1679" fmla="*/ 235607 h 609800"/>
              <a:gd name="connsiteX1680" fmla="*/ 5007796 w 12248682"/>
              <a:gd name="connsiteY1680" fmla="*/ 195185 h 609800"/>
              <a:gd name="connsiteX1681" fmla="*/ 5048218 w 12248682"/>
              <a:gd name="connsiteY1681" fmla="*/ 154761 h 609800"/>
              <a:gd name="connsiteX1682" fmla="*/ 4228217 w 12248682"/>
              <a:gd name="connsiteY1682" fmla="*/ 154761 h 609800"/>
              <a:gd name="connsiteX1683" fmla="*/ 4268637 w 12248682"/>
              <a:gd name="connsiteY1683" fmla="*/ 195185 h 609800"/>
              <a:gd name="connsiteX1684" fmla="*/ 4228217 w 12248682"/>
              <a:gd name="connsiteY1684" fmla="*/ 235607 h 609800"/>
              <a:gd name="connsiteX1685" fmla="*/ 4187792 w 12248682"/>
              <a:gd name="connsiteY1685" fmla="*/ 195185 h 609800"/>
              <a:gd name="connsiteX1686" fmla="*/ 4228217 w 12248682"/>
              <a:gd name="connsiteY1686" fmla="*/ 154761 h 609800"/>
              <a:gd name="connsiteX1687" fmla="*/ 3957960 w 12248682"/>
              <a:gd name="connsiteY1687" fmla="*/ 154761 h 609800"/>
              <a:gd name="connsiteX1688" fmla="*/ 3998382 w 12248682"/>
              <a:gd name="connsiteY1688" fmla="*/ 195185 h 609800"/>
              <a:gd name="connsiteX1689" fmla="*/ 3957960 w 12248682"/>
              <a:gd name="connsiteY1689" fmla="*/ 235607 h 609800"/>
              <a:gd name="connsiteX1690" fmla="*/ 3917537 w 12248682"/>
              <a:gd name="connsiteY1690" fmla="*/ 195185 h 609800"/>
              <a:gd name="connsiteX1691" fmla="*/ 3957960 w 12248682"/>
              <a:gd name="connsiteY1691" fmla="*/ 154761 h 609800"/>
              <a:gd name="connsiteX1692" fmla="*/ 1925276 w 12248682"/>
              <a:gd name="connsiteY1692" fmla="*/ 154761 h 609800"/>
              <a:gd name="connsiteX1693" fmla="*/ 1965698 w 12248682"/>
              <a:gd name="connsiteY1693" fmla="*/ 195185 h 609800"/>
              <a:gd name="connsiteX1694" fmla="*/ 1925276 w 12248682"/>
              <a:gd name="connsiteY1694" fmla="*/ 235607 h 609800"/>
              <a:gd name="connsiteX1695" fmla="*/ 1884853 w 12248682"/>
              <a:gd name="connsiteY1695" fmla="*/ 195185 h 609800"/>
              <a:gd name="connsiteX1696" fmla="*/ 1925276 w 12248682"/>
              <a:gd name="connsiteY1696" fmla="*/ 154761 h 609800"/>
              <a:gd name="connsiteX1697" fmla="*/ 1655022 w 12248682"/>
              <a:gd name="connsiteY1697" fmla="*/ 154761 h 609800"/>
              <a:gd name="connsiteX1698" fmla="*/ 1695444 w 12248682"/>
              <a:gd name="connsiteY1698" fmla="*/ 195185 h 609800"/>
              <a:gd name="connsiteX1699" fmla="*/ 1655022 w 12248682"/>
              <a:gd name="connsiteY1699" fmla="*/ 235607 h 609800"/>
              <a:gd name="connsiteX1700" fmla="*/ 1614598 w 12248682"/>
              <a:gd name="connsiteY1700" fmla="*/ 195185 h 609800"/>
              <a:gd name="connsiteX1701" fmla="*/ 1655022 w 12248682"/>
              <a:gd name="connsiteY1701" fmla="*/ 154761 h 609800"/>
              <a:gd name="connsiteX1702" fmla="*/ 841948 w 12248682"/>
              <a:gd name="connsiteY1702" fmla="*/ 154761 h 609800"/>
              <a:gd name="connsiteX1703" fmla="*/ 882370 w 12248682"/>
              <a:gd name="connsiteY1703" fmla="*/ 195185 h 609800"/>
              <a:gd name="connsiteX1704" fmla="*/ 841948 w 12248682"/>
              <a:gd name="connsiteY1704" fmla="*/ 235607 h 609800"/>
              <a:gd name="connsiteX1705" fmla="*/ 801525 w 12248682"/>
              <a:gd name="connsiteY1705" fmla="*/ 195185 h 609800"/>
              <a:gd name="connsiteX1706" fmla="*/ 841948 w 12248682"/>
              <a:gd name="connsiteY1706" fmla="*/ 154761 h 609800"/>
              <a:gd name="connsiteX1707" fmla="*/ 435411 w 12248682"/>
              <a:gd name="connsiteY1707" fmla="*/ 154761 h 609800"/>
              <a:gd name="connsiteX1708" fmla="*/ 475833 w 12248682"/>
              <a:gd name="connsiteY1708" fmla="*/ 195185 h 609800"/>
              <a:gd name="connsiteX1709" fmla="*/ 435411 w 12248682"/>
              <a:gd name="connsiteY1709" fmla="*/ 235607 h 609800"/>
              <a:gd name="connsiteX1710" fmla="*/ 394988 w 12248682"/>
              <a:gd name="connsiteY1710" fmla="*/ 195185 h 609800"/>
              <a:gd name="connsiteX1711" fmla="*/ 435411 w 12248682"/>
              <a:gd name="connsiteY1711" fmla="*/ 154761 h 609800"/>
              <a:gd name="connsiteX1712" fmla="*/ 11008282 w 12248682"/>
              <a:gd name="connsiteY1712" fmla="*/ 144368 h 609800"/>
              <a:gd name="connsiteX1713" fmla="*/ 11059099 w 12248682"/>
              <a:gd name="connsiteY1713" fmla="*/ 195185 h 609800"/>
              <a:gd name="connsiteX1714" fmla="*/ 11008282 w 12248682"/>
              <a:gd name="connsiteY1714" fmla="*/ 246002 h 609800"/>
              <a:gd name="connsiteX1715" fmla="*/ 10957465 w 12248682"/>
              <a:gd name="connsiteY1715" fmla="*/ 195185 h 609800"/>
              <a:gd name="connsiteX1716" fmla="*/ 11008282 w 12248682"/>
              <a:gd name="connsiteY1716" fmla="*/ 144368 h 609800"/>
              <a:gd name="connsiteX1717" fmla="*/ 9924954 w 12248682"/>
              <a:gd name="connsiteY1717" fmla="*/ 144368 h 609800"/>
              <a:gd name="connsiteX1718" fmla="*/ 9975771 w 12248682"/>
              <a:gd name="connsiteY1718" fmla="*/ 195185 h 609800"/>
              <a:gd name="connsiteX1719" fmla="*/ 9924954 w 12248682"/>
              <a:gd name="connsiteY1719" fmla="*/ 246002 h 609800"/>
              <a:gd name="connsiteX1720" fmla="*/ 9874137 w 12248682"/>
              <a:gd name="connsiteY1720" fmla="*/ 195185 h 609800"/>
              <a:gd name="connsiteX1721" fmla="*/ 9924954 w 12248682"/>
              <a:gd name="connsiteY1721" fmla="*/ 144368 h 609800"/>
              <a:gd name="connsiteX1722" fmla="*/ 9788672 w 12248682"/>
              <a:gd name="connsiteY1722" fmla="*/ 144368 h 609800"/>
              <a:gd name="connsiteX1723" fmla="*/ 9839489 w 12248682"/>
              <a:gd name="connsiteY1723" fmla="*/ 195185 h 609800"/>
              <a:gd name="connsiteX1724" fmla="*/ 9788672 w 12248682"/>
              <a:gd name="connsiteY1724" fmla="*/ 246002 h 609800"/>
              <a:gd name="connsiteX1725" fmla="*/ 9737854 w 12248682"/>
              <a:gd name="connsiteY1725" fmla="*/ 195185 h 609800"/>
              <a:gd name="connsiteX1726" fmla="*/ 9788672 w 12248682"/>
              <a:gd name="connsiteY1726" fmla="*/ 144368 h 609800"/>
              <a:gd name="connsiteX1727" fmla="*/ 8705894 w 12248682"/>
              <a:gd name="connsiteY1727" fmla="*/ 144368 h 609800"/>
              <a:gd name="connsiteX1728" fmla="*/ 8756711 w 12248682"/>
              <a:gd name="connsiteY1728" fmla="*/ 195185 h 609800"/>
              <a:gd name="connsiteX1729" fmla="*/ 8705894 w 12248682"/>
              <a:gd name="connsiteY1729" fmla="*/ 246002 h 609800"/>
              <a:gd name="connsiteX1730" fmla="*/ 8655077 w 12248682"/>
              <a:gd name="connsiteY1730" fmla="*/ 195185 h 609800"/>
              <a:gd name="connsiteX1731" fmla="*/ 8705894 w 12248682"/>
              <a:gd name="connsiteY1731" fmla="*/ 144368 h 609800"/>
              <a:gd name="connsiteX1732" fmla="*/ 6402956 w 12248682"/>
              <a:gd name="connsiteY1732" fmla="*/ 144368 h 609800"/>
              <a:gd name="connsiteX1733" fmla="*/ 6453773 w 12248682"/>
              <a:gd name="connsiteY1733" fmla="*/ 195185 h 609800"/>
              <a:gd name="connsiteX1734" fmla="*/ 6402956 w 12248682"/>
              <a:gd name="connsiteY1734" fmla="*/ 246002 h 609800"/>
              <a:gd name="connsiteX1735" fmla="*/ 6352139 w 12248682"/>
              <a:gd name="connsiteY1735" fmla="*/ 195185 h 609800"/>
              <a:gd name="connsiteX1736" fmla="*/ 6402956 w 12248682"/>
              <a:gd name="connsiteY1736" fmla="*/ 144368 h 609800"/>
              <a:gd name="connsiteX1737" fmla="*/ 5319628 w 12248682"/>
              <a:gd name="connsiteY1737" fmla="*/ 144368 h 609800"/>
              <a:gd name="connsiteX1738" fmla="*/ 5370444 w 12248682"/>
              <a:gd name="connsiteY1738" fmla="*/ 195185 h 609800"/>
              <a:gd name="connsiteX1739" fmla="*/ 5319628 w 12248682"/>
              <a:gd name="connsiteY1739" fmla="*/ 246002 h 609800"/>
              <a:gd name="connsiteX1740" fmla="*/ 5268810 w 12248682"/>
              <a:gd name="connsiteY1740" fmla="*/ 195185 h 609800"/>
              <a:gd name="connsiteX1741" fmla="*/ 5319628 w 12248682"/>
              <a:gd name="connsiteY1741" fmla="*/ 144368 h 609800"/>
              <a:gd name="connsiteX1742" fmla="*/ 5183346 w 12248682"/>
              <a:gd name="connsiteY1742" fmla="*/ 144368 h 609800"/>
              <a:gd name="connsiteX1743" fmla="*/ 5234162 w 12248682"/>
              <a:gd name="connsiteY1743" fmla="*/ 195185 h 609800"/>
              <a:gd name="connsiteX1744" fmla="*/ 5183346 w 12248682"/>
              <a:gd name="connsiteY1744" fmla="*/ 246002 h 609800"/>
              <a:gd name="connsiteX1745" fmla="*/ 5132528 w 12248682"/>
              <a:gd name="connsiteY1745" fmla="*/ 195185 h 609800"/>
              <a:gd name="connsiteX1746" fmla="*/ 5183346 w 12248682"/>
              <a:gd name="connsiteY1746" fmla="*/ 144368 h 609800"/>
              <a:gd name="connsiteX1747" fmla="*/ 4093087 w 12248682"/>
              <a:gd name="connsiteY1747" fmla="*/ 144368 h 609800"/>
              <a:gd name="connsiteX1748" fmla="*/ 4143904 w 12248682"/>
              <a:gd name="connsiteY1748" fmla="*/ 195185 h 609800"/>
              <a:gd name="connsiteX1749" fmla="*/ 4093087 w 12248682"/>
              <a:gd name="connsiteY1749" fmla="*/ 246002 h 609800"/>
              <a:gd name="connsiteX1750" fmla="*/ 4042270 w 12248682"/>
              <a:gd name="connsiteY1750" fmla="*/ 195185 h 609800"/>
              <a:gd name="connsiteX1751" fmla="*/ 4093087 w 12248682"/>
              <a:gd name="connsiteY1751" fmla="*/ 144368 h 609800"/>
              <a:gd name="connsiteX1752" fmla="*/ 1790148 w 12248682"/>
              <a:gd name="connsiteY1752" fmla="*/ 144368 h 609800"/>
              <a:gd name="connsiteX1753" fmla="*/ 1840965 w 12248682"/>
              <a:gd name="connsiteY1753" fmla="*/ 195185 h 609800"/>
              <a:gd name="connsiteX1754" fmla="*/ 1790148 w 12248682"/>
              <a:gd name="connsiteY1754" fmla="*/ 246002 h 609800"/>
              <a:gd name="connsiteX1755" fmla="*/ 1739331 w 12248682"/>
              <a:gd name="connsiteY1755" fmla="*/ 195185 h 609800"/>
              <a:gd name="connsiteX1756" fmla="*/ 1790148 w 12248682"/>
              <a:gd name="connsiteY1756" fmla="*/ 144368 h 609800"/>
              <a:gd name="connsiteX1757" fmla="*/ 706820 w 12248682"/>
              <a:gd name="connsiteY1757" fmla="*/ 144368 h 609800"/>
              <a:gd name="connsiteX1758" fmla="*/ 757637 w 12248682"/>
              <a:gd name="connsiteY1758" fmla="*/ 195185 h 609800"/>
              <a:gd name="connsiteX1759" fmla="*/ 706820 w 12248682"/>
              <a:gd name="connsiteY1759" fmla="*/ 246002 h 609800"/>
              <a:gd name="connsiteX1760" fmla="*/ 656003 w 12248682"/>
              <a:gd name="connsiteY1760" fmla="*/ 195185 h 609800"/>
              <a:gd name="connsiteX1761" fmla="*/ 706820 w 12248682"/>
              <a:gd name="connsiteY1761" fmla="*/ 144368 h 609800"/>
              <a:gd name="connsiteX1762" fmla="*/ 570538 w 12248682"/>
              <a:gd name="connsiteY1762" fmla="*/ 144368 h 609800"/>
              <a:gd name="connsiteX1763" fmla="*/ 621355 w 12248682"/>
              <a:gd name="connsiteY1763" fmla="*/ 195185 h 609800"/>
              <a:gd name="connsiteX1764" fmla="*/ 570538 w 12248682"/>
              <a:gd name="connsiteY1764" fmla="*/ 246002 h 609800"/>
              <a:gd name="connsiteX1765" fmla="*/ 519721 w 12248682"/>
              <a:gd name="connsiteY1765" fmla="*/ 195185 h 609800"/>
              <a:gd name="connsiteX1766" fmla="*/ 570538 w 12248682"/>
              <a:gd name="connsiteY1766" fmla="*/ 144368 h 609800"/>
              <a:gd name="connsiteX1767" fmla="*/ 12180541 w 12248682"/>
              <a:gd name="connsiteY1767" fmla="*/ 31184 h 609800"/>
              <a:gd name="connsiteX1768" fmla="*/ 12201330 w 12248682"/>
              <a:gd name="connsiteY1768" fmla="*/ 51973 h 609800"/>
              <a:gd name="connsiteX1769" fmla="*/ 12180541 w 12248682"/>
              <a:gd name="connsiteY1769" fmla="*/ 72762 h 609800"/>
              <a:gd name="connsiteX1770" fmla="*/ 12159752 w 12248682"/>
              <a:gd name="connsiteY1770" fmla="*/ 51973 h 609800"/>
              <a:gd name="connsiteX1771" fmla="*/ 12180541 w 12248682"/>
              <a:gd name="connsiteY1771" fmla="*/ 31184 h 609800"/>
              <a:gd name="connsiteX1772" fmla="*/ 12040793 w 12248682"/>
              <a:gd name="connsiteY1772" fmla="*/ 31184 h 609800"/>
              <a:gd name="connsiteX1773" fmla="*/ 12061582 w 12248682"/>
              <a:gd name="connsiteY1773" fmla="*/ 51973 h 609800"/>
              <a:gd name="connsiteX1774" fmla="*/ 12040793 w 12248682"/>
              <a:gd name="connsiteY1774" fmla="*/ 72762 h 609800"/>
              <a:gd name="connsiteX1775" fmla="*/ 12020004 w 12248682"/>
              <a:gd name="connsiteY1775" fmla="*/ 51973 h 609800"/>
              <a:gd name="connsiteX1776" fmla="*/ 12040793 w 12248682"/>
              <a:gd name="connsiteY1776" fmla="*/ 31184 h 609800"/>
              <a:gd name="connsiteX1777" fmla="*/ 11901047 w 12248682"/>
              <a:gd name="connsiteY1777" fmla="*/ 31184 h 609800"/>
              <a:gd name="connsiteX1778" fmla="*/ 11921836 w 12248682"/>
              <a:gd name="connsiteY1778" fmla="*/ 51973 h 609800"/>
              <a:gd name="connsiteX1779" fmla="*/ 11901047 w 12248682"/>
              <a:gd name="connsiteY1779" fmla="*/ 72762 h 609800"/>
              <a:gd name="connsiteX1780" fmla="*/ 11880258 w 12248682"/>
              <a:gd name="connsiteY1780" fmla="*/ 51973 h 609800"/>
              <a:gd name="connsiteX1781" fmla="*/ 11901047 w 12248682"/>
              <a:gd name="connsiteY1781" fmla="*/ 31184 h 609800"/>
              <a:gd name="connsiteX1782" fmla="*/ 11761299 w 12248682"/>
              <a:gd name="connsiteY1782" fmla="*/ 31184 h 609800"/>
              <a:gd name="connsiteX1783" fmla="*/ 11782088 w 12248682"/>
              <a:gd name="connsiteY1783" fmla="*/ 51973 h 609800"/>
              <a:gd name="connsiteX1784" fmla="*/ 11761299 w 12248682"/>
              <a:gd name="connsiteY1784" fmla="*/ 72762 h 609800"/>
              <a:gd name="connsiteX1785" fmla="*/ 11740510 w 12248682"/>
              <a:gd name="connsiteY1785" fmla="*/ 51973 h 609800"/>
              <a:gd name="connsiteX1786" fmla="*/ 11761299 w 12248682"/>
              <a:gd name="connsiteY1786" fmla="*/ 31184 h 609800"/>
              <a:gd name="connsiteX1787" fmla="*/ 11621553 w 12248682"/>
              <a:gd name="connsiteY1787" fmla="*/ 31184 h 609800"/>
              <a:gd name="connsiteX1788" fmla="*/ 11642342 w 12248682"/>
              <a:gd name="connsiteY1788" fmla="*/ 51973 h 609800"/>
              <a:gd name="connsiteX1789" fmla="*/ 11621553 w 12248682"/>
              <a:gd name="connsiteY1789" fmla="*/ 72762 h 609800"/>
              <a:gd name="connsiteX1790" fmla="*/ 11600764 w 12248682"/>
              <a:gd name="connsiteY1790" fmla="*/ 51973 h 609800"/>
              <a:gd name="connsiteX1791" fmla="*/ 11621553 w 12248682"/>
              <a:gd name="connsiteY1791" fmla="*/ 31184 h 609800"/>
              <a:gd name="connsiteX1792" fmla="*/ 11481805 w 12248682"/>
              <a:gd name="connsiteY1792" fmla="*/ 31184 h 609800"/>
              <a:gd name="connsiteX1793" fmla="*/ 11502594 w 12248682"/>
              <a:gd name="connsiteY1793" fmla="*/ 51973 h 609800"/>
              <a:gd name="connsiteX1794" fmla="*/ 11481805 w 12248682"/>
              <a:gd name="connsiteY1794" fmla="*/ 72762 h 609800"/>
              <a:gd name="connsiteX1795" fmla="*/ 11461016 w 12248682"/>
              <a:gd name="connsiteY1795" fmla="*/ 51973 h 609800"/>
              <a:gd name="connsiteX1796" fmla="*/ 11481805 w 12248682"/>
              <a:gd name="connsiteY1796" fmla="*/ 31184 h 609800"/>
              <a:gd name="connsiteX1797" fmla="*/ 10644478 w 12248682"/>
              <a:gd name="connsiteY1797" fmla="*/ 31184 h 609800"/>
              <a:gd name="connsiteX1798" fmla="*/ 10665267 w 12248682"/>
              <a:gd name="connsiteY1798" fmla="*/ 51973 h 609800"/>
              <a:gd name="connsiteX1799" fmla="*/ 10644478 w 12248682"/>
              <a:gd name="connsiteY1799" fmla="*/ 72762 h 609800"/>
              <a:gd name="connsiteX1800" fmla="*/ 10623690 w 12248682"/>
              <a:gd name="connsiteY1800" fmla="*/ 51973 h 609800"/>
              <a:gd name="connsiteX1801" fmla="*/ 10644478 w 12248682"/>
              <a:gd name="connsiteY1801" fmla="*/ 31184 h 609800"/>
              <a:gd name="connsiteX1802" fmla="*/ 10504731 w 12248682"/>
              <a:gd name="connsiteY1802" fmla="*/ 31184 h 609800"/>
              <a:gd name="connsiteX1803" fmla="*/ 10525520 w 12248682"/>
              <a:gd name="connsiteY1803" fmla="*/ 51973 h 609800"/>
              <a:gd name="connsiteX1804" fmla="*/ 10504731 w 12248682"/>
              <a:gd name="connsiteY1804" fmla="*/ 72762 h 609800"/>
              <a:gd name="connsiteX1805" fmla="*/ 10483942 w 12248682"/>
              <a:gd name="connsiteY1805" fmla="*/ 51973 h 609800"/>
              <a:gd name="connsiteX1806" fmla="*/ 10504731 w 12248682"/>
              <a:gd name="connsiteY1806" fmla="*/ 31184 h 609800"/>
              <a:gd name="connsiteX1807" fmla="*/ 10364984 w 12248682"/>
              <a:gd name="connsiteY1807" fmla="*/ 31184 h 609800"/>
              <a:gd name="connsiteX1808" fmla="*/ 10385773 w 12248682"/>
              <a:gd name="connsiteY1808" fmla="*/ 51973 h 609800"/>
              <a:gd name="connsiteX1809" fmla="*/ 10364984 w 12248682"/>
              <a:gd name="connsiteY1809" fmla="*/ 72762 h 609800"/>
              <a:gd name="connsiteX1810" fmla="*/ 10344196 w 12248682"/>
              <a:gd name="connsiteY1810" fmla="*/ 51973 h 609800"/>
              <a:gd name="connsiteX1811" fmla="*/ 10364984 w 12248682"/>
              <a:gd name="connsiteY1811" fmla="*/ 31184 h 609800"/>
              <a:gd name="connsiteX1812" fmla="*/ 7854709 w 12248682"/>
              <a:gd name="connsiteY1812" fmla="*/ 31184 h 609800"/>
              <a:gd name="connsiteX1813" fmla="*/ 7875498 w 12248682"/>
              <a:gd name="connsiteY1813" fmla="*/ 51973 h 609800"/>
              <a:gd name="connsiteX1814" fmla="*/ 7854709 w 12248682"/>
              <a:gd name="connsiteY1814" fmla="*/ 72762 h 609800"/>
              <a:gd name="connsiteX1815" fmla="*/ 7833921 w 12248682"/>
              <a:gd name="connsiteY1815" fmla="*/ 51973 h 609800"/>
              <a:gd name="connsiteX1816" fmla="*/ 7854709 w 12248682"/>
              <a:gd name="connsiteY1816" fmla="*/ 31184 h 609800"/>
              <a:gd name="connsiteX1817" fmla="*/ 7714960 w 12248682"/>
              <a:gd name="connsiteY1817" fmla="*/ 31184 h 609800"/>
              <a:gd name="connsiteX1818" fmla="*/ 7735749 w 12248682"/>
              <a:gd name="connsiteY1818" fmla="*/ 51973 h 609800"/>
              <a:gd name="connsiteX1819" fmla="*/ 7714960 w 12248682"/>
              <a:gd name="connsiteY1819" fmla="*/ 72762 h 609800"/>
              <a:gd name="connsiteX1820" fmla="*/ 7694172 w 12248682"/>
              <a:gd name="connsiteY1820" fmla="*/ 51973 h 609800"/>
              <a:gd name="connsiteX1821" fmla="*/ 7714960 w 12248682"/>
              <a:gd name="connsiteY1821" fmla="*/ 31184 h 609800"/>
              <a:gd name="connsiteX1822" fmla="*/ 7575214 w 12248682"/>
              <a:gd name="connsiteY1822" fmla="*/ 31184 h 609800"/>
              <a:gd name="connsiteX1823" fmla="*/ 7596004 w 12248682"/>
              <a:gd name="connsiteY1823" fmla="*/ 51973 h 609800"/>
              <a:gd name="connsiteX1824" fmla="*/ 7575214 w 12248682"/>
              <a:gd name="connsiteY1824" fmla="*/ 72762 h 609800"/>
              <a:gd name="connsiteX1825" fmla="*/ 7554427 w 12248682"/>
              <a:gd name="connsiteY1825" fmla="*/ 51973 h 609800"/>
              <a:gd name="connsiteX1826" fmla="*/ 7575214 w 12248682"/>
              <a:gd name="connsiteY1826" fmla="*/ 31184 h 609800"/>
              <a:gd name="connsiteX1827" fmla="*/ 7435467 w 12248682"/>
              <a:gd name="connsiteY1827" fmla="*/ 31184 h 609800"/>
              <a:gd name="connsiteX1828" fmla="*/ 7456257 w 12248682"/>
              <a:gd name="connsiteY1828" fmla="*/ 51973 h 609800"/>
              <a:gd name="connsiteX1829" fmla="*/ 7435467 w 12248682"/>
              <a:gd name="connsiteY1829" fmla="*/ 72762 h 609800"/>
              <a:gd name="connsiteX1830" fmla="*/ 7414678 w 12248682"/>
              <a:gd name="connsiteY1830" fmla="*/ 51973 h 609800"/>
              <a:gd name="connsiteX1831" fmla="*/ 7435467 w 12248682"/>
              <a:gd name="connsiteY1831" fmla="*/ 31184 h 609800"/>
              <a:gd name="connsiteX1832" fmla="*/ 7295720 w 12248682"/>
              <a:gd name="connsiteY1832" fmla="*/ 31184 h 609800"/>
              <a:gd name="connsiteX1833" fmla="*/ 7316509 w 12248682"/>
              <a:gd name="connsiteY1833" fmla="*/ 51973 h 609800"/>
              <a:gd name="connsiteX1834" fmla="*/ 7295720 w 12248682"/>
              <a:gd name="connsiteY1834" fmla="*/ 72762 h 609800"/>
              <a:gd name="connsiteX1835" fmla="*/ 7274932 w 12248682"/>
              <a:gd name="connsiteY1835" fmla="*/ 51973 h 609800"/>
              <a:gd name="connsiteX1836" fmla="*/ 7295720 w 12248682"/>
              <a:gd name="connsiteY1836" fmla="*/ 31184 h 609800"/>
              <a:gd name="connsiteX1837" fmla="*/ 7155974 w 12248682"/>
              <a:gd name="connsiteY1837" fmla="*/ 31184 h 609800"/>
              <a:gd name="connsiteX1838" fmla="*/ 7176762 w 12248682"/>
              <a:gd name="connsiteY1838" fmla="*/ 51973 h 609800"/>
              <a:gd name="connsiteX1839" fmla="*/ 7155974 w 12248682"/>
              <a:gd name="connsiteY1839" fmla="*/ 72762 h 609800"/>
              <a:gd name="connsiteX1840" fmla="*/ 7135183 w 12248682"/>
              <a:gd name="connsiteY1840" fmla="*/ 51973 h 609800"/>
              <a:gd name="connsiteX1841" fmla="*/ 7155974 w 12248682"/>
              <a:gd name="connsiteY1841" fmla="*/ 31184 h 609800"/>
              <a:gd name="connsiteX1842" fmla="*/ 7016227 w 12248682"/>
              <a:gd name="connsiteY1842" fmla="*/ 31184 h 609800"/>
              <a:gd name="connsiteX1843" fmla="*/ 7037016 w 12248682"/>
              <a:gd name="connsiteY1843" fmla="*/ 51973 h 609800"/>
              <a:gd name="connsiteX1844" fmla="*/ 7016227 w 12248682"/>
              <a:gd name="connsiteY1844" fmla="*/ 72762 h 609800"/>
              <a:gd name="connsiteX1845" fmla="*/ 6995438 w 12248682"/>
              <a:gd name="connsiteY1845" fmla="*/ 51973 h 609800"/>
              <a:gd name="connsiteX1846" fmla="*/ 7016227 w 12248682"/>
              <a:gd name="connsiteY1846" fmla="*/ 31184 h 609800"/>
              <a:gd name="connsiteX1847" fmla="*/ 6877634 w 12248682"/>
              <a:gd name="connsiteY1847" fmla="*/ 31184 h 609800"/>
              <a:gd name="connsiteX1848" fmla="*/ 6898424 w 12248682"/>
              <a:gd name="connsiteY1848" fmla="*/ 51973 h 609800"/>
              <a:gd name="connsiteX1849" fmla="*/ 6877634 w 12248682"/>
              <a:gd name="connsiteY1849" fmla="*/ 72762 h 609800"/>
              <a:gd name="connsiteX1850" fmla="*/ 6856845 w 12248682"/>
              <a:gd name="connsiteY1850" fmla="*/ 51973 h 609800"/>
              <a:gd name="connsiteX1851" fmla="*/ 6877634 w 12248682"/>
              <a:gd name="connsiteY1851" fmla="*/ 31184 h 609800"/>
              <a:gd name="connsiteX1852" fmla="*/ 6039151 w 12248682"/>
              <a:gd name="connsiteY1852" fmla="*/ 31184 h 609800"/>
              <a:gd name="connsiteX1853" fmla="*/ 6059942 w 12248682"/>
              <a:gd name="connsiteY1853" fmla="*/ 51973 h 609800"/>
              <a:gd name="connsiteX1854" fmla="*/ 6039151 w 12248682"/>
              <a:gd name="connsiteY1854" fmla="*/ 72762 h 609800"/>
              <a:gd name="connsiteX1855" fmla="*/ 6018363 w 12248682"/>
              <a:gd name="connsiteY1855" fmla="*/ 51973 h 609800"/>
              <a:gd name="connsiteX1856" fmla="*/ 6039151 w 12248682"/>
              <a:gd name="connsiteY1856" fmla="*/ 31184 h 609800"/>
              <a:gd name="connsiteX1857" fmla="*/ 5899406 w 12248682"/>
              <a:gd name="connsiteY1857" fmla="*/ 31184 h 609800"/>
              <a:gd name="connsiteX1858" fmla="*/ 5920193 w 12248682"/>
              <a:gd name="connsiteY1858" fmla="*/ 51973 h 609800"/>
              <a:gd name="connsiteX1859" fmla="*/ 5899406 w 12248682"/>
              <a:gd name="connsiteY1859" fmla="*/ 72762 h 609800"/>
              <a:gd name="connsiteX1860" fmla="*/ 5878616 w 12248682"/>
              <a:gd name="connsiteY1860" fmla="*/ 51973 h 609800"/>
              <a:gd name="connsiteX1861" fmla="*/ 5899406 w 12248682"/>
              <a:gd name="connsiteY1861" fmla="*/ 31184 h 609800"/>
              <a:gd name="connsiteX1862" fmla="*/ 5759658 w 12248682"/>
              <a:gd name="connsiteY1862" fmla="*/ 31184 h 609800"/>
              <a:gd name="connsiteX1863" fmla="*/ 5780448 w 12248682"/>
              <a:gd name="connsiteY1863" fmla="*/ 51973 h 609800"/>
              <a:gd name="connsiteX1864" fmla="*/ 5759658 w 12248682"/>
              <a:gd name="connsiteY1864" fmla="*/ 72762 h 609800"/>
              <a:gd name="connsiteX1865" fmla="*/ 5738869 w 12248682"/>
              <a:gd name="connsiteY1865" fmla="*/ 51973 h 609800"/>
              <a:gd name="connsiteX1866" fmla="*/ 5759658 w 12248682"/>
              <a:gd name="connsiteY1866" fmla="*/ 31184 h 609800"/>
              <a:gd name="connsiteX1867" fmla="*/ 3241901 w 12248682"/>
              <a:gd name="connsiteY1867" fmla="*/ 31184 h 609800"/>
              <a:gd name="connsiteX1868" fmla="*/ 3262690 w 12248682"/>
              <a:gd name="connsiteY1868" fmla="*/ 51973 h 609800"/>
              <a:gd name="connsiteX1869" fmla="*/ 3241901 w 12248682"/>
              <a:gd name="connsiteY1869" fmla="*/ 72762 h 609800"/>
              <a:gd name="connsiteX1870" fmla="*/ 3221112 w 12248682"/>
              <a:gd name="connsiteY1870" fmla="*/ 51973 h 609800"/>
              <a:gd name="connsiteX1871" fmla="*/ 3241901 w 12248682"/>
              <a:gd name="connsiteY1871" fmla="*/ 31184 h 609800"/>
              <a:gd name="connsiteX1872" fmla="*/ 3102153 w 12248682"/>
              <a:gd name="connsiteY1872" fmla="*/ 31184 h 609800"/>
              <a:gd name="connsiteX1873" fmla="*/ 3122942 w 12248682"/>
              <a:gd name="connsiteY1873" fmla="*/ 51973 h 609800"/>
              <a:gd name="connsiteX1874" fmla="*/ 3102153 w 12248682"/>
              <a:gd name="connsiteY1874" fmla="*/ 72762 h 609800"/>
              <a:gd name="connsiteX1875" fmla="*/ 3081365 w 12248682"/>
              <a:gd name="connsiteY1875" fmla="*/ 51973 h 609800"/>
              <a:gd name="connsiteX1876" fmla="*/ 3102153 w 12248682"/>
              <a:gd name="connsiteY1876" fmla="*/ 31184 h 609800"/>
              <a:gd name="connsiteX1877" fmla="*/ 2962407 w 12248682"/>
              <a:gd name="connsiteY1877" fmla="*/ 31184 h 609800"/>
              <a:gd name="connsiteX1878" fmla="*/ 2983196 w 12248682"/>
              <a:gd name="connsiteY1878" fmla="*/ 51973 h 609800"/>
              <a:gd name="connsiteX1879" fmla="*/ 2962407 w 12248682"/>
              <a:gd name="connsiteY1879" fmla="*/ 72762 h 609800"/>
              <a:gd name="connsiteX1880" fmla="*/ 2941618 w 12248682"/>
              <a:gd name="connsiteY1880" fmla="*/ 51973 h 609800"/>
              <a:gd name="connsiteX1881" fmla="*/ 2962407 w 12248682"/>
              <a:gd name="connsiteY1881" fmla="*/ 31184 h 609800"/>
              <a:gd name="connsiteX1882" fmla="*/ 2822659 w 12248682"/>
              <a:gd name="connsiteY1882" fmla="*/ 31184 h 609800"/>
              <a:gd name="connsiteX1883" fmla="*/ 2843448 w 12248682"/>
              <a:gd name="connsiteY1883" fmla="*/ 51973 h 609800"/>
              <a:gd name="connsiteX1884" fmla="*/ 2822659 w 12248682"/>
              <a:gd name="connsiteY1884" fmla="*/ 72762 h 609800"/>
              <a:gd name="connsiteX1885" fmla="*/ 2801871 w 12248682"/>
              <a:gd name="connsiteY1885" fmla="*/ 51973 h 609800"/>
              <a:gd name="connsiteX1886" fmla="*/ 2822659 w 12248682"/>
              <a:gd name="connsiteY1886" fmla="*/ 31184 h 609800"/>
              <a:gd name="connsiteX1887" fmla="*/ 2682913 w 12248682"/>
              <a:gd name="connsiteY1887" fmla="*/ 31184 h 609800"/>
              <a:gd name="connsiteX1888" fmla="*/ 2703702 w 12248682"/>
              <a:gd name="connsiteY1888" fmla="*/ 51973 h 609800"/>
              <a:gd name="connsiteX1889" fmla="*/ 2682913 w 12248682"/>
              <a:gd name="connsiteY1889" fmla="*/ 72762 h 609800"/>
              <a:gd name="connsiteX1890" fmla="*/ 2662124 w 12248682"/>
              <a:gd name="connsiteY1890" fmla="*/ 51973 h 609800"/>
              <a:gd name="connsiteX1891" fmla="*/ 2682913 w 12248682"/>
              <a:gd name="connsiteY1891" fmla="*/ 31184 h 609800"/>
              <a:gd name="connsiteX1892" fmla="*/ 2543167 w 12248682"/>
              <a:gd name="connsiteY1892" fmla="*/ 31184 h 609800"/>
              <a:gd name="connsiteX1893" fmla="*/ 2563954 w 12248682"/>
              <a:gd name="connsiteY1893" fmla="*/ 51973 h 609800"/>
              <a:gd name="connsiteX1894" fmla="*/ 2543167 w 12248682"/>
              <a:gd name="connsiteY1894" fmla="*/ 72762 h 609800"/>
              <a:gd name="connsiteX1895" fmla="*/ 2522376 w 12248682"/>
              <a:gd name="connsiteY1895" fmla="*/ 51973 h 609800"/>
              <a:gd name="connsiteX1896" fmla="*/ 2543167 w 12248682"/>
              <a:gd name="connsiteY1896" fmla="*/ 31184 h 609800"/>
              <a:gd name="connsiteX1897" fmla="*/ 2403419 w 12248682"/>
              <a:gd name="connsiteY1897" fmla="*/ 31184 h 609800"/>
              <a:gd name="connsiteX1898" fmla="*/ 2424209 w 12248682"/>
              <a:gd name="connsiteY1898" fmla="*/ 51973 h 609800"/>
              <a:gd name="connsiteX1899" fmla="*/ 2403419 w 12248682"/>
              <a:gd name="connsiteY1899" fmla="*/ 72762 h 609800"/>
              <a:gd name="connsiteX1900" fmla="*/ 2382630 w 12248682"/>
              <a:gd name="connsiteY1900" fmla="*/ 51973 h 609800"/>
              <a:gd name="connsiteX1901" fmla="*/ 2403419 w 12248682"/>
              <a:gd name="connsiteY1901" fmla="*/ 31184 h 609800"/>
              <a:gd name="connsiteX1902" fmla="*/ 2263671 w 12248682"/>
              <a:gd name="connsiteY1902" fmla="*/ 31184 h 609800"/>
              <a:gd name="connsiteX1903" fmla="*/ 2284460 w 12248682"/>
              <a:gd name="connsiteY1903" fmla="*/ 51973 h 609800"/>
              <a:gd name="connsiteX1904" fmla="*/ 2263671 w 12248682"/>
              <a:gd name="connsiteY1904" fmla="*/ 72762 h 609800"/>
              <a:gd name="connsiteX1905" fmla="*/ 2242883 w 12248682"/>
              <a:gd name="connsiteY1905" fmla="*/ 51973 h 609800"/>
              <a:gd name="connsiteX1906" fmla="*/ 2263671 w 12248682"/>
              <a:gd name="connsiteY1906" fmla="*/ 31184 h 609800"/>
              <a:gd name="connsiteX1907" fmla="*/ 1426344 w 12248682"/>
              <a:gd name="connsiteY1907" fmla="*/ 31184 h 609800"/>
              <a:gd name="connsiteX1908" fmla="*/ 1447133 w 12248682"/>
              <a:gd name="connsiteY1908" fmla="*/ 51973 h 609800"/>
              <a:gd name="connsiteX1909" fmla="*/ 1426344 w 12248682"/>
              <a:gd name="connsiteY1909" fmla="*/ 72762 h 609800"/>
              <a:gd name="connsiteX1910" fmla="*/ 1405556 w 12248682"/>
              <a:gd name="connsiteY1910" fmla="*/ 51973 h 609800"/>
              <a:gd name="connsiteX1911" fmla="*/ 1426344 w 12248682"/>
              <a:gd name="connsiteY1911" fmla="*/ 31184 h 609800"/>
              <a:gd name="connsiteX1912" fmla="*/ 1286597 w 12248682"/>
              <a:gd name="connsiteY1912" fmla="*/ 31184 h 609800"/>
              <a:gd name="connsiteX1913" fmla="*/ 1307386 w 12248682"/>
              <a:gd name="connsiteY1913" fmla="*/ 51973 h 609800"/>
              <a:gd name="connsiteX1914" fmla="*/ 1286597 w 12248682"/>
              <a:gd name="connsiteY1914" fmla="*/ 72762 h 609800"/>
              <a:gd name="connsiteX1915" fmla="*/ 1265808 w 12248682"/>
              <a:gd name="connsiteY1915" fmla="*/ 51973 h 609800"/>
              <a:gd name="connsiteX1916" fmla="*/ 1286597 w 12248682"/>
              <a:gd name="connsiteY1916" fmla="*/ 31184 h 609800"/>
              <a:gd name="connsiteX1917" fmla="*/ 1146851 w 12248682"/>
              <a:gd name="connsiteY1917" fmla="*/ 31184 h 609800"/>
              <a:gd name="connsiteX1918" fmla="*/ 1167639 w 12248682"/>
              <a:gd name="connsiteY1918" fmla="*/ 51973 h 609800"/>
              <a:gd name="connsiteX1919" fmla="*/ 1146851 w 12248682"/>
              <a:gd name="connsiteY1919" fmla="*/ 72762 h 609800"/>
              <a:gd name="connsiteX1920" fmla="*/ 1126062 w 12248682"/>
              <a:gd name="connsiteY1920" fmla="*/ 51973 h 609800"/>
              <a:gd name="connsiteX1921" fmla="*/ 1146851 w 12248682"/>
              <a:gd name="connsiteY1921" fmla="*/ 31184 h 609800"/>
              <a:gd name="connsiteX1922" fmla="*/ 11343213 w 12248682"/>
              <a:gd name="connsiteY1922" fmla="*/ 27719 h 609800"/>
              <a:gd name="connsiteX1923" fmla="*/ 11366312 w 12248682"/>
              <a:gd name="connsiteY1923" fmla="*/ 50817 h 609800"/>
              <a:gd name="connsiteX1924" fmla="*/ 11343213 w 12248682"/>
              <a:gd name="connsiteY1924" fmla="*/ 73916 h 609800"/>
              <a:gd name="connsiteX1925" fmla="*/ 11320114 w 12248682"/>
              <a:gd name="connsiteY1925" fmla="*/ 50817 h 609800"/>
              <a:gd name="connsiteX1926" fmla="*/ 11343213 w 12248682"/>
              <a:gd name="connsiteY1926" fmla="*/ 27719 h 609800"/>
              <a:gd name="connsiteX1927" fmla="*/ 10225237 w 12248682"/>
              <a:gd name="connsiteY1927" fmla="*/ 27719 h 609800"/>
              <a:gd name="connsiteX1928" fmla="*/ 10248335 w 12248682"/>
              <a:gd name="connsiteY1928" fmla="*/ 50817 h 609800"/>
              <a:gd name="connsiteX1929" fmla="*/ 10225237 w 12248682"/>
              <a:gd name="connsiteY1929" fmla="*/ 73916 h 609800"/>
              <a:gd name="connsiteX1930" fmla="*/ 10202138 w 12248682"/>
              <a:gd name="connsiteY1930" fmla="*/ 50817 h 609800"/>
              <a:gd name="connsiteX1931" fmla="*/ 10225237 w 12248682"/>
              <a:gd name="connsiteY1931" fmla="*/ 27719 h 609800"/>
              <a:gd name="connsiteX1932" fmla="*/ 9112431 w 12248682"/>
              <a:gd name="connsiteY1932" fmla="*/ 27719 h 609800"/>
              <a:gd name="connsiteX1933" fmla="*/ 9135530 w 12248682"/>
              <a:gd name="connsiteY1933" fmla="*/ 50817 h 609800"/>
              <a:gd name="connsiteX1934" fmla="*/ 9112431 w 12248682"/>
              <a:gd name="connsiteY1934" fmla="*/ 73916 h 609800"/>
              <a:gd name="connsiteX1935" fmla="*/ 9089332 w 12248682"/>
              <a:gd name="connsiteY1935" fmla="*/ 50817 h 609800"/>
              <a:gd name="connsiteX1936" fmla="*/ 9112431 w 12248682"/>
              <a:gd name="connsiteY1936" fmla="*/ 27719 h 609800"/>
              <a:gd name="connsiteX1937" fmla="*/ 7994456 w 12248682"/>
              <a:gd name="connsiteY1937" fmla="*/ 27719 h 609800"/>
              <a:gd name="connsiteX1938" fmla="*/ 8017555 w 12248682"/>
              <a:gd name="connsiteY1938" fmla="*/ 50817 h 609800"/>
              <a:gd name="connsiteX1939" fmla="*/ 7994456 w 12248682"/>
              <a:gd name="connsiteY1939" fmla="*/ 73916 h 609800"/>
              <a:gd name="connsiteX1940" fmla="*/ 7971356 w 12248682"/>
              <a:gd name="connsiteY1940" fmla="*/ 50817 h 609800"/>
              <a:gd name="connsiteX1941" fmla="*/ 7994456 w 12248682"/>
              <a:gd name="connsiteY1941" fmla="*/ 27719 h 609800"/>
              <a:gd name="connsiteX1942" fmla="*/ 6737887 w 12248682"/>
              <a:gd name="connsiteY1942" fmla="*/ 27719 h 609800"/>
              <a:gd name="connsiteX1943" fmla="*/ 6760986 w 12248682"/>
              <a:gd name="connsiteY1943" fmla="*/ 50817 h 609800"/>
              <a:gd name="connsiteX1944" fmla="*/ 6737887 w 12248682"/>
              <a:gd name="connsiteY1944" fmla="*/ 73916 h 609800"/>
              <a:gd name="connsiteX1945" fmla="*/ 6714789 w 12248682"/>
              <a:gd name="connsiteY1945" fmla="*/ 50817 h 609800"/>
              <a:gd name="connsiteX1946" fmla="*/ 6737887 w 12248682"/>
              <a:gd name="connsiteY1946" fmla="*/ 27719 h 609800"/>
              <a:gd name="connsiteX1947" fmla="*/ 5619912 w 12248682"/>
              <a:gd name="connsiteY1947" fmla="*/ 27719 h 609800"/>
              <a:gd name="connsiteX1948" fmla="*/ 5643008 w 12248682"/>
              <a:gd name="connsiteY1948" fmla="*/ 50817 h 609800"/>
              <a:gd name="connsiteX1949" fmla="*/ 5619912 w 12248682"/>
              <a:gd name="connsiteY1949" fmla="*/ 73916 h 609800"/>
              <a:gd name="connsiteX1950" fmla="*/ 5596812 w 12248682"/>
              <a:gd name="connsiteY1950" fmla="*/ 50817 h 609800"/>
              <a:gd name="connsiteX1951" fmla="*/ 5619912 w 12248682"/>
              <a:gd name="connsiteY1951" fmla="*/ 27719 h 609800"/>
              <a:gd name="connsiteX1952" fmla="*/ 4499625 w 12248682"/>
              <a:gd name="connsiteY1952" fmla="*/ 27719 h 609800"/>
              <a:gd name="connsiteX1953" fmla="*/ 4522722 w 12248682"/>
              <a:gd name="connsiteY1953" fmla="*/ 50817 h 609800"/>
              <a:gd name="connsiteX1954" fmla="*/ 4499625 w 12248682"/>
              <a:gd name="connsiteY1954" fmla="*/ 73916 h 609800"/>
              <a:gd name="connsiteX1955" fmla="*/ 4476525 w 12248682"/>
              <a:gd name="connsiteY1955" fmla="*/ 50817 h 609800"/>
              <a:gd name="connsiteX1956" fmla="*/ 4499625 w 12248682"/>
              <a:gd name="connsiteY1956" fmla="*/ 27719 h 609800"/>
              <a:gd name="connsiteX1957" fmla="*/ 3381648 w 12248682"/>
              <a:gd name="connsiteY1957" fmla="*/ 27719 h 609800"/>
              <a:gd name="connsiteX1958" fmla="*/ 3404746 w 12248682"/>
              <a:gd name="connsiteY1958" fmla="*/ 50817 h 609800"/>
              <a:gd name="connsiteX1959" fmla="*/ 3381648 w 12248682"/>
              <a:gd name="connsiteY1959" fmla="*/ 73916 h 609800"/>
              <a:gd name="connsiteX1960" fmla="*/ 3358549 w 12248682"/>
              <a:gd name="connsiteY1960" fmla="*/ 50817 h 609800"/>
              <a:gd name="connsiteX1961" fmla="*/ 3381648 w 12248682"/>
              <a:gd name="connsiteY1961" fmla="*/ 27719 h 609800"/>
              <a:gd name="connsiteX1962" fmla="*/ 2125079 w 12248682"/>
              <a:gd name="connsiteY1962" fmla="*/ 27719 h 609800"/>
              <a:gd name="connsiteX1963" fmla="*/ 2148178 w 12248682"/>
              <a:gd name="connsiteY1963" fmla="*/ 50817 h 609800"/>
              <a:gd name="connsiteX1964" fmla="*/ 2125079 w 12248682"/>
              <a:gd name="connsiteY1964" fmla="*/ 73916 h 609800"/>
              <a:gd name="connsiteX1965" fmla="*/ 2101980 w 12248682"/>
              <a:gd name="connsiteY1965" fmla="*/ 50817 h 609800"/>
              <a:gd name="connsiteX1966" fmla="*/ 2125079 w 12248682"/>
              <a:gd name="connsiteY1966" fmla="*/ 27719 h 609800"/>
              <a:gd name="connsiteX1967" fmla="*/ 1007103 w 12248682"/>
              <a:gd name="connsiteY1967" fmla="*/ 27719 h 609800"/>
              <a:gd name="connsiteX1968" fmla="*/ 1030201 w 12248682"/>
              <a:gd name="connsiteY1968" fmla="*/ 50817 h 609800"/>
              <a:gd name="connsiteX1969" fmla="*/ 1007103 w 12248682"/>
              <a:gd name="connsiteY1969" fmla="*/ 73916 h 609800"/>
              <a:gd name="connsiteX1970" fmla="*/ 984004 w 12248682"/>
              <a:gd name="connsiteY1970" fmla="*/ 50817 h 609800"/>
              <a:gd name="connsiteX1971" fmla="*/ 1007103 w 12248682"/>
              <a:gd name="connsiteY1971" fmla="*/ 27719 h 609800"/>
              <a:gd name="connsiteX1972" fmla="*/ 11203466 w 12248682"/>
              <a:gd name="connsiteY1972" fmla="*/ 21945 h 609800"/>
              <a:gd name="connsiteX1973" fmla="*/ 11232339 w 12248682"/>
              <a:gd name="connsiteY1973" fmla="*/ 50817 h 609800"/>
              <a:gd name="connsiteX1974" fmla="*/ 11203466 w 12248682"/>
              <a:gd name="connsiteY1974" fmla="*/ 79691 h 609800"/>
              <a:gd name="connsiteX1975" fmla="*/ 11174593 w 12248682"/>
              <a:gd name="connsiteY1975" fmla="*/ 50817 h 609800"/>
              <a:gd name="connsiteX1976" fmla="*/ 11203466 w 12248682"/>
              <a:gd name="connsiteY1976" fmla="*/ 21945 h 609800"/>
              <a:gd name="connsiteX1977" fmla="*/ 10085490 w 12248682"/>
              <a:gd name="connsiteY1977" fmla="*/ 21945 h 609800"/>
              <a:gd name="connsiteX1978" fmla="*/ 10114363 w 12248682"/>
              <a:gd name="connsiteY1978" fmla="*/ 51973 h 609800"/>
              <a:gd name="connsiteX1979" fmla="*/ 10085490 w 12248682"/>
              <a:gd name="connsiteY1979" fmla="*/ 80846 h 609800"/>
              <a:gd name="connsiteX1980" fmla="*/ 10056616 w 12248682"/>
              <a:gd name="connsiteY1980" fmla="*/ 50817 h 609800"/>
              <a:gd name="connsiteX1981" fmla="*/ 10085490 w 12248682"/>
              <a:gd name="connsiteY1981" fmla="*/ 21945 h 609800"/>
              <a:gd name="connsiteX1982" fmla="*/ 9247008 w 12248682"/>
              <a:gd name="connsiteY1982" fmla="*/ 21945 h 609800"/>
              <a:gd name="connsiteX1983" fmla="*/ 9275881 w 12248682"/>
              <a:gd name="connsiteY1983" fmla="*/ 50817 h 609800"/>
              <a:gd name="connsiteX1984" fmla="*/ 9247008 w 12248682"/>
              <a:gd name="connsiteY1984" fmla="*/ 80846 h 609800"/>
              <a:gd name="connsiteX1985" fmla="*/ 9218134 w 12248682"/>
              <a:gd name="connsiteY1985" fmla="*/ 50817 h 609800"/>
              <a:gd name="connsiteX1986" fmla="*/ 9247008 w 12248682"/>
              <a:gd name="connsiteY1986" fmla="*/ 21945 h 609800"/>
              <a:gd name="connsiteX1987" fmla="*/ 8972685 w 12248682"/>
              <a:gd name="connsiteY1987" fmla="*/ 21945 h 609800"/>
              <a:gd name="connsiteX1988" fmla="*/ 9001557 w 12248682"/>
              <a:gd name="connsiteY1988" fmla="*/ 50817 h 609800"/>
              <a:gd name="connsiteX1989" fmla="*/ 8972685 w 12248682"/>
              <a:gd name="connsiteY1989" fmla="*/ 79691 h 609800"/>
              <a:gd name="connsiteX1990" fmla="*/ 8943811 w 12248682"/>
              <a:gd name="connsiteY1990" fmla="*/ 50817 h 609800"/>
              <a:gd name="connsiteX1991" fmla="*/ 8972685 w 12248682"/>
              <a:gd name="connsiteY1991" fmla="*/ 21945 h 609800"/>
              <a:gd name="connsiteX1992" fmla="*/ 8134203 w 12248682"/>
              <a:gd name="connsiteY1992" fmla="*/ 21945 h 609800"/>
              <a:gd name="connsiteX1993" fmla="*/ 8163075 w 12248682"/>
              <a:gd name="connsiteY1993" fmla="*/ 50817 h 609800"/>
              <a:gd name="connsiteX1994" fmla="*/ 8134203 w 12248682"/>
              <a:gd name="connsiteY1994" fmla="*/ 79691 h 609800"/>
              <a:gd name="connsiteX1995" fmla="*/ 8105330 w 12248682"/>
              <a:gd name="connsiteY1995" fmla="*/ 50817 h 609800"/>
              <a:gd name="connsiteX1996" fmla="*/ 8134203 w 12248682"/>
              <a:gd name="connsiteY1996" fmla="*/ 21945 h 609800"/>
              <a:gd name="connsiteX1997" fmla="*/ 6598140 w 12248682"/>
              <a:gd name="connsiteY1997" fmla="*/ 21945 h 609800"/>
              <a:gd name="connsiteX1998" fmla="*/ 6627013 w 12248682"/>
              <a:gd name="connsiteY1998" fmla="*/ 50817 h 609800"/>
              <a:gd name="connsiteX1999" fmla="*/ 6598140 w 12248682"/>
              <a:gd name="connsiteY1999" fmla="*/ 79691 h 609800"/>
              <a:gd name="connsiteX2000" fmla="*/ 6569267 w 12248682"/>
              <a:gd name="connsiteY2000" fmla="*/ 50817 h 609800"/>
              <a:gd name="connsiteX2001" fmla="*/ 6598140 w 12248682"/>
              <a:gd name="connsiteY2001" fmla="*/ 21945 h 609800"/>
              <a:gd name="connsiteX2002" fmla="*/ 5480165 w 12248682"/>
              <a:gd name="connsiteY2002" fmla="*/ 21945 h 609800"/>
              <a:gd name="connsiteX2003" fmla="*/ 5509037 w 12248682"/>
              <a:gd name="connsiteY2003" fmla="*/ 50817 h 609800"/>
              <a:gd name="connsiteX2004" fmla="*/ 5480165 w 12248682"/>
              <a:gd name="connsiteY2004" fmla="*/ 79691 h 609800"/>
              <a:gd name="connsiteX2005" fmla="*/ 5451289 w 12248682"/>
              <a:gd name="connsiteY2005" fmla="*/ 50817 h 609800"/>
              <a:gd name="connsiteX2006" fmla="*/ 5480165 w 12248682"/>
              <a:gd name="connsiteY2006" fmla="*/ 21945 h 609800"/>
              <a:gd name="connsiteX2007" fmla="*/ 4641682 w 12248682"/>
              <a:gd name="connsiteY2007" fmla="*/ 21945 h 609800"/>
              <a:gd name="connsiteX2008" fmla="*/ 4670555 w 12248682"/>
              <a:gd name="connsiteY2008" fmla="*/ 50817 h 609800"/>
              <a:gd name="connsiteX2009" fmla="*/ 4641682 w 12248682"/>
              <a:gd name="connsiteY2009" fmla="*/ 79691 h 609800"/>
              <a:gd name="connsiteX2010" fmla="*/ 4612809 w 12248682"/>
              <a:gd name="connsiteY2010" fmla="*/ 50817 h 609800"/>
              <a:gd name="connsiteX2011" fmla="*/ 4641682 w 12248682"/>
              <a:gd name="connsiteY2011" fmla="*/ 21945 h 609800"/>
              <a:gd name="connsiteX2012" fmla="*/ 4359878 w 12248682"/>
              <a:gd name="connsiteY2012" fmla="*/ 21945 h 609800"/>
              <a:gd name="connsiteX2013" fmla="*/ 4388751 w 12248682"/>
              <a:gd name="connsiteY2013" fmla="*/ 50817 h 609800"/>
              <a:gd name="connsiteX2014" fmla="*/ 4359878 w 12248682"/>
              <a:gd name="connsiteY2014" fmla="*/ 79691 h 609800"/>
              <a:gd name="connsiteX2015" fmla="*/ 4331004 w 12248682"/>
              <a:gd name="connsiteY2015" fmla="*/ 50817 h 609800"/>
              <a:gd name="connsiteX2016" fmla="*/ 4359878 w 12248682"/>
              <a:gd name="connsiteY2016" fmla="*/ 21945 h 609800"/>
              <a:gd name="connsiteX2017" fmla="*/ 3521396 w 12248682"/>
              <a:gd name="connsiteY2017" fmla="*/ 21945 h 609800"/>
              <a:gd name="connsiteX2018" fmla="*/ 3550268 w 12248682"/>
              <a:gd name="connsiteY2018" fmla="*/ 50817 h 609800"/>
              <a:gd name="connsiteX2019" fmla="*/ 3521396 w 12248682"/>
              <a:gd name="connsiteY2019" fmla="*/ 79691 h 609800"/>
              <a:gd name="connsiteX2020" fmla="*/ 3492521 w 12248682"/>
              <a:gd name="connsiteY2020" fmla="*/ 50817 h 609800"/>
              <a:gd name="connsiteX2021" fmla="*/ 3521396 w 12248682"/>
              <a:gd name="connsiteY2021" fmla="*/ 21945 h 609800"/>
              <a:gd name="connsiteX2022" fmla="*/ 1985333 w 12248682"/>
              <a:gd name="connsiteY2022" fmla="*/ 21945 h 609800"/>
              <a:gd name="connsiteX2023" fmla="*/ 2014205 w 12248682"/>
              <a:gd name="connsiteY2023" fmla="*/ 50817 h 609800"/>
              <a:gd name="connsiteX2024" fmla="*/ 1985333 w 12248682"/>
              <a:gd name="connsiteY2024" fmla="*/ 79691 h 609800"/>
              <a:gd name="connsiteX2025" fmla="*/ 1956459 w 12248682"/>
              <a:gd name="connsiteY2025" fmla="*/ 50817 h 609800"/>
              <a:gd name="connsiteX2026" fmla="*/ 1985333 w 12248682"/>
              <a:gd name="connsiteY2026" fmla="*/ 21945 h 609800"/>
              <a:gd name="connsiteX2027" fmla="*/ 867356 w 12248682"/>
              <a:gd name="connsiteY2027" fmla="*/ 21945 h 609800"/>
              <a:gd name="connsiteX2028" fmla="*/ 896229 w 12248682"/>
              <a:gd name="connsiteY2028" fmla="*/ 51973 h 609800"/>
              <a:gd name="connsiteX2029" fmla="*/ 867356 w 12248682"/>
              <a:gd name="connsiteY2029" fmla="*/ 80846 h 609800"/>
              <a:gd name="connsiteX2030" fmla="*/ 838482 w 12248682"/>
              <a:gd name="connsiteY2030" fmla="*/ 50817 h 609800"/>
              <a:gd name="connsiteX2031" fmla="*/ 867356 w 12248682"/>
              <a:gd name="connsiteY2031" fmla="*/ 21945 h 609800"/>
              <a:gd name="connsiteX2032" fmla="*/ 28874 w 12248682"/>
              <a:gd name="connsiteY2032" fmla="*/ 21945 h 609800"/>
              <a:gd name="connsiteX2033" fmla="*/ 57747 w 12248682"/>
              <a:gd name="connsiteY2033" fmla="*/ 50817 h 609800"/>
              <a:gd name="connsiteX2034" fmla="*/ 28874 w 12248682"/>
              <a:gd name="connsiteY2034" fmla="*/ 80846 h 609800"/>
              <a:gd name="connsiteX2035" fmla="*/ 0 w 12248682"/>
              <a:gd name="connsiteY2035" fmla="*/ 50817 h 609800"/>
              <a:gd name="connsiteX2036" fmla="*/ 28874 w 12248682"/>
              <a:gd name="connsiteY2036" fmla="*/ 21945 h 609800"/>
              <a:gd name="connsiteX2037" fmla="*/ 11063719 w 12248682"/>
              <a:gd name="connsiteY2037" fmla="*/ 16169 h 609800"/>
              <a:gd name="connsiteX2038" fmla="*/ 11098367 w 12248682"/>
              <a:gd name="connsiteY2038" fmla="*/ 50817 h 609800"/>
              <a:gd name="connsiteX2039" fmla="*/ 11063719 w 12248682"/>
              <a:gd name="connsiteY2039" fmla="*/ 85465 h 609800"/>
              <a:gd name="connsiteX2040" fmla="*/ 11029071 w 12248682"/>
              <a:gd name="connsiteY2040" fmla="*/ 50817 h 609800"/>
              <a:gd name="connsiteX2041" fmla="*/ 11063719 w 12248682"/>
              <a:gd name="connsiteY2041" fmla="*/ 16169 h 609800"/>
              <a:gd name="connsiteX2042" fmla="*/ 9945743 w 12248682"/>
              <a:gd name="connsiteY2042" fmla="*/ 16169 h 609800"/>
              <a:gd name="connsiteX2043" fmla="*/ 9980391 w 12248682"/>
              <a:gd name="connsiteY2043" fmla="*/ 50817 h 609800"/>
              <a:gd name="connsiteX2044" fmla="*/ 9945743 w 12248682"/>
              <a:gd name="connsiteY2044" fmla="*/ 85465 h 609800"/>
              <a:gd name="connsiteX2045" fmla="*/ 9911094 w 12248682"/>
              <a:gd name="connsiteY2045" fmla="*/ 50817 h 609800"/>
              <a:gd name="connsiteX2046" fmla="*/ 9945743 w 12248682"/>
              <a:gd name="connsiteY2046" fmla="*/ 16169 h 609800"/>
              <a:gd name="connsiteX2047" fmla="*/ 9386754 w 12248682"/>
              <a:gd name="connsiteY2047" fmla="*/ 16169 h 609800"/>
              <a:gd name="connsiteX2048" fmla="*/ 9421402 w 12248682"/>
              <a:gd name="connsiteY2048" fmla="*/ 50817 h 609800"/>
              <a:gd name="connsiteX2049" fmla="*/ 9386754 w 12248682"/>
              <a:gd name="connsiteY2049" fmla="*/ 85465 h 609800"/>
              <a:gd name="connsiteX2050" fmla="*/ 9352106 w 12248682"/>
              <a:gd name="connsiteY2050" fmla="*/ 50817 h 609800"/>
              <a:gd name="connsiteX2051" fmla="*/ 9386754 w 12248682"/>
              <a:gd name="connsiteY2051" fmla="*/ 16169 h 609800"/>
              <a:gd name="connsiteX2052" fmla="*/ 8832937 w 12248682"/>
              <a:gd name="connsiteY2052" fmla="*/ 16169 h 609800"/>
              <a:gd name="connsiteX2053" fmla="*/ 8867585 w 12248682"/>
              <a:gd name="connsiteY2053" fmla="*/ 50817 h 609800"/>
              <a:gd name="connsiteX2054" fmla="*/ 8832937 w 12248682"/>
              <a:gd name="connsiteY2054" fmla="*/ 85465 h 609800"/>
              <a:gd name="connsiteX2055" fmla="*/ 8798289 w 12248682"/>
              <a:gd name="connsiteY2055" fmla="*/ 50817 h 609800"/>
              <a:gd name="connsiteX2056" fmla="*/ 8832937 w 12248682"/>
              <a:gd name="connsiteY2056" fmla="*/ 16169 h 609800"/>
              <a:gd name="connsiteX2057" fmla="*/ 8273949 w 12248682"/>
              <a:gd name="connsiteY2057" fmla="*/ 16169 h 609800"/>
              <a:gd name="connsiteX2058" fmla="*/ 8308598 w 12248682"/>
              <a:gd name="connsiteY2058" fmla="*/ 50817 h 609800"/>
              <a:gd name="connsiteX2059" fmla="*/ 8273949 w 12248682"/>
              <a:gd name="connsiteY2059" fmla="*/ 85465 h 609800"/>
              <a:gd name="connsiteX2060" fmla="*/ 8239301 w 12248682"/>
              <a:gd name="connsiteY2060" fmla="*/ 50817 h 609800"/>
              <a:gd name="connsiteX2061" fmla="*/ 8273949 w 12248682"/>
              <a:gd name="connsiteY2061" fmla="*/ 16169 h 609800"/>
              <a:gd name="connsiteX2062" fmla="*/ 6458393 w 12248682"/>
              <a:gd name="connsiteY2062" fmla="*/ 16169 h 609800"/>
              <a:gd name="connsiteX2063" fmla="*/ 6493041 w 12248682"/>
              <a:gd name="connsiteY2063" fmla="*/ 50817 h 609800"/>
              <a:gd name="connsiteX2064" fmla="*/ 6458393 w 12248682"/>
              <a:gd name="connsiteY2064" fmla="*/ 85465 h 609800"/>
              <a:gd name="connsiteX2065" fmla="*/ 6423745 w 12248682"/>
              <a:gd name="connsiteY2065" fmla="*/ 50817 h 609800"/>
              <a:gd name="connsiteX2066" fmla="*/ 6458393 w 12248682"/>
              <a:gd name="connsiteY2066" fmla="*/ 16169 h 609800"/>
              <a:gd name="connsiteX2067" fmla="*/ 5340416 w 12248682"/>
              <a:gd name="connsiteY2067" fmla="*/ 16169 h 609800"/>
              <a:gd name="connsiteX2068" fmla="*/ 5375064 w 12248682"/>
              <a:gd name="connsiteY2068" fmla="*/ 50817 h 609800"/>
              <a:gd name="connsiteX2069" fmla="*/ 5340416 w 12248682"/>
              <a:gd name="connsiteY2069" fmla="*/ 85465 h 609800"/>
              <a:gd name="connsiteX2070" fmla="*/ 5305769 w 12248682"/>
              <a:gd name="connsiteY2070" fmla="*/ 50817 h 609800"/>
              <a:gd name="connsiteX2071" fmla="*/ 5340416 w 12248682"/>
              <a:gd name="connsiteY2071" fmla="*/ 16169 h 609800"/>
              <a:gd name="connsiteX2072" fmla="*/ 4781429 w 12248682"/>
              <a:gd name="connsiteY2072" fmla="*/ 16169 h 609800"/>
              <a:gd name="connsiteX2073" fmla="*/ 4816075 w 12248682"/>
              <a:gd name="connsiteY2073" fmla="*/ 50817 h 609800"/>
              <a:gd name="connsiteX2074" fmla="*/ 4781429 w 12248682"/>
              <a:gd name="connsiteY2074" fmla="*/ 85465 h 609800"/>
              <a:gd name="connsiteX2075" fmla="*/ 4746781 w 12248682"/>
              <a:gd name="connsiteY2075" fmla="*/ 50817 h 609800"/>
              <a:gd name="connsiteX2076" fmla="*/ 4781429 w 12248682"/>
              <a:gd name="connsiteY2076" fmla="*/ 16169 h 609800"/>
              <a:gd name="connsiteX2077" fmla="*/ 4220129 w 12248682"/>
              <a:gd name="connsiteY2077" fmla="*/ 16169 h 609800"/>
              <a:gd name="connsiteX2078" fmla="*/ 4254779 w 12248682"/>
              <a:gd name="connsiteY2078" fmla="*/ 50817 h 609800"/>
              <a:gd name="connsiteX2079" fmla="*/ 4220129 w 12248682"/>
              <a:gd name="connsiteY2079" fmla="*/ 85465 h 609800"/>
              <a:gd name="connsiteX2080" fmla="*/ 4185482 w 12248682"/>
              <a:gd name="connsiteY2080" fmla="*/ 50817 h 609800"/>
              <a:gd name="connsiteX2081" fmla="*/ 4220129 w 12248682"/>
              <a:gd name="connsiteY2081" fmla="*/ 16169 h 609800"/>
              <a:gd name="connsiteX2082" fmla="*/ 3661142 w 12248682"/>
              <a:gd name="connsiteY2082" fmla="*/ 16169 h 609800"/>
              <a:gd name="connsiteX2083" fmla="*/ 3695791 w 12248682"/>
              <a:gd name="connsiteY2083" fmla="*/ 50817 h 609800"/>
              <a:gd name="connsiteX2084" fmla="*/ 3661142 w 12248682"/>
              <a:gd name="connsiteY2084" fmla="*/ 85465 h 609800"/>
              <a:gd name="connsiteX2085" fmla="*/ 3626494 w 12248682"/>
              <a:gd name="connsiteY2085" fmla="*/ 50817 h 609800"/>
              <a:gd name="connsiteX2086" fmla="*/ 3661142 w 12248682"/>
              <a:gd name="connsiteY2086" fmla="*/ 16169 h 609800"/>
              <a:gd name="connsiteX2087" fmla="*/ 1845585 w 12248682"/>
              <a:gd name="connsiteY2087" fmla="*/ 16169 h 609800"/>
              <a:gd name="connsiteX2088" fmla="*/ 1880233 w 12248682"/>
              <a:gd name="connsiteY2088" fmla="*/ 50817 h 609800"/>
              <a:gd name="connsiteX2089" fmla="*/ 1845585 w 12248682"/>
              <a:gd name="connsiteY2089" fmla="*/ 85465 h 609800"/>
              <a:gd name="connsiteX2090" fmla="*/ 1810937 w 12248682"/>
              <a:gd name="connsiteY2090" fmla="*/ 50817 h 609800"/>
              <a:gd name="connsiteX2091" fmla="*/ 1845585 w 12248682"/>
              <a:gd name="connsiteY2091" fmla="*/ 16169 h 609800"/>
              <a:gd name="connsiteX2092" fmla="*/ 727609 w 12248682"/>
              <a:gd name="connsiteY2092" fmla="*/ 16169 h 609800"/>
              <a:gd name="connsiteX2093" fmla="*/ 762257 w 12248682"/>
              <a:gd name="connsiteY2093" fmla="*/ 50817 h 609800"/>
              <a:gd name="connsiteX2094" fmla="*/ 727609 w 12248682"/>
              <a:gd name="connsiteY2094" fmla="*/ 85465 h 609800"/>
              <a:gd name="connsiteX2095" fmla="*/ 692961 w 12248682"/>
              <a:gd name="connsiteY2095" fmla="*/ 50817 h 609800"/>
              <a:gd name="connsiteX2096" fmla="*/ 727609 w 12248682"/>
              <a:gd name="connsiteY2096" fmla="*/ 16169 h 609800"/>
              <a:gd name="connsiteX2097" fmla="*/ 168621 w 12248682"/>
              <a:gd name="connsiteY2097" fmla="*/ 16169 h 609800"/>
              <a:gd name="connsiteX2098" fmla="*/ 203269 w 12248682"/>
              <a:gd name="connsiteY2098" fmla="*/ 50817 h 609800"/>
              <a:gd name="connsiteX2099" fmla="*/ 168621 w 12248682"/>
              <a:gd name="connsiteY2099" fmla="*/ 85465 h 609800"/>
              <a:gd name="connsiteX2100" fmla="*/ 133973 w 12248682"/>
              <a:gd name="connsiteY2100" fmla="*/ 50817 h 609800"/>
              <a:gd name="connsiteX2101" fmla="*/ 168621 w 12248682"/>
              <a:gd name="connsiteY2101" fmla="*/ 16169 h 609800"/>
              <a:gd name="connsiteX2102" fmla="*/ 10923972 w 12248682"/>
              <a:gd name="connsiteY2102" fmla="*/ 10395 h 609800"/>
              <a:gd name="connsiteX2103" fmla="*/ 10964394 w 12248682"/>
              <a:gd name="connsiteY2103" fmla="*/ 50817 h 609800"/>
              <a:gd name="connsiteX2104" fmla="*/ 10923972 w 12248682"/>
              <a:gd name="connsiteY2104" fmla="*/ 91241 h 609800"/>
              <a:gd name="connsiteX2105" fmla="*/ 10883549 w 12248682"/>
              <a:gd name="connsiteY2105" fmla="*/ 50817 h 609800"/>
              <a:gd name="connsiteX2106" fmla="*/ 10923972 w 12248682"/>
              <a:gd name="connsiteY2106" fmla="*/ 10395 h 609800"/>
              <a:gd name="connsiteX2107" fmla="*/ 9805996 w 12248682"/>
              <a:gd name="connsiteY2107" fmla="*/ 10395 h 609800"/>
              <a:gd name="connsiteX2108" fmla="*/ 9846418 w 12248682"/>
              <a:gd name="connsiteY2108" fmla="*/ 51973 h 609800"/>
              <a:gd name="connsiteX2109" fmla="*/ 9805996 w 12248682"/>
              <a:gd name="connsiteY2109" fmla="*/ 92395 h 609800"/>
              <a:gd name="connsiteX2110" fmla="*/ 9765573 w 12248682"/>
              <a:gd name="connsiteY2110" fmla="*/ 50817 h 609800"/>
              <a:gd name="connsiteX2111" fmla="*/ 9805996 w 12248682"/>
              <a:gd name="connsiteY2111" fmla="*/ 10395 h 609800"/>
              <a:gd name="connsiteX2112" fmla="*/ 9526502 w 12248682"/>
              <a:gd name="connsiteY2112" fmla="*/ 10395 h 609800"/>
              <a:gd name="connsiteX2113" fmla="*/ 9566924 w 12248682"/>
              <a:gd name="connsiteY2113" fmla="*/ 51973 h 609800"/>
              <a:gd name="connsiteX2114" fmla="*/ 9526502 w 12248682"/>
              <a:gd name="connsiteY2114" fmla="*/ 92395 h 609800"/>
              <a:gd name="connsiteX2115" fmla="*/ 9486079 w 12248682"/>
              <a:gd name="connsiteY2115" fmla="*/ 50817 h 609800"/>
              <a:gd name="connsiteX2116" fmla="*/ 9526502 w 12248682"/>
              <a:gd name="connsiteY2116" fmla="*/ 10395 h 609800"/>
              <a:gd name="connsiteX2117" fmla="*/ 8693190 w 12248682"/>
              <a:gd name="connsiteY2117" fmla="*/ 10395 h 609800"/>
              <a:gd name="connsiteX2118" fmla="*/ 8733613 w 12248682"/>
              <a:gd name="connsiteY2118" fmla="*/ 50817 h 609800"/>
              <a:gd name="connsiteX2119" fmla="*/ 8693190 w 12248682"/>
              <a:gd name="connsiteY2119" fmla="*/ 91241 h 609800"/>
              <a:gd name="connsiteX2120" fmla="*/ 8652767 w 12248682"/>
              <a:gd name="connsiteY2120" fmla="*/ 50817 h 609800"/>
              <a:gd name="connsiteX2121" fmla="*/ 8693190 w 12248682"/>
              <a:gd name="connsiteY2121" fmla="*/ 10395 h 609800"/>
              <a:gd name="connsiteX2122" fmla="*/ 8413696 w 12248682"/>
              <a:gd name="connsiteY2122" fmla="*/ 10395 h 609800"/>
              <a:gd name="connsiteX2123" fmla="*/ 8454118 w 12248682"/>
              <a:gd name="connsiteY2123" fmla="*/ 50817 h 609800"/>
              <a:gd name="connsiteX2124" fmla="*/ 8413696 w 12248682"/>
              <a:gd name="connsiteY2124" fmla="*/ 91241 h 609800"/>
              <a:gd name="connsiteX2125" fmla="*/ 8373274 w 12248682"/>
              <a:gd name="connsiteY2125" fmla="*/ 50817 h 609800"/>
              <a:gd name="connsiteX2126" fmla="*/ 8413696 w 12248682"/>
              <a:gd name="connsiteY2126" fmla="*/ 10395 h 609800"/>
              <a:gd name="connsiteX2127" fmla="*/ 6318647 w 12248682"/>
              <a:gd name="connsiteY2127" fmla="*/ 10395 h 609800"/>
              <a:gd name="connsiteX2128" fmla="*/ 6359068 w 12248682"/>
              <a:gd name="connsiteY2128" fmla="*/ 50817 h 609800"/>
              <a:gd name="connsiteX2129" fmla="*/ 6318647 w 12248682"/>
              <a:gd name="connsiteY2129" fmla="*/ 91241 h 609800"/>
              <a:gd name="connsiteX2130" fmla="*/ 6278223 w 12248682"/>
              <a:gd name="connsiteY2130" fmla="*/ 50817 h 609800"/>
              <a:gd name="connsiteX2131" fmla="*/ 6318647 w 12248682"/>
              <a:gd name="connsiteY2131" fmla="*/ 10395 h 609800"/>
              <a:gd name="connsiteX2132" fmla="*/ 5200670 w 12248682"/>
              <a:gd name="connsiteY2132" fmla="*/ 10395 h 609800"/>
              <a:gd name="connsiteX2133" fmla="*/ 5241093 w 12248682"/>
              <a:gd name="connsiteY2133" fmla="*/ 50817 h 609800"/>
              <a:gd name="connsiteX2134" fmla="*/ 5200670 w 12248682"/>
              <a:gd name="connsiteY2134" fmla="*/ 91241 h 609800"/>
              <a:gd name="connsiteX2135" fmla="*/ 5160247 w 12248682"/>
              <a:gd name="connsiteY2135" fmla="*/ 50817 h 609800"/>
              <a:gd name="connsiteX2136" fmla="*/ 5200670 w 12248682"/>
              <a:gd name="connsiteY2136" fmla="*/ 10395 h 609800"/>
              <a:gd name="connsiteX2137" fmla="*/ 4921176 w 12248682"/>
              <a:gd name="connsiteY2137" fmla="*/ 10395 h 609800"/>
              <a:gd name="connsiteX2138" fmla="*/ 4961598 w 12248682"/>
              <a:gd name="connsiteY2138" fmla="*/ 50817 h 609800"/>
              <a:gd name="connsiteX2139" fmla="*/ 4921176 w 12248682"/>
              <a:gd name="connsiteY2139" fmla="*/ 91241 h 609800"/>
              <a:gd name="connsiteX2140" fmla="*/ 4880752 w 12248682"/>
              <a:gd name="connsiteY2140" fmla="*/ 50817 h 609800"/>
              <a:gd name="connsiteX2141" fmla="*/ 4921176 w 12248682"/>
              <a:gd name="connsiteY2141" fmla="*/ 10395 h 609800"/>
              <a:gd name="connsiteX2142" fmla="*/ 4080383 w 12248682"/>
              <a:gd name="connsiteY2142" fmla="*/ 10395 h 609800"/>
              <a:gd name="connsiteX2143" fmla="*/ 4120806 w 12248682"/>
              <a:gd name="connsiteY2143" fmla="*/ 50817 h 609800"/>
              <a:gd name="connsiteX2144" fmla="*/ 4080383 w 12248682"/>
              <a:gd name="connsiteY2144" fmla="*/ 91241 h 609800"/>
              <a:gd name="connsiteX2145" fmla="*/ 4039961 w 12248682"/>
              <a:gd name="connsiteY2145" fmla="*/ 50817 h 609800"/>
              <a:gd name="connsiteX2146" fmla="*/ 4080383 w 12248682"/>
              <a:gd name="connsiteY2146" fmla="*/ 10395 h 609800"/>
              <a:gd name="connsiteX2147" fmla="*/ 3800889 w 12248682"/>
              <a:gd name="connsiteY2147" fmla="*/ 10395 h 609800"/>
              <a:gd name="connsiteX2148" fmla="*/ 3841311 w 12248682"/>
              <a:gd name="connsiteY2148" fmla="*/ 50817 h 609800"/>
              <a:gd name="connsiteX2149" fmla="*/ 3800889 w 12248682"/>
              <a:gd name="connsiteY2149" fmla="*/ 91241 h 609800"/>
              <a:gd name="connsiteX2150" fmla="*/ 3760466 w 12248682"/>
              <a:gd name="connsiteY2150" fmla="*/ 50817 h 609800"/>
              <a:gd name="connsiteX2151" fmla="*/ 3800889 w 12248682"/>
              <a:gd name="connsiteY2151" fmla="*/ 10395 h 609800"/>
              <a:gd name="connsiteX2152" fmla="*/ 1705839 w 12248682"/>
              <a:gd name="connsiteY2152" fmla="*/ 10395 h 609800"/>
              <a:gd name="connsiteX2153" fmla="*/ 1746261 w 12248682"/>
              <a:gd name="connsiteY2153" fmla="*/ 50817 h 609800"/>
              <a:gd name="connsiteX2154" fmla="*/ 1705839 w 12248682"/>
              <a:gd name="connsiteY2154" fmla="*/ 91241 h 609800"/>
              <a:gd name="connsiteX2155" fmla="*/ 1665415 w 12248682"/>
              <a:gd name="connsiteY2155" fmla="*/ 50817 h 609800"/>
              <a:gd name="connsiteX2156" fmla="*/ 1705839 w 12248682"/>
              <a:gd name="connsiteY2156" fmla="*/ 10395 h 609800"/>
              <a:gd name="connsiteX2157" fmla="*/ 587862 w 12248682"/>
              <a:gd name="connsiteY2157" fmla="*/ 10395 h 609800"/>
              <a:gd name="connsiteX2158" fmla="*/ 628284 w 12248682"/>
              <a:gd name="connsiteY2158" fmla="*/ 51973 h 609800"/>
              <a:gd name="connsiteX2159" fmla="*/ 587862 w 12248682"/>
              <a:gd name="connsiteY2159" fmla="*/ 92395 h 609800"/>
              <a:gd name="connsiteX2160" fmla="*/ 547439 w 12248682"/>
              <a:gd name="connsiteY2160" fmla="*/ 50817 h 609800"/>
              <a:gd name="connsiteX2161" fmla="*/ 587862 w 12248682"/>
              <a:gd name="connsiteY2161" fmla="*/ 10395 h 609800"/>
              <a:gd name="connsiteX2162" fmla="*/ 308368 w 12248682"/>
              <a:gd name="connsiteY2162" fmla="*/ 10395 h 609800"/>
              <a:gd name="connsiteX2163" fmla="*/ 348790 w 12248682"/>
              <a:gd name="connsiteY2163" fmla="*/ 51973 h 609800"/>
              <a:gd name="connsiteX2164" fmla="*/ 308368 w 12248682"/>
              <a:gd name="connsiteY2164" fmla="*/ 92395 h 609800"/>
              <a:gd name="connsiteX2165" fmla="*/ 267945 w 12248682"/>
              <a:gd name="connsiteY2165" fmla="*/ 50817 h 609800"/>
              <a:gd name="connsiteX2166" fmla="*/ 308368 w 12248682"/>
              <a:gd name="connsiteY2166" fmla="*/ 10395 h 609800"/>
              <a:gd name="connsiteX2167" fmla="*/ 10784225 w 12248682"/>
              <a:gd name="connsiteY2167" fmla="*/ 0 h 609800"/>
              <a:gd name="connsiteX2168" fmla="*/ 10835042 w 12248682"/>
              <a:gd name="connsiteY2168" fmla="*/ 50817 h 609800"/>
              <a:gd name="connsiteX2169" fmla="*/ 10784225 w 12248682"/>
              <a:gd name="connsiteY2169" fmla="*/ 101634 h 609800"/>
              <a:gd name="connsiteX2170" fmla="*/ 10733408 w 12248682"/>
              <a:gd name="connsiteY2170" fmla="*/ 50817 h 609800"/>
              <a:gd name="connsiteX2171" fmla="*/ 10784225 w 12248682"/>
              <a:gd name="connsiteY2171" fmla="*/ 0 h 609800"/>
              <a:gd name="connsiteX2172" fmla="*/ 9666248 w 12248682"/>
              <a:gd name="connsiteY2172" fmla="*/ 0 h 609800"/>
              <a:gd name="connsiteX2173" fmla="*/ 9717066 w 12248682"/>
              <a:gd name="connsiteY2173" fmla="*/ 50817 h 609800"/>
              <a:gd name="connsiteX2174" fmla="*/ 9666248 w 12248682"/>
              <a:gd name="connsiteY2174" fmla="*/ 101634 h 609800"/>
              <a:gd name="connsiteX2175" fmla="*/ 9615431 w 12248682"/>
              <a:gd name="connsiteY2175" fmla="*/ 50817 h 609800"/>
              <a:gd name="connsiteX2176" fmla="*/ 9666248 w 12248682"/>
              <a:gd name="connsiteY2176" fmla="*/ 0 h 609800"/>
              <a:gd name="connsiteX2177" fmla="*/ 8553443 w 12248682"/>
              <a:gd name="connsiteY2177" fmla="*/ 0 h 609800"/>
              <a:gd name="connsiteX2178" fmla="*/ 8604260 w 12248682"/>
              <a:gd name="connsiteY2178" fmla="*/ 50817 h 609800"/>
              <a:gd name="connsiteX2179" fmla="*/ 8553443 w 12248682"/>
              <a:gd name="connsiteY2179" fmla="*/ 101634 h 609800"/>
              <a:gd name="connsiteX2180" fmla="*/ 8502626 w 12248682"/>
              <a:gd name="connsiteY2180" fmla="*/ 50817 h 609800"/>
              <a:gd name="connsiteX2181" fmla="*/ 8553443 w 12248682"/>
              <a:gd name="connsiteY2181" fmla="*/ 0 h 609800"/>
              <a:gd name="connsiteX2182" fmla="*/ 6178898 w 12248682"/>
              <a:gd name="connsiteY2182" fmla="*/ 0 h 609800"/>
              <a:gd name="connsiteX2183" fmla="*/ 6229715 w 12248682"/>
              <a:gd name="connsiteY2183" fmla="*/ 50817 h 609800"/>
              <a:gd name="connsiteX2184" fmla="*/ 6178898 w 12248682"/>
              <a:gd name="connsiteY2184" fmla="*/ 101634 h 609800"/>
              <a:gd name="connsiteX2185" fmla="*/ 6128081 w 12248682"/>
              <a:gd name="connsiteY2185" fmla="*/ 50817 h 609800"/>
              <a:gd name="connsiteX2186" fmla="*/ 6178898 w 12248682"/>
              <a:gd name="connsiteY2186" fmla="*/ 0 h 609800"/>
              <a:gd name="connsiteX2187" fmla="*/ 5060922 w 12248682"/>
              <a:gd name="connsiteY2187" fmla="*/ 0 h 609800"/>
              <a:gd name="connsiteX2188" fmla="*/ 5111740 w 12248682"/>
              <a:gd name="connsiteY2188" fmla="*/ 50817 h 609800"/>
              <a:gd name="connsiteX2189" fmla="*/ 5060922 w 12248682"/>
              <a:gd name="connsiteY2189" fmla="*/ 101634 h 609800"/>
              <a:gd name="connsiteX2190" fmla="*/ 5010105 w 12248682"/>
              <a:gd name="connsiteY2190" fmla="*/ 50817 h 609800"/>
              <a:gd name="connsiteX2191" fmla="*/ 5060922 w 12248682"/>
              <a:gd name="connsiteY2191" fmla="*/ 0 h 609800"/>
              <a:gd name="connsiteX2192" fmla="*/ 3940636 w 12248682"/>
              <a:gd name="connsiteY2192" fmla="*/ 0 h 609800"/>
              <a:gd name="connsiteX2193" fmla="*/ 3991453 w 12248682"/>
              <a:gd name="connsiteY2193" fmla="*/ 50817 h 609800"/>
              <a:gd name="connsiteX2194" fmla="*/ 3940636 w 12248682"/>
              <a:gd name="connsiteY2194" fmla="*/ 101634 h 609800"/>
              <a:gd name="connsiteX2195" fmla="*/ 3889819 w 12248682"/>
              <a:gd name="connsiteY2195" fmla="*/ 50817 h 609800"/>
              <a:gd name="connsiteX2196" fmla="*/ 3940636 w 12248682"/>
              <a:gd name="connsiteY2196" fmla="*/ 0 h 609800"/>
              <a:gd name="connsiteX2197" fmla="*/ 1566091 w 12248682"/>
              <a:gd name="connsiteY2197" fmla="*/ 0 h 609800"/>
              <a:gd name="connsiteX2198" fmla="*/ 1616908 w 12248682"/>
              <a:gd name="connsiteY2198" fmla="*/ 50817 h 609800"/>
              <a:gd name="connsiteX2199" fmla="*/ 1566091 w 12248682"/>
              <a:gd name="connsiteY2199" fmla="*/ 101634 h 609800"/>
              <a:gd name="connsiteX2200" fmla="*/ 1515274 w 12248682"/>
              <a:gd name="connsiteY2200" fmla="*/ 50817 h 609800"/>
              <a:gd name="connsiteX2201" fmla="*/ 1566091 w 12248682"/>
              <a:gd name="connsiteY2201" fmla="*/ 0 h 609800"/>
              <a:gd name="connsiteX2202" fmla="*/ 448115 w 12248682"/>
              <a:gd name="connsiteY2202" fmla="*/ 0 h 609800"/>
              <a:gd name="connsiteX2203" fmla="*/ 498932 w 12248682"/>
              <a:gd name="connsiteY2203" fmla="*/ 50817 h 609800"/>
              <a:gd name="connsiteX2204" fmla="*/ 448115 w 12248682"/>
              <a:gd name="connsiteY2204" fmla="*/ 101634 h 609800"/>
              <a:gd name="connsiteX2205" fmla="*/ 397298 w 12248682"/>
              <a:gd name="connsiteY2205" fmla="*/ 50817 h 609800"/>
              <a:gd name="connsiteX2206" fmla="*/ 448115 w 12248682"/>
              <a:gd name="connsiteY2206" fmla="*/ 0 h 6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</a:cxnLst>
            <a:rect l="l" t="t" r="r" b="b"/>
            <a:pathLst>
              <a:path w="12248682" h="609800">
                <a:moveTo>
                  <a:pt x="12227892" y="608651"/>
                </a:moveTo>
                <a:lnTo>
                  <a:pt x="12230601" y="609800"/>
                </a:lnTo>
                <a:lnTo>
                  <a:pt x="12225102" y="609800"/>
                </a:lnTo>
                <a:close/>
                <a:moveTo>
                  <a:pt x="12091610" y="608651"/>
                </a:moveTo>
                <a:lnTo>
                  <a:pt x="12094400" y="609800"/>
                </a:lnTo>
                <a:lnTo>
                  <a:pt x="12088820" y="609800"/>
                </a:lnTo>
                <a:close/>
                <a:moveTo>
                  <a:pt x="11956484" y="608651"/>
                </a:moveTo>
                <a:lnTo>
                  <a:pt x="11959274" y="609800"/>
                </a:lnTo>
                <a:lnTo>
                  <a:pt x="11953693" y="609800"/>
                </a:lnTo>
                <a:close/>
                <a:moveTo>
                  <a:pt x="11821356" y="608651"/>
                </a:moveTo>
                <a:lnTo>
                  <a:pt x="11824146" y="609800"/>
                </a:lnTo>
                <a:lnTo>
                  <a:pt x="11818565" y="609800"/>
                </a:lnTo>
                <a:close/>
                <a:moveTo>
                  <a:pt x="11685074" y="608651"/>
                </a:moveTo>
                <a:lnTo>
                  <a:pt x="11687864" y="609800"/>
                </a:lnTo>
                <a:lnTo>
                  <a:pt x="11682283" y="609800"/>
                </a:lnTo>
                <a:close/>
                <a:moveTo>
                  <a:pt x="10736873" y="608651"/>
                </a:moveTo>
                <a:lnTo>
                  <a:pt x="10739663" y="609800"/>
                </a:lnTo>
                <a:lnTo>
                  <a:pt x="10734082" y="609800"/>
                </a:lnTo>
                <a:close/>
                <a:moveTo>
                  <a:pt x="10601745" y="608651"/>
                </a:moveTo>
                <a:lnTo>
                  <a:pt x="10604536" y="609800"/>
                </a:lnTo>
                <a:lnTo>
                  <a:pt x="10598955" y="609800"/>
                </a:lnTo>
                <a:close/>
                <a:moveTo>
                  <a:pt x="8027949" y="608651"/>
                </a:moveTo>
                <a:lnTo>
                  <a:pt x="8030740" y="609800"/>
                </a:lnTo>
                <a:lnTo>
                  <a:pt x="8025159" y="609800"/>
                </a:lnTo>
                <a:close/>
                <a:moveTo>
                  <a:pt x="7892822" y="608651"/>
                </a:moveTo>
                <a:lnTo>
                  <a:pt x="7895613" y="609800"/>
                </a:lnTo>
                <a:lnTo>
                  <a:pt x="7890031" y="609800"/>
                </a:lnTo>
                <a:close/>
                <a:moveTo>
                  <a:pt x="7757693" y="608651"/>
                </a:moveTo>
                <a:lnTo>
                  <a:pt x="7760484" y="609800"/>
                </a:lnTo>
                <a:lnTo>
                  <a:pt x="7754903" y="609800"/>
                </a:lnTo>
                <a:close/>
                <a:moveTo>
                  <a:pt x="7622566" y="608651"/>
                </a:moveTo>
                <a:lnTo>
                  <a:pt x="7625275" y="609800"/>
                </a:lnTo>
                <a:lnTo>
                  <a:pt x="7619776" y="609800"/>
                </a:lnTo>
                <a:close/>
                <a:moveTo>
                  <a:pt x="7486284" y="608651"/>
                </a:moveTo>
                <a:lnTo>
                  <a:pt x="7489075" y="609800"/>
                </a:lnTo>
                <a:lnTo>
                  <a:pt x="7483494" y="609800"/>
                </a:lnTo>
                <a:close/>
                <a:moveTo>
                  <a:pt x="7351157" y="608651"/>
                </a:moveTo>
                <a:lnTo>
                  <a:pt x="7353948" y="609800"/>
                </a:lnTo>
                <a:lnTo>
                  <a:pt x="7348367" y="609800"/>
                </a:lnTo>
                <a:close/>
                <a:moveTo>
                  <a:pt x="7216030" y="608651"/>
                </a:moveTo>
                <a:lnTo>
                  <a:pt x="7218821" y="609800"/>
                </a:lnTo>
                <a:lnTo>
                  <a:pt x="7213240" y="609800"/>
                </a:lnTo>
                <a:close/>
                <a:moveTo>
                  <a:pt x="7079748" y="608651"/>
                </a:moveTo>
                <a:lnTo>
                  <a:pt x="7082539" y="609800"/>
                </a:lnTo>
                <a:lnTo>
                  <a:pt x="7076958" y="609800"/>
                </a:lnTo>
                <a:close/>
                <a:moveTo>
                  <a:pt x="6131548" y="608651"/>
                </a:moveTo>
                <a:lnTo>
                  <a:pt x="6134339" y="609800"/>
                </a:lnTo>
                <a:lnTo>
                  <a:pt x="6128758" y="609800"/>
                </a:lnTo>
                <a:close/>
                <a:moveTo>
                  <a:pt x="5996418" y="608651"/>
                </a:moveTo>
                <a:lnTo>
                  <a:pt x="5999209" y="609800"/>
                </a:lnTo>
                <a:lnTo>
                  <a:pt x="5993628" y="609800"/>
                </a:lnTo>
                <a:close/>
                <a:moveTo>
                  <a:pt x="3415142" y="608651"/>
                </a:moveTo>
                <a:lnTo>
                  <a:pt x="3417933" y="609800"/>
                </a:lnTo>
                <a:lnTo>
                  <a:pt x="3412352" y="609800"/>
                </a:lnTo>
                <a:close/>
                <a:moveTo>
                  <a:pt x="3280013" y="608651"/>
                </a:moveTo>
                <a:lnTo>
                  <a:pt x="3282804" y="609800"/>
                </a:lnTo>
                <a:lnTo>
                  <a:pt x="3277223" y="609800"/>
                </a:lnTo>
                <a:close/>
                <a:moveTo>
                  <a:pt x="3144887" y="608651"/>
                </a:moveTo>
                <a:lnTo>
                  <a:pt x="3147678" y="609800"/>
                </a:lnTo>
                <a:lnTo>
                  <a:pt x="3142097" y="609800"/>
                </a:lnTo>
                <a:close/>
                <a:moveTo>
                  <a:pt x="3009759" y="608651"/>
                </a:moveTo>
                <a:lnTo>
                  <a:pt x="3012468" y="609800"/>
                </a:lnTo>
                <a:lnTo>
                  <a:pt x="3006969" y="609800"/>
                </a:lnTo>
                <a:close/>
                <a:moveTo>
                  <a:pt x="2873476" y="608651"/>
                </a:moveTo>
                <a:lnTo>
                  <a:pt x="2876267" y="609800"/>
                </a:lnTo>
                <a:lnTo>
                  <a:pt x="2870686" y="609800"/>
                </a:lnTo>
                <a:close/>
                <a:moveTo>
                  <a:pt x="2738350" y="608651"/>
                </a:moveTo>
                <a:lnTo>
                  <a:pt x="2741141" y="609800"/>
                </a:lnTo>
                <a:lnTo>
                  <a:pt x="2735560" y="609800"/>
                </a:lnTo>
                <a:close/>
                <a:moveTo>
                  <a:pt x="2603222" y="608651"/>
                </a:moveTo>
                <a:lnTo>
                  <a:pt x="2606013" y="609800"/>
                </a:lnTo>
                <a:lnTo>
                  <a:pt x="2600432" y="609800"/>
                </a:lnTo>
                <a:close/>
                <a:moveTo>
                  <a:pt x="2466940" y="608651"/>
                </a:moveTo>
                <a:lnTo>
                  <a:pt x="2469731" y="609800"/>
                </a:lnTo>
                <a:lnTo>
                  <a:pt x="2464150" y="609800"/>
                </a:lnTo>
                <a:close/>
                <a:moveTo>
                  <a:pt x="1518739" y="608651"/>
                </a:moveTo>
                <a:lnTo>
                  <a:pt x="1521530" y="609800"/>
                </a:lnTo>
                <a:lnTo>
                  <a:pt x="1515949" y="609800"/>
                </a:lnTo>
                <a:close/>
                <a:moveTo>
                  <a:pt x="1383611" y="608651"/>
                </a:moveTo>
                <a:lnTo>
                  <a:pt x="1386402" y="609800"/>
                </a:lnTo>
                <a:lnTo>
                  <a:pt x="1380821" y="609800"/>
                </a:lnTo>
                <a:close/>
                <a:moveTo>
                  <a:pt x="11549947" y="606341"/>
                </a:moveTo>
                <a:lnTo>
                  <a:pt x="11558263" y="609800"/>
                </a:lnTo>
                <a:lnTo>
                  <a:pt x="11541630" y="609800"/>
                </a:lnTo>
                <a:close/>
                <a:moveTo>
                  <a:pt x="10466618" y="606341"/>
                </a:moveTo>
                <a:lnTo>
                  <a:pt x="10474935" y="609800"/>
                </a:lnTo>
                <a:lnTo>
                  <a:pt x="10458302" y="609800"/>
                </a:lnTo>
                <a:close/>
                <a:moveTo>
                  <a:pt x="9244698" y="606341"/>
                </a:moveTo>
                <a:lnTo>
                  <a:pt x="9256325" y="609800"/>
                </a:lnTo>
                <a:lnTo>
                  <a:pt x="9238257" y="609800"/>
                </a:lnTo>
                <a:close/>
                <a:moveTo>
                  <a:pt x="8164231" y="606341"/>
                </a:moveTo>
                <a:lnTo>
                  <a:pt x="8172548" y="609800"/>
                </a:lnTo>
                <a:lnTo>
                  <a:pt x="8155915" y="609800"/>
                </a:lnTo>
                <a:close/>
                <a:moveTo>
                  <a:pt x="6944621" y="606341"/>
                </a:moveTo>
                <a:lnTo>
                  <a:pt x="6952937" y="609800"/>
                </a:lnTo>
                <a:lnTo>
                  <a:pt x="6936304" y="609800"/>
                </a:lnTo>
                <a:close/>
                <a:moveTo>
                  <a:pt x="5861292" y="606341"/>
                </a:moveTo>
                <a:lnTo>
                  <a:pt x="5869609" y="609800"/>
                </a:lnTo>
                <a:lnTo>
                  <a:pt x="5852976" y="609800"/>
                </a:lnTo>
                <a:close/>
                <a:moveTo>
                  <a:pt x="4639374" y="606341"/>
                </a:moveTo>
                <a:lnTo>
                  <a:pt x="4651000" y="609800"/>
                </a:lnTo>
                <a:lnTo>
                  <a:pt x="4632932" y="609800"/>
                </a:lnTo>
                <a:close/>
                <a:moveTo>
                  <a:pt x="3551423" y="606341"/>
                </a:moveTo>
                <a:lnTo>
                  <a:pt x="3559740" y="609800"/>
                </a:lnTo>
                <a:lnTo>
                  <a:pt x="3543107" y="609800"/>
                </a:lnTo>
                <a:close/>
                <a:moveTo>
                  <a:pt x="2331813" y="606341"/>
                </a:moveTo>
                <a:lnTo>
                  <a:pt x="2340130" y="609800"/>
                </a:lnTo>
                <a:lnTo>
                  <a:pt x="2323497" y="609800"/>
                </a:lnTo>
                <a:close/>
                <a:moveTo>
                  <a:pt x="1248485" y="606341"/>
                </a:moveTo>
                <a:lnTo>
                  <a:pt x="1256801" y="609800"/>
                </a:lnTo>
                <a:lnTo>
                  <a:pt x="1240169" y="609800"/>
                </a:lnTo>
                <a:close/>
                <a:moveTo>
                  <a:pt x="26564" y="606341"/>
                </a:moveTo>
                <a:lnTo>
                  <a:pt x="38192" y="609800"/>
                </a:lnTo>
                <a:lnTo>
                  <a:pt x="20123" y="609800"/>
                </a:lnTo>
                <a:close/>
                <a:moveTo>
                  <a:pt x="11414819" y="600566"/>
                </a:moveTo>
                <a:cubicBezTo>
                  <a:pt x="11422904" y="600566"/>
                  <a:pt x="11430122" y="603742"/>
                  <a:pt x="11435319" y="608940"/>
                </a:cubicBezTo>
                <a:lnTo>
                  <a:pt x="11435671" y="609800"/>
                </a:lnTo>
                <a:lnTo>
                  <a:pt x="11393968" y="609800"/>
                </a:lnTo>
                <a:lnTo>
                  <a:pt x="11394319" y="608940"/>
                </a:lnTo>
                <a:cubicBezTo>
                  <a:pt x="11399516" y="603742"/>
                  <a:pt x="11406734" y="600566"/>
                  <a:pt x="11414819" y="600566"/>
                </a:cubicBezTo>
                <a:close/>
                <a:moveTo>
                  <a:pt x="10330336" y="600566"/>
                </a:moveTo>
                <a:cubicBezTo>
                  <a:pt x="10338420" y="600566"/>
                  <a:pt x="10345639" y="603742"/>
                  <a:pt x="10350836" y="608940"/>
                </a:cubicBezTo>
                <a:lnTo>
                  <a:pt x="10351187" y="609800"/>
                </a:lnTo>
                <a:lnTo>
                  <a:pt x="10309484" y="609800"/>
                </a:lnTo>
                <a:lnTo>
                  <a:pt x="10309836" y="608940"/>
                </a:lnTo>
                <a:cubicBezTo>
                  <a:pt x="10315033" y="603742"/>
                  <a:pt x="10322251" y="600566"/>
                  <a:pt x="10330336" y="600566"/>
                </a:cubicBezTo>
                <a:close/>
                <a:moveTo>
                  <a:pt x="9382135" y="600566"/>
                </a:moveTo>
                <a:cubicBezTo>
                  <a:pt x="9390220" y="600566"/>
                  <a:pt x="9397438" y="603742"/>
                  <a:pt x="9402635" y="608940"/>
                </a:cubicBezTo>
                <a:lnTo>
                  <a:pt x="9402987" y="609800"/>
                </a:lnTo>
                <a:lnTo>
                  <a:pt x="9361284" y="609800"/>
                </a:lnTo>
                <a:lnTo>
                  <a:pt x="9361635" y="608940"/>
                </a:lnTo>
                <a:cubicBezTo>
                  <a:pt x="9366832" y="603742"/>
                  <a:pt x="9374051" y="600566"/>
                  <a:pt x="9382135" y="600566"/>
                </a:cubicBezTo>
                <a:close/>
                <a:moveTo>
                  <a:pt x="9112431" y="600566"/>
                </a:moveTo>
                <a:cubicBezTo>
                  <a:pt x="9120516" y="600566"/>
                  <a:pt x="9127734" y="603742"/>
                  <a:pt x="9132931" y="608940"/>
                </a:cubicBezTo>
                <a:lnTo>
                  <a:pt x="9133283" y="609800"/>
                </a:lnTo>
                <a:lnTo>
                  <a:pt x="9091580" y="609800"/>
                </a:lnTo>
                <a:lnTo>
                  <a:pt x="9091931" y="608940"/>
                </a:lnTo>
                <a:cubicBezTo>
                  <a:pt x="9097128" y="603742"/>
                  <a:pt x="9104347" y="600566"/>
                  <a:pt x="9112431" y="600566"/>
                </a:cubicBezTo>
                <a:close/>
                <a:moveTo>
                  <a:pt x="8299358" y="600566"/>
                </a:moveTo>
                <a:cubicBezTo>
                  <a:pt x="8307442" y="600566"/>
                  <a:pt x="8314660" y="603742"/>
                  <a:pt x="8319858" y="608940"/>
                </a:cubicBezTo>
                <a:lnTo>
                  <a:pt x="8320209" y="609800"/>
                </a:lnTo>
                <a:lnTo>
                  <a:pt x="8278507" y="609800"/>
                </a:lnTo>
                <a:lnTo>
                  <a:pt x="8278858" y="608940"/>
                </a:lnTo>
                <a:cubicBezTo>
                  <a:pt x="8284055" y="603742"/>
                  <a:pt x="8291274" y="600566"/>
                  <a:pt x="8299358" y="600566"/>
                </a:cubicBezTo>
                <a:close/>
                <a:moveTo>
                  <a:pt x="6809492" y="600566"/>
                </a:moveTo>
                <a:cubicBezTo>
                  <a:pt x="6817577" y="600566"/>
                  <a:pt x="6824796" y="603742"/>
                  <a:pt x="6829993" y="608940"/>
                </a:cubicBezTo>
                <a:lnTo>
                  <a:pt x="6830345" y="609800"/>
                </a:lnTo>
                <a:lnTo>
                  <a:pt x="6788642" y="609800"/>
                </a:lnTo>
                <a:lnTo>
                  <a:pt x="6788993" y="608940"/>
                </a:lnTo>
                <a:cubicBezTo>
                  <a:pt x="6794190" y="603742"/>
                  <a:pt x="6801408" y="600566"/>
                  <a:pt x="6809492" y="600566"/>
                </a:cubicBezTo>
                <a:close/>
                <a:moveTo>
                  <a:pt x="5726165" y="600566"/>
                </a:moveTo>
                <a:cubicBezTo>
                  <a:pt x="5733672" y="600566"/>
                  <a:pt x="5740890" y="603742"/>
                  <a:pt x="5746232" y="608940"/>
                </a:cubicBezTo>
                <a:lnTo>
                  <a:pt x="5746601" y="609800"/>
                </a:lnTo>
                <a:lnTo>
                  <a:pt x="5705314" y="609800"/>
                </a:lnTo>
                <a:lnTo>
                  <a:pt x="5705666" y="608940"/>
                </a:lnTo>
                <a:cubicBezTo>
                  <a:pt x="5710863" y="603742"/>
                  <a:pt x="5718081" y="600566"/>
                  <a:pt x="5726165" y="600566"/>
                </a:cubicBezTo>
                <a:close/>
                <a:moveTo>
                  <a:pt x="4776809" y="600566"/>
                </a:moveTo>
                <a:cubicBezTo>
                  <a:pt x="4784894" y="600566"/>
                  <a:pt x="4792112" y="603742"/>
                  <a:pt x="4797309" y="608940"/>
                </a:cubicBezTo>
                <a:lnTo>
                  <a:pt x="4797661" y="609800"/>
                </a:lnTo>
                <a:lnTo>
                  <a:pt x="4755958" y="609800"/>
                </a:lnTo>
                <a:lnTo>
                  <a:pt x="4756310" y="608940"/>
                </a:lnTo>
                <a:cubicBezTo>
                  <a:pt x="4761507" y="603742"/>
                  <a:pt x="4768725" y="600566"/>
                  <a:pt x="4776809" y="600566"/>
                </a:cubicBezTo>
                <a:close/>
                <a:moveTo>
                  <a:pt x="4499625" y="600566"/>
                </a:moveTo>
                <a:cubicBezTo>
                  <a:pt x="4507709" y="600566"/>
                  <a:pt x="4514928" y="603742"/>
                  <a:pt x="4520126" y="608940"/>
                </a:cubicBezTo>
                <a:lnTo>
                  <a:pt x="4520477" y="609800"/>
                </a:lnTo>
                <a:lnTo>
                  <a:pt x="4478774" y="609800"/>
                </a:lnTo>
                <a:lnTo>
                  <a:pt x="4479126" y="608940"/>
                </a:lnTo>
                <a:cubicBezTo>
                  <a:pt x="4484323" y="603742"/>
                  <a:pt x="4491541" y="600566"/>
                  <a:pt x="4499625" y="600566"/>
                </a:cubicBezTo>
                <a:close/>
                <a:moveTo>
                  <a:pt x="3686551" y="600566"/>
                </a:moveTo>
                <a:cubicBezTo>
                  <a:pt x="3694635" y="600566"/>
                  <a:pt x="3701854" y="603742"/>
                  <a:pt x="3707051" y="608940"/>
                </a:cubicBezTo>
                <a:lnTo>
                  <a:pt x="3707402" y="609800"/>
                </a:lnTo>
                <a:lnTo>
                  <a:pt x="3665699" y="609800"/>
                </a:lnTo>
                <a:lnTo>
                  <a:pt x="3666051" y="608940"/>
                </a:lnTo>
                <a:cubicBezTo>
                  <a:pt x="3671248" y="603742"/>
                  <a:pt x="3678466" y="600566"/>
                  <a:pt x="3686551" y="600566"/>
                </a:cubicBezTo>
                <a:close/>
                <a:moveTo>
                  <a:pt x="2196685" y="600566"/>
                </a:moveTo>
                <a:cubicBezTo>
                  <a:pt x="2204770" y="600566"/>
                  <a:pt x="2211988" y="603742"/>
                  <a:pt x="2217186" y="608940"/>
                </a:cubicBezTo>
                <a:lnTo>
                  <a:pt x="2217537" y="609800"/>
                </a:lnTo>
                <a:lnTo>
                  <a:pt x="2175835" y="609800"/>
                </a:lnTo>
                <a:lnTo>
                  <a:pt x="2176186" y="608940"/>
                </a:lnTo>
                <a:cubicBezTo>
                  <a:pt x="2181383" y="603742"/>
                  <a:pt x="2188601" y="600566"/>
                  <a:pt x="2196685" y="600566"/>
                </a:cubicBezTo>
                <a:close/>
                <a:moveTo>
                  <a:pt x="1112202" y="600566"/>
                </a:moveTo>
                <a:cubicBezTo>
                  <a:pt x="1120287" y="600566"/>
                  <a:pt x="1127505" y="603742"/>
                  <a:pt x="1132702" y="608940"/>
                </a:cubicBezTo>
                <a:lnTo>
                  <a:pt x="1133053" y="609800"/>
                </a:lnTo>
                <a:lnTo>
                  <a:pt x="1091351" y="609800"/>
                </a:lnTo>
                <a:lnTo>
                  <a:pt x="1091702" y="608940"/>
                </a:lnTo>
                <a:cubicBezTo>
                  <a:pt x="1096899" y="603742"/>
                  <a:pt x="1104118" y="600566"/>
                  <a:pt x="1112202" y="600566"/>
                </a:cubicBezTo>
                <a:close/>
                <a:moveTo>
                  <a:pt x="164001" y="600566"/>
                </a:moveTo>
                <a:cubicBezTo>
                  <a:pt x="172086" y="600566"/>
                  <a:pt x="179304" y="603742"/>
                  <a:pt x="184502" y="608940"/>
                </a:cubicBezTo>
                <a:lnTo>
                  <a:pt x="184853" y="609800"/>
                </a:lnTo>
                <a:lnTo>
                  <a:pt x="143150" y="609800"/>
                </a:lnTo>
                <a:lnTo>
                  <a:pt x="143501" y="608940"/>
                </a:lnTo>
                <a:cubicBezTo>
                  <a:pt x="148698" y="603742"/>
                  <a:pt x="155917" y="600566"/>
                  <a:pt x="164001" y="600566"/>
                </a:cubicBezTo>
                <a:close/>
                <a:moveTo>
                  <a:pt x="11279692" y="594792"/>
                </a:moveTo>
                <a:cubicBezTo>
                  <a:pt x="11288931" y="594792"/>
                  <a:pt x="11297593" y="598835"/>
                  <a:pt x="11303946" y="605187"/>
                </a:cubicBezTo>
                <a:lnTo>
                  <a:pt x="11305923" y="609800"/>
                </a:lnTo>
                <a:lnTo>
                  <a:pt x="11253110" y="609800"/>
                </a:lnTo>
                <a:lnTo>
                  <a:pt x="11255005" y="605187"/>
                </a:lnTo>
                <a:cubicBezTo>
                  <a:pt x="11261213" y="598835"/>
                  <a:pt x="11269875" y="594792"/>
                  <a:pt x="11279692" y="594792"/>
                </a:cubicBezTo>
                <a:close/>
                <a:moveTo>
                  <a:pt x="10195208" y="594792"/>
                </a:moveTo>
                <a:cubicBezTo>
                  <a:pt x="10205025" y="594792"/>
                  <a:pt x="10213687" y="598835"/>
                  <a:pt x="10219895" y="605187"/>
                </a:cubicBezTo>
                <a:lnTo>
                  <a:pt x="10221790" y="609800"/>
                </a:lnTo>
                <a:lnTo>
                  <a:pt x="10168627" y="609800"/>
                </a:lnTo>
                <a:lnTo>
                  <a:pt x="10170522" y="605187"/>
                </a:lnTo>
                <a:cubicBezTo>
                  <a:pt x="10176730" y="598835"/>
                  <a:pt x="10185392" y="594792"/>
                  <a:pt x="10195208" y="594792"/>
                </a:cubicBezTo>
                <a:close/>
                <a:moveTo>
                  <a:pt x="9518417" y="594792"/>
                </a:moveTo>
                <a:cubicBezTo>
                  <a:pt x="9527657" y="594792"/>
                  <a:pt x="9536319" y="598835"/>
                  <a:pt x="9542671" y="605187"/>
                </a:cubicBezTo>
                <a:lnTo>
                  <a:pt x="9544648" y="609800"/>
                </a:lnTo>
                <a:lnTo>
                  <a:pt x="9491836" y="609800"/>
                </a:lnTo>
                <a:lnTo>
                  <a:pt x="9493731" y="605187"/>
                </a:lnTo>
                <a:cubicBezTo>
                  <a:pt x="9499938" y="598835"/>
                  <a:pt x="9508600" y="594792"/>
                  <a:pt x="9518417" y="594792"/>
                </a:cubicBezTo>
                <a:close/>
                <a:moveTo>
                  <a:pt x="8977304" y="594792"/>
                </a:moveTo>
                <a:cubicBezTo>
                  <a:pt x="8986543" y="594792"/>
                  <a:pt x="8995205" y="598835"/>
                  <a:pt x="9001558" y="605187"/>
                </a:cubicBezTo>
                <a:lnTo>
                  <a:pt x="9003535" y="609800"/>
                </a:lnTo>
                <a:lnTo>
                  <a:pt x="8950722" y="609800"/>
                </a:lnTo>
                <a:lnTo>
                  <a:pt x="8952617" y="605187"/>
                </a:lnTo>
                <a:cubicBezTo>
                  <a:pt x="8958825" y="598835"/>
                  <a:pt x="8967487" y="594792"/>
                  <a:pt x="8977304" y="594792"/>
                </a:cubicBezTo>
                <a:close/>
                <a:moveTo>
                  <a:pt x="8434485" y="594792"/>
                </a:moveTo>
                <a:cubicBezTo>
                  <a:pt x="8444302" y="594792"/>
                  <a:pt x="8452964" y="598835"/>
                  <a:pt x="8459172" y="605187"/>
                </a:cubicBezTo>
                <a:lnTo>
                  <a:pt x="8461066" y="609800"/>
                </a:lnTo>
                <a:lnTo>
                  <a:pt x="8407903" y="609800"/>
                </a:lnTo>
                <a:lnTo>
                  <a:pt x="8409798" y="605187"/>
                </a:lnTo>
                <a:cubicBezTo>
                  <a:pt x="8416006" y="598835"/>
                  <a:pt x="8424668" y="594792"/>
                  <a:pt x="8434485" y="594792"/>
                </a:cubicBezTo>
                <a:close/>
                <a:moveTo>
                  <a:pt x="6674366" y="594792"/>
                </a:moveTo>
                <a:cubicBezTo>
                  <a:pt x="6683606" y="594792"/>
                  <a:pt x="6692268" y="598835"/>
                  <a:pt x="6698620" y="605187"/>
                </a:cubicBezTo>
                <a:lnTo>
                  <a:pt x="6700597" y="609800"/>
                </a:lnTo>
                <a:lnTo>
                  <a:pt x="6647784" y="609800"/>
                </a:lnTo>
                <a:lnTo>
                  <a:pt x="6649679" y="605187"/>
                </a:lnTo>
                <a:cubicBezTo>
                  <a:pt x="6655887" y="598835"/>
                  <a:pt x="6664549" y="594792"/>
                  <a:pt x="6674366" y="594792"/>
                </a:cubicBezTo>
                <a:close/>
                <a:moveTo>
                  <a:pt x="5589882" y="594792"/>
                </a:moveTo>
                <a:cubicBezTo>
                  <a:pt x="5599699" y="594792"/>
                  <a:pt x="5608362" y="598835"/>
                  <a:pt x="5614570" y="605187"/>
                </a:cubicBezTo>
                <a:lnTo>
                  <a:pt x="5616465" y="609800"/>
                </a:lnTo>
                <a:lnTo>
                  <a:pt x="5563301" y="609800"/>
                </a:lnTo>
                <a:lnTo>
                  <a:pt x="5565196" y="605187"/>
                </a:lnTo>
                <a:cubicBezTo>
                  <a:pt x="5571404" y="598835"/>
                  <a:pt x="5580066" y="594792"/>
                  <a:pt x="5589882" y="594792"/>
                </a:cubicBezTo>
                <a:close/>
                <a:moveTo>
                  <a:pt x="4913091" y="594792"/>
                </a:moveTo>
                <a:cubicBezTo>
                  <a:pt x="4922330" y="594792"/>
                  <a:pt x="4930992" y="598835"/>
                  <a:pt x="4937345" y="605187"/>
                </a:cubicBezTo>
                <a:lnTo>
                  <a:pt x="4939322" y="609800"/>
                </a:lnTo>
                <a:lnTo>
                  <a:pt x="4886510" y="609800"/>
                </a:lnTo>
                <a:lnTo>
                  <a:pt x="4888405" y="605187"/>
                </a:lnTo>
                <a:cubicBezTo>
                  <a:pt x="4894613" y="598835"/>
                  <a:pt x="4903275" y="594792"/>
                  <a:pt x="4913091" y="594792"/>
                </a:cubicBezTo>
                <a:close/>
                <a:moveTo>
                  <a:pt x="4364499" y="594792"/>
                </a:moveTo>
                <a:cubicBezTo>
                  <a:pt x="4373738" y="594792"/>
                  <a:pt x="4382400" y="598835"/>
                  <a:pt x="4388752" y="605187"/>
                </a:cubicBezTo>
                <a:lnTo>
                  <a:pt x="4390729" y="609800"/>
                </a:lnTo>
                <a:lnTo>
                  <a:pt x="4337917" y="609800"/>
                </a:lnTo>
                <a:lnTo>
                  <a:pt x="4339811" y="605187"/>
                </a:lnTo>
                <a:cubicBezTo>
                  <a:pt x="4346019" y="598835"/>
                  <a:pt x="4354681" y="594792"/>
                  <a:pt x="4364499" y="594792"/>
                </a:cubicBezTo>
                <a:close/>
                <a:moveTo>
                  <a:pt x="3821678" y="594792"/>
                </a:moveTo>
                <a:cubicBezTo>
                  <a:pt x="3831495" y="594792"/>
                  <a:pt x="3840157" y="598835"/>
                  <a:pt x="3846365" y="605187"/>
                </a:cubicBezTo>
                <a:lnTo>
                  <a:pt x="3848260" y="609800"/>
                </a:lnTo>
                <a:lnTo>
                  <a:pt x="3795097" y="609800"/>
                </a:lnTo>
                <a:lnTo>
                  <a:pt x="3796992" y="605187"/>
                </a:lnTo>
                <a:cubicBezTo>
                  <a:pt x="3803200" y="598835"/>
                  <a:pt x="3811862" y="594792"/>
                  <a:pt x="3821678" y="594792"/>
                </a:cubicBezTo>
                <a:close/>
                <a:moveTo>
                  <a:pt x="2061558" y="594792"/>
                </a:moveTo>
                <a:cubicBezTo>
                  <a:pt x="2070798" y="594792"/>
                  <a:pt x="2079460" y="598835"/>
                  <a:pt x="2085812" y="605187"/>
                </a:cubicBezTo>
                <a:lnTo>
                  <a:pt x="2087789" y="609800"/>
                </a:lnTo>
                <a:lnTo>
                  <a:pt x="2034977" y="609800"/>
                </a:lnTo>
                <a:lnTo>
                  <a:pt x="2036871" y="605187"/>
                </a:lnTo>
                <a:cubicBezTo>
                  <a:pt x="2043079" y="598835"/>
                  <a:pt x="2051741" y="594792"/>
                  <a:pt x="2061558" y="594792"/>
                </a:cubicBezTo>
                <a:close/>
                <a:moveTo>
                  <a:pt x="977075" y="594792"/>
                </a:moveTo>
                <a:cubicBezTo>
                  <a:pt x="986892" y="594792"/>
                  <a:pt x="995554" y="598835"/>
                  <a:pt x="1001762" y="605187"/>
                </a:cubicBezTo>
                <a:lnTo>
                  <a:pt x="1003657" y="609800"/>
                </a:lnTo>
                <a:lnTo>
                  <a:pt x="950494" y="609800"/>
                </a:lnTo>
                <a:lnTo>
                  <a:pt x="952388" y="605187"/>
                </a:lnTo>
                <a:cubicBezTo>
                  <a:pt x="958596" y="598835"/>
                  <a:pt x="967258" y="594792"/>
                  <a:pt x="977075" y="594792"/>
                </a:cubicBezTo>
                <a:close/>
                <a:moveTo>
                  <a:pt x="300283" y="594792"/>
                </a:moveTo>
                <a:cubicBezTo>
                  <a:pt x="309523" y="594792"/>
                  <a:pt x="318185" y="598835"/>
                  <a:pt x="324537" y="605187"/>
                </a:cubicBezTo>
                <a:lnTo>
                  <a:pt x="326514" y="609800"/>
                </a:lnTo>
                <a:lnTo>
                  <a:pt x="273702" y="609800"/>
                </a:lnTo>
                <a:lnTo>
                  <a:pt x="275597" y="605187"/>
                </a:lnTo>
                <a:cubicBezTo>
                  <a:pt x="281805" y="598835"/>
                  <a:pt x="290467" y="594792"/>
                  <a:pt x="300283" y="594792"/>
                </a:cubicBezTo>
                <a:close/>
                <a:moveTo>
                  <a:pt x="11143410" y="589016"/>
                </a:moveTo>
                <a:cubicBezTo>
                  <a:pt x="11154959" y="589016"/>
                  <a:pt x="11165065" y="593636"/>
                  <a:pt x="11172283" y="600999"/>
                </a:cubicBezTo>
                <a:lnTo>
                  <a:pt x="11175857" y="609800"/>
                </a:lnTo>
                <a:lnTo>
                  <a:pt x="11111262" y="609800"/>
                </a:lnTo>
                <a:lnTo>
                  <a:pt x="11114970" y="600999"/>
                </a:lnTo>
                <a:cubicBezTo>
                  <a:pt x="11122332" y="593636"/>
                  <a:pt x="11132438" y="589016"/>
                  <a:pt x="11143410" y="589016"/>
                </a:cubicBezTo>
                <a:close/>
                <a:moveTo>
                  <a:pt x="10873155" y="589016"/>
                </a:moveTo>
                <a:cubicBezTo>
                  <a:pt x="10884126" y="589016"/>
                  <a:pt x="10894232" y="593636"/>
                  <a:pt x="10901595" y="600999"/>
                </a:cubicBezTo>
                <a:lnTo>
                  <a:pt x="10905303" y="609800"/>
                </a:lnTo>
                <a:lnTo>
                  <a:pt x="10841006" y="609800"/>
                </a:lnTo>
                <a:lnTo>
                  <a:pt x="10844715" y="600999"/>
                </a:lnTo>
                <a:cubicBezTo>
                  <a:pt x="10852077" y="593636"/>
                  <a:pt x="10862183" y="589016"/>
                  <a:pt x="10873155" y="589016"/>
                </a:cubicBezTo>
                <a:close/>
                <a:moveTo>
                  <a:pt x="10060082" y="589016"/>
                </a:moveTo>
                <a:cubicBezTo>
                  <a:pt x="10071053" y="589016"/>
                  <a:pt x="10081159" y="593636"/>
                  <a:pt x="10088522" y="600999"/>
                </a:cubicBezTo>
                <a:lnTo>
                  <a:pt x="10092230" y="609800"/>
                </a:lnTo>
                <a:lnTo>
                  <a:pt x="10027932" y="609800"/>
                </a:lnTo>
                <a:lnTo>
                  <a:pt x="10031640" y="600999"/>
                </a:lnTo>
                <a:cubicBezTo>
                  <a:pt x="10039003" y="593636"/>
                  <a:pt x="10049109" y="589016"/>
                  <a:pt x="10060082" y="589016"/>
                </a:cubicBezTo>
                <a:close/>
                <a:moveTo>
                  <a:pt x="9653545" y="589016"/>
                </a:moveTo>
                <a:cubicBezTo>
                  <a:pt x="9664516" y="589016"/>
                  <a:pt x="9674622" y="593636"/>
                  <a:pt x="9681985" y="600999"/>
                </a:cubicBezTo>
                <a:lnTo>
                  <a:pt x="9685693" y="609800"/>
                </a:lnTo>
                <a:lnTo>
                  <a:pt x="9621396" y="609800"/>
                </a:lnTo>
                <a:lnTo>
                  <a:pt x="9625104" y="600999"/>
                </a:lnTo>
                <a:cubicBezTo>
                  <a:pt x="9632467" y="593636"/>
                  <a:pt x="9642573" y="589016"/>
                  <a:pt x="9653545" y="589016"/>
                </a:cubicBezTo>
                <a:close/>
                <a:moveTo>
                  <a:pt x="8841022" y="589016"/>
                </a:moveTo>
                <a:cubicBezTo>
                  <a:pt x="8852572" y="589016"/>
                  <a:pt x="8862677" y="593636"/>
                  <a:pt x="8869895" y="600999"/>
                </a:cubicBezTo>
                <a:lnTo>
                  <a:pt x="8873469" y="609800"/>
                </a:lnTo>
                <a:lnTo>
                  <a:pt x="8808873" y="609800"/>
                </a:lnTo>
                <a:lnTo>
                  <a:pt x="8812582" y="600999"/>
                </a:lnTo>
                <a:cubicBezTo>
                  <a:pt x="8819944" y="593636"/>
                  <a:pt x="8830050" y="589016"/>
                  <a:pt x="8841022" y="589016"/>
                </a:cubicBezTo>
                <a:close/>
                <a:moveTo>
                  <a:pt x="8570767" y="589016"/>
                </a:moveTo>
                <a:cubicBezTo>
                  <a:pt x="8581739" y="589016"/>
                  <a:pt x="8591845" y="593636"/>
                  <a:pt x="8599207" y="600999"/>
                </a:cubicBezTo>
                <a:lnTo>
                  <a:pt x="8602916" y="609800"/>
                </a:lnTo>
                <a:lnTo>
                  <a:pt x="8538618" y="609800"/>
                </a:lnTo>
                <a:lnTo>
                  <a:pt x="8542327" y="600999"/>
                </a:lnTo>
                <a:cubicBezTo>
                  <a:pt x="8549689" y="593636"/>
                  <a:pt x="8559795" y="589016"/>
                  <a:pt x="8570767" y="589016"/>
                </a:cubicBezTo>
                <a:close/>
                <a:moveTo>
                  <a:pt x="6538083" y="589016"/>
                </a:moveTo>
                <a:cubicBezTo>
                  <a:pt x="6549633" y="589016"/>
                  <a:pt x="6559739" y="593636"/>
                  <a:pt x="6566958" y="600999"/>
                </a:cubicBezTo>
                <a:lnTo>
                  <a:pt x="6570532" y="609800"/>
                </a:lnTo>
                <a:lnTo>
                  <a:pt x="6505935" y="609800"/>
                </a:lnTo>
                <a:lnTo>
                  <a:pt x="6509643" y="600999"/>
                </a:lnTo>
                <a:cubicBezTo>
                  <a:pt x="6517006" y="593636"/>
                  <a:pt x="6527111" y="589016"/>
                  <a:pt x="6538083" y="589016"/>
                </a:cubicBezTo>
                <a:close/>
                <a:moveTo>
                  <a:pt x="6267830" y="589016"/>
                </a:moveTo>
                <a:cubicBezTo>
                  <a:pt x="6278801" y="589016"/>
                  <a:pt x="6288907" y="593636"/>
                  <a:pt x="6296269" y="600999"/>
                </a:cubicBezTo>
                <a:lnTo>
                  <a:pt x="6299977" y="609800"/>
                </a:lnTo>
                <a:lnTo>
                  <a:pt x="6235681" y="609800"/>
                </a:lnTo>
                <a:lnTo>
                  <a:pt x="6239389" y="600999"/>
                </a:lnTo>
                <a:cubicBezTo>
                  <a:pt x="6246752" y="593636"/>
                  <a:pt x="6256858" y="589016"/>
                  <a:pt x="6267830" y="589016"/>
                </a:cubicBezTo>
                <a:close/>
                <a:moveTo>
                  <a:pt x="5454756" y="589016"/>
                </a:moveTo>
                <a:cubicBezTo>
                  <a:pt x="5465727" y="589016"/>
                  <a:pt x="5475833" y="593636"/>
                  <a:pt x="5483196" y="600999"/>
                </a:cubicBezTo>
                <a:lnTo>
                  <a:pt x="5486904" y="609800"/>
                </a:lnTo>
                <a:lnTo>
                  <a:pt x="5422607" y="609800"/>
                </a:lnTo>
                <a:lnTo>
                  <a:pt x="5426315" y="600999"/>
                </a:lnTo>
                <a:cubicBezTo>
                  <a:pt x="5433678" y="593636"/>
                  <a:pt x="5443784" y="589016"/>
                  <a:pt x="5454756" y="589016"/>
                </a:cubicBezTo>
                <a:close/>
                <a:moveTo>
                  <a:pt x="5048218" y="589016"/>
                </a:moveTo>
                <a:cubicBezTo>
                  <a:pt x="5059190" y="589016"/>
                  <a:pt x="5069296" y="593636"/>
                  <a:pt x="5076659" y="600999"/>
                </a:cubicBezTo>
                <a:lnTo>
                  <a:pt x="5080367" y="609800"/>
                </a:lnTo>
                <a:lnTo>
                  <a:pt x="5016070" y="609800"/>
                </a:lnTo>
                <a:lnTo>
                  <a:pt x="5019778" y="600999"/>
                </a:lnTo>
                <a:cubicBezTo>
                  <a:pt x="5027141" y="593636"/>
                  <a:pt x="5037246" y="589016"/>
                  <a:pt x="5048218" y="589016"/>
                </a:cubicBezTo>
                <a:close/>
                <a:moveTo>
                  <a:pt x="4228217" y="589016"/>
                </a:moveTo>
                <a:cubicBezTo>
                  <a:pt x="4239766" y="589016"/>
                  <a:pt x="4249871" y="593636"/>
                  <a:pt x="4257089" y="600999"/>
                </a:cubicBezTo>
                <a:lnTo>
                  <a:pt x="4260663" y="609800"/>
                </a:lnTo>
                <a:lnTo>
                  <a:pt x="4196067" y="609800"/>
                </a:lnTo>
                <a:lnTo>
                  <a:pt x="4199775" y="600999"/>
                </a:lnTo>
                <a:cubicBezTo>
                  <a:pt x="4207138" y="593636"/>
                  <a:pt x="4217244" y="589016"/>
                  <a:pt x="4228217" y="589016"/>
                </a:cubicBezTo>
                <a:close/>
                <a:moveTo>
                  <a:pt x="3957960" y="589016"/>
                </a:moveTo>
                <a:cubicBezTo>
                  <a:pt x="3968932" y="589016"/>
                  <a:pt x="3979038" y="593636"/>
                  <a:pt x="3986400" y="600999"/>
                </a:cubicBezTo>
                <a:lnTo>
                  <a:pt x="3990108" y="609800"/>
                </a:lnTo>
                <a:lnTo>
                  <a:pt x="3925812" y="609800"/>
                </a:lnTo>
                <a:lnTo>
                  <a:pt x="3929520" y="600999"/>
                </a:lnTo>
                <a:cubicBezTo>
                  <a:pt x="3936883" y="593636"/>
                  <a:pt x="3946988" y="589016"/>
                  <a:pt x="3957960" y="589016"/>
                </a:cubicBezTo>
                <a:close/>
                <a:moveTo>
                  <a:pt x="1925276" y="589016"/>
                </a:moveTo>
                <a:cubicBezTo>
                  <a:pt x="1936826" y="589016"/>
                  <a:pt x="1946931" y="593636"/>
                  <a:pt x="1954149" y="600999"/>
                </a:cubicBezTo>
                <a:lnTo>
                  <a:pt x="1957723" y="609800"/>
                </a:lnTo>
                <a:lnTo>
                  <a:pt x="1893128" y="609800"/>
                </a:lnTo>
                <a:lnTo>
                  <a:pt x="1896836" y="600999"/>
                </a:lnTo>
                <a:cubicBezTo>
                  <a:pt x="1904199" y="593636"/>
                  <a:pt x="1914304" y="589016"/>
                  <a:pt x="1925276" y="589016"/>
                </a:cubicBezTo>
                <a:close/>
                <a:moveTo>
                  <a:pt x="1655022" y="589016"/>
                </a:moveTo>
                <a:cubicBezTo>
                  <a:pt x="1665994" y="589016"/>
                  <a:pt x="1676099" y="593636"/>
                  <a:pt x="1683462" y="600999"/>
                </a:cubicBezTo>
                <a:lnTo>
                  <a:pt x="1687170" y="609800"/>
                </a:lnTo>
                <a:lnTo>
                  <a:pt x="1622873" y="609800"/>
                </a:lnTo>
                <a:lnTo>
                  <a:pt x="1626581" y="600999"/>
                </a:lnTo>
                <a:cubicBezTo>
                  <a:pt x="1633944" y="593636"/>
                  <a:pt x="1644050" y="589016"/>
                  <a:pt x="1655022" y="589016"/>
                </a:cubicBezTo>
                <a:close/>
                <a:moveTo>
                  <a:pt x="841948" y="589016"/>
                </a:moveTo>
                <a:cubicBezTo>
                  <a:pt x="852920" y="589016"/>
                  <a:pt x="863025" y="593636"/>
                  <a:pt x="870388" y="600999"/>
                </a:cubicBezTo>
                <a:lnTo>
                  <a:pt x="874096" y="609800"/>
                </a:lnTo>
                <a:lnTo>
                  <a:pt x="809800" y="609800"/>
                </a:lnTo>
                <a:lnTo>
                  <a:pt x="813508" y="600999"/>
                </a:lnTo>
                <a:cubicBezTo>
                  <a:pt x="820871" y="593636"/>
                  <a:pt x="830976" y="589016"/>
                  <a:pt x="841948" y="589016"/>
                </a:cubicBezTo>
                <a:close/>
                <a:moveTo>
                  <a:pt x="435411" y="589016"/>
                </a:moveTo>
                <a:cubicBezTo>
                  <a:pt x="446383" y="589016"/>
                  <a:pt x="456488" y="593636"/>
                  <a:pt x="463851" y="600999"/>
                </a:cubicBezTo>
                <a:lnTo>
                  <a:pt x="467559" y="609800"/>
                </a:lnTo>
                <a:lnTo>
                  <a:pt x="403263" y="609800"/>
                </a:lnTo>
                <a:lnTo>
                  <a:pt x="406971" y="600999"/>
                </a:lnTo>
                <a:cubicBezTo>
                  <a:pt x="414333" y="593636"/>
                  <a:pt x="424439" y="589016"/>
                  <a:pt x="435411" y="589016"/>
                </a:cubicBezTo>
                <a:close/>
                <a:moveTo>
                  <a:pt x="11008282" y="577467"/>
                </a:moveTo>
                <a:cubicBezTo>
                  <a:pt x="11022141" y="577467"/>
                  <a:pt x="11034845" y="583242"/>
                  <a:pt x="11044085" y="592481"/>
                </a:cubicBezTo>
                <a:lnTo>
                  <a:pt x="11051348" y="609800"/>
                </a:lnTo>
                <a:lnTo>
                  <a:pt x="10964993" y="609800"/>
                </a:lnTo>
                <a:lnTo>
                  <a:pt x="10972046" y="592481"/>
                </a:lnTo>
                <a:cubicBezTo>
                  <a:pt x="10981141" y="583242"/>
                  <a:pt x="10993845" y="577467"/>
                  <a:pt x="11008282" y="577467"/>
                </a:cubicBezTo>
                <a:close/>
                <a:moveTo>
                  <a:pt x="9924954" y="577467"/>
                </a:moveTo>
                <a:cubicBezTo>
                  <a:pt x="9938813" y="577467"/>
                  <a:pt x="9951517" y="583242"/>
                  <a:pt x="9960757" y="592481"/>
                </a:cubicBezTo>
                <a:lnTo>
                  <a:pt x="9968020" y="609800"/>
                </a:lnTo>
                <a:lnTo>
                  <a:pt x="9881665" y="609800"/>
                </a:lnTo>
                <a:lnTo>
                  <a:pt x="9888718" y="592481"/>
                </a:lnTo>
                <a:cubicBezTo>
                  <a:pt x="9897813" y="583242"/>
                  <a:pt x="9910518" y="577467"/>
                  <a:pt x="9924954" y="577467"/>
                </a:cubicBezTo>
                <a:close/>
                <a:moveTo>
                  <a:pt x="9788672" y="577467"/>
                </a:moveTo>
                <a:cubicBezTo>
                  <a:pt x="9803109" y="577467"/>
                  <a:pt x="9815813" y="583531"/>
                  <a:pt x="9824908" y="593059"/>
                </a:cubicBezTo>
                <a:lnTo>
                  <a:pt x="9831618" y="609800"/>
                </a:lnTo>
                <a:lnTo>
                  <a:pt x="9745864" y="609800"/>
                </a:lnTo>
                <a:lnTo>
                  <a:pt x="9752868" y="592626"/>
                </a:lnTo>
                <a:cubicBezTo>
                  <a:pt x="9762108" y="583242"/>
                  <a:pt x="9774813" y="577467"/>
                  <a:pt x="9788672" y="577467"/>
                </a:cubicBezTo>
                <a:close/>
                <a:moveTo>
                  <a:pt x="8705894" y="577467"/>
                </a:moveTo>
                <a:cubicBezTo>
                  <a:pt x="8719753" y="577467"/>
                  <a:pt x="8732458" y="583242"/>
                  <a:pt x="8741697" y="592481"/>
                </a:cubicBezTo>
                <a:lnTo>
                  <a:pt x="8748960" y="609800"/>
                </a:lnTo>
                <a:lnTo>
                  <a:pt x="8662605" y="609800"/>
                </a:lnTo>
                <a:lnTo>
                  <a:pt x="8669658" y="592481"/>
                </a:lnTo>
                <a:cubicBezTo>
                  <a:pt x="8678753" y="583242"/>
                  <a:pt x="8691458" y="577467"/>
                  <a:pt x="8705894" y="577467"/>
                </a:cubicBezTo>
                <a:close/>
                <a:moveTo>
                  <a:pt x="6402956" y="577467"/>
                </a:moveTo>
                <a:cubicBezTo>
                  <a:pt x="6417393" y="577467"/>
                  <a:pt x="6430097" y="583242"/>
                  <a:pt x="6439192" y="592481"/>
                </a:cubicBezTo>
                <a:lnTo>
                  <a:pt x="6446246" y="609800"/>
                </a:lnTo>
                <a:lnTo>
                  <a:pt x="6359667" y="609800"/>
                </a:lnTo>
                <a:lnTo>
                  <a:pt x="6366721" y="592481"/>
                </a:lnTo>
                <a:cubicBezTo>
                  <a:pt x="6375816" y="583242"/>
                  <a:pt x="6388520" y="577467"/>
                  <a:pt x="6402956" y="577467"/>
                </a:cubicBezTo>
                <a:close/>
                <a:moveTo>
                  <a:pt x="5319628" y="577467"/>
                </a:moveTo>
                <a:cubicBezTo>
                  <a:pt x="5333487" y="577467"/>
                  <a:pt x="5346192" y="583242"/>
                  <a:pt x="5355431" y="592481"/>
                </a:cubicBezTo>
                <a:lnTo>
                  <a:pt x="5362693" y="609800"/>
                </a:lnTo>
                <a:lnTo>
                  <a:pt x="5276339" y="609800"/>
                </a:lnTo>
                <a:lnTo>
                  <a:pt x="5283392" y="592481"/>
                </a:lnTo>
                <a:cubicBezTo>
                  <a:pt x="5292488" y="583242"/>
                  <a:pt x="5305192" y="577467"/>
                  <a:pt x="5319628" y="577467"/>
                </a:cubicBezTo>
                <a:close/>
                <a:moveTo>
                  <a:pt x="5183346" y="577467"/>
                </a:moveTo>
                <a:cubicBezTo>
                  <a:pt x="5197783" y="577467"/>
                  <a:pt x="5210487" y="583242"/>
                  <a:pt x="5219582" y="592481"/>
                </a:cubicBezTo>
                <a:lnTo>
                  <a:pt x="5226635" y="609800"/>
                </a:lnTo>
                <a:lnTo>
                  <a:pt x="5140056" y="609800"/>
                </a:lnTo>
                <a:lnTo>
                  <a:pt x="5147110" y="592481"/>
                </a:lnTo>
                <a:cubicBezTo>
                  <a:pt x="5156205" y="583242"/>
                  <a:pt x="5168909" y="577467"/>
                  <a:pt x="5183346" y="577467"/>
                </a:cubicBezTo>
                <a:close/>
                <a:moveTo>
                  <a:pt x="4093087" y="577467"/>
                </a:moveTo>
                <a:cubicBezTo>
                  <a:pt x="4106947" y="577467"/>
                  <a:pt x="4119651" y="583242"/>
                  <a:pt x="4128890" y="592481"/>
                </a:cubicBezTo>
                <a:lnTo>
                  <a:pt x="4136153" y="609800"/>
                </a:lnTo>
                <a:lnTo>
                  <a:pt x="4049798" y="609800"/>
                </a:lnTo>
                <a:lnTo>
                  <a:pt x="4056851" y="592481"/>
                </a:lnTo>
                <a:cubicBezTo>
                  <a:pt x="4065947" y="583242"/>
                  <a:pt x="4078651" y="577467"/>
                  <a:pt x="4093087" y="577467"/>
                </a:cubicBezTo>
                <a:close/>
                <a:moveTo>
                  <a:pt x="1790148" y="577467"/>
                </a:moveTo>
                <a:cubicBezTo>
                  <a:pt x="1804008" y="577467"/>
                  <a:pt x="1816712" y="583242"/>
                  <a:pt x="1825951" y="592481"/>
                </a:cubicBezTo>
                <a:lnTo>
                  <a:pt x="1833214" y="609800"/>
                </a:lnTo>
                <a:lnTo>
                  <a:pt x="1746859" y="609800"/>
                </a:lnTo>
                <a:lnTo>
                  <a:pt x="1753912" y="592481"/>
                </a:lnTo>
                <a:cubicBezTo>
                  <a:pt x="1763007" y="583242"/>
                  <a:pt x="1775712" y="577467"/>
                  <a:pt x="1790148" y="577467"/>
                </a:cubicBezTo>
                <a:close/>
                <a:moveTo>
                  <a:pt x="706820" y="577467"/>
                </a:moveTo>
                <a:cubicBezTo>
                  <a:pt x="720679" y="577467"/>
                  <a:pt x="733383" y="583242"/>
                  <a:pt x="742623" y="592481"/>
                </a:cubicBezTo>
                <a:lnTo>
                  <a:pt x="749886" y="609800"/>
                </a:lnTo>
                <a:lnTo>
                  <a:pt x="663531" y="609800"/>
                </a:lnTo>
                <a:lnTo>
                  <a:pt x="670584" y="592481"/>
                </a:lnTo>
                <a:cubicBezTo>
                  <a:pt x="679679" y="583242"/>
                  <a:pt x="692384" y="577467"/>
                  <a:pt x="706820" y="577467"/>
                </a:cubicBezTo>
                <a:close/>
                <a:moveTo>
                  <a:pt x="570538" y="577467"/>
                </a:moveTo>
                <a:cubicBezTo>
                  <a:pt x="584975" y="577467"/>
                  <a:pt x="597679" y="583531"/>
                  <a:pt x="606775" y="593059"/>
                </a:cubicBezTo>
                <a:lnTo>
                  <a:pt x="613484" y="609800"/>
                </a:lnTo>
                <a:lnTo>
                  <a:pt x="527731" y="609800"/>
                </a:lnTo>
                <a:lnTo>
                  <a:pt x="534735" y="592626"/>
                </a:lnTo>
                <a:cubicBezTo>
                  <a:pt x="543974" y="583242"/>
                  <a:pt x="556679" y="577467"/>
                  <a:pt x="570538" y="577467"/>
                </a:cubicBezTo>
                <a:close/>
                <a:moveTo>
                  <a:pt x="12180541" y="464284"/>
                </a:moveTo>
                <a:cubicBezTo>
                  <a:pt x="12192090" y="464284"/>
                  <a:pt x="12201330" y="473523"/>
                  <a:pt x="12201330" y="485072"/>
                </a:cubicBezTo>
                <a:cubicBezTo>
                  <a:pt x="12201330" y="496622"/>
                  <a:pt x="12192090" y="505861"/>
                  <a:pt x="12180541" y="505861"/>
                </a:cubicBezTo>
                <a:cubicBezTo>
                  <a:pt x="12168992" y="505861"/>
                  <a:pt x="12159752" y="496622"/>
                  <a:pt x="12159752" y="485072"/>
                </a:cubicBezTo>
                <a:cubicBezTo>
                  <a:pt x="12159752" y="473523"/>
                  <a:pt x="12168992" y="464284"/>
                  <a:pt x="12180541" y="464284"/>
                </a:cubicBezTo>
                <a:close/>
                <a:moveTo>
                  <a:pt x="12040793" y="464284"/>
                </a:moveTo>
                <a:cubicBezTo>
                  <a:pt x="12052342" y="464284"/>
                  <a:pt x="12061582" y="473523"/>
                  <a:pt x="12061582" y="485072"/>
                </a:cubicBezTo>
                <a:cubicBezTo>
                  <a:pt x="12061582" y="496622"/>
                  <a:pt x="12052342" y="505861"/>
                  <a:pt x="12040793" y="505861"/>
                </a:cubicBezTo>
                <a:cubicBezTo>
                  <a:pt x="12029244" y="505861"/>
                  <a:pt x="12020004" y="496622"/>
                  <a:pt x="12020004" y="485072"/>
                </a:cubicBezTo>
                <a:cubicBezTo>
                  <a:pt x="12020004" y="473523"/>
                  <a:pt x="12029244" y="464284"/>
                  <a:pt x="12040793" y="464284"/>
                </a:cubicBezTo>
                <a:close/>
                <a:moveTo>
                  <a:pt x="11901047" y="464284"/>
                </a:moveTo>
                <a:cubicBezTo>
                  <a:pt x="11912596" y="464284"/>
                  <a:pt x="11921836" y="473523"/>
                  <a:pt x="11921836" y="485072"/>
                </a:cubicBezTo>
                <a:cubicBezTo>
                  <a:pt x="11921836" y="496622"/>
                  <a:pt x="11912596" y="505861"/>
                  <a:pt x="11901047" y="505861"/>
                </a:cubicBezTo>
                <a:cubicBezTo>
                  <a:pt x="11889498" y="505861"/>
                  <a:pt x="11880258" y="496622"/>
                  <a:pt x="11880258" y="485072"/>
                </a:cubicBezTo>
                <a:cubicBezTo>
                  <a:pt x="11880258" y="473523"/>
                  <a:pt x="11889498" y="464284"/>
                  <a:pt x="11901047" y="464284"/>
                </a:cubicBezTo>
                <a:close/>
                <a:moveTo>
                  <a:pt x="11761299" y="464284"/>
                </a:moveTo>
                <a:cubicBezTo>
                  <a:pt x="11772848" y="464284"/>
                  <a:pt x="11782088" y="473523"/>
                  <a:pt x="11782088" y="485072"/>
                </a:cubicBezTo>
                <a:cubicBezTo>
                  <a:pt x="11782088" y="496622"/>
                  <a:pt x="11772848" y="505861"/>
                  <a:pt x="11761299" y="505861"/>
                </a:cubicBezTo>
                <a:cubicBezTo>
                  <a:pt x="11749750" y="505861"/>
                  <a:pt x="11740510" y="496622"/>
                  <a:pt x="11740510" y="485072"/>
                </a:cubicBezTo>
                <a:cubicBezTo>
                  <a:pt x="11740510" y="473523"/>
                  <a:pt x="11749750" y="464284"/>
                  <a:pt x="11761299" y="464284"/>
                </a:cubicBezTo>
                <a:close/>
                <a:moveTo>
                  <a:pt x="11621553" y="464284"/>
                </a:moveTo>
                <a:cubicBezTo>
                  <a:pt x="11633102" y="464284"/>
                  <a:pt x="11642342" y="473523"/>
                  <a:pt x="11642342" y="485072"/>
                </a:cubicBezTo>
                <a:cubicBezTo>
                  <a:pt x="11642342" y="496622"/>
                  <a:pt x="11633102" y="505861"/>
                  <a:pt x="11621553" y="505861"/>
                </a:cubicBezTo>
                <a:cubicBezTo>
                  <a:pt x="11610003" y="505861"/>
                  <a:pt x="11600764" y="496622"/>
                  <a:pt x="11600764" y="485072"/>
                </a:cubicBezTo>
                <a:cubicBezTo>
                  <a:pt x="11600764" y="473523"/>
                  <a:pt x="11610003" y="464284"/>
                  <a:pt x="11621553" y="464284"/>
                </a:cubicBezTo>
                <a:close/>
                <a:moveTo>
                  <a:pt x="11481805" y="464284"/>
                </a:moveTo>
                <a:cubicBezTo>
                  <a:pt x="11493354" y="464284"/>
                  <a:pt x="11502594" y="473523"/>
                  <a:pt x="11502594" y="485072"/>
                </a:cubicBezTo>
                <a:cubicBezTo>
                  <a:pt x="11502594" y="496622"/>
                  <a:pt x="11493354" y="505861"/>
                  <a:pt x="11481805" y="505861"/>
                </a:cubicBezTo>
                <a:cubicBezTo>
                  <a:pt x="11470256" y="505861"/>
                  <a:pt x="11461016" y="496622"/>
                  <a:pt x="11461016" y="485072"/>
                </a:cubicBezTo>
                <a:cubicBezTo>
                  <a:pt x="11461016" y="473523"/>
                  <a:pt x="11470256" y="464284"/>
                  <a:pt x="11481805" y="464284"/>
                </a:cubicBezTo>
                <a:close/>
                <a:moveTo>
                  <a:pt x="10644478" y="464284"/>
                </a:moveTo>
                <a:cubicBezTo>
                  <a:pt x="10656028" y="464284"/>
                  <a:pt x="10665267" y="473523"/>
                  <a:pt x="10665267" y="485072"/>
                </a:cubicBezTo>
                <a:cubicBezTo>
                  <a:pt x="10665267" y="496622"/>
                  <a:pt x="10656028" y="505861"/>
                  <a:pt x="10644478" y="505861"/>
                </a:cubicBezTo>
                <a:cubicBezTo>
                  <a:pt x="10632929" y="505861"/>
                  <a:pt x="10623690" y="496622"/>
                  <a:pt x="10623690" y="485072"/>
                </a:cubicBezTo>
                <a:cubicBezTo>
                  <a:pt x="10623690" y="473523"/>
                  <a:pt x="10632929" y="464284"/>
                  <a:pt x="10644478" y="464284"/>
                </a:cubicBezTo>
                <a:close/>
                <a:moveTo>
                  <a:pt x="10504731" y="464284"/>
                </a:moveTo>
                <a:cubicBezTo>
                  <a:pt x="10516280" y="464284"/>
                  <a:pt x="10525520" y="473523"/>
                  <a:pt x="10525520" y="485072"/>
                </a:cubicBezTo>
                <a:cubicBezTo>
                  <a:pt x="10525520" y="496622"/>
                  <a:pt x="10516280" y="505861"/>
                  <a:pt x="10504731" y="505861"/>
                </a:cubicBezTo>
                <a:cubicBezTo>
                  <a:pt x="10493181" y="505861"/>
                  <a:pt x="10483942" y="496622"/>
                  <a:pt x="10483942" y="485072"/>
                </a:cubicBezTo>
                <a:cubicBezTo>
                  <a:pt x="10483942" y="473523"/>
                  <a:pt x="10493181" y="464284"/>
                  <a:pt x="10504731" y="464284"/>
                </a:cubicBezTo>
                <a:close/>
                <a:moveTo>
                  <a:pt x="10364984" y="464284"/>
                </a:moveTo>
                <a:cubicBezTo>
                  <a:pt x="10376534" y="464284"/>
                  <a:pt x="10385773" y="473523"/>
                  <a:pt x="10385773" y="485072"/>
                </a:cubicBezTo>
                <a:cubicBezTo>
                  <a:pt x="10385773" y="496622"/>
                  <a:pt x="10376534" y="505861"/>
                  <a:pt x="10364984" y="505861"/>
                </a:cubicBezTo>
                <a:cubicBezTo>
                  <a:pt x="10353435" y="505861"/>
                  <a:pt x="10344196" y="496622"/>
                  <a:pt x="10344196" y="485072"/>
                </a:cubicBezTo>
                <a:cubicBezTo>
                  <a:pt x="10344196" y="473523"/>
                  <a:pt x="10353435" y="464284"/>
                  <a:pt x="10364984" y="464284"/>
                </a:cubicBezTo>
                <a:close/>
                <a:moveTo>
                  <a:pt x="7854709" y="464284"/>
                </a:moveTo>
                <a:cubicBezTo>
                  <a:pt x="7866258" y="464284"/>
                  <a:pt x="7875498" y="473523"/>
                  <a:pt x="7875498" y="485072"/>
                </a:cubicBezTo>
                <a:cubicBezTo>
                  <a:pt x="7875498" y="496622"/>
                  <a:pt x="7866258" y="505861"/>
                  <a:pt x="7854709" y="505861"/>
                </a:cubicBezTo>
                <a:cubicBezTo>
                  <a:pt x="7843160" y="505861"/>
                  <a:pt x="7833921" y="496622"/>
                  <a:pt x="7833921" y="485072"/>
                </a:cubicBezTo>
                <a:cubicBezTo>
                  <a:pt x="7833921" y="473523"/>
                  <a:pt x="7843160" y="464284"/>
                  <a:pt x="7854709" y="464284"/>
                </a:cubicBezTo>
                <a:close/>
                <a:moveTo>
                  <a:pt x="7714960" y="464284"/>
                </a:moveTo>
                <a:cubicBezTo>
                  <a:pt x="7726511" y="464284"/>
                  <a:pt x="7735749" y="473523"/>
                  <a:pt x="7735749" y="485072"/>
                </a:cubicBezTo>
                <a:cubicBezTo>
                  <a:pt x="7735749" y="496622"/>
                  <a:pt x="7726511" y="505861"/>
                  <a:pt x="7714960" y="505861"/>
                </a:cubicBezTo>
                <a:cubicBezTo>
                  <a:pt x="7703411" y="505861"/>
                  <a:pt x="7694172" y="496622"/>
                  <a:pt x="7694172" y="485072"/>
                </a:cubicBezTo>
                <a:cubicBezTo>
                  <a:pt x="7694172" y="473523"/>
                  <a:pt x="7703411" y="464284"/>
                  <a:pt x="7714960" y="464284"/>
                </a:cubicBezTo>
                <a:close/>
                <a:moveTo>
                  <a:pt x="7575214" y="464284"/>
                </a:moveTo>
                <a:cubicBezTo>
                  <a:pt x="7586765" y="464284"/>
                  <a:pt x="7596004" y="473523"/>
                  <a:pt x="7596004" y="485072"/>
                </a:cubicBezTo>
                <a:cubicBezTo>
                  <a:pt x="7596004" y="496622"/>
                  <a:pt x="7586765" y="505861"/>
                  <a:pt x="7575214" y="505861"/>
                </a:cubicBezTo>
                <a:cubicBezTo>
                  <a:pt x="7563665" y="505861"/>
                  <a:pt x="7554427" y="496622"/>
                  <a:pt x="7554427" y="485072"/>
                </a:cubicBezTo>
                <a:cubicBezTo>
                  <a:pt x="7554427" y="473523"/>
                  <a:pt x="7563665" y="464284"/>
                  <a:pt x="7575214" y="464284"/>
                </a:cubicBezTo>
                <a:close/>
                <a:moveTo>
                  <a:pt x="7435467" y="464284"/>
                </a:moveTo>
                <a:cubicBezTo>
                  <a:pt x="7447016" y="464284"/>
                  <a:pt x="7456257" y="473523"/>
                  <a:pt x="7456257" y="485072"/>
                </a:cubicBezTo>
                <a:cubicBezTo>
                  <a:pt x="7456257" y="496622"/>
                  <a:pt x="7447016" y="505861"/>
                  <a:pt x="7435467" y="505861"/>
                </a:cubicBezTo>
                <a:cubicBezTo>
                  <a:pt x="7423918" y="505861"/>
                  <a:pt x="7414678" y="496622"/>
                  <a:pt x="7414678" y="485072"/>
                </a:cubicBezTo>
                <a:cubicBezTo>
                  <a:pt x="7414678" y="473523"/>
                  <a:pt x="7423918" y="464284"/>
                  <a:pt x="7435467" y="464284"/>
                </a:cubicBezTo>
                <a:close/>
                <a:moveTo>
                  <a:pt x="7295720" y="464284"/>
                </a:moveTo>
                <a:cubicBezTo>
                  <a:pt x="7307271" y="464284"/>
                  <a:pt x="7316509" y="473523"/>
                  <a:pt x="7316509" y="485072"/>
                </a:cubicBezTo>
                <a:cubicBezTo>
                  <a:pt x="7316509" y="496622"/>
                  <a:pt x="7307271" y="505861"/>
                  <a:pt x="7295720" y="505861"/>
                </a:cubicBezTo>
                <a:cubicBezTo>
                  <a:pt x="7284172" y="505861"/>
                  <a:pt x="7274932" y="496622"/>
                  <a:pt x="7274932" y="485072"/>
                </a:cubicBezTo>
                <a:cubicBezTo>
                  <a:pt x="7274932" y="473523"/>
                  <a:pt x="7284172" y="464284"/>
                  <a:pt x="7295720" y="464284"/>
                </a:cubicBezTo>
                <a:close/>
                <a:moveTo>
                  <a:pt x="7155974" y="464284"/>
                </a:moveTo>
                <a:cubicBezTo>
                  <a:pt x="7167522" y="464284"/>
                  <a:pt x="7176762" y="473523"/>
                  <a:pt x="7176762" y="485072"/>
                </a:cubicBezTo>
                <a:cubicBezTo>
                  <a:pt x="7176762" y="496622"/>
                  <a:pt x="7167522" y="505861"/>
                  <a:pt x="7155974" y="505861"/>
                </a:cubicBezTo>
                <a:cubicBezTo>
                  <a:pt x="7144423" y="505861"/>
                  <a:pt x="7135183" y="496622"/>
                  <a:pt x="7135183" y="485072"/>
                </a:cubicBezTo>
                <a:cubicBezTo>
                  <a:pt x="7135183" y="473523"/>
                  <a:pt x="7144423" y="464284"/>
                  <a:pt x="7155974" y="464284"/>
                </a:cubicBezTo>
                <a:close/>
                <a:moveTo>
                  <a:pt x="7016227" y="464284"/>
                </a:moveTo>
                <a:cubicBezTo>
                  <a:pt x="7027776" y="464284"/>
                  <a:pt x="7037016" y="473523"/>
                  <a:pt x="7037016" y="485072"/>
                </a:cubicBezTo>
                <a:cubicBezTo>
                  <a:pt x="7037016" y="496622"/>
                  <a:pt x="7027776" y="505861"/>
                  <a:pt x="7016227" y="505861"/>
                </a:cubicBezTo>
                <a:cubicBezTo>
                  <a:pt x="7004678" y="505861"/>
                  <a:pt x="6995438" y="496622"/>
                  <a:pt x="6995438" y="485072"/>
                </a:cubicBezTo>
                <a:cubicBezTo>
                  <a:pt x="6995438" y="473523"/>
                  <a:pt x="7004678" y="464284"/>
                  <a:pt x="7016227" y="464284"/>
                </a:cubicBezTo>
                <a:close/>
                <a:moveTo>
                  <a:pt x="6877634" y="464284"/>
                </a:moveTo>
                <a:cubicBezTo>
                  <a:pt x="6888028" y="464284"/>
                  <a:pt x="6898424" y="473523"/>
                  <a:pt x="6898424" y="485072"/>
                </a:cubicBezTo>
                <a:cubicBezTo>
                  <a:pt x="6898424" y="496622"/>
                  <a:pt x="6889184" y="505861"/>
                  <a:pt x="6877634" y="505861"/>
                </a:cubicBezTo>
                <a:cubicBezTo>
                  <a:pt x="6866085" y="505861"/>
                  <a:pt x="6856845" y="496622"/>
                  <a:pt x="6856845" y="485072"/>
                </a:cubicBezTo>
                <a:cubicBezTo>
                  <a:pt x="6856845" y="473523"/>
                  <a:pt x="6866085" y="464284"/>
                  <a:pt x="6877634" y="464284"/>
                </a:cubicBezTo>
                <a:close/>
                <a:moveTo>
                  <a:pt x="6039151" y="464284"/>
                </a:moveTo>
                <a:cubicBezTo>
                  <a:pt x="6050702" y="464284"/>
                  <a:pt x="6059942" y="473523"/>
                  <a:pt x="6059942" y="485072"/>
                </a:cubicBezTo>
                <a:cubicBezTo>
                  <a:pt x="6059942" y="496622"/>
                  <a:pt x="6050702" y="505861"/>
                  <a:pt x="6039151" y="505861"/>
                </a:cubicBezTo>
                <a:cubicBezTo>
                  <a:pt x="6027603" y="505861"/>
                  <a:pt x="6018363" y="496622"/>
                  <a:pt x="6018363" y="485072"/>
                </a:cubicBezTo>
                <a:cubicBezTo>
                  <a:pt x="6018363" y="473523"/>
                  <a:pt x="6027603" y="464284"/>
                  <a:pt x="6039151" y="464284"/>
                </a:cubicBezTo>
                <a:close/>
                <a:moveTo>
                  <a:pt x="5899406" y="464284"/>
                </a:moveTo>
                <a:cubicBezTo>
                  <a:pt x="5910953" y="464284"/>
                  <a:pt x="5920193" y="473523"/>
                  <a:pt x="5920193" y="485072"/>
                </a:cubicBezTo>
                <a:cubicBezTo>
                  <a:pt x="5920193" y="496622"/>
                  <a:pt x="5910953" y="505861"/>
                  <a:pt x="5899406" y="505861"/>
                </a:cubicBezTo>
                <a:cubicBezTo>
                  <a:pt x="5887855" y="505861"/>
                  <a:pt x="5878616" y="496622"/>
                  <a:pt x="5878616" y="485072"/>
                </a:cubicBezTo>
                <a:cubicBezTo>
                  <a:pt x="5878616" y="473523"/>
                  <a:pt x="5887855" y="464284"/>
                  <a:pt x="5899406" y="464284"/>
                </a:cubicBezTo>
                <a:close/>
                <a:moveTo>
                  <a:pt x="5759658" y="464284"/>
                </a:moveTo>
                <a:cubicBezTo>
                  <a:pt x="5771207" y="464284"/>
                  <a:pt x="5780448" y="473523"/>
                  <a:pt x="5780448" y="485072"/>
                </a:cubicBezTo>
                <a:cubicBezTo>
                  <a:pt x="5780448" y="496622"/>
                  <a:pt x="5771207" y="505861"/>
                  <a:pt x="5759658" y="505861"/>
                </a:cubicBezTo>
                <a:cubicBezTo>
                  <a:pt x="5748109" y="505861"/>
                  <a:pt x="5738869" y="496622"/>
                  <a:pt x="5738869" y="485072"/>
                </a:cubicBezTo>
                <a:cubicBezTo>
                  <a:pt x="5738869" y="473523"/>
                  <a:pt x="5748109" y="464284"/>
                  <a:pt x="5759658" y="464284"/>
                </a:cubicBezTo>
                <a:close/>
                <a:moveTo>
                  <a:pt x="3241901" y="464284"/>
                </a:moveTo>
                <a:cubicBezTo>
                  <a:pt x="3253450" y="464284"/>
                  <a:pt x="3262690" y="473523"/>
                  <a:pt x="3262690" y="485072"/>
                </a:cubicBezTo>
                <a:cubicBezTo>
                  <a:pt x="3262690" y="496622"/>
                  <a:pt x="3253450" y="505861"/>
                  <a:pt x="3241901" y="505861"/>
                </a:cubicBezTo>
                <a:cubicBezTo>
                  <a:pt x="3230352" y="505861"/>
                  <a:pt x="3221112" y="496622"/>
                  <a:pt x="3221112" y="485072"/>
                </a:cubicBezTo>
                <a:cubicBezTo>
                  <a:pt x="3221112" y="473523"/>
                  <a:pt x="3230352" y="464284"/>
                  <a:pt x="3241901" y="464284"/>
                </a:cubicBezTo>
                <a:close/>
                <a:moveTo>
                  <a:pt x="3102153" y="464284"/>
                </a:moveTo>
                <a:cubicBezTo>
                  <a:pt x="3113703" y="464284"/>
                  <a:pt x="3122942" y="473523"/>
                  <a:pt x="3122942" y="485072"/>
                </a:cubicBezTo>
                <a:cubicBezTo>
                  <a:pt x="3122942" y="496622"/>
                  <a:pt x="3113703" y="505861"/>
                  <a:pt x="3102153" y="505861"/>
                </a:cubicBezTo>
                <a:cubicBezTo>
                  <a:pt x="3090605" y="505861"/>
                  <a:pt x="3081365" y="496622"/>
                  <a:pt x="3081365" y="485072"/>
                </a:cubicBezTo>
                <a:cubicBezTo>
                  <a:pt x="3081365" y="473523"/>
                  <a:pt x="3090605" y="464284"/>
                  <a:pt x="3102153" y="464284"/>
                </a:cubicBezTo>
                <a:close/>
                <a:moveTo>
                  <a:pt x="2962407" y="464284"/>
                </a:moveTo>
                <a:cubicBezTo>
                  <a:pt x="2973956" y="464284"/>
                  <a:pt x="2983196" y="473523"/>
                  <a:pt x="2983196" y="485072"/>
                </a:cubicBezTo>
                <a:cubicBezTo>
                  <a:pt x="2983196" y="496622"/>
                  <a:pt x="2973956" y="505861"/>
                  <a:pt x="2962407" y="505861"/>
                </a:cubicBezTo>
                <a:cubicBezTo>
                  <a:pt x="2950858" y="505861"/>
                  <a:pt x="2941618" y="496622"/>
                  <a:pt x="2941618" y="485072"/>
                </a:cubicBezTo>
                <a:cubicBezTo>
                  <a:pt x="2941618" y="473523"/>
                  <a:pt x="2950858" y="464284"/>
                  <a:pt x="2962407" y="464284"/>
                </a:cubicBezTo>
                <a:close/>
                <a:moveTo>
                  <a:pt x="2822659" y="464284"/>
                </a:moveTo>
                <a:cubicBezTo>
                  <a:pt x="2834209" y="464284"/>
                  <a:pt x="2843448" y="473523"/>
                  <a:pt x="2843448" y="485072"/>
                </a:cubicBezTo>
                <a:cubicBezTo>
                  <a:pt x="2843448" y="496622"/>
                  <a:pt x="2834209" y="505861"/>
                  <a:pt x="2822659" y="505861"/>
                </a:cubicBezTo>
                <a:cubicBezTo>
                  <a:pt x="2811110" y="505861"/>
                  <a:pt x="2801871" y="496622"/>
                  <a:pt x="2801871" y="485072"/>
                </a:cubicBezTo>
                <a:cubicBezTo>
                  <a:pt x="2801871" y="473523"/>
                  <a:pt x="2811110" y="464284"/>
                  <a:pt x="2822659" y="464284"/>
                </a:cubicBezTo>
                <a:close/>
                <a:moveTo>
                  <a:pt x="2682913" y="464284"/>
                </a:moveTo>
                <a:cubicBezTo>
                  <a:pt x="2694462" y="464284"/>
                  <a:pt x="2703702" y="473523"/>
                  <a:pt x="2703702" y="485072"/>
                </a:cubicBezTo>
                <a:cubicBezTo>
                  <a:pt x="2703702" y="496622"/>
                  <a:pt x="2694462" y="505861"/>
                  <a:pt x="2682913" y="505861"/>
                </a:cubicBezTo>
                <a:cubicBezTo>
                  <a:pt x="2671365" y="505861"/>
                  <a:pt x="2662124" y="496622"/>
                  <a:pt x="2662124" y="485072"/>
                </a:cubicBezTo>
                <a:cubicBezTo>
                  <a:pt x="2662124" y="473523"/>
                  <a:pt x="2671365" y="464284"/>
                  <a:pt x="2682913" y="464284"/>
                </a:cubicBezTo>
                <a:close/>
                <a:moveTo>
                  <a:pt x="2543167" y="464284"/>
                </a:moveTo>
                <a:cubicBezTo>
                  <a:pt x="2554715" y="464284"/>
                  <a:pt x="2563954" y="473523"/>
                  <a:pt x="2563954" y="485072"/>
                </a:cubicBezTo>
                <a:cubicBezTo>
                  <a:pt x="2563954" y="496622"/>
                  <a:pt x="2554715" y="505861"/>
                  <a:pt x="2543167" y="505861"/>
                </a:cubicBezTo>
                <a:cubicBezTo>
                  <a:pt x="2531616" y="505861"/>
                  <a:pt x="2522376" y="496622"/>
                  <a:pt x="2522376" y="485072"/>
                </a:cubicBezTo>
                <a:cubicBezTo>
                  <a:pt x="2522376" y="473523"/>
                  <a:pt x="2531616" y="464284"/>
                  <a:pt x="2543167" y="464284"/>
                </a:cubicBezTo>
                <a:close/>
                <a:moveTo>
                  <a:pt x="2403419" y="464284"/>
                </a:moveTo>
                <a:cubicBezTo>
                  <a:pt x="2414969" y="464284"/>
                  <a:pt x="2424209" y="473523"/>
                  <a:pt x="2424209" y="485072"/>
                </a:cubicBezTo>
                <a:cubicBezTo>
                  <a:pt x="2424209" y="496622"/>
                  <a:pt x="2414969" y="505861"/>
                  <a:pt x="2403419" y="505861"/>
                </a:cubicBezTo>
                <a:cubicBezTo>
                  <a:pt x="2391869" y="505861"/>
                  <a:pt x="2382630" y="496622"/>
                  <a:pt x="2382630" y="485072"/>
                </a:cubicBezTo>
                <a:cubicBezTo>
                  <a:pt x="2382630" y="473523"/>
                  <a:pt x="2391869" y="464284"/>
                  <a:pt x="2403419" y="464284"/>
                </a:cubicBezTo>
                <a:close/>
                <a:moveTo>
                  <a:pt x="2263671" y="464284"/>
                </a:moveTo>
                <a:cubicBezTo>
                  <a:pt x="2275221" y="464284"/>
                  <a:pt x="2284460" y="473523"/>
                  <a:pt x="2284460" y="485072"/>
                </a:cubicBezTo>
                <a:cubicBezTo>
                  <a:pt x="2284460" y="496622"/>
                  <a:pt x="2275221" y="505861"/>
                  <a:pt x="2263671" y="505861"/>
                </a:cubicBezTo>
                <a:cubicBezTo>
                  <a:pt x="2252122" y="505861"/>
                  <a:pt x="2242883" y="496622"/>
                  <a:pt x="2242883" y="485072"/>
                </a:cubicBezTo>
                <a:cubicBezTo>
                  <a:pt x="2242883" y="473523"/>
                  <a:pt x="2252122" y="464284"/>
                  <a:pt x="2263671" y="464284"/>
                </a:cubicBezTo>
                <a:close/>
                <a:moveTo>
                  <a:pt x="1426344" y="464284"/>
                </a:moveTo>
                <a:cubicBezTo>
                  <a:pt x="1437894" y="464284"/>
                  <a:pt x="1447133" y="473523"/>
                  <a:pt x="1447133" y="485072"/>
                </a:cubicBezTo>
                <a:cubicBezTo>
                  <a:pt x="1447133" y="496622"/>
                  <a:pt x="1437894" y="505861"/>
                  <a:pt x="1426344" y="505861"/>
                </a:cubicBezTo>
                <a:cubicBezTo>
                  <a:pt x="1414795" y="505861"/>
                  <a:pt x="1405556" y="496622"/>
                  <a:pt x="1405556" y="485072"/>
                </a:cubicBezTo>
                <a:cubicBezTo>
                  <a:pt x="1405556" y="473523"/>
                  <a:pt x="1414795" y="464284"/>
                  <a:pt x="1426344" y="464284"/>
                </a:cubicBezTo>
                <a:close/>
                <a:moveTo>
                  <a:pt x="1286597" y="464284"/>
                </a:moveTo>
                <a:cubicBezTo>
                  <a:pt x="1298146" y="464284"/>
                  <a:pt x="1307386" y="473523"/>
                  <a:pt x="1307386" y="485072"/>
                </a:cubicBezTo>
                <a:cubicBezTo>
                  <a:pt x="1307386" y="496622"/>
                  <a:pt x="1298146" y="505861"/>
                  <a:pt x="1286597" y="505861"/>
                </a:cubicBezTo>
                <a:cubicBezTo>
                  <a:pt x="1275048" y="505861"/>
                  <a:pt x="1265808" y="496622"/>
                  <a:pt x="1265808" y="485072"/>
                </a:cubicBezTo>
                <a:cubicBezTo>
                  <a:pt x="1265808" y="473523"/>
                  <a:pt x="1275048" y="464284"/>
                  <a:pt x="1286597" y="464284"/>
                </a:cubicBezTo>
                <a:close/>
                <a:moveTo>
                  <a:pt x="1146851" y="464284"/>
                </a:moveTo>
                <a:cubicBezTo>
                  <a:pt x="1158400" y="464284"/>
                  <a:pt x="1167639" y="473523"/>
                  <a:pt x="1167639" y="485072"/>
                </a:cubicBezTo>
                <a:cubicBezTo>
                  <a:pt x="1167639" y="496622"/>
                  <a:pt x="1158400" y="505861"/>
                  <a:pt x="1146851" y="505861"/>
                </a:cubicBezTo>
                <a:cubicBezTo>
                  <a:pt x="1135301" y="505861"/>
                  <a:pt x="1126062" y="496622"/>
                  <a:pt x="1126062" y="485072"/>
                </a:cubicBezTo>
                <a:cubicBezTo>
                  <a:pt x="1126062" y="473523"/>
                  <a:pt x="1135301" y="464284"/>
                  <a:pt x="1146851" y="464284"/>
                </a:cubicBezTo>
                <a:close/>
                <a:moveTo>
                  <a:pt x="11343213" y="461974"/>
                </a:moveTo>
                <a:cubicBezTo>
                  <a:pt x="11355918" y="461974"/>
                  <a:pt x="11366312" y="472369"/>
                  <a:pt x="11366312" y="485072"/>
                </a:cubicBezTo>
                <a:cubicBezTo>
                  <a:pt x="11366312" y="497777"/>
                  <a:pt x="11355918" y="508171"/>
                  <a:pt x="11343213" y="508171"/>
                </a:cubicBezTo>
                <a:cubicBezTo>
                  <a:pt x="11330509" y="508171"/>
                  <a:pt x="11320114" y="497777"/>
                  <a:pt x="11320114" y="485072"/>
                </a:cubicBezTo>
                <a:cubicBezTo>
                  <a:pt x="11320114" y="472369"/>
                  <a:pt x="11330509" y="461974"/>
                  <a:pt x="11343213" y="461974"/>
                </a:cubicBezTo>
                <a:close/>
                <a:moveTo>
                  <a:pt x="10225237" y="461974"/>
                </a:moveTo>
                <a:cubicBezTo>
                  <a:pt x="10237942" y="461974"/>
                  <a:pt x="10248335" y="472369"/>
                  <a:pt x="10248335" y="485072"/>
                </a:cubicBezTo>
                <a:cubicBezTo>
                  <a:pt x="10248335" y="497777"/>
                  <a:pt x="10237942" y="508171"/>
                  <a:pt x="10225237" y="508171"/>
                </a:cubicBezTo>
                <a:cubicBezTo>
                  <a:pt x="10212533" y="508171"/>
                  <a:pt x="10202138" y="497777"/>
                  <a:pt x="10202138" y="485072"/>
                </a:cubicBezTo>
                <a:cubicBezTo>
                  <a:pt x="10202138" y="472369"/>
                  <a:pt x="10212533" y="461974"/>
                  <a:pt x="10225237" y="461974"/>
                </a:cubicBezTo>
                <a:close/>
                <a:moveTo>
                  <a:pt x="9112431" y="461974"/>
                </a:moveTo>
                <a:cubicBezTo>
                  <a:pt x="9125136" y="461974"/>
                  <a:pt x="9135530" y="472369"/>
                  <a:pt x="9135530" y="485072"/>
                </a:cubicBezTo>
                <a:cubicBezTo>
                  <a:pt x="9135530" y="497777"/>
                  <a:pt x="9125136" y="508171"/>
                  <a:pt x="9112431" y="508171"/>
                </a:cubicBezTo>
                <a:cubicBezTo>
                  <a:pt x="9099727" y="508171"/>
                  <a:pt x="9089332" y="497777"/>
                  <a:pt x="9089332" y="485072"/>
                </a:cubicBezTo>
                <a:cubicBezTo>
                  <a:pt x="9089332" y="472369"/>
                  <a:pt x="9099727" y="461974"/>
                  <a:pt x="9112431" y="461974"/>
                </a:cubicBezTo>
                <a:close/>
                <a:moveTo>
                  <a:pt x="7994456" y="461974"/>
                </a:moveTo>
                <a:cubicBezTo>
                  <a:pt x="8007160" y="461974"/>
                  <a:pt x="8017555" y="472369"/>
                  <a:pt x="8017555" y="485072"/>
                </a:cubicBezTo>
                <a:cubicBezTo>
                  <a:pt x="8017555" y="497777"/>
                  <a:pt x="8007160" y="508171"/>
                  <a:pt x="7994456" y="508171"/>
                </a:cubicBezTo>
                <a:cubicBezTo>
                  <a:pt x="7981752" y="508171"/>
                  <a:pt x="7971356" y="497777"/>
                  <a:pt x="7971356" y="485072"/>
                </a:cubicBezTo>
                <a:cubicBezTo>
                  <a:pt x="7971356" y="472369"/>
                  <a:pt x="7981752" y="461974"/>
                  <a:pt x="7994456" y="461974"/>
                </a:cubicBezTo>
                <a:close/>
                <a:moveTo>
                  <a:pt x="6737887" y="461974"/>
                </a:moveTo>
                <a:cubicBezTo>
                  <a:pt x="6750591" y="461974"/>
                  <a:pt x="6760986" y="472369"/>
                  <a:pt x="6760986" y="485072"/>
                </a:cubicBezTo>
                <a:cubicBezTo>
                  <a:pt x="6760986" y="497777"/>
                  <a:pt x="6750591" y="508171"/>
                  <a:pt x="6737887" y="508171"/>
                </a:cubicBezTo>
                <a:cubicBezTo>
                  <a:pt x="6725183" y="508171"/>
                  <a:pt x="6714789" y="497777"/>
                  <a:pt x="6714789" y="485072"/>
                </a:cubicBezTo>
                <a:cubicBezTo>
                  <a:pt x="6714789" y="472369"/>
                  <a:pt x="6725183" y="461974"/>
                  <a:pt x="6737887" y="461974"/>
                </a:cubicBezTo>
                <a:close/>
                <a:moveTo>
                  <a:pt x="5619912" y="461974"/>
                </a:moveTo>
                <a:cubicBezTo>
                  <a:pt x="5632617" y="461974"/>
                  <a:pt x="5643008" y="472369"/>
                  <a:pt x="5643008" y="485072"/>
                </a:cubicBezTo>
                <a:cubicBezTo>
                  <a:pt x="5643008" y="497777"/>
                  <a:pt x="5632617" y="508171"/>
                  <a:pt x="5619912" y="508171"/>
                </a:cubicBezTo>
                <a:cubicBezTo>
                  <a:pt x="5607207" y="508171"/>
                  <a:pt x="5596812" y="497777"/>
                  <a:pt x="5596812" y="485072"/>
                </a:cubicBezTo>
                <a:cubicBezTo>
                  <a:pt x="5596812" y="472369"/>
                  <a:pt x="5607207" y="461974"/>
                  <a:pt x="5619912" y="461974"/>
                </a:cubicBezTo>
                <a:close/>
                <a:moveTo>
                  <a:pt x="4499625" y="461974"/>
                </a:moveTo>
                <a:cubicBezTo>
                  <a:pt x="4512330" y="461974"/>
                  <a:pt x="4522722" y="472369"/>
                  <a:pt x="4522722" y="485072"/>
                </a:cubicBezTo>
                <a:cubicBezTo>
                  <a:pt x="4522722" y="497777"/>
                  <a:pt x="4512330" y="508171"/>
                  <a:pt x="4499625" y="508171"/>
                </a:cubicBezTo>
                <a:cubicBezTo>
                  <a:pt x="4486920" y="508171"/>
                  <a:pt x="4476525" y="497777"/>
                  <a:pt x="4476525" y="485072"/>
                </a:cubicBezTo>
                <a:cubicBezTo>
                  <a:pt x="4476525" y="472369"/>
                  <a:pt x="4486920" y="461974"/>
                  <a:pt x="4499625" y="461974"/>
                </a:cubicBezTo>
                <a:close/>
                <a:moveTo>
                  <a:pt x="3381648" y="461974"/>
                </a:moveTo>
                <a:cubicBezTo>
                  <a:pt x="3394352" y="461974"/>
                  <a:pt x="3404746" y="472369"/>
                  <a:pt x="3404746" y="485072"/>
                </a:cubicBezTo>
                <a:cubicBezTo>
                  <a:pt x="3404746" y="497777"/>
                  <a:pt x="3394352" y="508171"/>
                  <a:pt x="3381648" y="508171"/>
                </a:cubicBezTo>
                <a:cubicBezTo>
                  <a:pt x="3368944" y="508171"/>
                  <a:pt x="3358549" y="497777"/>
                  <a:pt x="3358549" y="485072"/>
                </a:cubicBezTo>
                <a:cubicBezTo>
                  <a:pt x="3358549" y="472369"/>
                  <a:pt x="3368944" y="461974"/>
                  <a:pt x="3381648" y="461974"/>
                </a:cubicBezTo>
                <a:close/>
                <a:moveTo>
                  <a:pt x="2125079" y="461974"/>
                </a:moveTo>
                <a:cubicBezTo>
                  <a:pt x="2137784" y="461974"/>
                  <a:pt x="2148178" y="472369"/>
                  <a:pt x="2148178" y="485072"/>
                </a:cubicBezTo>
                <a:cubicBezTo>
                  <a:pt x="2148178" y="497777"/>
                  <a:pt x="2137784" y="508171"/>
                  <a:pt x="2125079" y="508171"/>
                </a:cubicBezTo>
                <a:cubicBezTo>
                  <a:pt x="2112376" y="508171"/>
                  <a:pt x="2101980" y="497777"/>
                  <a:pt x="2101980" y="485072"/>
                </a:cubicBezTo>
                <a:cubicBezTo>
                  <a:pt x="2101980" y="472369"/>
                  <a:pt x="2112376" y="461974"/>
                  <a:pt x="2125079" y="461974"/>
                </a:cubicBezTo>
                <a:close/>
                <a:moveTo>
                  <a:pt x="1007103" y="461974"/>
                </a:moveTo>
                <a:cubicBezTo>
                  <a:pt x="1019808" y="461974"/>
                  <a:pt x="1030201" y="472369"/>
                  <a:pt x="1030201" y="485072"/>
                </a:cubicBezTo>
                <a:cubicBezTo>
                  <a:pt x="1030201" y="497777"/>
                  <a:pt x="1019808" y="508171"/>
                  <a:pt x="1007103" y="508171"/>
                </a:cubicBezTo>
                <a:cubicBezTo>
                  <a:pt x="994399" y="508171"/>
                  <a:pt x="984004" y="497777"/>
                  <a:pt x="984004" y="485072"/>
                </a:cubicBezTo>
                <a:cubicBezTo>
                  <a:pt x="984004" y="472369"/>
                  <a:pt x="994399" y="461974"/>
                  <a:pt x="1007103" y="461974"/>
                </a:cubicBezTo>
                <a:close/>
                <a:moveTo>
                  <a:pt x="11203466" y="456200"/>
                </a:moveTo>
                <a:cubicBezTo>
                  <a:pt x="11218480" y="456200"/>
                  <a:pt x="11232339" y="468903"/>
                  <a:pt x="11232339" y="485072"/>
                </a:cubicBezTo>
                <a:cubicBezTo>
                  <a:pt x="11232339" y="501241"/>
                  <a:pt x="11219636" y="513946"/>
                  <a:pt x="11203466" y="513946"/>
                </a:cubicBezTo>
                <a:cubicBezTo>
                  <a:pt x="11187298" y="513946"/>
                  <a:pt x="11174593" y="501241"/>
                  <a:pt x="11174593" y="485072"/>
                </a:cubicBezTo>
                <a:cubicBezTo>
                  <a:pt x="11174593" y="468903"/>
                  <a:pt x="11187298" y="456200"/>
                  <a:pt x="11203466" y="456200"/>
                </a:cubicBezTo>
                <a:close/>
                <a:moveTo>
                  <a:pt x="10085490" y="456200"/>
                </a:moveTo>
                <a:cubicBezTo>
                  <a:pt x="10101659" y="456200"/>
                  <a:pt x="10114363" y="468903"/>
                  <a:pt x="10114363" y="485072"/>
                </a:cubicBezTo>
                <a:cubicBezTo>
                  <a:pt x="10114363" y="501241"/>
                  <a:pt x="10101659" y="513946"/>
                  <a:pt x="10085490" y="513946"/>
                </a:cubicBezTo>
                <a:cubicBezTo>
                  <a:pt x="10069321" y="513946"/>
                  <a:pt x="10056616" y="501241"/>
                  <a:pt x="10056616" y="485072"/>
                </a:cubicBezTo>
                <a:cubicBezTo>
                  <a:pt x="10056616" y="468903"/>
                  <a:pt x="10069321" y="456200"/>
                  <a:pt x="10085490" y="456200"/>
                </a:cubicBezTo>
                <a:close/>
                <a:moveTo>
                  <a:pt x="9247008" y="456200"/>
                </a:moveTo>
                <a:cubicBezTo>
                  <a:pt x="9263177" y="456200"/>
                  <a:pt x="9275881" y="468903"/>
                  <a:pt x="9275881" y="485072"/>
                </a:cubicBezTo>
                <a:cubicBezTo>
                  <a:pt x="9275881" y="501241"/>
                  <a:pt x="9263177" y="513946"/>
                  <a:pt x="9247008" y="513946"/>
                </a:cubicBezTo>
                <a:cubicBezTo>
                  <a:pt x="9230839" y="513946"/>
                  <a:pt x="9218134" y="501241"/>
                  <a:pt x="9218134" y="485072"/>
                </a:cubicBezTo>
                <a:cubicBezTo>
                  <a:pt x="9218134" y="468903"/>
                  <a:pt x="9230839" y="456200"/>
                  <a:pt x="9247008" y="456200"/>
                </a:cubicBezTo>
                <a:close/>
                <a:moveTo>
                  <a:pt x="8972685" y="456200"/>
                </a:moveTo>
                <a:cubicBezTo>
                  <a:pt x="8988854" y="456200"/>
                  <a:pt x="9001557" y="468903"/>
                  <a:pt x="9001557" y="485072"/>
                </a:cubicBezTo>
                <a:cubicBezTo>
                  <a:pt x="9001557" y="501241"/>
                  <a:pt x="8988854" y="513946"/>
                  <a:pt x="8972685" y="513946"/>
                </a:cubicBezTo>
                <a:cubicBezTo>
                  <a:pt x="8956515" y="513946"/>
                  <a:pt x="8943811" y="501241"/>
                  <a:pt x="8943811" y="485072"/>
                </a:cubicBezTo>
                <a:cubicBezTo>
                  <a:pt x="8943811" y="468903"/>
                  <a:pt x="8956515" y="456200"/>
                  <a:pt x="8972685" y="456200"/>
                </a:cubicBezTo>
                <a:close/>
                <a:moveTo>
                  <a:pt x="8134203" y="456200"/>
                </a:moveTo>
                <a:cubicBezTo>
                  <a:pt x="8150373" y="456200"/>
                  <a:pt x="8163075" y="468903"/>
                  <a:pt x="8163075" y="485072"/>
                </a:cubicBezTo>
                <a:cubicBezTo>
                  <a:pt x="8163075" y="501241"/>
                  <a:pt x="8150373" y="513946"/>
                  <a:pt x="8134203" y="513946"/>
                </a:cubicBezTo>
                <a:cubicBezTo>
                  <a:pt x="8118034" y="513946"/>
                  <a:pt x="8105330" y="501241"/>
                  <a:pt x="8105330" y="485072"/>
                </a:cubicBezTo>
                <a:cubicBezTo>
                  <a:pt x="8105330" y="468903"/>
                  <a:pt x="8118034" y="456200"/>
                  <a:pt x="8134203" y="456200"/>
                </a:cubicBezTo>
                <a:close/>
                <a:moveTo>
                  <a:pt x="6598140" y="456200"/>
                </a:moveTo>
                <a:cubicBezTo>
                  <a:pt x="6613155" y="456200"/>
                  <a:pt x="6627013" y="468903"/>
                  <a:pt x="6627013" y="485072"/>
                </a:cubicBezTo>
                <a:cubicBezTo>
                  <a:pt x="6627013" y="501241"/>
                  <a:pt x="6614309" y="513946"/>
                  <a:pt x="6598140" y="513946"/>
                </a:cubicBezTo>
                <a:cubicBezTo>
                  <a:pt x="6581971" y="513946"/>
                  <a:pt x="6569267" y="501241"/>
                  <a:pt x="6569267" y="485072"/>
                </a:cubicBezTo>
                <a:cubicBezTo>
                  <a:pt x="6569267" y="468903"/>
                  <a:pt x="6581971" y="456200"/>
                  <a:pt x="6598140" y="456200"/>
                </a:cubicBezTo>
                <a:close/>
                <a:moveTo>
                  <a:pt x="5480165" y="456200"/>
                </a:moveTo>
                <a:cubicBezTo>
                  <a:pt x="5496333" y="456200"/>
                  <a:pt x="5509037" y="468903"/>
                  <a:pt x="5509037" y="485072"/>
                </a:cubicBezTo>
                <a:cubicBezTo>
                  <a:pt x="5509037" y="501241"/>
                  <a:pt x="5496333" y="513946"/>
                  <a:pt x="5480165" y="513946"/>
                </a:cubicBezTo>
                <a:cubicBezTo>
                  <a:pt x="5463996" y="513946"/>
                  <a:pt x="5451289" y="501241"/>
                  <a:pt x="5451289" y="485072"/>
                </a:cubicBezTo>
                <a:cubicBezTo>
                  <a:pt x="5451289" y="468903"/>
                  <a:pt x="5463996" y="456200"/>
                  <a:pt x="5480165" y="456200"/>
                </a:cubicBezTo>
                <a:close/>
                <a:moveTo>
                  <a:pt x="4641682" y="456200"/>
                </a:moveTo>
                <a:cubicBezTo>
                  <a:pt x="4657851" y="456200"/>
                  <a:pt x="4670555" y="468903"/>
                  <a:pt x="4670555" y="485072"/>
                </a:cubicBezTo>
                <a:cubicBezTo>
                  <a:pt x="4670555" y="501241"/>
                  <a:pt x="4657851" y="513946"/>
                  <a:pt x="4641682" y="513946"/>
                </a:cubicBezTo>
                <a:cubicBezTo>
                  <a:pt x="4625513" y="513946"/>
                  <a:pt x="4612809" y="501241"/>
                  <a:pt x="4612809" y="485072"/>
                </a:cubicBezTo>
                <a:cubicBezTo>
                  <a:pt x="4612809" y="468903"/>
                  <a:pt x="4625513" y="456200"/>
                  <a:pt x="4641682" y="456200"/>
                </a:cubicBezTo>
                <a:close/>
                <a:moveTo>
                  <a:pt x="4359878" y="456200"/>
                </a:moveTo>
                <a:cubicBezTo>
                  <a:pt x="4376046" y="456200"/>
                  <a:pt x="4388751" y="468903"/>
                  <a:pt x="4388751" y="485072"/>
                </a:cubicBezTo>
                <a:cubicBezTo>
                  <a:pt x="4388751" y="501241"/>
                  <a:pt x="4376046" y="513946"/>
                  <a:pt x="4359878" y="513946"/>
                </a:cubicBezTo>
                <a:cubicBezTo>
                  <a:pt x="4343709" y="513946"/>
                  <a:pt x="4331004" y="501241"/>
                  <a:pt x="4331004" y="485072"/>
                </a:cubicBezTo>
                <a:cubicBezTo>
                  <a:pt x="4331004" y="468903"/>
                  <a:pt x="4343709" y="456200"/>
                  <a:pt x="4359878" y="456200"/>
                </a:cubicBezTo>
                <a:close/>
                <a:moveTo>
                  <a:pt x="3521396" y="456200"/>
                </a:moveTo>
                <a:cubicBezTo>
                  <a:pt x="3537564" y="456200"/>
                  <a:pt x="3550268" y="468903"/>
                  <a:pt x="3550268" y="485072"/>
                </a:cubicBezTo>
                <a:cubicBezTo>
                  <a:pt x="3550268" y="501241"/>
                  <a:pt x="3537564" y="513946"/>
                  <a:pt x="3521396" y="513946"/>
                </a:cubicBezTo>
                <a:cubicBezTo>
                  <a:pt x="3505226" y="513946"/>
                  <a:pt x="3492521" y="501241"/>
                  <a:pt x="3492521" y="485072"/>
                </a:cubicBezTo>
                <a:cubicBezTo>
                  <a:pt x="3492521" y="468903"/>
                  <a:pt x="3505226" y="456200"/>
                  <a:pt x="3521396" y="456200"/>
                </a:cubicBezTo>
                <a:close/>
                <a:moveTo>
                  <a:pt x="1985333" y="456200"/>
                </a:moveTo>
                <a:cubicBezTo>
                  <a:pt x="2000346" y="456200"/>
                  <a:pt x="2014205" y="468903"/>
                  <a:pt x="2014205" y="485072"/>
                </a:cubicBezTo>
                <a:cubicBezTo>
                  <a:pt x="2014205" y="501241"/>
                  <a:pt x="2001502" y="513946"/>
                  <a:pt x="1985333" y="513946"/>
                </a:cubicBezTo>
                <a:cubicBezTo>
                  <a:pt x="1969164" y="513946"/>
                  <a:pt x="1956459" y="501241"/>
                  <a:pt x="1956459" y="485072"/>
                </a:cubicBezTo>
                <a:cubicBezTo>
                  <a:pt x="1956459" y="468903"/>
                  <a:pt x="1969164" y="456200"/>
                  <a:pt x="1985333" y="456200"/>
                </a:cubicBezTo>
                <a:close/>
                <a:moveTo>
                  <a:pt x="867356" y="456200"/>
                </a:moveTo>
                <a:cubicBezTo>
                  <a:pt x="883525" y="456200"/>
                  <a:pt x="896229" y="468903"/>
                  <a:pt x="896229" y="485072"/>
                </a:cubicBezTo>
                <a:cubicBezTo>
                  <a:pt x="896229" y="501241"/>
                  <a:pt x="883525" y="513946"/>
                  <a:pt x="867356" y="513946"/>
                </a:cubicBezTo>
                <a:cubicBezTo>
                  <a:pt x="851187" y="513946"/>
                  <a:pt x="838482" y="501241"/>
                  <a:pt x="838482" y="485072"/>
                </a:cubicBezTo>
                <a:cubicBezTo>
                  <a:pt x="838482" y="468903"/>
                  <a:pt x="851187" y="456200"/>
                  <a:pt x="867356" y="456200"/>
                </a:cubicBezTo>
                <a:close/>
                <a:moveTo>
                  <a:pt x="28874" y="456200"/>
                </a:moveTo>
                <a:cubicBezTo>
                  <a:pt x="45043" y="456200"/>
                  <a:pt x="57747" y="468903"/>
                  <a:pt x="57747" y="485072"/>
                </a:cubicBezTo>
                <a:cubicBezTo>
                  <a:pt x="57747" y="501241"/>
                  <a:pt x="45043" y="513946"/>
                  <a:pt x="28874" y="513946"/>
                </a:cubicBezTo>
                <a:cubicBezTo>
                  <a:pt x="12705" y="513946"/>
                  <a:pt x="0" y="501241"/>
                  <a:pt x="0" y="485072"/>
                </a:cubicBezTo>
                <a:cubicBezTo>
                  <a:pt x="0" y="468903"/>
                  <a:pt x="12705" y="456200"/>
                  <a:pt x="28874" y="456200"/>
                </a:cubicBezTo>
                <a:close/>
                <a:moveTo>
                  <a:pt x="11063719" y="449270"/>
                </a:moveTo>
                <a:cubicBezTo>
                  <a:pt x="11082198" y="449270"/>
                  <a:pt x="11098367" y="465439"/>
                  <a:pt x="11098367" y="483918"/>
                </a:cubicBezTo>
                <a:cubicBezTo>
                  <a:pt x="11098367" y="502397"/>
                  <a:pt x="11083353" y="518566"/>
                  <a:pt x="11063719" y="518566"/>
                </a:cubicBezTo>
                <a:cubicBezTo>
                  <a:pt x="11045240" y="518566"/>
                  <a:pt x="11029071" y="502397"/>
                  <a:pt x="11029071" y="483918"/>
                </a:cubicBezTo>
                <a:cubicBezTo>
                  <a:pt x="11029071" y="465439"/>
                  <a:pt x="11044086" y="449270"/>
                  <a:pt x="11063719" y="449270"/>
                </a:cubicBezTo>
                <a:close/>
                <a:moveTo>
                  <a:pt x="9945743" y="449270"/>
                </a:moveTo>
                <a:cubicBezTo>
                  <a:pt x="9965377" y="449270"/>
                  <a:pt x="9980391" y="465439"/>
                  <a:pt x="9980391" y="483918"/>
                </a:cubicBezTo>
                <a:cubicBezTo>
                  <a:pt x="9980391" y="502397"/>
                  <a:pt x="9964222" y="518566"/>
                  <a:pt x="9945743" y="518566"/>
                </a:cubicBezTo>
                <a:cubicBezTo>
                  <a:pt x="9927264" y="518566"/>
                  <a:pt x="9911094" y="502397"/>
                  <a:pt x="9911094" y="483918"/>
                </a:cubicBezTo>
                <a:cubicBezTo>
                  <a:pt x="9911094" y="465439"/>
                  <a:pt x="9926109" y="449270"/>
                  <a:pt x="9945743" y="449270"/>
                </a:cubicBezTo>
                <a:close/>
                <a:moveTo>
                  <a:pt x="9386754" y="449270"/>
                </a:moveTo>
                <a:cubicBezTo>
                  <a:pt x="9406389" y="449270"/>
                  <a:pt x="9421402" y="465439"/>
                  <a:pt x="9421402" y="483918"/>
                </a:cubicBezTo>
                <a:cubicBezTo>
                  <a:pt x="9421402" y="502397"/>
                  <a:pt x="9405233" y="518566"/>
                  <a:pt x="9386754" y="518566"/>
                </a:cubicBezTo>
                <a:cubicBezTo>
                  <a:pt x="9368275" y="518566"/>
                  <a:pt x="9352106" y="502397"/>
                  <a:pt x="9352106" y="483918"/>
                </a:cubicBezTo>
                <a:cubicBezTo>
                  <a:pt x="9352106" y="465439"/>
                  <a:pt x="9367121" y="449270"/>
                  <a:pt x="9386754" y="449270"/>
                </a:cubicBezTo>
                <a:close/>
                <a:moveTo>
                  <a:pt x="8832937" y="449270"/>
                </a:moveTo>
                <a:cubicBezTo>
                  <a:pt x="8852571" y="449270"/>
                  <a:pt x="8867585" y="465439"/>
                  <a:pt x="8867585" y="483918"/>
                </a:cubicBezTo>
                <a:cubicBezTo>
                  <a:pt x="8867585" y="502397"/>
                  <a:pt x="8852571" y="518566"/>
                  <a:pt x="8832937" y="518566"/>
                </a:cubicBezTo>
                <a:cubicBezTo>
                  <a:pt x="8814458" y="518566"/>
                  <a:pt x="8798289" y="502397"/>
                  <a:pt x="8798289" y="483918"/>
                </a:cubicBezTo>
                <a:cubicBezTo>
                  <a:pt x="8798289" y="465439"/>
                  <a:pt x="8813304" y="449270"/>
                  <a:pt x="8832937" y="449270"/>
                </a:cubicBezTo>
                <a:close/>
                <a:moveTo>
                  <a:pt x="8273949" y="449270"/>
                </a:moveTo>
                <a:cubicBezTo>
                  <a:pt x="8293584" y="449270"/>
                  <a:pt x="8308598" y="465439"/>
                  <a:pt x="8308598" y="483918"/>
                </a:cubicBezTo>
                <a:cubicBezTo>
                  <a:pt x="8308598" y="502397"/>
                  <a:pt x="8293584" y="518566"/>
                  <a:pt x="8273949" y="518566"/>
                </a:cubicBezTo>
                <a:cubicBezTo>
                  <a:pt x="8255471" y="518566"/>
                  <a:pt x="8239301" y="502397"/>
                  <a:pt x="8239301" y="483918"/>
                </a:cubicBezTo>
                <a:cubicBezTo>
                  <a:pt x="8239301" y="465439"/>
                  <a:pt x="8254316" y="449270"/>
                  <a:pt x="8273949" y="449270"/>
                </a:cubicBezTo>
                <a:close/>
                <a:moveTo>
                  <a:pt x="6458393" y="449270"/>
                </a:moveTo>
                <a:cubicBezTo>
                  <a:pt x="6476871" y="449270"/>
                  <a:pt x="6493041" y="465439"/>
                  <a:pt x="6493041" y="483918"/>
                </a:cubicBezTo>
                <a:cubicBezTo>
                  <a:pt x="6493041" y="502397"/>
                  <a:pt x="6476871" y="518566"/>
                  <a:pt x="6458393" y="518566"/>
                </a:cubicBezTo>
                <a:cubicBezTo>
                  <a:pt x="6439914" y="518566"/>
                  <a:pt x="6423745" y="502397"/>
                  <a:pt x="6423745" y="483918"/>
                </a:cubicBezTo>
                <a:cubicBezTo>
                  <a:pt x="6423745" y="465439"/>
                  <a:pt x="6438760" y="449270"/>
                  <a:pt x="6458393" y="449270"/>
                </a:cubicBezTo>
                <a:close/>
                <a:moveTo>
                  <a:pt x="5340416" y="449270"/>
                </a:moveTo>
                <a:cubicBezTo>
                  <a:pt x="5360051" y="449270"/>
                  <a:pt x="5375064" y="465439"/>
                  <a:pt x="5375064" y="483918"/>
                </a:cubicBezTo>
                <a:cubicBezTo>
                  <a:pt x="5375064" y="502397"/>
                  <a:pt x="5358895" y="518566"/>
                  <a:pt x="5340416" y="518566"/>
                </a:cubicBezTo>
                <a:cubicBezTo>
                  <a:pt x="5321939" y="518566"/>
                  <a:pt x="5305769" y="502397"/>
                  <a:pt x="5305769" y="483918"/>
                </a:cubicBezTo>
                <a:cubicBezTo>
                  <a:pt x="5305769" y="465439"/>
                  <a:pt x="5320783" y="449270"/>
                  <a:pt x="5340416" y="449270"/>
                </a:cubicBezTo>
                <a:close/>
                <a:moveTo>
                  <a:pt x="4781429" y="449270"/>
                </a:moveTo>
                <a:cubicBezTo>
                  <a:pt x="4801062" y="449270"/>
                  <a:pt x="4816075" y="465439"/>
                  <a:pt x="4816075" y="483918"/>
                </a:cubicBezTo>
                <a:cubicBezTo>
                  <a:pt x="4816075" y="502397"/>
                  <a:pt x="4799906" y="518566"/>
                  <a:pt x="4781429" y="518566"/>
                </a:cubicBezTo>
                <a:cubicBezTo>
                  <a:pt x="4762949" y="518566"/>
                  <a:pt x="4746781" y="502397"/>
                  <a:pt x="4746781" y="483918"/>
                </a:cubicBezTo>
                <a:cubicBezTo>
                  <a:pt x="4746781" y="465439"/>
                  <a:pt x="4761794" y="449270"/>
                  <a:pt x="4781429" y="449270"/>
                </a:cubicBezTo>
                <a:close/>
                <a:moveTo>
                  <a:pt x="4220129" y="449270"/>
                </a:moveTo>
                <a:cubicBezTo>
                  <a:pt x="4239764" y="449270"/>
                  <a:pt x="4254779" y="465439"/>
                  <a:pt x="4254779" y="483918"/>
                </a:cubicBezTo>
                <a:cubicBezTo>
                  <a:pt x="4254779" y="502397"/>
                  <a:pt x="4239764" y="518566"/>
                  <a:pt x="4220129" y="518566"/>
                </a:cubicBezTo>
                <a:cubicBezTo>
                  <a:pt x="4201651" y="518566"/>
                  <a:pt x="4185482" y="502397"/>
                  <a:pt x="4185482" y="483918"/>
                </a:cubicBezTo>
                <a:cubicBezTo>
                  <a:pt x="4185482" y="465439"/>
                  <a:pt x="4200498" y="449270"/>
                  <a:pt x="4220129" y="449270"/>
                </a:cubicBezTo>
                <a:close/>
                <a:moveTo>
                  <a:pt x="3661142" y="449270"/>
                </a:moveTo>
                <a:cubicBezTo>
                  <a:pt x="3680776" y="449270"/>
                  <a:pt x="3695791" y="465439"/>
                  <a:pt x="3695791" y="483918"/>
                </a:cubicBezTo>
                <a:cubicBezTo>
                  <a:pt x="3695791" y="502397"/>
                  <a:pt x="3680776" y="518566"/>
                  <a:pt x="3661142" y="518566"/>
                </a:cubicBezTo>
                <a:cubicBezTo>
                  <a:pt x="3642663" y="518566"/>
                  <a:pt x="3626494" y="502397"/>
                  <a:pt x="3626494" y="483918"/>
                </a:cubicBezTo>
                <a:cubicBezTo>
                  <a:pt x="3626494" y="465439"/>
                  <a:pt x="3641508" y="449270"/>
                  <a:pt x="3661142" y="449270"/>
                </a:cubicBezTo>
                <a:close/>
                <a:moveTo>
                  <a:pt x="1845585" y="449270"/>
                </a:moveTo>
                <a:cubicBezTo>
                  <a:pt x="1864064" y="449270"/>
                  <a:pt x="1880233" y="465439"/>
                  <a:pt x="1880233" y="483918"/>
                </a:cubicBezTo>
                <a:cubicBezTo>
                  <a:pt x="1880233" y="502397"/>
                  <a:pt x="1865220" y="518566"/>
                  <a:pt x="1845585" y="518566"/>
                </a:cubicBezTo>
                <a:cubicBezTo>
                  <a:pt x="1827106" y="518566"/>
                  <a:pt x="1810937" y="502397"/>
                  <a:pt x="1810937" y="483918"/>
                </a:cubicBezTo>
                <a:cubicBezTo>
                  <a:pt x="1810937" y="465439"/>
                  <a:pt x="1825952" y="449270"/>
                  <a:pt x="1845585" y="449270"/>
                </a:cubicBezTo>
                <a:close/>
                <a:moveTo>
                  <a:pt x="727609" y="449270"/>
                </a:moveTo>
                <a:cubicBezTo>
                  <a:pt x="747243" y="449270"/>
                  <a:pt x="762257" y="465439"/>
                  <a:pt x="762257" y="483918"/>
                </a:cubicBezTo>
                <a:cubicBezTo>
                  <a:pt x="762257" y="502397"/>
                  <a:pt x="746088" y="518566"/>
                  <a:pt x="727609" y="518566"/>
                </a:cubicBezTo>
                <a:cubicBezTo>
                  <a:pt x="709130" y="518566"/>
                  <a:pt x="692961" y="502397"/>
                  <a:pt x="692961" y="483918"/>
                </a:cubicBezTo>
                <a:cubicBezTo>
                  <a:pt x="692961" y="465439"/>
                  <a:pt x="707976" y="449270"/>
                  <a:pt x="727609" y="449270"/>
                </a:cubicBezTo>
                <a:close/>
                <a:moveTo>
                  <a:pt x="168621" y="449270"/>
                </a:moveTo>
                <a:cubicBezTo>
                  <a:pt x="188255" y="449270"/>
                  <a:pt x="203269" y="465439"/>
                  <a:pt x="203269" y="483918"/>
                </a:cubicBezTo>
                <a:cubicBezTo>
                  <a:pt x="203269" y="502397"/>
                  <a:pt x="187100" y="518566"/>
                  <a:pt x="168621" y="518566"/>
                </a:cubicBezTo>
                <a:cubicBezTo>
                  <a:pt x="150142" y="518566"/>
                  <a:pt x="133973" y="502397"/>
                  <a:pt x="133973" y="483918"/>
                </a:cubicBezTo>
                <a:cubicBezTo>
                  <a:pt x="133973" y="465439"/>
                  <a:pt x="148988" y="449270"/>
                  <a:pt x="168621" y="449270"/>
                </a:cubicBezTo>
                <a:close/>
                <a:moveTo>
                  <a:pt x="10923972" y="443495"/>
                </a:moveTo>
                <a:cubicBezTo>
                  <a:pt x="10945916" y="443495"/>
                  <a:pt x="10964394" y="461974"/>
                  <a:pt x="10964394" y="483918"/>
                </a:cubicBezTo>
                <a:cubicBezTo>
                  <a:pt x="10964394" y="505861"/>
                  <a:pt x="10945916" y="524340"/>
                  <a:pt x="10923972" y="524340"/>
                </a:cubicBezTo>
                <a:cubicBezTo>
                  <a:pt x="10902028" y="524340"/>
                  <a:pt x="10883549" y="505861"/>
                  <a:pt x="10883549" y="483918"/>
                </a:cubicBezTo>
                <a:cubicBezTo>
                  <a:pt x="10883549" y="461974"/>
                  <a:pt x="10902028" y="443495"/>
                  <a:pt x="10923972" y="443495"/>
                </a:cubicBezTo>
                <a:close/>
                <a:moveTo>
                  <a:pt x="9805996" y="443495"/>
                </a:moveTo>
                <a:cubicBezTo>
                  <a:pt x="9827939" y="443495"/>
                  <a:pt x="9846418" y="461974"/>
                  <a:pt x="9846418" y="483918"/>
                </a:cubicBezTo>
                <a:cubicBezTo>
                  <a:pt x="9846418" y="505861"/>
                  <a:pt x="9827939" y="524340"/>
                  <a:pt x="9805996" y="524340"/>
                </a:cubicBezTo>
                <a:cubicBezTo>
                  <a:pt x="9784052" y="524340"/>
                  <a:pt x="9765573" y="505861"/>
                  <a:pt x="9765573" y="483918"/>
                </a:cubicBezTo>
                <a:cubicBezTo>
                  <a:pt x="9765573" y="461974"/>
                  <a:pt x="9784052" y="443495"/>
                  <a:pt x="9805996" y="443495"/>
                </a:cubicBezTo>
                <a:close/>
                <a:moveTo>
                  <a:pt x="9526502" y="443495"/>
                </a:moveTo>
                <a:cubicBezTo>
                  <a:pt x="9548445" y="443495"/>
                  <a:pt x="9566924" y="461974"/>
                  <a:pt x="9566924" y="483918"/>
                </a:cubicBezTo>
                <a:cubicBezTo>
                  <a:pt x="9566924" y="505861"/>
                  <a:pt x="9548445" y="524340"/>
                  <a:pt x="9526502" y="524340"/>
                </a:cubicBezTo>
                <a:cubicBezTo>
                  <a:pt x="9504558" y="524340"/>
                  <a:pt x="9486079" y="505861"/>
                  <a:pt x="9486079" y="483918"/>
                </a:cubicBezTo>
                <a:cubicBezTo>
                  <a:pt x="9486079" y="461974"/>
                  <a:pt x="9504558" y="443495"/>
                  <a:pt x="9526502" y="443495"/>
                </a:cubicBezTo>
                <a:close/>
                <a:moveTo>
                  <a:pt x="8693190" y="443495"/>
                </a:moveTo>
                <a:cubicBezTo>
                  <a:pt x="8715134" y="443495"/>
                  <a:pt x="8733613" y="461974"/>
                  <a:pt x="8733613" y="483918"/>
                </a:cubicBezTo>
                <a:cubicBezTo>
                  <a:pt x="8733613" y="505861"/>
                  <a:pt x="8715134" y="524340"/>
                  <a:pt x="8693190" y="524340"/>
                </a:cubicBezTo>
                <a:cubicBezTo>
                  <a:pt x="8671246" y="524340"/>
                  <a:pt x="8652767" y="505861"/>
                  <a:pt x="8652767" y="483918"/>
                </a:cubicBezTo>
                <a:cubicBezTo>
                  <a:pt x="8652767" y="461974"/>
                  <a:pt x="8671246" y="443495"/>
                  <a:pt x="8693190" y="443495"/>
                </a:cubicBezTo>
                <a:close/>
                <a:moveTo>
                  <a:pt x="8413696" y="443495"/>
                </a:moveTo>
                <a:cubicBezTo>
                  <a:pt x="8435640" y="443495"/>
                  <a:pt x="8454118" y="461974"/>
                  <a:pt x="8454118" y="483918"/>
                </a:cubicBezTo>
                <a:cubicBezTo>
                  <a:pt x="8454118" y="505861"/>
                  <a:pt x="8435640" y="524340"/>
                  <a:pt x="8413696" y="524340"/>
                </a:cubicBezTo>
                <a:cubicBezTo>
                  <a:pt x="8391752" y="524340"/>
                  <a:pt x="8373274" y="505861"/>
                  <a:pt x="8373274" y="483918"/>
                </a:cubicBezTo>
                <a:cubicBezTo>
                  <a:pt x="8373274" y="461974"/>
                  <a:pt x="8391752" y="443495"/>
                  <a:pt x="8413696" y="443495"/>
                </a:cubicBezTo>
                <a:close/>
                <a:moveTo>
                  <a:pt x="6318647" y="443495"/>
                </a:moveTo>
                <a:cubicBezTo>
                  <a:pt x="6340589" y="443495"/>
                  <a:pt x="6359068" y="461974"/>
                  <a:pt x="6359068" y="483918"/>
                </a:cubicBezTo>
                <a:cubicBezTo>
                  <a:pt x="6359068" y="505861"/>
                  <a:pt x="6340589" y="524340"/>
                  <a:pt x="6318647" y="524340"/>
                </a:cubicBezTo>
                <a:cubicBezTo>
                  <a:pt x="6296702" y="524340"/>
                  <a:pt x="6278223" y="505861"/>
                  <a:pt x="6278223" y="483918"/>
                </a:cubicBezTo>
                <a:cubicBezTo>
                  <a:pt x="6278223" y="461974"/>
                  <a:pt x="6296702" y="443495"/>
                  <a:pt x="6318647" y="443495"/>
                </a:cubicBezTo>
                <a:close/>
                <a:moveTo>
                  <a:pt x="5200670" y="443495"/>
                </a:moveTo>
                <a:cubicBezTo>
                  <a:pt x="5222613" y="443495"/>
                  <a:pt x="5241093" y="461974"/>
                  <a:pt x="5241093" y="483918"/>
                </a:cubicBezTo>
                <a:cubicBezTo>
                  <a:pt x="5241093" y="505861"/>
                  <a:pt x="5222613" y="524340"/>
                  <a:pt x="5200670" y="524340"/>
                </a:cubicBezTo>
                <a:cubicBezTo>
                  <a:pt x="5178725" y="524340"/>
                  <a:pt x="5160247" y="505861"/>
                  <a:pt x="5160247" y="483918"/>
                </a:cubicBezTo>
                <a:cubicBezTo>
                  <a:pt x="5160247" y="461974"/>
                  <a:pt x="5178725" y="443495"/>
                  <a:pt x="5200670" y="443495"/>
                </a:cubicBezTo>
                <a:close/>
                <a:moveTo>
                  <a:pt x="4921176" y="443495"/>
                </a:moveTo>
                <a:cubicBezTo>
                  <a:pt x="4944275" y="443495"/>
                  <a:pt x="4961598" y="461974"/>
                  <a:pt x="4961598" y="483918"/>
                </a:cubicBezTo>
                <a:cubicBezTo>
                  <a:pt x="4961598" y="505861"/>
                  <a:pt x="4943120" y="524340"/>
                  <a:pt x="4921176" y="524340"/>
                </a:cubicBezTo>
                <a:cubicBezTo>
                  <a:pt x="4899233" y="524340"/>
                  <a:pt x="4880752" y="505861"/>
                  <a:pt x="4880752" y="483918"/>
                </a:cubicBezTo>
                <a:cubicBezTo>
                  <a:pt x="4880752" y="461974"/>
                  <a:pt x="4899233" y="443495"/>
                  <a:pt x="4921176" y="443495"/>
                </a:cubicBezTo>
                <a:close/>
                <a:moveTo>
                  <a:pt x="4080383" y="443495"/>
                </a:moveTo>
                <a:cubicBezTo>
                  <a:pt x="4102326" y="443495"/>
                  <a:pt x="4120806" y="461974"/>
                  <a:pt x="4120806" y="483918"/>
                </a:cubicBezTo>
                <a:cubicBezTo>
                  <a:pt x="4120806" y="505861"/>
                  <a:pt x="4102326" y="524340"/>
                  <a:pt x="4080383" y="524340"/>
                </a:cubicBezTo>
                <a:cubicBezTo>
                  <a:pt x="4058439" y="524340"/>
                  <a:pt x="4039961" y="505861"/>
                  <a:pt x="4039961" y="483918"/>
                </a:cubicBezTo>
                <a:cubicBezTo>
                  <a:pt x="4039961" y="461974"/>
                  <a:pt x="4058439" y="443495"/>
                  <a:pt x="4080383" y="443495"/>
                </a:cubicBezTo>
                <a:close/>
                <a:moveTo>
                  <a:pt x="3800889" y="443495"/>
                </a:moveTo>
                <a:cubicBezTo>
                  <a:pt x="3822833" y="443495"/>
                  <a:pt x="3841311" y="461974"/>
                  <a:pt x="3841311" y="483918"/>
                </a:cubicBezTo>
                <a:cubicBezTo>
                  <a:pt x="3841311" y="505861"/>
                  <a:pt x="3822833" y="524340"/>
                  <a:pt x="3800889" y="524340"/>
                </a:cubicBezTo>
                <a:cubicBezTo>
                  <a:pt x="3778945" y="524340"/>
                  <a:pt x="3760466" y="505861"/>
                  <a:pt x="3760466" y="483918"/>
                </a:cubicBezTo>
                <a:cubicBezTo>
                  <a:pt x="3760466" y="461974"/>
                  <a:pt x="3778945" y="443495"/>
                  <a:pt x="3800889" y="443495"/>
                </a:cubicBezTo>
                <a:close/>
                <a:moveTo>
                  <a:pt x="1705839" y="443495"/>
                </a:moveTo>
                <a:cubicBezTo>
                  <a:pt x="1727782" y="443495"/>
                  <a:pt x="1746261" y="461974"/>
                  <a:pt x="1746261" y="483918"/>
                </a:cubicBezTo>
                <a:cubicBezTo>
                  <a:pt x="1746261" y="505861"/>
                  <a:pt x="1727782" y="524340"/>
                  <a:pt x="1705839" y="524340"/>
                </a:cubicBezTo>
                <a:cubicBezTo>
                  <a:pt x="1683894" y="524340"/>
                  <a:pt x="1665415" y="505861"/>
                  <a:pt x="1665415" y="483918"/>
                </a:cubicBezTo>
                <a:cubicBezTo>
                  <a:pt x="1665415" y="461974"/>
                  <a:pt x="1683894" y="443495"/>
                  <a:pt x="1705839" y="443495"/>
                </a:cubicBezTo>
                <a:close/>
                <a:moveTo>
                  <a:pt x="587862" y="443495"/>
                </a:moveTo>
                <a:cubicBezTo>
                  <a:pt x="609806" y="443495"/>
                  <a:pt x="628284" y="461974"/>
                  <a:pt x="628284" y="483918"/>
                </a:cubicBezTo>
                <a:cubicBezTo>
                  <a:pt x="628284" y="505861"/>
                  <a:pt x="609806" y="524340"/>
                  <a:pt x="587862" y="524340"/>
                </a:cubicBezTo>
                <a:cubicBezTo>
                  <a:pt x="565918" y="524340"/>
                  <a:pt x="547439" y="505861"/>
                  <a:pt x="547439" y="483918"/>
                </a:cubicBezTo>
                <a:cubicBezTo>
                  <a:pt x="547439" y="461974"/>
                  <a:pt x="565918" y="443495"/>
                  <a:pt x="587862" y="443495"/>
                </a:cubicBezTo>
                <a:close/>
                <a:moveTo>
                  <a:pt x="308368" y="443495"/>
                </a:moveTo>
                <a:cubicBezTo>
                  <a:pt x="330311" y="443495"/>
                  <a:pt x="348790" y="461974"/>
                  <a:pt x="348790" y="483918"/>
                </a:cubicBezTo>
                <a:cubicBezTo>
                  <a:pt x="348790" y="505861"/>
                  <a:pt x="330311" y="524340"/>
                  <a:pt x="308368" y="524340"/>
                </a:cubicBezTo>
                <a:cubicBezTo>
                  <a:pt x="286424" y="524340"/>
                  <a:pt x="267945" y="505861"/>
                  <a:pt x="267945" y="483918"/>
                </a:cubicBezTo>
                <a:cubicBezTo>
                  <a:pt x="267945" y="461974"/>
                  <a:pt x="286424" y="443495"/>
                  <a:pt x="308368" y="443495"/>
                </a:cubicBezTo>
                <a:close/>
                <a:moveTo>
                  <a:pt x="10784225" y="433101"/>
                </a:moveTo>
                <a:cubicBezTo>
                  <a:pt x="10811943" y="433101"/>
                  <a:pt x="10835042" y="456200"/>
                  <a:pt x="10835042" y="483918"/>
                </a:cubicBezTo>
                <a:cubicBezTo>
                  <a:pt x="10835042" y="511636"/>
                  <a:pt x="10811943" y="534735"/>
                  <a:pt x="10784225" y="534735"/>
                </a:cubicBezTo>
                <a:cubicBezTo>
                  <a:pt x="10756506" y="534735"/>
                  <a:pt x="10733408" y="511636"/>
                  <a:pt x="10733408" y="483918"/>
                </a:cubicBezTo>
                <a:cubicBezTo>
                  <a:pt x="10733408" y="456200"/>
                  <a:pt x="10755352" y="433101"/>
                  <a:pt x="10784225" y="433101"/>
                </a:cubicBezTo>
                <a:close/>
                <a:moveTo>
                  <a:pt x="9666248" y="433101"/>
                </a:moveTo>
                <a:cubicBezTo>
                  <a:pt x="9695122" y="433101"/>
                  <a:pt x="9717066" y="456200"/>
                  <a:pt x="9717066" y="483918"/>
                </a:cubicBezTo>
                <a:cubicBezTo>
                  <a:pt x="9717066" y="511636"/>
                  <a:pt x="9695122" y="534735"/>
                  <a:pt x="9666248" y="534735"/>
                </a:cubicBezTo>
                <a:cubicBezTo>
                  <a:pt x="9638530" y="534735"/>
                  <a:pt x="9615431" y="511636"/>
                  <a:pt x="9615431" y="483918"/>
                </a:cubicBezTo>
                <a:cubicBezTo>
                  <a:pt x="9615431" y="456200"/>
                  <a:pt x="9637376" y="433101"/>
                  <a:pt x="9666248" y="433101"/>
                </a:cubicBezTo>
                <a:close/>
                <a:moveTo>
                  <a:pt x="8553443" y="433101"/>
                </a:moveTo>
                <a:cubicBezTo>
                  <a:pt x="8582317" y="433101"/>
                  <a:pt x="8604260" y="456200"/>
                  <a:pt x="8604260" y="483918"/>
                </a:cubicBezTo>
                <a:cubicBezTo>
                  <a:pt x="8604260" y="511636"/>
                  <a:pt x="8582317" y="534735"/>
                  <a:pt x="8553443" y="534735"/>
                </a:cubicBezTo>
                <a:cubicBezTo>
                  <a:pt x="8525724" y="534735"/>
                  <a:pt x="8502626" y="511636"/>
                  <a:pt x="8502626" y="483918"/>
                </a:cubicBezTo>
                <a:cubicBezTo>
                  <a:pt x="8502626" y="456200"/>
                  <a:pt x="8524570" y="433101"/>
                  <a:pt x="8553443" y="433101"/>
                </a:cubicBezTo>
                <a:close/>
                <a:moveTo>
                  <a:pt x="6178898" y="433101"/>
                </a:moveTo>
                <a:cubicBezTo>
                  <a:pt x="6206618" y="433101"/>
                  <a:pt x="6229715" y="456200"/>
                  <a:pt x="6229715" y="483918"/>
                </a:cubicBezTo>
                <a:cubicBezTo>
                  <a:pt x="6229715" y="511636"/>
                  <a:pt x="6206618" y="534735"/>
                  <a:pt x="6178898" y="534735"/>
                </a:cubicBezTo>
                <a:cubicBezTo>
                  <a:pt x="6151180" y="534735"/>
                  <a:pt x="6128081" y="511636"/>
                  <a:pt x="6128081" y="483918"/>
                </a:cubicBezTo>
                <a:cubicBezTo>
                  <a:pt x="6128081" y="456200"/>
                  <a:pt x="6150025" y="433101"/>
                  <a:pt x="6178898" y="433101"/>
                </a:cubicBezTo>
                <a:close/>
                <a:moveTo>
                  <a:pt x="5060922" y="433101"/>
                </a:moveTo>
                <a:cubicBezTo>
                  <a:pt x="5089795" y="433101"/>
                  <a:pt x="5111740" y="456200"/>
                  <a:pt x="5111740" y="483918"/>
                </a:cubicBezTo>
                <a:cubicBezTo>
                  <a:pt x="5111740" y="511636"/>
                  <a:pt x="5088641" y="534735"/>
                  <a:pt x="5060922" y="534735"/>
                </a:cubicBezTo>
                <a:cubicBezTo>
                  <a:pt x="5033205" y="534735"/>
                  <a:pt x="5010105" y="511636"/>
                  <a:pt x="5010105" y="483918"/>
                </a:cubicBezTo>
                <a:cubicBezTo>
                  <a:pt x="5010105" y="456200"/>
                  <a:pt x="5032050" y="433101"/>
                  <a:pt x="5060922" y="433101"/>
                </a:cubicBezTo>
                <a:close/>
                <a:moveTo>
                  <a:pt x="3940636" y="433101"/>
                </a:moveTo>
                <a:cubicBezTo>
                  <a:pt x="3969510" y="433101"/>
                  <a:pt x="3991453" y="456200"/>
                  <a:pt x="3991453" y="483918"/>
                </a:cubicBezTo>
                <a:cubicBezTo>
                  <a:pt x="3991453" y="511636"/>
                  <a:pt x="3969510" y="534735"/>
                  <a:pt x="3940636" y="534735"/>
                </a:cubicBezTo>
                <a:cubicBezTo>
                  <a:pt x="3912917" y="534735"/>
                  <a:pt x="3889819" y="511636"/>
                  <a:pt x="3889819" y="483918"/>
                </a:cubicBezTo>
                <a:cubicBezTo>
                  <a:pt x="3889819" y="456200"/>
                  <a:pt x="3911763" y="433101"/>
                  <a:pt x="3940636" y="433101"/>
                </a:cubicBezTo>
                <a:close/>
                <a:moveTo>
                  <a:pt x="1566091" y="433101"/>
                </a:moveTo>
                <a:cubicBezTo>
                  <a:pt x="1593810" y="433101"/>
                  <a:pt x="1616908" y="456200"/>
                  <a:pt x="1616908" y="483918"/>
                </a:cubicBezTo>
                <a:cubicBezTo>
                  <a:pt x="1616908" y="511636"/>
                  <a:pt x="1593810" y="534735"/>
                  <a:pt x="1566091" y="534735"/>
                </a:cubicBezTo>
                <a:cubicBezTo>
                  <a:pt x="1538373" y="534735"/>
                  <a:pt x="1515274" y="511636"/>
                  <a:pt x="1515274" y="483918"/>
                </a:cubicBezTo>
                <a:cubicBezTo>
                  <a:pt x="1515274" y="456200"/>
                  <a:pt x="1537218" y="433101"/>
                  <a:pt x="1566091" y="433101"/>
                </a:cubicBezTo>
                <a:close/>
                <a:moveTo>
                  <a:pt x="448115" y="433101"/>
                </a:moveTo>
                <a:cubicBezTo>
                  <a:pt x="476989" y="433101"/>
                  <a:pt x="498932" y="456200"/>
                  <a:pt x="498932" y="483918"/>
                </a:cubicBezTo>
                <a:cubicBezTo>
                  <a:pt x="498932" y="511636"/>
                  <a:pt x="476989" y="534735"/>
                  <a:pt x="448115" y="534735"/>
                </a:cubicBezTo>
                <a:cubicBezTo>
                  <a:pt x="420396" y="534735"/>
                  <a:pt x="397298" y="511636"/>
                  <a:pt x="397298" y="483918"/>
                </a:cubicBezTo>
                <a:cubicBezTo>
                  <a:pt x="397298" y="456200"/>
                  <a:pt x="419242" y="433101"/>
                  <a:pt x="448115" y="433101"/>
                </a:cubicBezTo>
                <a:close/>
                <a:moveTo>
                  <a:pt x="12210569" y="319917"/>
                </a:moveTo>
                <a:cubicBezTo>
                  <a:pt x="12220963" y="319917"/>
                  <a:pt x="12231358" y="329157"/>
                  <a:pt x="12231358" y="340706"/>
                </a:cubicBezTo>
                <a:cubicBezTo>
                  <a:pt x="12231358" y="352256"/>
                  <a:pt x="12222118" y="361495"/>
                  <a:pt x="12210569" y="361495"/>
                </a:cubicBezTo>
                <a:cubicBezTo>
                  <a:pt x="12199020" y="361495"/>
                  <a:pt x="12189780" y="352256"/>
                  <a:pt x="12189780" y="340706"/>
                </a:cubicBezTo>
                <a:cubicBezTo>
                  <a:pt x="12189780" y="329157"/>
                  <a:pt x="12199020" y="319917"/>
                  <a:pt x="12210569" y="319917"/>
                </a:cubicBezTo>
                <a:close/>
                <a:moveTo>
                  <a:pt x="12071977" y="319917"/>
                </a:moveTo>
                <a:cubicBezTo>
                  <a:pt x="12083526" y="319917"/>
                  <a:pt x="12092766" y="329157"/>
                  <a:pt x="12092766" y="340706"/>
                </a:cubicBezTo>
                <a:cubicBezTo>
                  <a:pt x="12092766" y="352256"/>
                  <a:pt x="12083526" y="361495"/>
                  <a:pt x="12071977" y="361495"/>
                </a:cubicBezTo>
                <a:cubicBezTo>
                  <a:pt x="12060428" y="361495"/>
                  <a:pt x="12051188" y="352256"/>
                  <a:pt x="12051188" y="340706"/>
                </a:cubicBezTo>
                <a:cubicBezTo>
                  <a:pt x="12051188" y="329157"/>
                  <a:pt x="12060428" y="319917"/>
                  <a:pt x="12071977" y="319917"/>
                </a:cubicBezTo>
                <a:close/>
                <a:moveTo>
                  <a:pt x="11934539" y="319917"/>
                </a:moveTo>
                <a:cubicBezTo>
                  <a:pt x="11946088" y="319917"/>
                  <a:pt x="11955328" y="329157"/>
                  <a:pt x="11955328" y="340706"/>
                </a:cubicBezTo>
                <a:cubicBezTo>
                  <a:pt x="11955328" y="352256"/>
                  <a:pt x="11946088" y="361495"/>
                  <a:pt x="11934539" y="361495"/>
                </a:cubicBezTo>
                <a:cubicBezTo>
                  <a:pt x="11922990" y="361495"/>
                  <a:pt x="11913750" y="352256"/>
                  <a:pt x="11913750" y="340706"/>
                </a:cubicBezTo>
                <a:cubicBezTo>
                  <a:pt x="11913750" y="329157"/>
                  <a:pt x="11922990" y="319917"/>
                  <a:pt x="11934539" y="319917"/>
                </a:cubicBezTo>
                <a:close/>
                <a:moveTo>
                  <a:pt x="11797103" y="319917"/>
                </a:moveTo>
                <a:cubicBezTo>
                  <a:pt x="11808652" y="319917"/>
                  <a:pt x="11817892" y="329157"/>
                  <a:pt x="11817892" y="340706"/>
                </a:cubicBezTo>
                <a:cubicBezTo>
                  <a:pt x="11817892" y="352256"/>
                  <a:pt x="11808652" y="361495"/>
                  <a:pt x="11797103" y="361495"/>
                </a:cubicBezTo>
                <a:cubicBezTo>
                  <a:pt x="11785553" y="361495"/>
                  <a:pt x="11776314" y="352256"/>
                  <a:pt x="11776314" y="340706"/>
                </a:cubicBezTo>
                <a:cubicBezTo>
                  <a:pt x="11776314" y="329157"/>
                  <a:pt x="11785553" y="319917"/>
                  <a:pt x="11797103" y="319917"/>
                </a:cubicBezTo>
                <a:close/>
                <a:moveTo>
                  <a:pt x="10645633" y="319917"/>
                </a:moveTo>
                <a:cubicBezTo>
                  <a:pt x="10657182" y="319917"/>
                  <a:pt x="10666422" y="329157"/>
                  <a:pt x="10666422" y="340706"/>
                </a:cubicBezTo>
                <a:cubicBezTo>
                  <a:pt x="10666422" y="352256"/>
                  <a:pt x="10657182" y="361495"/>
                  <a:pt x="10645633" y="361495"/>
                </a:cubicBezTo>
                <a:cubicBezTo>
                  <a:pt x="10634083" y="361495"/>
                  <a:pt x="10624844" y="352256"/>
                  <a:pt x="10624844" y="340706"/>
                </a:cubicBezTo>
                <a:cubicBezTo>
                  <a:pt x="10624844" y="329157"/>
                  <a:pt x="10634083" y="319917"/>
                  <a:pt x="10645633" y="319917"/>
                </a:cubicBezTo>
                <a:close/>
                <a:moveTo>
                  <a:pt x="9247008" y="319917"/>
                </a:moveTo>
                <a:cubicBezTo>
                  <a:pt x="9258557" y="319917"/>
                  <a:pt x="9267797" y="329157"/>
                  <a:pt x="9267797" y="340706"/>
                </a:cubicBezTo>
                <a:cubicBezTo>
                  <a:pt x="9267797" y="352256"/>
                  <a:pt x="9258557" y="361495"/>
                  <a:pt x="9247008" y="361495"/>
                </a:cubicBezTo>
                <a:cubicBezTo>
                  <a:pt x="9235459" y="361495"/>
                  <a:pt x="9226219" y="352256"/>
                  <a:pt x="9226219" y="340706"/>
                </a:cubicBezTo>
                <a:cubicBezTo>
                  <a:pt x="9226219" y="329157"/>
                  <a:pt x="9235459" y="319917"/>
                  <a:pt x="9247008" y="319917"/>
                </a:cubicBezTo>
                <a:close/>
                <a:moveTo>
                  <a:pt x="8148062" y="319917"/>
                </a:moveTo>
                <a:cubicBezTo>
                  <a:pt x="8158457" y="319917"/>
                  <a:pt x="8168851" y="329157"/>
                  <a:pt x="8168851" y="340706"/>
                </a:cubicBezTo>
                <a:cubicBezTo>
                  <a:pt x="8168851" y="352256"/>
                  <a:pt x="8159611" y="361495"/>
                  <a:pt x="8148062" y="361495"/>
                </a:cubicBezTo>
                <a:cubicBezTo>
                  <a:pt x="8136513" y="361495"/>
                  <a:pt x="8127274" y="352256"/>
                  <a:pt x="8127274" y="340706"/>
                </a:cubicBezTo>
                <a:cubicBezTo>
                  <a:pt x="8127274" y="329157"/>
                  <a:pt x="8136513" y="319917"/>
                  <a:pt x="8148062" y="319917"/>
                </a:cubicBezTo>
                <a:close/>
                <a:moveTo>
                  <a:pt x="8009471" y="319917"/>
                </a:moveTo>
                <a:cubicBezTo>
                  <a:pt x="8021020" y="319917"/>
                  <a:pt x="8030259" y="329157"/>
                  <a:pt x="8030259" y="340706"/>
                </a:cubicBezTo>
                <a:cubicBezTo>
                  <a:pt x="8030259" y="352256"/>
                  <a:pt x="8021020" y="361495"/>
                  <a:pt x="8009471" y="361495"/>
                </a:cubicBezTo>
                <a:cubicBezTo>
                  <a:pt x="7997920" y="361495"/>
                  <a:pt x="7988682" y="352256"/>
                  <a:pt x="7988682" y="340706"/>
                </a:cubicBezTo>
                <a:cubicBezTo>
                  <a:pt x="7988682" y="329157"/>
                  <a:pt x="7997920" y="319917"/>
                  <a:pt x="8009471" y="319917"/>
                </a:cubicBezTo>
                <a:close/>
                <a:moveTo>
                  <a:pt x="7872031" y="319917"/>
                </a:moveTo>
                <a:cubicBezTo>
                  <a:pt x="7883582" y="319917"/>
                  <a:pt x="7892822" y="329157"/>
                  <a:pt x="7892822" y="340706"/>
                </a:cubicBezTo>
                <a:cubicBezTo>
                  <a:pt x="7892822" y="352256"/>
                  <a:pt x="7883582" y="361495"/>
                  <a:pt x="7872031" y="361495"/>
                </a:cubicBezTo>
                <a:cubicBezTo>
                  <a:pt x="7860484" y="361495"/>
                  <a:pt x="7851244" y="352256"/>
                  <a:pt x="7851244" y="340706"/>
                </a:cubicBezTo>
                <a:cubicBezTo>
                  <a:pt x="7851244" y="329157"/>
                  <a:pt x="7860484" y="319917"/>
                  <a:pt x="7872031" y="319917"/>
                </a:cubicBezTo>
                <a:close/>
                <a:moveTo>
                  <a:pt x="7713807" y="319917"/>
                </a:moveTo>
                <a:cubicBezTo>
                  <a:pt x="7725356" y="319917"/>
                  <a:pt x="7734596" y="329157"/>
                  <a:pt x="7734596" y="340706"/>
                </a:cubicBezTo>
                <a:cubicBezTo>
                  <a:pt x="7734596" y="352256"/>
                  <a:pt x="7725356" y="361495"/>
                  <a:pt x="7713807" y="361495"/>
                </a:cubicBezTo>
                <a:cubicBezTo>
                  <a:pt x="7702258" y="361495"/>
                  <a:pt x="7693019" y="352256"/>
                  <a:pt x="7693019" y="340706"/>
                </a:cubicBezTo>
                <a:cubicBezTo>
                  <a:pt x="7693019" y="329157"/>
                  <a:pt x="7702258" y="319917"/>
                  <a:pt x="7713807" y="319917"/>
                </a:cubicBezTo>
                <a:close/>
                <a:moveTo>
                  <a:pt x="7605244" y="319917"/>
                </a:moveTo>
                <a:cubicBezTo>
                  <a:pt x="7616793" y="319917"/>
                  <a:pt x="7626031" y="329157"/>
                  <a:pt x="7626031" y="340706"/>
                </a:cubicBezTo>
                <a:cubicBezTo>
                  <a:pt x="7626031" y="352256"/>
                  <a:pt x="7616793" y="361495"/>
                  <a:pt x="7605244" y="361495"/>
                </a:cubicBezTo>
                <a:cubicBezTo>
                  <a:pt x="7593693" y="361495"/>
                  <a:pt x="7584454" y="352256"/>
                  <a:pt x="7584454" y="340706"/>
                </a:cubicBezTo>
                <a:cubicBezTo>
                  <a:pt x="7584454" y="329157"/>
                  <a:pt x="7593693" y="319917"/>
                  <a:pt x="7605244" y="319917"/>
                </a:cubicBezTo>
                <a:close/>
                <a:moveTo>
                  <a:pt x="7466651" y="319917"/>
                </a:moveTo>
                <a:cubicBezTo>
                  <a:pt x="7478200" y="319917"/>
                  <a:pt x="7487439" y="329157"/>
                  <a:pt x="7487439" y="340706"/>
                </a:cubicBezTo>
                <a:cubicBezTo>
                  <a:pt x="7487439" y="352256"/>
                  <a:pt x="7478200" y="361495"/>
                  <a:pt x="7466651" y="361495"/>
                </a:cubicBezTo>
                <a:cubicBezTo>
                  <a:pt x="7455102" y="361495"/>
                  <a:pt x="7445863" y="352256"/>
                  <a:pt x="7445863" y="340706"/>
                </a:cubicBezTo>
                <a:cubicBezTo>
                  <a:pt x="7445863" y="329157"/>
                  <a:pt x="7455102" y="319917"/>
                  <a:pt x="7466651" y="319917"/>
                </a:cubicBezTo>
                <a:close/>
                <a:moveTo>
                  <a:pt x="7329213" y="319917"/>
                </a:moveTo>
                <a:cubicBezTo>
                  <a:pt x="7340762" y="319917"/>
                  <a:pt x="7350002" y="329157"/>
                  <a:pt x="7350002" y="340706"/>
                </a:cubicBezTo>
                <a:cubicBezTo>
                  <a:pt x="7350002" y="352256"/>
                  <a:pt x="7340762" y="361495"/>
                  <a:pt x="7329213" y="361495"/>
                </a:cubicBezTo>
                <a:cubicBezTo>
                  <a:pt x="7317664" y="361495"/>
                  <a:pt x="7308425" y="352256"/>
                  <a:pt x="7308425" y="340706"/>
                </a:cubicBezTo>
                <a:cubicBezTo>
                  <a:pt x="7308425" y="329157"/>
                  <a:pt x="7317664" y="319917"/>
                  <a:pt x="7329213" y="319917"/>
                </a:cubicBezTo>
                <a:close/>
                <a:moveTo>
                  <a:pt x="7191777" y="319917"/>
                </a:moveTo>
                <a:cubicBezTo>
                  <a:pt x="7203326" y="319917"/>
                  <a:pt x="7212566" y="329157"/>
                  <a:pt x="7212566" y="340706"/>
                </a:cubicBezTo>
                <a:cubicBezTo>
                  <a:pt x="7212566" y="352256"/>
                  <a:pt x="7203326" y="361495"/>
                  <a:pt x="7191777" y="361495"/>
                </a:cubicBezTo>
                <a:cubicBezTo>
                  <a:pt x="7180226" y="361495"/>
                  <a:pt x="7170987" y="352256"/>
                  <a:pt x="7170987" y="340706"/>
                </a:cubicBezTo>
                <a:cubicBezTo>
                  <a:pt x="7170987" y="329157"/>
                  <a:pt x="7180226" y="319917"/>
                  <a:pt x="7191777" y="319917"/>
                </a:cubicBezTo>
                <a:close/>
                <a:moveTo>
                  <a:pt x="6040307" y="319917"/>
                </a:moveTo>
                <a:cubicBezTo>
                  <a:pt x="6051855" y="319917"/>
                  <a:pt x="6061095" y="329157"/>
                  <a:pt x="6061095" y="340706"/>
                </a:cubicBezTo>
                <a:cubicBezTo>
                  <a:pt x="6061095" y="352256"/>
                  <a:pt x="6051855" y="361495"/>
                  <a:pt x="6040307" y="361495"/>
                </a:cubicBezTo>
                <a:cubicBezTo>
                  <a:pt x="6028758" y="361495"/>
                  <a:pt x="6019518" y="352256"/>
                  <a:pt x="6019518" y="340706"/>
                </a:cubicBezTo>
                <a:cubicBezTo>
                  <a:pt x="6019518" y="329157"/>
                  <a:pt x="6028758" y="319917"/>
                  <a:pt x="6040307" y="319917"/>
                </a:cubicBezTo>
                <a:close/>
                <a:moveTo>
                  <a:pt x="4641682" y="319917"/>
                </a:moveTo>
                <a:cubicBezTo>
                  <a:pt x="4653231" y="319917"/>
                  <a:pt x="4662472" y="329157"/>
                  <a:pt x="4662472" y="340706"/>
                </a:cubicBezTo>
                <a:cubicBezTo>
                  <a:pt x="4662472" y="352256"/>
                  <a:pt x="4653231" y="361495"/>
                  <a:pt x="4641682" y="361495"/>
                </a:cubicBezTo>
                <a:cubicBezTo>
                  <a:pt x="4630133" y="361495"/>
                  <a:pt x="4620893" y="352256"/>
                  <a:pt x="4620893" y="340706"/>
                </a:cubicBezTo>
                <a:cubicBezTo>
                  <a:pt x="4620893" y="329157"/>
                  <a:pt x="4630133" y="319917"/>
                  <a:pt x="4641682" y="319917"/>
                </a:cubicBezTo>
                <a:close/>
                <a:moveTo>
                  <a:pt x="3535254" y="319917"/>
                </a:moveTo>
                <a:cubicBezTo>
                  <a:pt x="3545648" y="319917"/>
                  <a:pt x="3556043" y="329157"/>
                  <a:pt x="3556043" y="340706"/>
                </a:cubicBezTo>
                <a:cubicBezTo>
                  <a:pt x="3556043" y="352256"/>
                  <a:pt x="3546804" y="361495"/>
                  <a:pt x="3535254" y="361495"/>
                </a:cubicBezTo>
                <a:cubicBezTo>
                  <a:pt x="3523705" y="361495"/>
                  <a:pt x="3514466" y="352256"/>
                  <a:pt x="3514466" y="340706"/>
                </a:cubicBezTo>
                <a:cubicBezTo>
                  <a:pt x="3514466" y="329157"/>
                  <a:pt x="3523705" y="319917"/>
                  <a:pt x="3535254" y="319917"/>
                </a:cubicBezTo>
                <a:close/>
                <a:moveTo>
                  <a:pt x="3396662" y="319917"/>
                </a:moveTo>
                <a:cubicBezTo>
                  <a:pt x="3408212" y="319917"/>
                  <a:pt x="3417451" y="329157"/>
                  <a:pt x="3417451" y="340706"/>
                </a:cubicBezTo>
                <a:cubicBezTo>
                  <a:pt x="3417451" y="352256"/>
                  <a:pt x="3408212" y="361495"/>
                  <a:pt x="3396662" y="361495"/>
                </a:cubicBezTo>
                <a:cubicBezTo>
                  <a:pt x="3385113" y="361495"/>
                  <a:pt x="3375874" y="352256"/>
                  <a:pt x="3375874" y="340706"/>
                </a:cubicBezTo>
                <a:cubicBezTo>
                  <a:pt x="3375874" y="329157"/>
                  <a:pt x="3385113" y="319917"/>
                  <a:pt x="3396662" y="319917"/>
                </a:cubicBezTo>
                <a:close/>
                <a:moveTo>
                  <a:pt x="3259224" y="319917"/>
                </a:moveTo>
                <a:cubicBezTo>
                  <a:pt x="3270774" y="319917"/>
                  <a:pt x="3280013" y="329157"/>
                  <a:pt x="3280013" y="340706"/>
                </a:cubicBezTo>
                <a:cubicBezTo>
                  <a:pt x="3280013" y="352256"/>
                  <a:pt x="3270774" y="361495"/>
                  <a:pt x="3259224" y="361495"/>
                </a:cubicBezTo>
                <a:cubicBezTo>
                  <a:pt x="3247675" y="361495"/>
                  <a:pt x="3238436" y="352256"/>
                  <a:pt x="3238436" y="340706"/>
                </a:cubicBezTo>
                <a:cubicBezTo>
                  <a:pt x="3238436" y="329157"/>
                  <a:pt x="3247675" y="319917"/>
                  <a:pt x="3259224" y="319917"/>
                </a:cubicBezTo>
                <a:close/>
                <a:moveTo>
                  <a:pt x="3100999" y="319917"/>
                </a:moveTo>
                <a:cubicBezTo>
                  <a:pt x="3112549" y="319917"/>
                  <a:pt x="3121789" y="329157"/>
                  <a:pt x="3121789" y="340706"/>
                </a:cubicBezTo>
                <a:cubicBezTo>
                  <a:pt x="3121789" y="352256"/>
                  <a:pt x="3112549" y="361495"/>
                  <a:pt x="3100999" y="361495"/>
                </a:cubicBezTo>
                <a:cubicBezTo>
                  <a:pt x="3089450" y="361495"/>
                  <a:pt x="3080212" y="352256"/>
                  <a:pt x="3080212" y="340706"/>
                </a:cubicBezTo>
                <a:cubicBezTo>
                  <a:pt x="3080212" y="329157"/>
                  <a:pt x="3089450" y="319917"/>
                  <a:pt x="3100999" y="319917"/>
                </a:cubicBezTo>
                <a:close/>
                <a:moveTo>
                  <a:pt x="2992435" y="319917"/>
                </a:moveTo>
                <a:cubicBezTo>
                  <a:pt x="3002829" y="319917"/>
                  <a:pt x="3013224" y="329157"/>
                  <a:pt x="3013224" y="340706"/>
                </a:cubicBezTo>
                <a:cubicBezTo>
                  <a:pt x="3013224" y="352256"/>
                  <a:pt x="3003985" y="361495"/>
                  <a:pt x="2992435" y="361495"/>
                </a:cubicBezTo>
                <a:cubicBezTo>
                  <a:pt x="2980886" y="361495"/>
                  <a:pt x="2971647" y="352256"/>
                  <a:pt x="2971647" y="340706"/>
                </a:cubicBezTo>
                <a:cubicBezTo>
                  <a:pt x="2971647" y="329157"/>
                  <a:pt x="2980886" y="319917"/>
                  <a:pt x="2992435" y="319917"/>
                </a:cubicBezTo>
                <a:close/>
                <a:moveTo>
                  <a:pt x="2853843" y="319917"/>
                </a:moveTo>
                <a:cubicBezTo>
                  <a:pt x="2865393" y="319917"/>
                  <a:pt x="2874633" y="329157"/>
                  <a:pt x="2874633" y="340706"/>
                </a:cubicBezTo>
                <a:cubicBezTo>
                  <a:pt x="2874633" y="352256"/>
                  <a:pt x="2865393" y="361495"/>
                  <a:pt x="2853843" y="361495"/>
                </a:cubicBezTo>
                <a:cubicBezTo>
                  <a:pt x="2842294" y="361495"/>
                  <a:pt x="2833056" y="352256"/>
                  <a:pt x="2833056" y="340706"/>
                </a:cubicBezTo>
                <a:cubicBezTo>
                  <a:pt x="2833056" y="329157"/>
                  <a:pt x="2842294" y="319917"/>
                  <a:pt x="2853843" y="319917"/>
                </a:cubicBezTo>
                <a:close/>
                <a:moveTo>
                  <a:pt x="2716405" y="319917"/>
                </a:moveTo>
                <a:cubicBezTo>
                  <a:pt x="2727955" y="319917"/>
                  <a:pt x="2737195" y="329157"/>
                  <a:pt x="2737195" y="340706"/>
                </a:cubicBezTo>
                <a:cubicBezTo>
                  <a:pt x="2737195" y="352256"/>
                  <a:pt x="2727955" y="361495"/>
                  <a:pt x="2716405" y="361495"/>
                </a:cubicBezTo>
                <a:cubicBezTo>
                  <a:pt x="2704856" y="361495"/>
                  <a:pt x="2695618" y="352256"/>
                  <a:pt x="2695618" y="340706"/>
                </a:cubicBezTo>
                <a:cubicBezTo>
                  <a:pt x="2695618" y="329157"/>
                  <a:pt x="2704856" y="319917"/>
                  <a:pt x="2716405" y="319917"/>
                </a:cubicBezTo>
                <a:close/>
                <a:moveTo>
                  <a:pt x="2578969" y="319917"/>
                </a:moveTo>
                <a:cubicBezTo>
                  <a:pt x="2590518" y="319917"/>
                  <a:pt x="2599758" y="329157"/>
                  <a:pt x="2599758" y="340706"/>
                </a:cubicBezTo>
                <a:cubicBezTo>
                  <a:pt x="2599758" y="352256"/>
                  <a:pt x="2590518" y="361495"/>
                  <a:pt x="2578969" y="361495"/>
                </a:cubicBezTo>
                <a:cubicBezTo>
                  <a:pt x="2567420" y="361495"/>
                  <a:pt x="2558180" y="352256"/>
                  <a:pt x="2558180" y="340706"/>
                </a:cubicBezTo>
                <a:cubicBezTo>
                  <a:pt x="2558180" y="329157"/>
                  <a:pt x="2567420" y="319917"/>
                  <a:pt x="2578969" y="319917"/>
                </a:cubicBezTo>
                <a:close/>
                <a:moveTo>
                  <a:pt x="1427499" y="319917"/>
                </a:moveTo>
                <a:cubicBezTo>
                  <a:pt x="1439048" y="319917"/>
                  <a:pt x="1448288" y="329157"/>
                  <a:pt x="1448288" y="340706"/>
                </a:cubicBezTo>
                <a:cubicBezTo>
                  <a:pt x="1448288" y="352256"/>
                  <a:pt x="1439048" y="361495"/>
                  <a:pt x="1427499" y="361495"/>
                </a:cubicBezTo>
                <a:cubicBezTo>
                  <a:pt x="1415950" y="361495"/>
                  <a:pt x="1406710" y="352256"/>
                  <a:pt x="1406710" y="340706"/>
                </a:cubicBezTo>
                <a:cubicBezTo>
                  <a:pt x="1406710" y="329157"/>
                  <a:pt x="1415950" y="319917"/>
                  <a:pt x="1427499" y="319917"/>
                </a:cubicBezTo>
                <a:close/>
                <a:moveTo>
                  <a:pt x="28874" y="319917"/>
                </a:moveTo>
                <a:cubicBezTo>
                  <a:pt x="40424" y="319917"/>
                  <a:pt x="49663" y="329157"/>
                  <a:pt x="49663" y="340706"/>
                </a:cubicBezTo>
                <a:cubicBezTo>
                  <a:pt x="49663" y="352256"/>
                  <a:pt x="40424" y="361495"/>
                  <a:pt x="28874" y="361495"/>
                </a:cubicBezTo>
                <a:cubicBezTo>
                  <a:pt x="17325" y="361495"/>
                  <a:pt x="8085" y="352256"/>
                  <a:pt x="8085" y="340706"/>
                </a:cubicBezTo>
                <a:cubicBezTo>
                  <a:pt x="8085" y="329157"/>
                  <a:pt x="17325" y="319917"/>
                  <a:pt x="28874" y="319917"/>
                </a:cubicBezTo>
                <a:close/>
                <a:moveTo>
                  <a:pt x="11658510" y="316452"/>
                </a:moveTo>
                <a:cubicBezTo>
                  <a:pt x="11671214" y="316452"/>
                  <a:pt x="11681609" y="326847"/>
                  <a:pt x="11681609" y="339551"/>
                </a:cubicBezTo>
                <a:cubicBezTo>
                  <a:pt x="11681609" y="352256"/>
                  <a:pt x="11671214" y="362649"/>
                  <a:pt x="11658510" y="362649"/>
                </a:cubicBezTo>
                <a:cubicBezTo>
                  <a:pt x="11645806" y="362649"/>
                  <a:pt x="11635412" y="352256"/>
                  <a:pt x="11635412" y="339551"/>
                </a:cubicBezTo>
                <a:cubicBezTo>
                  <a:pt x="11635412" y="326847"/>
                  <a:pt x="11645806" y="316452"/>
                  <a:pt x="11658510" y="316452"/>
                </a:cubicBezTo>
                <a:close/>
                <a:moveTo>
                  <a:pt x="10508196" y="316452"/>
                </a:moveTo>
                <a:cubicBezTo>
                  <a:pt x="10520900" y="316452"/>
                  <a:pt x="10531295" y="326847"/>
                  <a:pt x="10531295" y="339551"/>
                </a:cubicBezTo>
                <a:cubicBezTo>
                  <a:pt x="10531295" y="352256"/>
                  <a:pt x="10520900" y="362649"/>
                  <a:pt x="10508196" y="362649"/>
                </a:cubicBezTo>
                <a:cubicBezTo>
                  <a:pt x="10495491" y="362649"/>
                  <a:pt x="10485098" y="352256"/>
                  <a:pt x="10485098" y="339551"/>
                </a:cubicBezTo>
                <a:cubicBezTo>
                  <a:pt x="10485098" y="326847"/>
                  <a:pt x="10495491" y="316452"/>
                  <a:pt x="10508196" y="316452"/>
                </a:cubicBezTo>
                <a:close/>
                <a:moveTo>
                  <a:pt x="9405233" y="316452"/>
                </a:moveTo>
                <a:cubicBezTo>
                  <a:pt x="9417938" y="316452"/>
                  <a:pt x="9428332" y="326847"/>
                  <a:pt x="9428332" y="339551"/>
                </a:cubicBezTo>
                <a:cubicBezTo>
                  <a:pt x="9428332" y="352256"/>
                  <a:pt x="9417938" y="362649"/>
                  <a:pt x="9405233" y="362649"/>
                </a:cubicBezTo>
                <a:cubicBezTo>
                  <a:pt x="9392530" y="362649"/>
                  <a:pt x="9382135" y="352256"/>
                  <a:pt x="9382135" y="339551"/>
                </a:cubicBezTo>
                <a:cubicBezTo>
                  <a:pt x="9382135" y="326847"/>
                  <a:pt x="9392530" y="316452"/>
                  <a:pt x="9405233" y="316452"/>
                </a:cubicBezTo>
                <a:close/>
                <a:moveTo>
                  <a:pt x="8285498" y="316452"/>
                </a:moveTo>
                <a:cubicBezTo>
                  <a:pt x="8298204" y="316452"/>
                  <a:pt x="8308598" y="326847"/>
                  <a:pt x="8308598" y="339551"/>
                </a:cubicBezTo>
                <a:cubicBezTo>
                  <a:pt x="8308598" y="352256"/>
                  <a:pt x="8298204" y="362649"/>
                  <a:pt x="8285498" y="362649"/>
                </a:cubicBezTo>
                <a:cubicBezTo>
                  <a:pt x="8272794" y="362649"/>
                  <a:pt x="8262401" y="352256"/>
                  <a:pt x="8262401" y="339551"/>
                </a:cubicBezTo>
                <a:cubicBezTo>
                  <a:pt x="8262401" y="326847"/>
                  <a:pt x="8272794" y="316452"/>
                  <a:pt x="8285498" y="316452"/>
                </a:cubicBezTo>
                <a:close/>
                <a:moveTo>
                  <a:pt x="7053184" y="316452"/>
                </a:moveTo>
                <a:cubicBezTo>
                  <a:pt x="7067044" y="316452"/>
                  <a:pt x="7076283" y="326847"/>
                  <a:pt x="7076283" y="339551"/>
                </a:cubicBezTo>
                <a:cubicBezTo>
                  <a:pt x="7076283" y="352256"/>
                  <a:pt x="7065888" y="362649"/>
                  <a:pt x="7053184" y="362649"/>
                </a:cubicBezTo>
                <a:cubicBezTo>
                  <a:pt x="7040480" y="362649"/>
                  <a:pt x="7030086" y="352256"/>
                  <a:pt x="7030086" y="339551"/>
                </a:cubicBezTo>
                <a:cubicBezTo>
                  <a:pt x="7030086" y="326847"/>
                  <a:pt x="7040480" y="316452"/>
                  <a:pt x="7053184" y="316452"/>
                </a:cubicBezTo>
                <a:close/>
                <a:moveTo>
                  <a:pt x="5902869" y="316452"/>
                </a:moveTo>
                <a:cubicBezTo>
                  <a:pt x="5915573" y="316452"/>
                  <a:pt x="5925969" y="326847"/>
                  <a:pt x="5925969" y="339551"/>
                </a:cubicBezTo>
                <a:cubicBezTo>
                  <a:pt x="5925969" y="352256"/>
                  <a:pt x="5915573" y="362649"/>
                  <a:pt x="5902869" y="362649"/>
                </a:cubicBezTo>
                <a:cubicBezTo>
                  <a:pt x="5890165" y="362649"/>
                  <a:pt x="5879771" y="352256"/>
                  <a:pt x="5879771" y="339551"/>
                </a:cubicBezTo>
                <a:cubicBezTo>
                  <a:pt x="5879771" y="326847"/>
                  <a:pt x="5890165" y="316452"/>
                  <a:pt x="5902869" y="316452"/>
                </a:cubicBezTo>
                <a:close/>
                <a:moveTo>
                  <a:pt x="4799906" y="316452"/>
                </a:moveTo>
                <a:cubicBezTo>
                  <a:pt x="4812611" y="316452"/>
                  <a:pt x="4823006" y="326847"/>
                  <a:pt x="4823006" y="339551"/>
                </a:cubicBezTo>
                <a:cubicBezTo>
                  <a:pt x="4823006" y="352256"/>
                  <a:pt x="4812611" y="362649"/>
                  <a:pt x="4799906" y="362649"/>
                </a:cubicBezTo>
                <a:cubicBezTo>
                  <a:pt x="4787205" y="362649"/>
                  <a:pt x="4776809" y="352256"/>
                  <a:pt x="4776809" y="339551"/>
                </a:cubicBezTo>
                <a:cubicBezTo>
                  <a:pt x="4776809" y="326847"/>
                  <a:pt x="4787205" y="316452"/>
                  <a:pt x="4799906" y="316452"/>
                </a:cubicBezTo>
                <a:close/>
                <a:moveTo>
                  <a:pt x="3672691" y="316452"/>
                </a:moveTo>
                <a:cubicBezTo>
                  <a:pt x="3685396" y="316452"/>
                  <a:pt x="3695791" y="326847"/>
                  <a:pt x="3695791" y="339551"/>
                </a:cubicBezTo>
                <a:cubicBezTo>
                  <a:pt x="3695791" y="352256"/>
                  <a:pt x="3685396" y="362649"/>
                  <a:pt x="3672691" y="362649"/>
                </a:cubicBezTo>
                <a:cubicBezTo>
                  <a:pt x="3659987" y="362649"/>
                  <a:pt x="3649592" y="352256"/>
                  <a:pt x="3649592" y="339551"/>
                </a:cubicBezTo>
                <a:cubicBezTo>
                  <a:pt x="3649592" y="326847"/>
                  <a:pt x="3659987" y="316452"/>
                  <a:pt x="3672691" y="316452"/>
                </a:cubicBezTo>
                <a:close/>
                <a:moveTo>
                  <a:pt x="2440377" y="316452"/>
                </a:moveTo>
                <a:cubicBezTo>
                  <a:pt x="2453080" y="316452"/>
                  <a:pt x="2463475" y="326847"/>
                  <a:pt x="2463475" y="339551"/>
                </a:cubicBezTo>
                <a:cubicBezTo>
                  <a:pt x="2463475" y="352256"/>
                  <a:pt x="2453080" y="362649"/>
                  <a:pt x="2440377" y="362649"/>
                </a:cubicBezTo>
                <a:cubicBezTo>
                  <a:pt x="2427672" y="362649"/>
                  <a:pt x="2417278" y="352256"/>
                  <a:pt x="2417278" y="339551"/>
                </a:cubicBezTo>
                <a:cubicBezTo>
                  <a:pt x="2417278" y="326847"/>
                  <a:pt x="2427672" y="316452"/>
                  <a:pt x="2440377" y="316452"/>
                </a:cubicBezTo>
                <a:close/>
                <a:moveTo>
                  <a:pt x="1290062" y="316452"/>
                </a:moveTo>
                <a:cubicBezTo>
                  <a:pt x="1302766" y="316452"/>
                  <a:pt x="1313161" y="326847"/>
                  <a:pt x="1313161" y="339551"/>
                </a:cubicBezTo>
                <a:cubicBezTo>
                  <a:pt x="1313161" y="352256"/>
                  <a:pt x="1302766" y="362649"/>
                  <a:pt x="1290062" y="362649"/>
                </a:cubicBezTo>
                <a:cubicBezTo>
                  <a:pt x="1277357" y="362649"/>
                  <a:pt x="1266964" y="352256"/>
                  <a:pt x="1266964" y="339551"/>
                </a:cubicBezTo>
                <a:cubicBezTo>
                  <a:pt x="1266964" y="326847"/>
                  <a:pt x="1277357" y="316452"/>
                  <a:pt x="1290062" y="316452"/>
                </a:cubicBezTo>
                <a:close/>
                <a:moveTo>
                  <a:pt x="187100" y="316452"/>
                </a:moveTo>
                <a:cubicBezTo>
                  <a:pt x="199805" y="316452"/>
                  <a:pt x="210198" y="326847"/>
                  <a:pt x="210198" y="339551"/>
                </a:cubicBezTo>
                <a:cubicBezTo>
                  <a:pt x="210198" y="352256"/>
                  <a:pt x="199805" y="362649"/>
                  <a:pt x="187100" y="362649"/>
                </a:cubicBezTo>
                <a:cubicBezTo>
                  <a:pt x="174396" y="362649"/>
                  <a:pt x="164001" y="352256"/>
                  <a:pt x="164001" y="339551"/>
                </a:cubicBezTo>
                <a:cubicBezTo>
                  <a:pt x="164001" y="326847"/>
                  <a:pt x="174396" y="316452"/>
                  <a:pt x="187100" y="316452"/>
                </a:cubicBezTo>
                <a:close/>
                <a:moveTo>
                  <a:pt x="11521073" y="310678"/>
                </a:moveTo>
                <a:cubicBezTo>
                  <a:pt x="11537242" y="310678"/>
                  <a:pt x="11549947" y="323382"/>
                  <a:pt x="11549947" y="339551"/>
                </a:cubicBezTo>
                <a:cubicBezTo>
                  <a:pt x="11549947" y="355720"/>
                  <a:pt x="11537242" y="368425"/>
                  <a:pt x="11521073" y="368425"/>
                </a:cubicBezTo>
                <a:cubicBezTo>
                  <a:pt x="11504904" y="368425"/>
                  <a:pt x="11492200" y="355720"/>
                  <a:pt x="11492200" y="339551"/>
                </a:cubicBezTo>
                <a:cubicBezTo>
                  <a:pt x="11492200" y="323382"/>
                  <a:pt x="11504904" y="310678"/>
                  <a:pt x="11521073" y="310678"/>
                </a:cubicBezTo>
                <a:close/>
                <a:moveTo>
                  <a:pt x="10369604" y="310678"/>
                </a:moveTo>
                <a:cubicBezTo>
                  <a:pt x="10385773" y="310678"/>
                  <a:pt x="10398477" y="323382"/>
                  <a:pt x="10398477" y="339551"/>
                </a:cubicBezTo>
                <a:cubicBezTo>
                  <a:pt x="10398477" y="355720"/>
                  <a:pt x="10385773" y="368425"/>
                  <a:pt x="10369604" y="368425"/>
                </a:cubicBezTo>
                <a:cubicBezTo>
                  <a:pt x="10353435" y="368425"/>
                  <a:pt x="10340730" y="355720"/>
                  <a:pt x="10340730" y="339551"/>
                </a:cubicBezTo>
                <a:cubicBezTo>
                  <a:pt x="10340730" y="323382"/>
                  <a:pt x="10353435" y="310678"/>
                  <a:pt x="10369604" y="310678"/>
                </a:cubicBezTo>
                <a:close/>
                <a:moveTo>
                  <a:pt x="9543825" y="310678"/>
                </a:moveTo>
                <a:cubicBezTo>
                  <a:pt x="9558840" y="310678"/>
                  <a:pt x="9572699" y="323382"/>
                  <a:pt x="9572699" y="339551"/>
                </a:cubicBezTo>
                <a:cubicBezTo>
                  <a:pt x="9572699" y="355720"/>
                  <a:pt x="9559995" y="368425"/>
                  <a:pt x="9543825" y="368425"/>
                </a:cubicBezTo>
                <a:cubicBezTo>
                  <a:pt x="9527656" y="368425"/>
                  <a:pt x="9514953" y="355720"/>
                  <a:pt x="9514953" y="339551"/>
                </a:cubicBezTo>
                <a:cubicBezTo>
                  <a:pt x="9514953" y="323382"/>
                  <a:pt x="9527656" y="310678"/>
                  <a:pt x="9543825" y="310678"/>
                </a:cubicBezTo>
                <a:close/>
                <a:moveTo>
                  <a:pt x="8422936" y="310678"/>
                </a:moveTo>
                <a:cubicBezTo>
                  <a:pt x="8439105" y="310678"/>
                  <a:pt x="8451809" y="323382"/>
                  <a:pt x="8451809" y="339551"/>
                </a:cubicBezTo>
                <a:cubicBezTo>
                  <a:pt x="8451809" y="355720"/>
                  <a:pt x="8439105" y="368425"/>
                  <a:pt x="8422936" y="368425"/>
                </a:cubicBezTo>
                <a:cubicBezTo>
                  <a:pt x="8406767" y="368425"/>
                  <a:pt x="8394062" y="355720"/>
                  <a:pt x="8394062" y="339551"/>
                </a:cubicBezTo>
                <a:cubicBezTo>
                  <a:pt x="8394062" y="323382"/>
                  <a:pt x="8406767" y="310678"/>
                  <a:pt x="8422936" y="310678"/>
                </a:cubicBezTo>
                <a:close/>
                <a:moveTo>
                  <a:pt x="6915746" y="310678"/>
                </a:moveTo>
                <a:cubicBezTo>
                  <a:pt x="6931915" y="310678"/>
                  <a:pt x="6944621" y="323382"/>
                  <a:pt x="6944621" y="339551"/>
                </a:cubicBezTo>
                <a:cubicBezTo>
                  <a:pt x="6944621" y="355720"/>
                  <a:pt x="6931915" y="368425"/>
                  <a:pt x="6915746" y="368425"/>
                </a:cubicBezTo>
                <a:cubicBezTo>
                  <a:pt x="6899578" y="368425"/>
                  <a:pt x="6886873" y="355720"/>
                  <a:pt x="6886873" y="339551"/>
                </a:cubicBezTo>
                <a:cubicBezTo>
                  <a:pt x="6886873" y="323382"/>
                  <a:pt x="6899578" y="310678"/>
                  <a:pt x="6915746" y="310678"/>
                </a:cubicBezTo>
                <a:close/>
                <a:moveTo>
                  <a:pt x="5764278" y="310678"/>
                </a:moveTo>
                <a:cubicBezTo>
                  <a:pt x="5780448" y="310678"/>
                  <a:pt x="5793151" y="323382"/>
                  <a:pt x="5793151" y="339551"/>
                </a:cubicBezTo>
                <a:cubicBezTo>
                  <a:pt x="5793151" y="355720"/>
                  <a:pt x="5780448" y="368425"/>
                  <a:pt x="5764278" y="368425"/>
                </a:cubicBezTo>
                <a:cubicBezTo>
                  <a:pt x="5748109" y="368425"/>
                  <a:pt x="5735405" y="355720"/>
                  <a:pt x="5735405" y="339551"/>
                </a:cubicBezTo>
                <a:cubicBezTo>
                  <a:pt x="5735405" y="323382"/>
                  <a:pt x="5748109" y="310678"/>
                  <a:pt x="5764278" y="310678"/>
                </a:cubicBezTo>
                <a:close/>
                <a:moveTo>
                  <a:pt x="4938500" y="310678"/>
                </a:moveTo>
                <a:cubicBezTo>
                  <a:pt x="4953513" y="310678"/>
                  <a:pt x="4967373" y="323382"/>
                  <a:pt x="4967373" y="339551"/>
                </a:cubicBezTo>
                <a:cubicBezTo>
                  <a:pt x="4967373" y="355720"/>
                  <a:pt x="4954668" y="368425"/>
                  <a:pt x="4938500" y="368425"/>
                </a:cubicBezTo>
                <a:cubicBezTo>
                  <a:pt x="4922331" y="368425"/>
                  <a:pt x="4909627" y="355720"/>
                  <a:pt x="4909627" y="339551"/>
                </a:cubicBezTo>
                <a:cubicBezTo>
                  <a:pt x="4909627" y="323382"/>
                  <a:pt x="4922331" y="310678"/>
                  <a:pt x="4938500" y="310678"/>
                </a:cubicBezTo>
                <a:close/>
                <a:moveTo>
                  <a:pt x="3810129" y="310678"/>
                </a:moveTo>
                <a:cubicBezTo>
                  <a:pt x="3826298" y="310678"/>
                  <a:pt x="3839002" y="323382"/>
                  <a:pt x="3839002" y="339551"/>
                </a:cubicBezTo>
                <a:cubicBezTo>
                  <a:pt x="3839002" y="355720"/>
                  <a:pt x="3826298" y="368425"/>
                  <a:pt x="3810129" y="368425"/>
                </a:cubicBezTo>
                <a:cubicBezTo>
                  <a:pt x="3793960" y="368425"/>
                  <a:pt x="3781255" y="355720"/>
                  <a:pt x="3781255" y="339551"/>
                </a:cubicBezTo>
                <a:cubicBezTo>
                  <a:pt x="3781255" y="323382"/>
                  <a:pt x="3793960" y="310678"/>
                  <a:pt x="3810129" y="310678"/>
                </a:cubicBezTo>
                <a:close/>
                <a:moveTo>
                  <a:pt x="2302939" y="310678"/>
                </a:moveTo>
                <a:cubicBezTo>
                  <a:pt x="2319108" y="310678"/>
                  <a:pt x="2331813" y="323382"/>
                  <a:pt x="2331813" y="339551"/>
                </a:cubicBezTo>
                <a:cubicBezTo>
                  <a:pt x="2331813" y="355720"/>
                  <a:pt x="2319108" y="368425"/>
                  <a:pt x="2302939" y="368425"/>
                </a:cubicBezTo>
                <a:cubicBezTo>
                  <a:pt x="2286771" y="368425"/>
                  <a:pt x="2274067" y="355720"/>
                  <a:pt x="2274067" y="339551"/>
                </a:cubicBezTo>
                <a:cubicBezTo>
                  <a:pt x="2274067" y="323382"/>
                  <a:pt x="2286771" y="310678"/>
                  <a:pt x="2302939" y="310678"/>
                </a:cubicBezTo>
                <a:close/>
                <a:moveTo>
                  <a:pt x="1151470" y="310678"/>
                </a:moveTo>
                <a:cubicBezTo>
                  <a:pt x="1167639" y="310678"/>
                  <a:pt x="1180343" y="323382"/>
                  <a:pt x="1180343" y="339551"/>
                </a:cubicBezTo>
                <a:cubicBezTo>
                  <a:pt x="1180343" y="355720"/>
                  <a:pt x="1167639" y="368425"/>
                  <a:pt x="1151470" y="368425"/>
                </a:cubicBezTo>
                <a:cubicBezTo>
                  <a:pt x="1135301" y="368425"/>
                  <a:pt x="1122596" y="355720"/>
                  <a:pt x="1122596" y="339551"/>
                </a:cubicBezTo>
                <a:cubicBezTo>
                  <a:pt x="1122596" y="323382"/>
                  <a:pt x="1135301" y="310678"/>
                  <a:pt x="1151470" y="310678"/>
                </a:cubicBezTo>
                <a:close/>
                <a:moveTo>
                  <a:pt x="325692" y="310678"/>
                </a:moveTo>
                <a:cubicBezTo>
                  <a:pt x="340706" y="310678"/>
                  <a:pt x="354566" y="323382"/>
                  <a:pt x="354566" y="339551"/>
                </a:cubicBezTo>
                <a:cubicBezTo>
                  <a:pt x="354566" y="355720"/>
                  <a:pt x="341861" y="368425"/>
                  <a:pt x="325692" y="368425"/>
                </a:cubicBezTo>
                <a:cubicBezTo>
                  <a:pt x="309523" y="368425"/>
                  <a:pt x="296819" y="355720"/>
                  <a:pt x="296819" y="339551"/>
                </a:cubicBezTo>
                <a:cubicBezTo>
                  <a:pt x="296819" y="323382"/>
                  <a:pt x="309523" y="310678"/>
                  <a:pt x="325692" y="310678"/>
                </a:cubicBezTo>
                <a:close/>
                <a:moveTo>
                  <a:pt x="11383636" y="304903"/>
                </a:moveTo>
                <a:cubicBezTo>
                  <a:pt x="11402115" y="304903"/>
                  <a:pt x="11418284" y="321072"/>
                  <a:pt x="11418284" y="339551"/>
                </a:cubicBezTo>
                <a:cubicBezTo>
                  <a:pt x="11418284" y="358030"/>
                  <a:pt x="11403270" y="374199"/>
                  <a:pt x="11383636" y="374199"/>
                </a:cubicBezTo>
                <a:cubicBezTo>
                  <a:pt x="11365157" y="374199"/>
                  <a:pt x="11348988" y="358030"/>
                  <a:pt x="11348988" y="339551"/>
                </a:cubicBezTo>
                <a:cubicBezTo>
                  <a:pt x="11348988" y="321072"/>
                  <a:pt x="11364002" y="304903"/>
                  <a:pt x="11383636" y="304903"/>
                </a:cubicBezTo>
                <a:close/>
                <a:moveTo>
                  <a:pt x="10811943" y="304903"/>
                </a:moveTo>
                <a:cubicBezTo>
                  <a:pt x="10830422" y="304903"/>
                  <a:pt x="10846591" y="321072"/>
                  <a:pt x="10846591" y="339551"/>
                </a:cubicBezTo>
                <a:cubicBezTo>
                  <a:pt x="10846591" y="358030"/>
                  <a:pt x="10831578" y="374199"/>
                  <a:pt x="10811943" y="374199"/>
                </a:cubicBezTo>
                <a:cubicBezTo>
                  <a:pt x="10793464" y="374199"/>
                  <a:pt x="10777295" y="358030"/>
                  <a:pt x="10777295" y="339551"/>
                </a:cubicBezTo>
                <a:cubicBezTo>
                  <a:pt x="10777295" y="321072"/>
                  <a:pt x="10792310" y="304903"/>
                  <a:pt x="10811943" y="304903"/>
                </a:cubicBezTo>
                <a:close/>
                <a:moveTo>
                  <a:pt x="10232166" y="304903"/>
                </a:moveTo>
                <a:cubicBezTo>
                  <a:pt x="10251801" y="304903"/>
                  <a:pt x="10266814" y="321072"/>
                  <a:pt x="10266814" y="339551"/>
                </a:cubicBezTo>
                <a:cubicBezTo>
                  <a:pt x="10266814" y="358030"/>
                  <a:pt x="10250645" y="374199"/>
                  <a:pt x="10232166" y="374199"/>
                </a:cubicBezTo>
                <a:cubicBezTo>
                  <a:pt x="10213687" y="374199"/>
                  <a:pt x="10197518" y="358030"/>
                  <a:pt x="10197518" y="339551"/>
                </a:cubicBezTo>
                <a:cubicBezTo>
                  <a:pt x="10197518" y="321072"/>
                  <a:pt x="10212533" y="304903"/>
                  <a:pt x="10232166" y="304903"/>
                </a:cubicBezTo>
                <a:close/>
                <a:moveTo>
                  <a:pt x="9681263" y="304903"/>
                </a:moveTo>
                <a:cubicBezTo>
                  <a:pt x="9700896" y="304903"/>
                  <a:pt x="9715911" y="321072"/>
                  <a:pt x="9715911" y="339551"/>
                </a:cubicBezTo>
                <a:cubicBezTo>
                  <a:pt x="9715911" y="358030"/>
                  <a:pt x="9699742" y="374199"/>
                  <a:pt x="9681263" y="374199"/>
                </a:cubicBezTo>
                <a:cubicBezTo>
                  <a:pt x="9662784" y="374199"/>
                  <a:pt x="9646615" y="358030"/>
                  <a:pt x="9646615" y="339551"/>
                </a:cubicBezTo>
                <a:cubicBezTo>
                  <a:pt x="9646615" y="321072"/>
                  <a:pt x="9661629" y="304903"/>
                  <a:pt x="9681263" y="304903"/>
                </a:cubicBezTo>
                <a:close/>
                <a:moveTo>
                  <a:pt x="9112431" y="304903"/>
                </a:moveTo>
                <a:cubicBezTo>
                  <a:pt x="9130910" y="304903"/>
                  <a:pt x="9147079" y="321072"/>
                  <a:pt x="9147079" y="339551"/>
                </a:cubicBezTo>
                <a:cubicBezTo>
                  <a:pt x="9147079" y="358030"/>
                  <a:pt x="9132065" y="374199"/>
                  <a:pt x="9112431" y="374199"/>
                </a:cubicBezTo>
                <a:cubicBezTo>
                  <a:pt x="9093952" y="374199"/>
                  <a:pt x="9077783" y="358030"/>
                  <a:pt x="9077783" y="339551"/>
                </a:cubicBezTo>
                <a:cubicBezTo>
                  <a:pt x="9077783" y="321072"/>
                  <a:pt x="9092798" y="304903"/>
                  <a:pt x="9112431" y="304903"/>
                </a:cubicBezTo>
                <a:close/>
                <a:moveTo>
                  <a:pt x="8561528" y="304903"/>
                </a:moveTo>
                <a:cubicBezTo>
                  <a:pt x="8580007" y="304903"/>
                  <a:pt x="8596176" y="321072"/>
                  <a:pt x="8596176" y="339551"/>
                </a:cubicBezTo>
                <a:cubicBezTo>
                  <a:pt x="8596176" y="358030"/>
                  <a:pt x="8581161" y="374199"/>
                  <a:pt x="8561528" y="374199"/>
                </a:cubicBezTo>
                <a:cubicBezTo>
                  <a:pt x="8543049" y="374199"/>
                  <a:pt x="8526880" y="358030"/>
                  <a:pt x="8526880" y="339551"/>
                </a:cubicBezTo>
                <a:cubicBezTo>
                  <a:pt x="8526880" y="321072"/>
                  <a:pt x="8541893" y="304903"/>
                  <a:pt x="8561528" y="304903"/>
                </a:cubicBezTo>
                <a:close/>
                <a:moveTo>
                  <a:pt x="6778310" y="304903"/>
                </a:moveTo>
                <a:cubicBezTo>
                  <a:pt x="6796790" y="304903"/>
                  <a:pt x="6812959" y="321072"/>
                  <a:pt x="6812959" y="339551"/>
                </a:cubicBezTo>
                <a:cubicBezTo>
                  <a:pt x="6812959" y="358030"/>
                  <a:pt x="6796790" y="374199"/>
                  <a:pt x="6778310" y="374199"/>
                </a:cubicBezTo>
                <a:cubicBezTo>
                  <a:pt x="6759831" y="374199"/>
                  <a:pt x="6743662" y="358030"/>
                  <a:pt x="6743662" y="339551"/>
                </a:cubicBezTo>
                <a:cubicBezTo>
                  <a:pt x="6743662" y="321072"/>
                  <a:pt x="6758675" y="304903"/>
                  <a:pt x="6778310" y="304903"/>
                </a:cubicBezTo>
                <a:close/>
                <a:moveTo>
                  <a:pt x="6206618" y="304903"/>
                </a:moveTo>
                <a:cubicBezTo>
                  <a:pt x="6225097" y="304903"/>
                  <a:pt x="6241265" y="321072"/>
                  <a:pt x="6241265" y="339551"/>
                </a:cubicBezTo>
                <a:cubicBezTo>
                  <a:pt x="6241265" y="358030"/>
                  <a:pt x="6226251" y="374199"/>
                  <a:pt x="6206618" y="374199"/>
                </a:cubicBezTo>
                <a:cubicBezTo>
                  <a:pt x="6188138" y="374199"/>
                  <a:pt x="6171969" y="358030"/>
                  <a:pt x="6171969" y="339551"/>
                </a:cubicBezTo>
                <a:cubicBezTo>
                  <a:pt x="6171969" y="321072"/>
                  <a:pt x="6186984" y="304903"/>
                  <a:pt x="6206618" y="304903"/>
                </a:cubicBezTo>
                <a:close/>
                <a:moveTo>
                  <a:pt x="5626840" y="304903"/>
                </a:moveTo>
                <a:cubicBezTo>
                  <a:pt x="5646475" y="304903"/>
                  <a:pt x="5661488" y="321072"/>
                  <a:pt x="5661488" y="339551"/>
                </a:cubicBezTo>
                <a:cubicBezTo>
                  <a:pt x="5661488" y="358030"/>
                  <a:pt x="5646475" y="374199"/>
                  <a:pt x="5626840" y="374199"/>
                </a:cubicBezTo>
                <a:cubicBezTo>
                  <a:pt x="5608360" y="374199"/>
                  <a:pt x="5592192" y="358030"/>
                  <a:pt x="5592192" y="339551"/>
                </a:cubicBezTo>
                <a:cubicBezTo>
                  <a:pt x="5592192" y="321072"/>
                  <a:pt x="5607207" y="304903"/>
                  <a:pt x="5626840" y="304903"/>
                </a:cubicBezTo>
                <a:close/>
                <a:moveTo>
                  <a:pt x="5075938" y="304903"/>
                </a:moveTo>
                <a:cubicBezTo>
                  <a:pt x="5095572" y="304903"/>
                  <a:pt x="5110584" y="321072"/>
                  <a:pt x="5110584" y="339551"/>
                </a:cubicBezTo>
                <a:cubicBezTo>
                  <a:pt x="5110584" y="358030"/>
                  <a:pt x="5095572" y="374199"/>
                  <a:pt x="5075938" y="374199"/>
                </a:cubicBezTo>
                <a:cubicBezTo>
                  <a:pt x="5057458" y="374199"/>
                  <a:pt x="5041289" y="358030"/>
                  <a:pt x="5041289" y="339551"/>
                </a:cubicBezTo>
                <a:cubicBezTo>
                  <a:pt x="5041289" y="321072"/>
                  <a:pt x="5056302" y="304903"/>
                  <a:pt x="5075938" y="304903"/>
                </a:cubicBezTo>
                <a:close/>
                <a:moveTo>
                  <a:pt x="4499625" y="304903"/>
                </a:moveTo>
                <a:cubicBezTo>
                  <a:pt x="4518102" y="304903"/>
                  <a:pt x="4534273" y="321072"/>
                  <a:pt x="4534273" y="339551"/>
                </a:cubicBezTo>
                <a:cubicBezTo>
                  <a:pt x="4534273" y="358030"/>
                  <a:pt x="4519258" y="374199"/>
                  <a:pt x="4499625" y="374199"/>
                </a:cubicBezTo>
                <a:cubicBezTo>
                  <a:pt x="4481146" y="374199"/>
                  <a:pt x="4464976" y="358030"/>
                  <a:pt x="4464976" y="339551"/>
                </a:cubicBezTo>
                <a:cubicBezTo>
                  <a:pt x="4464976" y="321072"/>
                  <a:pt x="4479992" y="304903"/>
                  <a:pt x="4499625" y="304903"/>
                </a:cubicBezTo>
                <a:close/>
                <a:moveTo>
                  <a:pt x="3948721" y="304903"/>
                </a:moveTo>
                <a:cubicBezTo>
                  <a:pt x="3967200" y="304903"/>
                  <a:pt x="3983369" y="321072"/>
                  <a:pt x="3983369" y="339551"/>
                </a:cubicBezTo>
                <a:cubicBezTo>
                  <a:pt x="3983369" y="358030"/>
                  <a:pt x="3968354" y="374199"/>
                  <a:pt x="3948721" y="374199"/>
                </a:cubicBezTo>
                <a:cubicBezTo>
                  <a:pt x="3930243" y="374199"/>
                  <a:pt x="3914073" y="358030"/>
                  <a:pt x="3914073" y="339551"/>
                </a:cubicBezTo>
                <a:cubicBezTo>
                  <a:pt x="3914073" y="321072"/>
                  <a:pt x="3929086" y="304903"/>
                  <a:pt x="3948721" y="304903"/>
                </a:cubicBezTo>
                <a:close/>
                <a:moveTo>
                  <a:pt x="2165502" y="304903"/>
                </a:moveTo>
                <a:cubicBezTo>
                  <a:pt x="2183981" y="304903"/>
                  <a:pt x="2200150" y="321072"/>
                  <a:pt x="2200150" y="339551"/>
                </a:cubicBezTo>
                <a:cubicBezTo>
                  <a:pt x="2200150" y="358030"/>
                  <a:pt x="2185137" y="374199"/>
                  <a:pt x="2165502" y="374199"/>
                </a:cubicBezTo>
                <a:cubicBezTo>
                  <a:pt x="2147023" y="374199"/>
                  <a:pt x="2130854" y="358030"/>
                  <a:pt x="2130854" y="339551"/>
                </a:cubicBezTo>
                <a:cubicBezTo>
                  <a:pt x="2130854" y="321072"/>
                  <a:pt x="2145868" y="304903"/>
                  <a:pt x="2165502" y="304903"/>
                </a:cubicBezTo>
                <a:close/>
                <a:moveTo>
                  <a:pt x="1593810" y="304903"/>
                </a:moveTo>
                <a:cubicBezTo>
                  <a:pt x="1612288" y="304903"/>
                  <a:pt x="1628457" y="321072"/>
                  <a:pt x="1628457" y="339551"/>
                </a:cubicBezTo>
                <a:cubicBezTo>
                  <a:pt x="1628457" y="358030"/>
                  <a:pt x="1613444" y="374199"/>
                  <a:pt x="1593810" y="374199"/>
                </a:cubicBezTo>
                <a:cubicBezTo>
                  <a:pt x="1575330" y="374199"/>
                  <a:pt x="1559161" y="358030"/>
                  <a:pt x="1559161" y="339551"/>
                </a:cubicBezTo>
                <a:cubicBezTo>
                  <a:pt x="1559161" y="321072"/>
                  <a:pt x="1574176" y="304903"/>
                  <a:pt x="1593810" y="304903"/>
                </a:cubicBezTo>
                <a:close/>
                <a:moveTo>
                  <a:pt x="1014032" y="304903"/>
                </a:moveTo>
                <a:cubicBezTo>
                  <a:pt x="1033667" y="304903"/>
                  <a:pt x="1048681" y="321072"/>
                  <a:pt x="1048681" y="339551"/>
                </a:cubicBezTo>
                <a:cubicBezTo>
                  <a:pt x="1048681" y="358030"/>
                  <a:pt x="1032511" y="374199"/>
                  <a:pt x="1014032" y="374199"/>
                </a:cubicBezTo>
                <a:cubicBezTo>
                  <a:pt x="995554" y="374199"/>
                  <a:pt x="979384" y="358030"/>
                  <a:pt x="979384" y="339551"/>
                </a:cubicBezTo>
                <a:cubicBezTo>
                  <a:pt x="979384" y="321072"/>
                  <a:pt x="994399" y="304903"/>
                  <a:pt x="1014032" y="304903"/>
                </a:cubicBezTo>
                <a:close/>
                <a:moveTo>
                  <a:pt x="463129" y="304903"/>
                </a:moveTo>
                <a:cubicBezTo>
                  <a:pt x="482763" y="304903"/>
                  <a:pt x="497778" y="321072"/>
                  <a:pt x="497778" y="339551"/>
                </a:cubicBezTo>
                <a:cubicBezTo>
                  <a:pt x="497778" y="358030"/>
                  <a:pt x="481608" y="374199"/>
                  <a:pt x="463129" y="374199"/>
                </a:cubicBezTo>
                <a:cubicBezTo>
                  <a:pt x="444651" y="374199"/>
                  <a:pt x="428481" y="358030"/>
                  <a:pt x="428481" y="339551"/>
                </a:cubicBezTo>
                <a:cubicBezTo>
                  <a:pt x="428481" y="321072"/>
                  <a:pt x="443495" y="304903"/>
                  <a:pt x="463129" y="304903"/>
                </a:cubicBezTo>
                <a:close/>
                <a:moveTo>
                  <a:pt x="11245044" y="299129"/>
                </a:moveTo>
                <a:cubicBezTo>
                  <a:pt x="11268143" y="299129"/>
                  <a:pt x="11285466" y="317608"/>
                  <a:pt x="11285466" y="339551"/>
                </a:cubicBezTo>
                <a:cubicBezTo>
                  <a:pt x="11285466" y="361495"/>
                  <a:pt x="11266987" y="379974"/>
                  <a:pt x="11245044" y="379974"/>
                </a:cubicBezTo>
                <a:cubicBezTo>
                  <a:pt x="11223100" y="379974"/>
                  <a:pt x="11204621" y="361495"/>
                  <a:pt x="11204621" y="339551"/>
                </a:cubicBezTo>
                <a:cubicBezTo>
                  <a:pt x="11204621" y="317608"/>
                  <a:pt x="11223100" y="299129"/>
                  <a:pt x="11245044" y="299129"/>
                </a:cubicBezTo>
                <a:close/>
                <a:moveTo>
                  <a:pt x="10970170" y="299129"/>
                </a:moveTo>
                <a:cubicBezTo>
                  <a:pt x="10992113" y="299129"/>
                  <a:pt x="11010592" y="317608"/>
                  <a:pt x="11010592" y="339551"/>
                </a:cubicBezTo>
                <a:cubicBezTo>
                  <a:pt x="11010592" y="361495"/>
                  <a:pt x="10992113" y="379974"/>
                  <a:pt x="10970170" y="379974"/>
                </a:cubicBezTo>
                <a:cubicBezTo>
                  <a:pt x="10948226" y="379974"/>
                  <a:pt x="10929746" y="361495"/>
                  <a:pt x="10929746" y="339551"/>
                </a:cubicBezTo>
                <a:cubicBezTo>
                  <a:pt x="10929746" y="317608"/>
                  <a:pt x="10948226" y="299129"/>
                  <a:pt x="10970170" y="299129"/>
                </a:cubicBezTo>
                <a:close/>
                <a:moveTo>
                  <a:pt x="10094730" y="299129"/>
                </a:moveTo>
                <a:cubicBezTo>
                  <a:pt x="10116673" y="299129"/>
                  <a:pt x="10135152" y="317608"/>
                  <a:pt x="10135152" y="339551"/>
                </a:cubicBezTo>
                <a:cubicBezTo>
                  <a:pt x="10135152" y="361495"/>
                  <a:pt x="10116673" y="379974"/>
                  <a:pt x="10094730" y="379974"/>
                </a:cubicBezTo>
                <a:cubicBezTo>
                  <a:pt x="10072785" y="379974"/>
                  <a:pt x="10054306" y="361495"/>
                  <a:pt x="10054306" y="339551"/>
                </a:cubicBezTo>
                <a:cubicBezTo>
                  <a:pt x="10054306" y="317608"/>
                  <a:pt x="10072785" y="299129"/>
                  <a:pt x="10094730" y="299129"/>
                </a:cubicBezTo>
                <a:close/>
                <a:moveTo>
                  <a:pt x="9818700" y="299129"/>
                </a:moveTo>
                <a:cubicBezTo>
                  <a:pt x="9841798" y="299129"/>
                  <a:pt x="9859123" y="318762"/>
                  <a:pt x="9859123" y="340706"/>
                </a:cubicBezTo>
                <a:cubicBezTo>
                  <a:pt x="9859123" y="362649"/>
                  <a:pt x="9840644" y="381128"/>
                  <a:pt x="9818700" y="381128"/>
                </a:cubicBezTo>
                <a:cubicBezTo>
                  <a:pt x="9796757" y="381128"/>
                  <a:pt x="9778278" y="361495"/>
                  <a:pt x="9778278" y="339551"/>
                </a:cubicBezTo>
                <a:cubicBezTo>
                  <a:pt x="9778278" y="317608"/>
                  <a:pt x="9796757" y="299129"/>
                  <a:pt x="9818700" y="299129"/>
                </a:cubicBezTo>
                <a:close/>
                <a:moveTo>
                  <a:pt x="8974994" y="299129"/>
                </a:moveTo>
                <a:cubicBezTo>
                  <a:pt x="8996938" y="299129"/>
                  <a:pt x="9015416" y="317608"/>
                  <a:pt x="9015416" y="339551"/>
                </a:cubicBezTo>
                <a:cubicBezTo>
                  <a:pt x="9015416" y="361495"/>
                  <a:pt x="8996938" y="379974"/>
                  <a:pt x="8974994" y="379974"/>
                </a:cubicBezTo>
                <a:cubicBezTo>
                  <a:pt x="8953050" y="379974"/>
                  <a:pt x="8934571" y="361495"/>
                  <a:pt x="8934571" y="339551"/>
                </a:cubicBezTo>
                <a:cubicBezTo>
                  <a:pt x="8934571" y="317608"/>
                  <a:pt x="8953050" y="299129"/>
                  <a:pt x="8974994" y="299129"/>
                </a:cubicBezTo>
                <a:close/>
                <a:moveTo>
                  <a:pt x="8698965" y="299129"/>
                </a:moveTo>
                <a:cubicBezTo>
                  <a:pt x="8720909" y="299129"/>
                  <a:pt x="8739388" y="317608"/>
                  <a:pt x="8739388" y="339551"/>
                </a:cubicBezTo>
                <a:cubicBezTo>
                  <a:pt x="8739388" y="361495"/>
                  <a:pt x="8720909" y="379974"/>
                  <a:pt x="8698965" y="379974"/>
                </a:cubicBezTo>
                <a:cubicBezTo>
                  <a:pt x="8677021" y="379974"/>
                  <a:pt x="8658542" y="361495"/>
                  <a:pt x="8658542" y="339551"/>
                </a:cubicBezTo>
                <a:cubicBezTo>
                  <a:pt x="8658542" y="317608"/>
                  <a:pt x="8677021" y="299129"/>
                  <a:pt x="8698965" y="299129"/>
                </a:cubicBezTo>
                <a:close/>
                <a:moveTo>
                  <a:pt x="6639717" y="299129"/>
                </a:moveTo>
                <a:cubicBezTo>
                  <a:pt x="6662817" y="299129"/>
                  <a:pt x="6680139" y="317608"/>
                  <a:pt x="6680139" y="339551"/>
                </a:cubicBezTo>
                <a:cubicBezTo>
                  <a:pt x="6680139" y="361495"/>
                  <a:pt x="6661661" y="379974"/>
                  <a:pt x="6639717" y="379974"/>
                </a:cubicBezTo>
                <a:cubicBezTo>
                  <a:pt x="6617773" y="379974"/>
                  <a:pt x="6599295" y="361495"/>
                  <a:pt x="6599295" y="339551"/>
                </a:cubicBezTo>
                <a:cubicBezTo>
                  <a:pt x="6599295" y="317608"/>
                  <a:pt x="6617773" y="299129"/>
                  <a:pt x="6639717" y="299129"/>
                </a:cubicBezTo>
                <a:close/>
                <a:moveTo>
                  <a:pt x="6364844" y="299129"/>
                </a:moveTo>
                <a:cubicBezTo>
                  <a:pt x="6386786" y="299129"/>
                  <a:pt x="6405265" y="317608"/>
                  <a:pt x="6405265" y="339551"/>
                </a:cubicBezTo>
                <a:cubicBezTo>
                  <a:pt x="6405265" y="361495"/>
                  <a:pt x="6386786" y="379974"/>
                  <a:pt x="6364844" y="379974"/>
                </a:cubicBezTo>
                <a:cubicBezTo>
                  <a:pt x="6342899" y="379974"/>
                  <a:pt x="6324420" y="361495"/>
                  <a:pt x="6324420" y="339551"/>
                </a:cubicBezTo>
                <a:cubicBezTo>
                  <a:pt x="6324420" y="317608"/>
                  <a:pt x="6342899" y="299129"/>
                  <a:pt x="6364844" y="299129"/>
                </a:cubicBezTo>
                <a:close/>
                <a:moveTo>
                  <a:pt x="5489405" y="299129"/>
                </a:moveTo>
                <a:cubicBezTo>
                  <a:pt x="5511346" y="299129"/>
                  <a:pt x="5529827" y="317608"/>
                  <a:pt x="5529827" y="339551"/>
                </a:cubicBezTo>
                <a:cubicBezTo>
                  <a:pt x="5529827" y="361495"/>
                  <a:pt x="5511346" y="379974"/>
                  <a:pt x="5489405" y="379974"/>
                </a:cubicBezTo>
                <a:cubicBezTo>
                  <a:pt x="5467460" y="379974"/>
                  <a:pt x="5448980" y="361495"/>
                  <a:pt x="5448980" y="339551"/>
                </a:cubicBezTo>
                <a:cubicBezTo>
                  <a:pt x="5448980" y="317608"/>
                  <a:pt x="5467460" y="299129"/>
                  <a:pt x="5489405" y="299129"/>
                </a:cubicBezTo>
                <a:close/>
                <a:moveTo>
                  <a:pt x="5213373" y="299129"/>
                </a:moveTo>
                <a:cubicBezTo>
                  <a:pt x="5236473" y="299129"/>
                  <a:pt x="5253797" y="317608"/>
                  <a:pt x="5253797" y="339551"/>
                </a:cubicBezTo>
                <a:cubicBezTo>
                  <a:pt x="5253797" y="361495"/>
                  <a:pt x="5235320" y="379974"/>
                  <a:pt x="5213373" y="379974"/>
                </a:cubicBezTo>
                <a:cubicBezTo>
                  <a:pt x="5191431" y="379974"/>
                  <a:pt x="5172952" y="361495"/>
                  <a:pt x="5172952" y="339551"/>
                </a:cubicBezTo>
                <a:cubicBezTo>
                  <a:pt x="5172952" y="317608"/>
                  <a:pt x="5191431" y="299129"/>
                  <a:pt x="5213373" y="299129"/>
                </a:cubicBezTo>
                <a:close/>
                <a:moveTo>
                  <a:pt x="4361031" y="299129"/>
                </a:moveTo>
                <a:cubicBezTo>
                  <a:pt x="4384131" y="299129"/>
                  <a:pt x="4401455" y="317608"/>
                  <a:pt x="4401455" y="339551"/>
                </a:cubicBezTo>
                <a:cubicBezTo>
                  <a:pt x="4401455" y="361495"/>
                  <a:pt x="4382977" y="379974"/>
                  <a:pt x="4361031" y="379974"/>
                </a:cubicBezTo>
                <a:cubicBezTo>
                  <a:pt x="4339089" y="379974"/>
                  <a:pt x="4320610" y="361495"/>
                  <a:pt x="4320610" y="339551"/>
                </a:cubicBezTo>
                <a:cubicBezTo>
                  <a:pt x="4320610" y="317608"/>
                  <a:pt x="4339089" y="299129"/>
                  <a:pt x="4361031" y="299129"/>
                </a:cubicBezTo>
                <a:close/>
                <a:moveTo>
                  <a:pt x="4086158" y="299129"/>
                </a:moveTo>
                <a:cubicBezTo>
                  <a:pt x="4108102" y="299129"/>
                  <a:pt x="4126582" y="317608"/>
                  <a:pt x="4126582" y="339551"/>
                </a:cubicBezTo>
                <a:cubicBezTo>
                  <a:pt x="4126582" y="361495"/>
                  <a:pt x="4108102" y="379974"/>
                  <a:pt x="4086158" y="379974"/>
                </a:cubicBezTo>
                <a:cubicBezTo>
                  <a:pt x="4064214" y="379974"/>
                  <a:pt x="4045735" y="361495"/>
                  <a:pt x="4045735" y="339551"/>
                </a:cubicBezTo>
                <a:cubicBezTo>
                  <a:pt x="4045735" y="317608"/>
                  <a:pt x="4064214" y="299129"/>
                  <a:pt x="4086158" y="299129"/>
                </a:cubicBezTo>
                <a:close/>
                <a:moveTo>
                  <a:pt x="2026910" y="299129"/>
                </a:moveTo>
                <a:cubicBezTo>
                  <a:pt x="2050009" y="299129"/>
                  <a:pt x="2067332" y="317608"/>
                  <a:pt x="2067332" y="339551"/>
                </a:cubicBezTo>
                <a:cubicBezTo>
                  <a:pt x="2067332" y="361495"/>
                  <a:pt x="2048854" y="379974"/>
                  <a:pt x="2026910" y="379974"/>
                </a:cubicBezTo>
                <a:cubicBezTo>
                  <a:pt x="2004966" y="379974"/>
                  <a:pt x="1986487" y="361495"/>
                  <a:pt x="1986487" y="339551"/>
                </a:cubicBezTo>
                <a:cubicBezTo>
                  <a:pt x="1986487" y="317608"/>
                  <a:pt x="2004966" y="299129"/>
                  <a:pt x="2026910" y="299129"/>
                </a:cubicBezTo>
                <a:close/>
                <a:moveTo>
                  <a:pt x="1752036" y="299129"/>
                </a:moveTo>
                <a:cubicBezTo>
                  <a:pt x="1773979" y="299129"/>
                  <a:pt x="1792458" y="317608"/>
                  <a:pt x="1792458" y="339551"/>
                </a:cubicBezTo>
                <a:cubicBezTo>
                  <a:pt x="1792458" y="361495"/>
                  <a:pt x="1773979" y="379974"/>
                  <a:pt x="1752036" y="379974"/>
                </a:cubicBezTo>
                <a:cubicBezTo>
                  <a:pt x="1730092" y="379974"/>
                  <a:pt x="1711613" y="361495"/>
                  <a:pt x="1711613" y="339551"/>
                </a:cubicBezTo>
                <a:cubicBezTo>
                  <a:pt x="1711613" y="317608"/>
                  <a:pt x="1730092" y="299129"/>
                  <a:pt x="1752036" y="299129"/>
                </a:cubicBezTo>
                <a:close/>
                <a:moveTo>
                  <a:pt x="876596" y="299129"/>
                </a:moveTo>
                <a:cubicBezTo>
                  <a:pt x="898539" y="299129"/>
                  <a:pt x="917018" y="317608"/>
                  <a:pt x="917018" y="339551"/>
                </a:cubicBezTo>
                <a:cubicBezTo>
                  <a:pt x="917018" y="361495"/>
                  <a:pt x="898539" y="379974"/>
                  <a:pt x="876596" y="379974"/>
                </a:cubicBezTo>
                <a:cubicBezTo>
                  <a:pt x="854652" y="379974"/>
                  <a:pt x="836172" y="361495"/>
                  <a:pt x="836172" y="339551"/>
                </a:cubicBezTo>
                <a:cubicBezTo>
                  <a:pt x="836172" y="317608"/>
                  <a:pt x="854652" y="299129"/>
                  <a:pt x="876596" y="299129"/>
                </a:cubicBezTo>
                <a:close/>
                <a:moveTo>
                  <a:pt x="600566" y="299129"/>
                </a:moveTo>
                <a:cubicBezTo>
                  <a:pt x="623665" y="299129"/>
                  <a:pt x="640989" y="318762"/>
                  <a:pt x="640989" y="340706"/>
                </a:cubicBezTo>
                <a:cubicBezTo>
                  <a:pt x="640989" y="362649"/>
                  <a:pt x="622510" y="381128"/>
                  <a:pt x="600566" y="381128"/>
                </a:cubicBezTo>
                <a:cubicBezTo>
                  <a:pt x="578623" y="381128"/>
                  <a:pt x="560144" y="361495"/>
                  <a:pt x="560144" y="339551"/>
                </a:cubicBezTo>
                <a:cubicBezTo>
                  <a:pt x="560144" y="317608"/>
                  <a:pt x="578623" y="299129"/>
                  <a:pt x="600566" y="299129"/>
                </a:cubicBezTo>
                <a:close/>
                <a:moveTo>
                  <a:pt x="11107606" y="288734"/>
                </a:moveTo>
                <a:cubicBezTo>
                  <a:pt x="11136480" y="288734"/>
                  <a:pt x="11158424" y="311832"/>
                  <a:pt x="11158424" y="339551"/>
                </a:cubicBezTo>
                <a:cubicBezTo>
                  <a:pt x="11158424" y="367269"/>
                  <a:pt x="11136480" y="390368"/>
                  <a:pt x="11107606" y="390368"/>
                </a:cubicBezTo>
                <a:cubicBezTo>
                  <a:pt x="11079888" y="390368"/>
                  <a:pt x="11056789" y="367269"/>
                  <a:pt x="11056789" y="339551"/>
                </a:cubicBezTo>
                <a:cubicBezTo>
                  <a:pt x="11056789" y="311832"/>
                  <a:pt x="11078734" y="288734"/>
                  <a:pt x="11107606" y="288734"/>
                </a:cubicBezTo>
                <a:close/>
                <a:moveTo>
                  <a:pt x="9957292" y="288734"/>
                </a:moveTo>
                <a:cubicBezTo>
                  <a:pt x="9985010" y="288734"/>
                  <a:pt x="10008109" y="311832"/>
                  <a:pt x="10008109" y="339551"/>
                </a:cubicBezTo>
                <a:cubicBezTo>
                  <a:pt x="10008109" y="367269"/>
                  <a:pt x="9985010" y="390368"/>
                  <a:pt x="9957292" y="390368"/>
                </a:cubicBezTo>
                <a:cubicBezTo>
                  <a:pt x="9929574" y="390368"/>
                  <a:pt x="9906475" y="367269"/>
                  <a:pt x="9906475" y="339551"/>
                </a:cubicBezTo>
                <a:cubicBezTo>
                  <a:pt x="9906475" y="311832"/>
                  <a:pt x="9928419" y="288734"/>
                  <a:pt x="9957292" y="288734"/>
                </a:cubicBezTo>
                <a:close/>
                <a:moveTo>
                  <a:pt x="8836402" y="288734"/>
                </a:moveTo>
                <a:cubicBezTo>
                  <a:pt x="8865275" y="288734"/>
                  <a:pt x="8887219" y="311832"/>
                  <a:pt x="8887219" y="339551"/>
                </a:cubicBezTo>
                <a:cubicBezTo>
                  <a:pt x="8887219" y="367269"/>
                  <a:pt x="8864121" y="390368"/>
                  <a:pt x="8836402" y="390368"/>
                </a:cubicBezTo>
                <a:cubicBezTo>
                  <a:pt x="8808684" y="390368"/>
                  <a:pt x="8785585" y="367269"/>
                  <a:pt x="8785585" y="339551"/>
                </a:cubicBezTo>
                <a:cubicBezTo>
                  <a:pt x="8785585" y="311832"/>
                  <a:pt x="8807528" y="288734"/>
                  <a:pt x="8836402" y="288734"/>
                </a:cubicBezTo>
                <a:close/>
                <a:moveTo>
                  <a:pt x="6502281" y="288734"/>
                </a:moveTo>
                <a:cubicBezTo>
                  <a:pt x="6531154" y="288734"/>
                  <a:pt x="6553098" y="311832"/>
                  <a:pt x="6553098" y="339551"/>
                </a:cubicBezTo>
                <a:cubicBezTo>
                  <a:pt x="6553098" y="367269"/>
                  <a:pt x="6531154" y="390368"/>
                  <a:pt x="6502281" y="390368"/>
                </a:cubicBezTo>
                <a:cubicBezTo>
                  <a:pt x="6474562" y="390368"/>
                  <a:pt x="6451462" y="367269"/>
                  <a:pt x="6451462" y="339551"/>
                </a:cubicBezTo>
                <a:cubicBezTo>
                  <a:pt x="6451462" y="311832"/>
                  <a:pt x="6473407" y="288734"/>
                  <a:pt x="6502281" y="288734"/>
                </a:cubicBezTo>
                <a:close/>
                <a:moveTo>
                  <a:pt x="5351966" y="288734"/>
                </a:moveTo>
                <a:cubicBezTo>
                  <a:pt x="5379685" y="288734"/>
                  <a:pt x="5402784" y="311832"/>
                  <a:pt x="5402784" y="339551"/>
                </a:cubicBezTo>
                <a:cubicBezTo>
                  <a:pt x="5402784" y="367269"/>
                  <a:pt x="5380840" y="390368"/>
                  <a:pt x="5351966" y="390368"/>
                </a:cubicBezTo>
                <a:cubicBezTo>
                  <a:pt x="5324247" y="390368"/>
                  <a:pt x="5301149" y="367269"/>
                  <a:pt x="5301149" y="339551"/>
                </a:cubicBezTo>
                <a:cubicBezTo>
                  <a:pt x="5301149" y="311832"/>
                  <a:pt x="5323094" y="288734"/>
                  <a:pt x="5351966" y="288734"/>
                </a:cubicBezTo>
                <a:close/>
                <a:moveTo>
                  <a:pt x="4223596" y="288734"/>
                </a:moveTo>
                <a:cubicBezTo>
                  <a:pt x="4252468" y="288734"/>
                  <a:pt x="4274414" y="311832"/>
                  <a:pt x="4274414" y="339551"/>
                </a:cubicBezTo>
                <a:cubicBezTo>
                  <a:pt x="4274414" y="367269"/>
                  <a:pt x="4251315" y="390368"/>
                  <a:pt x="4223596" y="390368"/>
                </a:cubicBezTo>
                <a:cubicBezTo>
                  <a:pt x="4195877" y="390368"/>
                  <a:pt x="4172779" y="367269"/>
                  <a:pt x="4172779" y="339551"/>
                </a:cubicBezTo>
                <a:cubicBezTo>
                  <a:pt x="4172779" y="311832"/>
                  <a:pt x="4194721" y="288734"/>
                  <a:pt x="4223596" y="288734"/>
                </a:cubicBezTo>
                <a:close/>
                <a:moveTo>
                  <a:pt x="1889473" y="288734"/>
                </a:moveTo>
                <a:cubicBezTo>
                  <a:pt x="1918346" y="288734"/>
                  <a:pt x="1940290" y="311832"/>
                  <a:pt x="1940290" y="339551"/>
                </a:cubicBezTo>
                <a:cubicBezTo>
                  <a:pt x="1940290" y="367269"/>
                  <a:pt x="1918346" y="390368"/>
                  <a:pt x="1889473" y="390368"/>
                </a:cubicBezTo>
                <a:cubicBezTo>
                  <a:pt x="1861754" y="390368"/>
                  <a:pt x="1838656" y="367269"/>
                  <a:pt x="1838656" y="339551"/>
                </a:cubicBezTo>
                <a:cubicBezTo>
                  <a:pt x="1838656" y="311832"/>
                  <a:pt x="1860600" y="288734"/>
                  <a:pt x="1889473" y="288734"/>
                </a:cubicBezTo>
                <a:close/>
                <a:moveTo>
                  <a:pt x="739158" y="288734"/>
                </a:moveTo>
                <a:cubicBezTo>
                  <a:pt x="766877" y="288734"/>
                  <a:pt x="789975" y="311832"/>
                  <a:pt x="789975" y="339551"/>
                </a:cubicBezTo>
                <a:cubicBezTo>
                  <a:pt x="789975" y="367269"/>
                  <a:pt x="766877" y="390368"/>
                  <a:pt x="739158" y="390368"/>
                </a:cubicBezTo>
                <a:cubicBezTo>
                  <a:pt x="711440" y="390368"/>
                  <a:pt x="688341" y="367269"/>
                  <a:pt x="688341" y="339551"/>
                </a:cubicBezTo>
                <a:cubicBezTo>
                  <a:pt x="688341" y="311832"/>
                  <a:pt x="710285" y="288734"/>
                  <a:pt x="739158" y="288734"/>
                </a:cubicBezTo>
                <a:close/>
                <a:moveTo>
                  <a:pt x="12227892" y="175550"/>
                </a:moveTo>
                <a:cubicBezTo>
                  <a:pt x="12238288" y="175550"/>
                  <a:pt x="12248682" y="184790"/>
                  <a:pt x="12248682" y="196339"/>
                </a:cubicBezTo>
                <a:cubicBezTo>
                  <a:pt x="12248682" y="207888"/>
                  <a:pt x="12239442" y="217128"/>
                  <a:pt x="12227892" y="217128"/>
                </a:cubicBezTo>
                <a:cubicBezTo>
                  <a:pt x="12216343" y="217128"/>
                  <a:pt x="12207104" y="207888"/>
                  <a:pt x="12207104" y="196339"/>
                </a:cubicBezTo>
                <a:cubicBezTo>
                  <a:pt x="12207104" y="184790"/>
                  <a:pt x="12216343" y="175550"/>
                  <a:pt x="12227892" y="175550"/>
                </a:cubicBezTo>
                <a:close/>
                <a:moveTo>
                  <a:pt x="12091610" y="175550"/>
                </a:moveTo>
                <a:cubicBezTo>
                  <a:pt x="12103160" y="175550"/>
                  <a:pt x="12112399" y="184790"/>
                  <a:pt x="12112399" y="196339"/>
                </a:cubicBezTo>
                <a:cubicBezTo>
                  <a:pt x="12112399" y="207888"/>
                  <a:pt x="12103160" y="217128"/>
                  <a:pt x="12091610" y="217128"/>
                </a:cubicBezTo>
                <a:cubicBezTo>
                  <a:pt x="12080061" y="217128"/>
                  <a:pt x="12070822" y="207888"/>
                  <a:pt x="12070822" y="196339"/>
                </a:cubicBezTo>
                <a:cubicBezTo>
                  <a:pt x="12070822" y="184790"/>
                  <a:pt x="12080061" y="175550"/>
                  <a:pt x="12091610" y="175550"/>
                </a:cubicBezTo>
                <a:close/>
                <a:moveTo>
                  <a:pt x="11956484" y="175550"/>
                </a:moveTo>
                <a:cubicBezTo>
                  <a:pt x="11968033" y="175550"/>
                  <a:pt x="11977272" y="184790"/>
                  <a:pt x="11977272" y="196339"/>
                </a:cubicBezTo>
                <a:cubicBezTo>
                  <a:pt x="11977272" y="207888"/>
                  <a:pt x="11968033" y="217128"/>
                  <a:pt x="11956484" y="217128"/>
                </a:cubicBezTo>
                <a:cubicBezTo>
                  <a:pt x="11944934" y="217128"/>
                  <a:pt x="11935695" y="207888"/>
                  <a:pt x="11935695" y="196339"/>
                </a:cubicBezTo>
                <a:cubicBezTo>
                  <a:pt x="11935695" y="184790"/>
                  <a:pt x="11944934" y="175550"/>
                  <a:pt x="11956484" y="175550"/>
                </a:cubicBezTo>
                <a:close/>
                <a:moveTo>
                  <a:pt x="11821356" y="175550"/>
                </a:moveTo>
                <a:cubicBezTo>
                  <a:pt x="11832905" y="175550"/>
                  <a:pt x="11842144" y="184790"/>
                  <a:pt x="11842144" y="196339"/>
                </a:cubicBezTo>
                <a:cubicBezTo>
                  <a:pt x="11842144" y="207888"/>
                  <a:pt x="11832905" y="217128"/>
                  <a:pt x="11821356" y="217128"/>
                </a:cubicBezTo>
                <a:cubicBezTo>
                  <a:pt x="11809806" y="217128"/>
                  <a:pt x="11800567" y="207888"/>
                  <a:pt x="11800567" y="196339"/>
                </a:cubicBezTo>
                <a:cubicBezTo>
                  <a:pt x="11800567" y="184790"/>
                  <a:pt x="11809806" y="175550"/>
                  <a:pt x="11821356" y="175550"/>
                </a:cubicBezTo>
                <a:close/>
                <a:moveTo>
                  <a:pt x="11685074" y="175550"/>
                </a:moveTo>
                <a:cubicBezTo>
                  <a:pt x="11696623" y="175550"/>
                  <a:pt x="11705862" y="184790"/>
                  <a:pt x="11705862" y="196339"/>
                </a:cubicBezTo>
                <a:cubicBezTo>
                  <a:pt x="11705862" y="207888"/>
                  <a:pt x="11696623" y="217128"/>
                  <a:pt x="11685074" y="217128"/>
                </a:cubicBezTo>
                <a:cubicBezTo>
                  <a:pt x="11673524" y="217128"/>
                  <a:pt x="11664285" y="207888"/>
                  <a:pt x="11664285" y="196339"/>
                </a:cubicBezTo>
                <a:cubicBezTo>
                  <a:pt x="11664285" y="184790"/>
                  <a:pt x="11673524" y="175550"/>
                  <a:pt x="11685074" y="175550"/>
                </a:cubicBezTo>
                <a:close/>
                <a:moveTo>
                  <a:pt x="10736873" y="175550"/>
                </a:moveTo>
                <a:cubicBezTo>
                  <a:pt x="10748422" y="175550"/>
                  <a:pt x="10757662" y="184790"/>
                  <a:pt x="10757662" y="196339"/>
                </a:cubicBezTo>
                <a:cubicBezTo>
                  <a:pt x="10757662" y="207888"/>
                  <a:pt x="10748422" y="217128"/>
                  <a:pt x="10736873" y="217128"/>
                </a:cubicBezTo>
                <a:cubicBezTo>
                  <a:pt x="10725324" y="217128"/>
                  <a:pt x="10716084" y="207888"/>
                  <a:pt x="10716084" y="196339"/>
                </a:cubicBezTo>
                <a:cubicBezTo>
                  <a:pt x="10716084" y="184790"/>
                  <a:pt x="10725324" y="175550"/>
                  <a:pt x="10736873" y="175550"/>
                </a:cubicBezTo>
                <a:close/>
                <a:moveTo>
                  <a:pt x="10601745" y="175550"/>
                </a:moveTo>
                <a:cubicBezTo>
                  <a:pt x="10613294" y="175550"/>
                  <a:pt x="10622534" y="184790"/>
                  <a:pt x="10622534" y="196339"/>
                </a:cubicBezTo>
                <a:cubicBezTo>
                  <a:pt x="10622534" y="207888"/>
                  <a:pt x="10613294" y="217128"/>
                  <a:pt x="10601745" y="217128"/>
                </a:cubicBezTo>
                <a:cubicBezTo>
                  <a:pt x="10590196" y="217128"/>
                  <a:pt x="10580956" y="207888"/>
                  <a:pt x="10580956" y="196339"/>
                </a:cubicBezTo>
                <a:cubicBezTo>
                  <a:pt x="10580956" y="184790"/>
                  <a:pt x="10590196" y="175550"/>
                  <a:pt x="10601745" y="175550"/>
                </a:cubicBezTo>
                <a:close/>
                <a:moveTo>
                  <a:pt x="8027949" y="175550"/>
                </a:moveTo>
                <a:cubicBezTo>
                  <a:pt x="8039499" y="175550"/>
                  <a:pt x="8048737" y="184790"/>
                  <a:pt x="8048737" y="196339"/>
                </a:cubicBezTo>
                <a:cubicBezTo>
                  <a:pt x="8048737" y="207888"/>
                  <a:pt x="8039499" y="217128"/>
                  <a:pt x="8027949" y="217128"/>
                </a:cubicBezTo>
                <a:cubicBezTo>
                  <a:pt x="8016400" y="217128"/>
                  <a:pt x="8007160" y="207888"/>
                  <a:pt x="8007160" y="196339"/>
                </a:cubicBezTo>
                <a:cubicBezTo>
                  <a:pt x="8007160" y="184790"/>
                  <a:pt x="8016400" y="175550"/>
                  <a:pt x="8027949" y="175550"/>
                </a:cubicBezTo>
                <a:close/>
                <a:moveTo>
                  <a:pt x="7892822" y="175550"/>
                </a:moveTo>
                <a:cubicBezTo>
                  <a:pt x="7904371" y="175550"/>
                  <a:pt x="7913611" y="184790"/>
                  <a:pt x="7913611" y="196339"/>
                </a:cubicBezTo>
                <a:cubicBezTo>
                  <a:pt x="7913611" y="207888"/>
                  <a:pt x="7904371" y="217128"/>
                  <a:pt x="7892822" y="217128"/>
                </a:cubicBezTo>
                <a:cubicBezTo>
                  <a:pt x="7881271" y="217128"/>
                  <a:pt x="7872031" y="207888"/>
                  <a:pt x="7872031" y="196339"/>
                </a:cubicBezTo>
                <a:cubicBezTo>
                  <a:pt x="7872031" y="184790"/>
                  <a:pt x="7881271" y="175550"/>
                  <a:pt x="7892822" y="175550"/>
                </a:cubicBezTo>
                <a:close/>
                <a:moveTo>
                  <a:pt x="7757693" y="175550"/>
                </a:moveTo>
                <a:cubicBezTo>
                  <a:pt x="7769244" y="175550"/>
                  <a:pt x="7778483" y="184790"/>
                  <a:pt x="7778483" y="196339"/>
                </a:cubicBezTo>
                <a:cubicBezTo>
                  <a:pt x="7778483" y="207888"/>
                  <a:pt x="7769244" y="217128"/>
                  <a:pt x="7757693" y="217128"/>
                </a:cubicBezTo>
                <a:cubicBezTo>
                  <a:pt x="7746146" y="217128"/>
                  <a:pt x="7736906" y="207888"/>
                  <a:pt x="7736906" y="196339"/>
                </a:cubicBezTo>
                <a:cubicBezTo>
                  <a:pt x="7736906" y="184790"/>
                  <a:pt x="7746146" y="175550"/>
                  <a:pt x="7757693" y="175550"/>
                </a:cubicBezTo>
                <a:close/>
                <a:moveTo>
                  <a:pt x="7622566" y="175550"/>
                </a:moveTo>
                <a:cubicBezTo>
                  <a:pt x="7632962" y="175550"/>
                  <a:pt x="7643355" y="184790"/>
                  <a:pt x="7643355" y="196339"/>
                </a:cubicBezTo>
                <a:cubicBezTo>
                  <a:pt x="7643355" y="207888"/>
                  <a:pt x="7634115" y="217128"/>
                  <a:pt x="7622566" y="217128"/>
                </a:cubicBezTo>
                <a:cubicBezTo>
                  <a:pt x="7611018" y="217128"/>
                  <a:pt x="7601778" y="207888"/>
                  <a:pt x="7601778" y="196339"/>
                </a:cubicBezTo>
                <a:cubicBezTo>
                  <a:pt x="7601778" y="184790"/>
                  <a:pt x="7611018" y="175550"/>
                  <a:pt x="7622566" y="175550"/>
                </a:cubicBezTo>
                <a:close/>
                <a:moveTo>
                  <a:pt x="7486284" y="175550"/>
                </a:moveTo>
                <a:cubicBezTo>
                  <a:pt x="7497834" y="175550"/>
                  <a:pt x="7507074" y="184790"/>
                  <a:pt x="7507074" y="196339"/>
                </a:cubicBezTo>
                <a:cubicBezTo>
                  <a:pt x="7507074" y="207888"/>
                  <a:pt x="7497834" y="217128"/>
                  <a:pt x="7486284" y="217128"/>
                </a:cubicBezTo>
                <a:cubicBezTo>
                  <a:pt x="7474735" y="217128"/>
                  <a:pt x="7465495" y="207888"/>
                  <a:pt x="7465495" y="196339"/>
                </a:cubicBezTo>
                <a:cubicBezTo>
                  <a:pt x="7465495" y="184790"/>
                  <a:pt x="7474735" y="175550"/>
                  <a:pt x="7486284" y="175550"/>
                </a:cubicBezTo>
                <a:close/>
                <a:moveTo>
                  <a:pt x="7351157" y="175550"/>
                </a:moveTo>
                <a:cubicBezTo>
                  <a:pt x="7362706" y="175550"/>
                  <a:pt x="7371946" y="184790"/>
                  <a:pt x="7371946" y="196339"/>
                </a:cubicBezTo>
                <a:cubicBezTo>
                  <a:pt x="7371946" y="207888"/>
                  <a:pt x="7362706" y="217128"/>
                  <a:pt x="7351157" y="217128"/>
                </a:cubicBezTo>
                <a:cubicBezTo>
                  <a:pt x="7339609" y="217128"/>
                  <a:pt x="7330369" y="207888"/>
                  <a:pt x="7330369" y="196339"/>
                </a:cubicBezTo>
                <a:cubicBezTo>
                  <a:pt x="7330369" y="184790"/>
                  <a:pt x="7339609" y="175550"/>
                  <a:pt x="7351157" y="175550"/>
                </a:cubicBezTo>
                <a:close/>
                <a:moveTo>
                  <a:pt x="7216030" y="175550"/>
                </a:moveTo>
                <a:cubicBezTo>
                  <a:pt x="7227579" y="175550"/>
                  <a:pt x="7236819" y="184790"/>
                  <a:pt x="7236819" y="196339"/>
                </a:cubicBezTo>
                <a:cubicBezTo>
                  <a:pt x="7236819" y="207888"/>
                  <a:pt x="7227579" y="217128"/>
                  <a:pt x="7216030" y="217128"/>
                </a:cubicBezTo>
                <a:cubicBezTo>
                  <a:pt x="7204481" y="217128"/>
                  <a:pt x="7195241" y="207888"/>
                  <a:pt x="7195241" y="196339"/>
                </a:cubicBezTo>
                <a:cubicBezTo>
                  <a:pt x="7195241" y="184790"/>
                  <a:pt x="7204481" y="175550"/>
                  <a:pt x="7216030" y="175550"/>
                </a:cubicBezTo>
                <a:close/>
                <a:moveTo>
                  <a:pt x="7079748" y="175550"/>
                </a:moveTo>
                <a:cubicBezTo>
                  <a:pt x="7091297" y="175550"/>
                  <a:pt x="7100537" y="184790"/>
                  <a:pt x="7100537" y="196339"/>
                </a:cubicBezTo>
                <a:cubicBezTo>
                  <a:pt x="7100537" y="207888"/>
                  <a:pt x="7091297" y="217128"/>
                  <a:pt x="7079748" y="217128"/>
                </a:cubicBezTo>
                <a:cubicBezTo>
                  <a:pt x="7068199" y="217128"/>
                  <a:pt x="7058959" y="207888"/>
                  <a:pt x="7058959" y="196339"/>
                </a:cubicBezTo>
                <a:cubicBezTo>
                  <a:pt x="7058959" y="184790"/>
                  <a:pt x="7068199" y="175550"/>
                  <a:pt x="7079748" y="175550"/>
                </a:cubicBezTo>
                <a:close/>
                <a:moveTo>
                  <a:pt x="6131548" y="175550"/>
                </a:moveTo>
                <a:cubicBezTo>
                  <a:pt x="6143096" y="175550"/>
                  <a:pt x="6152336" y="184790"/>
                  <a:pt x="6152336" y="196339"/>
                </a:cubicBezTo>
                <a:cubicBezTo>
                  <a:pt x="6152336" y="207888"/>
                  <a:pt x="6143096" y="217128"/>
                  <a:pt x="6131548" y="217128"/>
                </a:cubicBezTo>
                <a:cubicBezTo>
                  <a:pt x="6119997" y="217128"/>
                  <a:pt x="6110759" y="207888"/>
                  <a:pt x="6110759" y="196339"/>
                </a:cubicBezTo>
                <a:cubicBezTo>
                  <a:pt x="6110759" y="184790"/>
                  <a:pt x="6119997" y="175550"/>
                  <a:pt x="6131548" y="175550"/>
                </a:cubicBezTo>
                <a:close/>
                <a:moveTo>
                  <a:pt x="5996418" y="175550"/>
                </a:moveTo>
                <a:cubicBezTo>
                  <a:pt x="6007969" y="175550"/>
                  <a:pt x="6017209" y="184790"/>
                  <a:pt x="6017209" y="196339"/>
                </a:cubicBezTo>
                <a:cubicBezTo>
                  <a:pt x="6017209" y="207888"/>
                  <a:pt x="6007969" y="217128"/>
                  <a:pt x="5996418" y="217128"/>
                </a:cubicBezTo>
                <a:cubicBezTo>
                  <a:pt x="5984870" y="217128"/>
                  <a:pt x="5975631" y="207888"/>
                  <a:pt x="5975631" y="196339"/>
                </a:cubicBezTo>
                <a:cubicBezTo>
                  <a:pt x="5975631" y="184790"/>
                  <a:pt x="5984870" y="175550"/>
                  <a:pt x="5996418" y="175550"/>
                </a:cubicBezTo>
                <a:close/>
                <a:moveTo>
                  <a:pt x="3415142" y="175550"/>
                </a:moveTo>
                <a:cubicBezTo>
                  <a:pt x="3426691" y="175550"/>
                  <a:pt x="3435930" y="184790"/>
                  <a:pt x="3435930" y="196339"/>
                </a:cubicBezTo>
                <a:cubicBezTo>
                  <a:pt x="3435930" y="207888"/>
                  <a:pt x="3426691" y="217128"/>
                  <a:pt x="3415142" y="217128"/>
                </a:cubicBezTo>
                <a:cubicBezTo>
                  <a:pt x="3403592" y="217128"/>
                  <a:pt x="3394352" y="207888"/>
                  <a:pt x="3394352" y="196339"/>
                </a:cubicBezTo>
                <a:cubicBezTo>
                  <a:pt x="3394352" y="184790"/>
                  <a:pt x="3403592" y="175550"/>
                  <a:pt x="3415142" y="175550"/>
                </a:cubicBezTo>
                <a:close/>
                <a:moveTo>
                  <a:pt x="3280013" y="175550"/>
                </a:moveTo>
                <a:cubicBezTo>
                  <a:pt x="3291564" y="175550"/>
                  <a:pt x="3300802" y="184790"/>
                  <a:pt x="3300802" y="196339"/>
                </a:cubicBezTo>
                <a:cubicBezTo>
                  <a:pt x="3300802" y="207888"/>
                  <a:pt x="3291564" y="217128"/>
                  <a:pt x="3280013" y="217128"/>
                </a:cubicBezTo>
                <a:cubicBezTo>
                  <a:pt x="3268464" y="217128"/>
                  <a:pt x="3259224" y="207888"/>
                  <a:pt x="3259224" y="196339"/>
                </a:cubicBezTo>
                <a:cubicBezTo>
                  <a:pt x="3259224" y="184790"/>
                  <a:pt x="3268464" y="175550"/>
                  <a:pt x="3280013" y="175550"/>
                </a:cubicBezTo>
                <a:close/>
                <a:moveTo>
                  <a:pt x="3144887" y="175550"/>
                </a:moveTo>
                <a:cubicBezTo>
                  <a:pt x="3156436" y="175550"/>
                  <a:pt x="3165675" y="184790"/>
                  <a:pt x="3165675" y="196339"/>
                </a:cubicBezTo>
                <a:cubicBezTo>
                  <a:pt x="3165675" y="207888"/>
                  <a:pt x="3156436" y="217128"/>
                  <a:pt x="3144887" y="217128"/>
                </a:cubicBezTo>
                <a:cubicBezTo>
                  <a:pt x="3133338" y="217128"/>
                  <a:pt x="3124098" y="207888"/>
                  <a:pt x="3124098" y="196339"/>
                </a:cubicBezTo>
                <a:cubicBezTo>
                  <a:pt x="3124098" y="184790"/>
                  <a:pt x="3133338" y="175550"/>
                  <a:pt x="3144887" y="175550"/>
                </a:cubicBezTo>
                <a:close/>
                <a:moveTo>
                  <a:pt x="3009759" y="175550"/>
                </a:moveTo>
                <a:cubicBezTo>
                  <a:pt x="3020154" y="175550"/>
                  <a:pt x="3030548" y="184790"/>
                  <a:pt x="3030548" y="196339"/>
                </a:cubicBezTo>
                <a:cubicBezTo>
                  <a:pt x="3030548" y="207888"/>
                  <a:pt x="3021308" y="217128"/>
                  <a:pt x="3009759" y="217128"/>
                </a:cubicBezTo>
                <a:cubicBezTo>
                  <a:pt x="2998209" y="217128"/>
                  <a:pt x="2988971" y="207888"/>
                  <a:pt x="2988971" y="196339"/>
                </a:cubicBezTo>
                <a:cubicBezTo>
                  <a:pt x="2988971" y="184790"/>
                  <a:pt x="2998209" y="175550"/>
                  <a:pt x="3009759" y="175550"/>
                </a:cubicBezTo>
                <a:close/>
                <a:moveTo>
                  <a:pt x="2873476" y="175550"/>
                </a:moveTo>
                <a:cubicBezTo>
                  <a:pt x="2885026" y="175550"/>
                  <a:pt x="2894265" y="184790"/>
                  <a:pt x="2894265" y="196339"/>
                </a:cubicBezTo>
                <a:cubicBezTo>
                  <a:pt x="2894265" y="207888"/>
                  <a:pt x="2885026" y="217128"/>
                  <a:pt x="2873476" y="217128"/>
                </a:cubicBezTo>
                <a:cubicBezTo>
                  <a:pt x="2861927" y="217128"/>
                  <a:pt x="2852688" y="207888"/>
                  <a:pt x="2852688" y="196339"/>
                </a:cubicBezTo>
                <a:cubicBezTo>
                  <a:pt x="2852688" y="184790"/>
                  <a:pt x="2861927" y="175550"/>
                  <a:pt x="2873476" y="175550"/>
                </a:cubicBezTo>
                <a:close/>
                <a:moveTo>
                  <a:pt x="2738350" y="175550"/>
                </a:moveTo>
                <a:cubicBezTo>
                  <a:pt x="2749899" y="175550"/>
                  <a:pt x="2759139" y="184790"/>
                  <a:pt x="2759139" y="196339"/>
                </a:cubicBezTo>
                <a:cubicBezTo>
                  <a:pt x="2759139" y="207888"/>
                  <a:pt x="2749899" y="217128"/>
                  <a:pt x="2738350" y="217128"/>
                </a:cubicBezTo>
                <a:cubicBezTo>
                  <a:pt x="2726800" y="217128"/>
                  <a:pt x="2717562" y="207888"/>
                  <a:pt x="2717562" y="196339"/>
                </a:cubicBezTo>
                <a:cubicBezTo>
                  <a:pt x="2717562" y="184790"/>
                  <a:pt x="2726800" y="175550"/>
                  <a:pt x="2738350" y="175550"/>
                </a:cubicBezTo>
                <a:close/>
                <a:moveTo>
                  <a:pt x="2603222" y="175550"/>
                </a:moveTo>
                <a:cubicBezTo>
                  <a:pt x="2614771" y="175550"/>
                  <a:pt x="2624011" y="184790"/>
                  <a:pt x="2624011" y="196339"/>
                </a:cubicBezTo>
                <a:cubicBezTo>
                  <a:pt x="2624011" y="207888"/>
                  <a:pt x="2614771" y="217128"/>
                  <a:pt x="2603222" y="217128"/>
                </a:cubicBezTo>
                <a:cubicBezTo>
                  <a:pt x="2591673" y="217128"/>
                  <a:pt x="2582433" y="207888"/>
                  <a:pt x="2582433" y="196339"/>
                </a:cubicBezTo>
                <a:cubicBezTo>
                  <a:pt x="2582433" y="184790"/>
                  <a:pt x="2591673" y="175550"/>
                  <a:pt x="2603222" y="175550"/>
                </a:cubicBezTo>
                <a:close/>
                <a:moveTo>
                  <a:pt x="2466940" y="175550"/>
                </a:moveTo>
                <a:cubicBezTo>
                  <a:pt x="2478489" y="175550"/>
                  <a:pt x="2487729" y="184790"/>
                  <a:pt x="2487729" y="196339"/>
                </a:cubicBezTo>
                <a:cubicBezTo>
                  <a:pt x="2487729" y="207888"/>
                  <a:pt x="2478489" y="217128"/>
                  <a:pt x="2466940" y="217128"/>
                </a:cubicBezTo>
                <a:cubicBezTo>
                  <a:pt x="2455390" y="217128"/>
                  <a:pt x="2446151" y="207888"/>
                  <a:pt x="2446151" y="196339"/>
                </a:cubicBezTo>
                <a:cubicBezTo>
                  <a:pt x="2446151" y="184790"/>
                  <a:pt x="2455390" y="175550"/>
                  <a:pt x="2466940" y="175550"/>
                </a:cubicBezTo>
                <a:close/>
                <a:moveTo>
                  <a:pt x="1518739" y="175550"/>
                </a:moveTo>
                <a:cubicBezTo>
                  <a:pt x="1530289" y="175550"/>
                  <a:pt x="1539528" y="184790"/>
                  <a:pt x="1539528" y="196339"/>
                </a:cubicBezTo>
                <a:cubicBezTo>
                  <a:pt x="1539528" y="207888"/>
                  <a:pt x="1530289" y="217128"/>
                  <a:pt x="1518739" y="217128"/>
                </a:cubicBezTo>
                <a:cubicBezTo>
                  <a:pt x="1507190" y="217128"/>
                  <a:pt x="1497951" y="207888"/>
                  <a:pt x="1497951" y="196339"/>
                </a:cubicBezTo>
                <a:cubicBezTo>
                  <a:pt x="1497951" y="184790"/>
                  <a:pt x="1507190" y="175550"/>
                  <a:pt x="1518739" y="175550"/>
                </a:cubicBezTo>
                <a:close/>
                <a:moveTo>
                  <a:pt x="1383611" y="175550"/>
                </a:moveTo>
                <a:cubicBezTo>
                  <a:pt x="1395161" y="175550"/>
                  <a:pt x="1404400" y="184790"/>
                  <a:pt x="1404400" y="196339"/>
                </a:cubicBezTo>
                <a:cubicBezTo>
                  <a:pt x="1404400" y="207888"/>
                  <a:pt x="1395161" y="217128"/>
                  <a:pt x="1383611" y="217128"/>
                </a:cubicBezTo>
                <a:cubicBezTo>
                  <a:pt x="1372062" y="217128"/>
                  <a:pt x="1362823" y="207888"/>
                  <a:pt x="1362823" y="196339"/>
                </a:cubicBezTo>
                <a:cubicBezTo>
                  <a:pt x="1362823" y="184790"/>
                  <a:pt x="1372062" y="175550"/>
                  <a:pt x="1383611" y="175550"/>
                </a:cubicBezTo>
                <a:close/>
                <a:moveTo>
                  <a:pt x="11549947" y="172086"/>
                </a:moveTo>
                <a:cubicBezTo>
                  <a:pt x="11562650" y="172086"/>
                  <a:pt x="11573046" y="182480"/>
                  <a:pt x="11573046" y="195185"/>
                </a:cubicBezTo>
                <a:cubicBezTo>
                  <a:pt x="11573046" y="207888"/>
                  <a:pt x="11562650" y="218283"/>
                  <a:pt x="11549947" y="218283"/>
                </a:cubicBezTo>
                <a:cubicBezTo>
                  <a:pt x="11537242" y="218283"/>
                  <a:pt x="11526848" y="207888"/>
                  <a:pt x="11526848" y="195185"/>
                </a:cubicBezTo>
                <a:cubicBezTo>
                  <a:pt x="11526848" y="182480"/>
                  <a:pt x="11537242" y="172086"/>
                  <a:pt x="11549947" y="172086"/>
                </a:cubicBezTo>
                <a:close/>
                <a:moveTo>
                  <a:pt x="10466618" y="172086"/>
                </a:moveTo>
                <a:cubicBezTo>
                  <a:pt x="10479322" y="172086"/>
                  <a:pt x="10489717" y="182480"/>
                  <a:pt x="10489717" y="195185"/>
                </a:cubicBezTo>
                <a:cubicBezTo>
                  <a:pt x="10489717" y="207888"/>
                  <a:pt x="10479322" y="218283"/>
                  <a:pt x="10466618" y="218283"/>
                </a:cubicBezTo>
                <a:cubicBezTo>
                  <a:pt x="10453914" y="218283"/>
                  <a:pt x="10443520" y="207888"/>
                  <a:pt x="10443520" y="195185"/>
                </a:cubicBezTo>
                <a:cubicBezTo>
                  <a:pt x="10443520" y="182480"/>
                  <a:pt x="10453914" y="172086"/>
                  <a:pt x="10466618" y="172086"/>
                </a:cubicBezTo>
                <a:close/>
                <a:moveTo>
                  <a:pt x="9244698" y="172086"/>
                </a:moveTo>
                <a:cubicBezTo>
                  <a:pt x="9258557" y="172086"/>
                  <a:pt x="9268951" y="181325"/>
                  <a:pt x="9270107" y="194029"/>
                </a:cubicBezTo>
                <a:cubicBezTo>
                  <a:pt x="9271261" y="206734"/>
                  <a:pt x="9262022" y="219438"/>
                  <a:pt x="9249318" y="219438"/>
                </a:cubicBezTo>
                <a:cubicBezTo>
                  <a:pt x="9236613" y="219438"/>
                  <a:pt x="9225064" y="210198"/>
                  <a:pt x="9223909" y="197494"/>
                </a:cubicBezTo>
                <a:cubicBezTo>
                  <a:pt x="9222754" y="184790"/>
                  <a:pt x="9231993" y="173240"/>
                  <a:pt x="9244698" y="172086"/>
                </a:cubicBezTo>
                <a:close/>
                <a:moveTo>
                  <a:pt x="8164231" y="172086"/>
                </a:moveTo>
                <a:cubicBezTo>
                  <a:pt x="8176935" y="172086"/>
                  <a:pt x="8187331" y="182480"/>
                  <a:pt x="8187331" y="195185"/>
                </a:cubicBezTo>
                <a:cubicBezTo>
                  <a:pt x="8187331" y="207888"/>
                  <a:pt x="8176935" y="218283"/>
                  <a:pt x="8164231" y="218283"/>
                </a:cubicBezTo>
                <a:cubicBezTo>
                  <a:pt x="8151527" y="218283"/>
                  <a:pt x="8141133" y="207888"/>
                  <a:pt x="8141133" y="195185"/>
                </a:cubicBezTo>
                <a:cubicBezTo>
                  <a:pt x="8141133" y="182480"/>
                  <a:pt x="8151527" y="172086"/>
                  <a:pt x="8164231" y="172086"/>
                </a:cubicBezTo>
                <a:close/>
                <a:moveTo>
                  <a:pt x="6944621" y="172086"/>
                </a:moveTo>
                <a:cubicBezTo>
                  <a:pt x="6957325" y="172086"/>
                  <a:pt x="6967719" y="182480"/>
                  <a:pt x="6967719" y="195185"/>
                </a:cubicBezTo>
                <a:cubicBezTo>
                  <a:pt x="6967719" y="207888"/>
                  <a:pt x="6957325" y="218283"/>
                  <a:pt x="6944621" y="218283"/>
                </a:cubicBezTo>
                <a:cubicBezTo>
                  <a:pt x="6931915" y="218283"/>
                  <a:pt x="6921522" y="207888"/>
                  <a:pt x="6921522" y="195185"/>
                </a:cubicBezTo>
                <a:cubicBezTo>
                  <a:pt x="6921522" y="182480"/>
                  <a:pt x="6931915" y="172086"/>
                  <a:pt x="6944621" y="172086"/>
                </a:cubicBezTo>
                <a:close/>
                <a:moveTo>
                  <a:pt x="5861292" y="172086"/>
                </a:moveTo>
                <a:cubicBezTo>
                  <a:pt x="5873996" y="172086"/>
                  <a:pt x="5884392" y="182480"/>
                  <a:pt x="5884392" y="195185"/>
                </a:cubicBezTo>
                <a:cubicBezTo>
                  <a:pt x="5884392" y="207888"/>
                  <a:pt x="5873996" y="218283"/>
                  <a:pt x="5861292" y="218283"/>
                </a:cubicBezTo>
                <a:cubicBezTo>
                  <a:pt x="5848588" y="218283"/>
                  <a:pt x="5838194" y="207888"/>
                  <a:pt x="5838194" y="195185"/>
                </a:cubicBezTo>
                <a:cubicBezTo>
                  <a:pt x="5838194" y="182480"/>
                  <a:pt x="5848588" y="172086"/>
                  <a:pt x="5861292" y="172086"/>
                </a:cubicBezTo>
                <a:close/>
                <a:moveTo>
                  <a:pt x="4639374" y="172086"/>
                </a:moveTo>
                <a:cubicBezTo>
                  <a:pt x="4653231" y="172086"/>
                  <a:pt x="4663624" y="181325"/>
                  <a:pt x="4664780" y="192875"/>
                </a:cubicBezTo>
                <a:cubicBezTo>
                  <a:pt x="4665936" y="205578"/>
                  <a:pt x="4656695" y="217128"/>
                  <a:pt x="4643991" y="218283"/>
                </a:cubicBezTo>
                <a:cubicBezTo>
                  <a:pt x="4631287" y="219438"/>
                  <a:pt x="4619739" y="210198"/>
                  <a:pt x="4618583" y="197494"/>
                </a:cubicBezTo>
                <a:cubicBezTo>
                  <a:pt x="4617428" y="184790"/>
                  <a:pt x="4626667" y="173240"/>
                  <a:pt x="4639374" y="172086"/>
                </a:cubicBezTo>
                <a:close/>
                <a:moveTo>
                  <a:pt x="3551423" y="172086"/>
                </a:moveTo>
                <a:cubicBezTo>
                  <a:pt x="3564127" y="172086"/>
                  <a:pt x="3574522" y="182480"/>
                  <a:pt x="3574522" y="195185"/>
                </a:cubicBezTo>
                <a:cubicBezTo>
                  <a:pt x="3574522" y="207888"/>
                  <a:pt x="3564127" y="218283"/>
                  <a:pt x="3551423" y="218283"/>
                </a:cubicBezTo>
                <a:cubicBezTo>
                  <a:pt x="3538719" y="218283"/>
                  <a:pt x="3528325" y="207888"/>
                  <a:pt x="3528325" y="195185"/>
                </a:cubicBezTo>
                <a:cubicBezTo>
                  <a:pt x="3528325" y="182480"/>
                  <a:pt x="3538719" y="172086"/>
                  <a:pt x="3551423" y="172086"/>
                </a:cubicBezTo>
                <a:close/>
                <a:moveTo>
                  <a:pt x="2331813" y="172086"/>
                </a:moveTo>
                <a:cubicBezTo>
                  <a:pt x="2344517" y="172086"/>
                  <a:pt x="2354912" y="182480"/>
                  <a:pt x="2354912" y="195185"/>
                </a:cubicBezTo>
                <a:cubicBezTo>
                  <a:pt x="2354912" y="207888"/>
                  <a:pt x="2344517" y="218283"/>
                  <a:pt x="2331813" y="218283"/>
                </a:cubicBezTo>
                <a:cubicBezTo>
                  <a:pt x="2319108" y="218283"/>
                  <a:pt x="2308714" y="207888"/>
                  <a:pt x="2308714" y="195185"/>
                </a:cubicBezTo>
                <a:cubicBezTo>
                  <a:pt x="2308714" y="182480"/>
                  <a:pt x="2319108" y="172086"/>
                  <a:pt x="2331813" y="172086"/>
                </a:cubicBezTo>
                <a:close/>
                <a:moveTo>
                  <a:pt x="1248485" y="172086"/>
                </a:moveTo>
                <a:cubicBezTo>
                  <a:pt x="1261188" y="172086"/>
                  <a:pt x="1271583" y="182480"/>
                  <a:pt x="1271583" y="195185"/>
                </a:cubicBezTo>
                <a:cubicBezTo>
                  <a:pt x="1271583" y="207888"/>
                  <a:pt x="1261188" y="218283"/>
                  <a:pt x="1248485" y="218283"/>
                </a:cubicBezTo>
                <a:cubicBezTo>
                  <a:pt x="1235780" y="218283"/>
                  <a:pt x="1225386" y="207888"/>
                  <a:pt x="1225386" y="195185"/>
                </a:cubicBezTo>
                <a:cubicBezTo>
                  <a:pt x="1225386" y="182480"/>
                  <a:pt x="1235780" y="172086"/>
                  <a:pt x="1248485" y="172086"/>
                </a:cubicBezTo>
                <a:close/>
                <a:moveTo>
                  <a:pt x="26564" y="172086"/>
                </a:moveTo>
                <a:cubicBezTo>
                  <a:pt x="40424" y="172086"/>
                  <a:pt x="50817" y="181325"/>
                  <a:pt x="51973" y="194029"/>
                </a:cubicBezTo>
                <a:cubicBezTo>
                  <a:pt x="53127" y="206734"/>
                  <a:pt x="43888" y="219438"/>
                  <a:pt x="31184" y="219438"/>
                </a:cubicBezTo>
                <a:cubicBezTo>
                  <a:pt x="18479" y="219438"/>
                  <a:pt x="6930" y="210198"/>
                  <a:pt x="5776" y="197494"/>
                </a:cubicBezTo>
                <a:cubicBezTo>
                  <a:pt x="4620" y="184790"/>
                  <a:pt x="13860" y="173240"/>
                  <a:pt x="26564" y="172086"/>
                </a:cubicBezTo>
                <a:close/>
                <a:moveTo>
                  <a:pt x="11414819" y="166311"/>
                </a:moveTo>
                <a:cubicBezTo>
                  <a:pt x="11430988" y="166311"/>
                  <a:pt x="11443693" y="179016"/>
                  <a:pt x="11443693" y="195185"/>
                </a:cubicBezTo>
                <a:cubicBezTo>
                  <a:pt x="11443693" y="211354"/>
                  <a:pt x="11430988" y="224057"/>
                  <a:pt x="11414819" y="224057"/>
                </a:cubicBezTo>
                <a:cubicBezTo>
                  <a:pt x="11398650" y="224057"/>
                  <a:pt x="11385946" y="211354"/>
                  <a:pt x="11385946" y="195185"/>
                </a:cubicBezTo>
                <a:cubicBezTo>
                  <a:pt x="11385946" y="179016"/>
                  <a:pt x="11398650" y="166311"/>
                  <a:pt x="11414819" y="166311"/>
                </a:cubicBezTo>
                <a:close/>
                <a:moveTo>
                  <a:pt x="10330336" y="166311"/>
                </a:moveTo>
                <a:cubicBezTo>
                  <a:pt x="10346505" y="166311"/>
                  <a:pt x="10359209" y="179016"/>
                  <a:pt x="10359209" y="195185"/>
                </a:cubicBezTo>
                <a:cubicBezTo>
                  <a:pt x="10359209" y="211354"/>
                  <a:pt x="10346505" y="224057"/>
                  <a:pt x="10330336" y="224057"/>
                </a:cubicBezTo>
                <a:cubicBezTo>
                  <a:pt x="10314167" y="224057"/>
                  <a:pt x="10301462" y="211354"/>
                  <a:pt x="10301462" y="195185"/>
                </a:cubicBezTo>
                <a:cubicBezTo>
                  <a:pt x="10301462" y="179016"/>
                  <a:pt x="10314167" y="166311"/>
                  <a:pt x="10330336" y="166311"/>
                </a:cubicBezTo>
                <a:close/>
                <a:moveTo>
                  <a:pt x="9382135" y="166311"/>
                </a:moveTo>
                <a:cubicBezTo>
                  <a:pt x="9398304" y="166311"/>
                  <a:pt x="9411009" y="179016"/>
                  <a:pt x="9411009" y="195185"/>
                </a:cubicBezTo>
                <a:cubicBezTo>
                  <a:pt x="9411009" y="211354"/>
                  <a:pt x="9398304" y="224057"/>
                  <a:pt x="9382135" y="224057"/>
                </a:cubicBezTo>
                <a:cubicBezTo>
                  <a:pt x="9365966" y="224057"/>
                  <a:pt x="9353262" y="211354"/>
                  <a:pt x="9353262" y="195185"/>
                </a:cubicBezTo>
                <a:cubicBezTo>
                  <a:pt x="9353262" y="179016"/>
                  <a:pt x="9365966" y="166311"/>
                  <a:pt x="9382135" y="166311"/>
                </a:cubicBezTo>
                <a:close/>
                <a:moveTo>
                  <a:pt x="9112431" y="166311"/>
                </a:moveTo>
                <a:cubicBezTo>
                  <a:pt x="9128600" y="166311"/>
                  <a:pt x="9141305" y="179016"/>
                  <a:pt x="9141305" y="195185"/>
                </a:cubicBezTo>
                <a:cubicBezTo>
                  <a:pt x="9141305" y="211354"/>
                  <a:pt x="9128600" y="224057"/>
                  <a:pt x="9112431" y="224057"/>
                </a:cubicBezTo>
                <a:cubicBezTo>
                  <a:pt x="9096262" y="224057"/>
                  <a:pt x="9083558" y="211354"/>
                  <a:pt x="9083558" y="195185"/>
                </a:cubicBezTo>
                <a:cubicBezTo>
                  <a:pt x="9083558" y="179016"/>
                  <a:pt x="9096262" y="166311"/>
                  <a:pt x="9112431" y="166311"/>
                </a:cubicBezTo>
                <a:close/>
                <a:moveTo>
                  <a:pt x="8299358" y="166311"/>
                </a:moveTo>
                <a:cubicBezTo>
                  <a:pt x="8315526" y="166311"/>
                  <a:pt x="8328231" y="179016"/>
                  <a:pt x="8328231" y="195185"/>
                </a:cubicBezTo>
                <a:cubicBezTo>
                  <a:pt x="8328231" y="211354"/>
                  <a:pt x="8315526" y="224057"/>
                  <a:pt x="8299358" y="224057"/>
                </a:cubicBezTo>
                <a:cubicBezTo>
                  <a:pt x="8283189" y="224057"/>
                  <a:pt x="8270485" y="211354"/>
                  <a:pt x="8270485" y="195185"/>
                </a:cubicBezTo>
                <a:cubicBezTo>
                  <a:pt x="8270485" y="179016"/>
                  <a:pt x="8283189" y="166311"/>
                  <a:pt x="8299358" y="166311"/>
                </a:cubicBezTo>
                <a:close/>
                <a:moveTo>
                  <a:pt x="6809492" y="166311"/>
                </a:moveTo>
                <a:cubicBezTo>
                  <a:pt x="6825661" y="166311"/>
                  <a:pt x="6838367" y="179016"/>
                  <a:pt x="6838367" y="195185"/>
                </a:cubicBezTo>
                <a:cubicBezTo>
                  <a:pt x="6838367" y="211354"/>
                  <a:pt x="6825661" y="224057"/>
                  <a:pt x="6809492" y="224057"/>
                </a:cubicBezTo>
                <a:cubicBezTo>
                  <a:pt x="6793324" y="224057"/>
                  <a:pt x="6780620" y="211354"/>
                  <a:pt x="6780620" y="195185"/>
                </a:cubicBezTo>
                <a:cubicBezTo>
                  <a:pt x="6780620" y="179016"/>
                  <a:pt x="6793324" y="166311"/>
                  <a:pt x="6809492" y="166311"/>
                </a:cubicBezTo>
                <a:close/>
                <a:moveTo>
                  <a:pt x="5726165" y="166311"/>
                </a:moveTo>
                <a:cubicBezTo>
                  <a:pt x="5741178" y="166311"/>
                  <a:pt x="5755038" y="179016"/>
                  <a:pt x="5755038" y="195185"/>
                </a:cubicBezTo>
                <a:cubicBezTo>
                  <a:pt x="5755038" y="211354"/>
                  <a:pt x="5742334" y="224057"/>
                  <a:pt x="5726165" y="224057"/>
                </a:cubicBezTo>
                <a:cubicBezTo>
                  <a:pt x="5709996" y="224057"/>
                  <a:pt x="5697292" y="211354"/>
                  <a:pt x="5697292" y="195185"/>
                </a:cubicBezTo>
                <a:cubicBezTo>
                  <a:pt x="5697292" y="179016"/>
                  <a:pt x="5709996" y="166311"/>
                  <a:pt x="5726165" y="166311"/>
                </a:cubicBezTo>
                <a:close/>
                <a:moveTo>
                  <a:pt x="4776809" y="166311"/>
                </a:moveTo>
                <a:cubicBezTo>
                  <a:pt x="4792978" y="166311"/>
                  <a:pt x="4805682" y="179016"/>
                  <a:pt x="4805682" y="195185"/>
                </a:cubicBezTo>
                <a:cubicBezTo>
                  <a:pt x="4805682" y="211354"/>
                  <a:pt x="4792978" y="224057"/>
                  <a:pt x="4776809" y="224057"/>
                </a:cubicBezTo>
                <a:cubicBezTo>
                  <a:pt x="4760640" y="224057"/>
                  <a:pt x="4747936" y="211354"/>
                  <a:pt x="4747936" y="195185"/>
                </a:cubicBezTo>
                <a:cubicBezTo>
                  <a:pt x="4747936" y="179016"/>
                  <a:pt x="4760640" y="166311"/>
                  <a:pt x="4776809" y="166311"/>
                </a:cubicBezTo>
                <a:close/>
                <a:moveTo>
                  <a:pt x="4499625" y="166311"/>
                </a:moveTo>
                <a:cubicBezTo>
                  <a:pt x="4515793" y="166311"/>
                  <a:pt x="4528499" y="179016"/>
                  <a:pt x="4528499" y="195185"/>
                </a:cubicBezTo>
                <a:cubicBezTo>
                  <a:pt x="4528499" y="211354"/>
                  <a:pt x="4515793" y="224057"/>
                  <a:pt x="4499625" y="224057"/>
                </a:cubicBezTo>
                <a:cubicBezTo>
                  <a:pt x="4483457" y="224057"/>
                  <a:pt x="4470752" y="211354"/>
                  <a:pt x="4470752" y="195185"/>
                </a:cubicBezTo>
                <a:cubicBezTo>
                  <a:pt x="4470752" y="179016"/>
                  <a:pt x="4483457" y="166311"/>
                  <a:pt x="4499625" y="166311"/>
                </a:cubicBezTo>
                <a:close/>
                <a:moveTo>
                  <a:pt x="3686551" y="166311"/>
                </a:moveTo>
                <a:cubicBezTo>
                  <a:pt x="3702719" y="166311"/>
                  <a:pt x="3715424" y="179016"/>
                  <a:pt x="3715424" y="195185"/>
                </a:cubicBezTo>
                <a:cubicBezTo>
                  <a:pt x="3715424" y="211354"/>
                  <a:pt x="3702719" y="224057"/>
                  <a:pt x="3686551" y="224057"/>
                </a:cubicBezTo>
                <a:cubicBezTo>
                  <a:pt x="3670381" y="224057"/>
                  <a:pt x="3657677" y="211354"/>
                  <a:pt x="3657677" y="195185"/>
                </a:cubicBezTo>
                <a:cubicBezTo>
                  <a:pt x="3657677" y="179016"/>
                  <a:pt x="3670381" y="166311"/>
                  <a:pt x="3686551" y="166311"/>
                </a:cubicBezTo>
                <a:close/>
                <a:moveTo>
                  <a:pt x="2196685" y="166311"/>
                </a:moveTo>
                <a:cubicBezTo>
                  <a:pt x="2212854" y="166311"/>
                  <a:pt x="2225559" y="179016"/>
                  <a:pt x="2225559" y="195185"/>
                </a:cubicBezTo>
                <a:cubicBezTo>
                  <a:pt x="2225559" y="211354"/>
                  <a:pt x="2212854" y="224057"/>
                  <a:pt x="2196685" y="224057"/>
                </a:cubicBezTo>
                <a:cubicBezTo>
                  <a:pt x="2180516" y="224057"/>
                  <a:pt x="2167813" y="211354"/>
                  <a:pt x="2167813" y="195185"/>
                </a:cubicBezTo>
                <a:cubicBezTo>
                  <a:pt x="2167813" y="179016"/>
                  <a:pt x="2180516" y="166311"/>
                  <a:pt x="2196685" y="166311"/>
                </a:cubicBezTo>
                <a:close/>
                <a:moveTo>
                  <a:pt x="1112202" y="166311"/>
                </a:moveTo>
                <a:cubicBezTo>
                  <a:pt x="1128371" y="166311"/>
                  <a:pt x="1141075" y="179016"/>
                  <a:pt x="1141075" y="195185"/>
                </a:cubicBezTo>
                <a:cubicBezTo>
                  <a:pt x="1141075" y="211354"/>
                  <a:pt x="1128371" y="224057"/>
                  <a:pt x="1112202" y="224057"/>
                </a:cubicBezTo>
                <a:cubicBezTo>
                  <a:pt x="1096033" y="224057"/>
                  <a:pt x="1083328" y="211354"/>
                  <a:pt x="1083328" y="195185"/>
                </a:cubicBezTo>
                <a:cubicBezTo>
                  <a:pt x="1083328" y="179016"/>
                  <a:pt x="1096033" y="166311"/>
                  <a:pt x="1112202" y="166311"/>
                </a:cubicBezTo>
                <a:close/>
                <a:moveTo>
                  <a:pt x="164001" y="166311"/>
                </a:moveTo>
                <a:cubicBezTo>
                  <a:pt x="180170" y="166311"/>
                  <a:pt x="192875" y="179016"/>
                  <a:pt x="192875" y="195185"/>
                </a:cubicBezTo>
                <a:cubicBezTo>
                  <a:pt x="192875" y="211354"/>
                  <a:pt x="180170" y="224057"/>
                  <a:pt x="164001" y="224057"/>
                </a:cubicBezTo>
                <a:cubicBezTo>
                  <a:pt x="147832" y="224057"/>
                  <a:pt x="135128" y="211354"/>
                  <a:pt x="135128" y="195185"/>
                </a:cubicBezTo>
                <a:cubicBezTo>
                  <a:pt x="135128" y="179016"/>
                  <a:pt x="147832" y="166311"/>
                  <a:pt x="164001" y="166311"/>
                </a:cubicBezTo>
                <a:close/>
                <a:moveTo>
                  <a:pt x="11279692" y="160537"/>
                </a:moveTo>
                <a:cubicBezTo>
                  <a:pt x="11298171" y="160537"/>
                  <a:pt x="11314340" y="176706"/>
                  <a:pt x="11314340" y="195185"/>
                </a:cubicBezTo>
                <a:cubicBezTo>
                  <a:pt x="11314340" y="213664"/>
                  <a:pt x="11299326" y="229833"/>
                  <a:pt x="11279692" y="229833"/>
                </a:cubicBezTo>
                <a:cubicBezTo>
                  <a:pt x="11261213" y="229833"/>
                  <a:pt x="11245044" y="213664"/>
                  <a:pt x="11245044" y="195185"/>
                </a:cubicBezTo>
                <a:cubicBezTo>
                  <a:pt x="11245044" y="176706"/>
                  <a:pt x="11260058" y="160537"/>
                  <a:pt x="11279692" y="160537"/>
                </a:cubicBezTo>
                <a:close/>
                <a:moveTo>
                  <a:pt x="10195208" y="160537"/>
                </a:moveTo>
                <a:cubicBezTo>
                  <a:pt x="10214843" y="160537"/>
                  <a:pt x="10229856" y="176706"/>
                  <a:pt x="10229856" y="195185"/>
                </a:cubicBezTo>
                <a:cubicBezTo>
                  <a:pt x="10229856" y="213664"/>
                  <a:pt x="10213687" y="229833"/>
                  <a:pt x="10195208" y="229833"/>
                </a:cubicBezTo>
                <a:cubicBezTo>
                  <a:pt x="10176729" y="229833"/>
                  <a:pt x="10160560" y="213664"/>
                  <a:pt x="10160560" y="195185"/>
                </a:cubicBezTo>
                <a:cubicBezTo>
                  <a:pt x="10160560" y="176706"/>
                  <a:pt x="10175575" y="160537"/>
                  <a:pt x="10195208" y="160537"/>
                </a:cubicBezTo>
                <a:close/>
                <a:moveTo>
                  <a:pt x="9518417" y="160537"/>
                </a:moveTo>
                <a:cubicBezTo>
                  <a:pt x="9536896" y="160537"/>
                  <a:pt x="9553065" y="176706"/>
                  <a:pt x="9553065" y="195185"/>
                </a:cubicBezTo>
                <a:cubicBezTo>
                  <a:pt x="9553065" y="213664"/>
                  <a:pt x="9536896" y="229833"/>
                  <a:pt x="9518417" y="229833"/>
                </a:cubicBezTo>
                <a:cubicBezTo>
                  <a:pt x="9499938" y="229833"/>
                  <a:pt x="9483769" y="213664"/>
                  <a:pt x="9483769" y="195185"/>
                </a:cubicBezTo>
                <a:cubicBezTo>
                  <a:pt x="9483769" y="176706"/>
                  <a:pt x="9498784" y="160537"/>
                  <a:pt x="9518417" y="160537"/>
                </a:cubicBezTo>
                <a:close/>
                <a:moveTo>
                  <a:pt x="8977304" y="160537"/>
                </a:moveTo>
                <a:cubicBezTo>
                  <a:pt x="8995783" y="160537"/>
                  <a:pt x="9011952" y="176706"/>
                  <a:pt x="9011952" y="195185"/>
                </a:cubicBezTo>
                <a:cubicBezTo>
                  <a:pt x="9011952" y="213664"/>
                  <a:pt x="8996938" y="229833"/>
                  <a:pt x="8977304" y="229833"/>
                </a:cubicBezTo>
                <a:cubicBezTo>
                  <a:pt x="8958825" y="229833"/>
                  <a:pt x="8942656" y="213664"/>
                  <a:pt x="8942656" y="195185"/>
                </a:cubicBezTo>
                <a:cubicBezTo>
                  <a:pt x="8942656" y="176706"/>
                  <a:pt x="8957670" y="160537"/>
                  <a:pt x="8977304" y="160537"/>
                </a:cubicBezTo>
                <a:close/>
                <a:moveTo>
                  <a:pt x="8434485" y="160537"/>
                </a:moveTo>
                <a:cubicBezTo>
                  <a:pt x="8454118" y="160537"/>
                  <a:pt x="8469133" y="176706"/>
                  <a:pt x="8469133" y="195185"/>
                </a:cubicBezTo>
                <a:cubicBezTo>
                  <a:pt x="8469133" y="213664"/>
                  <a:pt x="8454118" y="229833"/>
                  <a:pt x="8434485" y="229833"/>
                </a:cubicBezTo>
                <a:cubicBezTo>
                  <a:pt x="8416006" y="229833"/>
                  <a:pt x="8399837" y="213664"/>
                  <a:pt x="8399837" y="195185"/>
                </a:cubicBezTo>
                <a:cubicBezTo>
                  <a:pt x="8399837" y="176706"/>
                  <a:pt x="8414851" y="160537"/>
                  <a:pt x="8434485" y="160537"/>
                </a:cubicBezTo>
                <a:close/>
                <a:moveTo>
                  <a:pt x="6674366" y="160537"/>
                </a:moveTo>
                <a:cubicBezTo>
                  <a:pt x="6692845" y="160537"/>
                  <a:pt x="6709014" y="176706"/>
                  <a:pt x="6709014" y="195185"/>
                </a:cubicBezTo>
                <a:cubicBezTo>
                  <a:pt x="6709014" y="213664"/>
                  <a:pt x="6692845" y="229833"/>
                  <a:pt x="6674366" y="229833"/>
                </a:cubicBezTo>
                <a:cubicBezTo>
                  <a:pt x="6655888" y="229833"/>
                  <a:pt x="6639717" y="213664"/>
                  <a:pt x="6639717" y="195185"/>
                </a:cubicBezTo>
                <a:cubicBezTo>
                  <a:pt x="6639717" y="176706"/>
                  <a:pt x="6654732" y="160537"/>
                  <a:pt x="6674366" y="160537"/>
                </a:cubicBezTo>
                <a:close/>
                <a:moveTo>
                  <a:pt x="5589882" y="160537"/>
                </a:moveTo>
                <a:cubicBezTo>
                  <a:pt x="5609516" y="160537"/>
                  <a:pt x="5624531" y="176706"/>
                  <a:pt x="5624531" y="195185"/>
                </a:cubicBezTo>
                <a:cubicBezTo>
                  <a:pt x="5624531" y="213664"/>
                  <a:pt x="5609516" y="229833"/>
                  <a:pt x="5589882" y="229833"/>
                </a:cubicBezTo>
                <a:cubicBezTo>
                  <a:pt x="5571403" y="229833"/>
                  <a:pt x="5555234" y="213664"/>
                  <a:pt x="5555234" y="195185"/>
                </a:cubicBezTo>
                <a:cubicBezTo>
                  <a:pt x="5555234" y="176706"/>
                  <a:pt x="5570250" y="160537"/>
                  <a:pt x="5589882" y="160537"/>
                </a:cubicBezTo>
                <a:close/>
                <a:moveTo>
                  <a:pt x="4913091" y="160537"/>
                </a:moveTo>
                <a:cubicBezTo>
                  <a:pt x="4931569" y="160537"/>
                  <a:pt x="4947739" y="176706"/>
                  <a:pt x="4947739" y="195185"/>
                </a:cubicBezTo>
                <a:cubicBezTo>
                  <a:pt x="4947739" y="213664"/>
                  <a:pt x="4932726" y="229833"/>
                  <a:pt x="4913091" y="229833"/>
                </a:cubicBezTo>
                <a:cubicBezTo>
                  <a:pt x="4894612" y="229833"/>
                  <a:pt x="4878443" y="213664"/>
                  <a:pt x="4878443" y="195185"/>
                </a:cubicBezTo>
                <a:cubicBezTo>
                  <a:pt x="4878443" y="176706"/>
                  <a:pt x="4893458" y="160537"/>
                  <a:pt x="4913091" y="160537"/>
                </a:cubicBezTo>
                <a:close/>
                <a:moveTo>
                  <a:pt x="4364499" y="160537"/>
                </a:moveTo>
                <a:cubicBezTo>
                  <a:pt x="4382977" y="160537"/>
                  <a:pt x="4399146" y="176706"/>
                  <a:pt x="4399146" y="195185"/>
                </a:cubicBezTo>
                <a:cubicBezTo>
                  <a:pt x="4399146" y="213664"/>
                  <a:pt x="4384131" y="229833"/>
                  <a:pt x="4364499" y="229833"/>
                </a:cubicBezTo>
                <a:cubicBezTo>
                  <a:pt x="4346018" y="229833"/>
                  <a:pt x="4329850" y="213664"/>
                  <a:pt x="4329850" y="195185"/>
                </a:cubicBezTo>
                <a:cubicBezTo>
                  <a:pt x="4329850" y="176706"/>
                  <a:pt x="4344863" y="160537"/>
                  <a:pt x="4364499" y="160537"/>
                </a:cubicBezTo>
                <a:close/>
                <a:moveTo>
                  <a:pt x="3821678" y="160537"/>
                </a:moveTo>
                <a:cubicBezTo>
                  <a:pt x="3841311" y="160537"/>
                  <a:pt x="3856326" y="176706"/>
                  <a:pt x="3856326" y="195185"/>
                </a:cubicBezTo>
                <a:cubicBezTo>
                  <a:pt x="3856326" y="213664"/>
                  <a:pt x="3841311" y="229833"/>
                  <a:pt x="3821678" y="229833"/>
                </a:cubicBezTo>
                <a:cubicBezTo>
                  <a:pt x="3803199" y="229833"/>
                  <a:pt x="3787030" y="213664"/>
                  <a:pt x="3787030" y="195185"/>
                </a:cubicBezTo>
                <a:cubicBezTo>
                  <a:pt x="3787030" y="176706"/>
                  <a:pt x="3802045" y="160537"/>
                  <a:pt x="3821678" y="160537"/>
                </a:cubicBezTo>
                <a:close/>
                <a:moveTo>
                  <a:pt x="2061558" y="160537"/>
                </a:moveTo>
                <a:cubicBezTo>
                  <a:pt x="2080037" y="160537"/>
                  <a:pt x="2096206" y="176706"/>
                  <a:pt x="2096206" y="195185"/>
                </a:cubicBezTo>
                <a:cubicBezTo>
                  <a:pt x="2096206" y="213664"/>
                  <a:pt x="2081192" y="229833"/>
                  <a:pt x="2061558" y="229833"/>
                </a:cubicBezTo>
                <a:cubicBezTo>
                  <a:pt x="2043080" y="229833"/>
                  <a:pt x="2026910" y="213664"/>
                  <a:pt x="2026910" y="195185"/>
                </a:cubicBezTo>
                <a:cubicBezTo>
                  <a:pt x="2026910" y="176706"/>
                  <a:pt x="2041924" y="160537"/>
                  <a:pt x="2061558" y="160537"/>
                </a:cubicBezTo>
                <a:close/>
                <a:moveTo>
                  <a:pt x="977075" y="160537"/>
                </a:moveTo>
                <a:cubicBezTo>
                  <a:pt x="996709" y="160537"/>
                  <a:pt x="1011723" y="176706"/>
                  <a:pt x="1011723" y="195185"/>
                </a:cubicBezTo>
                <a:cubicBezTo>
                  <a:pt x="1011723" y="213664"/>
                  <a:pt x="995554" y="229833"/>
                  <a:pt x="977075" y="229833"/>
                </a:cubicBezTo>
                <a:cubicBezTo>
                  <a:pt x="958596" y="229833"/>
                  <a:pt x="942427" y="213664"/>
                  <a:pt x="942427" y="195185"/>
                </a:cubicBezTo>
                <a:cubicBezTo>
                  <a:pt x="942427" y="176706"/>
                  <a:pt x="957441" y="160537"/>
                  <a:pt x="977075" y="160537"/>
                </a:cubicBezTo>
                <a:close/>
                <a:moveTo>
                  <a:pt x="300283" y="160537"/>
                </a:moveTo>
                <a:cubicBezTo>
                  <a:pt x="318762" y="160537"/>
                  <a:pt x="334931" y="176706"/>
                  <a:pt x="334931" y="195185"/>
                </a:cubicBezTo>
                <a:cubicBezTo>
                  <a:pt x="334931" y="213664"/>
                  <a:pt x="318762" y="229833"/>
                  <a:pt x="300283" y="229833"/>
                </a:cubicBezTo>
                <a:cubicBezTo>
                  <a:pt x="281804" y="229833"/>
                  <a:pt x="265635" y="213664"/>
                  <a:pt x="265635" y="195185"/>
                </a:cubicBezTo>
                <a:cubicBezTo>
                  <a:pt x="265635" y="176706"/>
                  <a:pt x="280650" y="160537"/>
                  <a:pt x="300283" y="160537"/>
                </a:cubicBezTo>
                <a:close/>
                <a:moveTo>
                  <a:pt x="11143410" y="154761"/>
                </a:moveTo>
                <a:cubicBezTo>
                  <a:pt x="11166509" y="154761"/>
                  <a:pt x="11183832" y="173240"/>
                  <a:pt x="11183832" y="195185"/>
                </a:cubicBezTo>
                <a:cubicBezTo>
                  <a:pt x="11183832" y="217128"/>
                  <a:pt x="11165353" y="235607"/>
                  <a:pt x="11143410" y="235607"/>
                </a:cubicBezTo>
                <a:cubicBezTo>
                  <a:pt x="11121466" y="235607"/>
                  <a:pt x="11102987" y="217128"/>
                  <a:pt x="11102987" y="195185"/>
                </a:cubicBezTo>
                <a:cubicBezTo>
                  <a:pt x="11102987" y="173240"/>
                  <a:pt x="11121466" y="154761"/>
                  <a:pt x="11143410" y="154761"/>
                </a:cubicBezTo>
                <a:close/>
                <a:moveTo>
                  <a:pt x="10873155" y="154761"/>
                </a:moveTo>
                <a:cubicBezTo>
                  <a:pt x="10895098" y="154761"/>
                  <a:pt x="10913577" y="173240"/>
                  <a:pt x="10913577" y="195185"/>
                </a:cubicBezTo>
                <a:cubicBezTo>
                  <a:pt x="10913577" y="217128"/>
                  <a:pt x="10895098" y="235607"/>
                  <a:pt x="10873155" y="235607"/>
                </a:cubicBezTo>
                <a:cubicBezTo>
                  <a:pt x="10851211" y="235607"/>
                  <a:pt x="10832732" y="217128"/>
                  <a:pt x="10832732" y="195185"/>
                </a:cubicBezTo>
                <a:cubicBezTo>
                  <a:pt x="10832732" y="173240"/>
                  <a:pt x="10851211" y="154761"/>
                  <a:pt x="10873155" y="154761"/>
                </a:cubicBezTo>
                <a:close/>
                <a:moveTo>
                  <a:pt x="10060082" y="154761"/>
                </a:moveTo>
                <a:cubicBezTo>
                  <a:pt x="10082025" y="154761"/>
                  <a:pt x="10100504" y="173240"/>
                  <a:pt x="10100504" y="195185"/>
                </a:cubicBezTo>
                <a:cubicBezTo>
                  <a:pt x="10100504" y="217128"/>
                  <a:pt x="10082025" y="235607"/>
                  <a:pt x="10060082" y="235607"/>
                </a:cubicBezTo>
                <a:cubicBezTo>
                  <a:pt x="10038137" y="235607"/>
                  <a:pt x="10019658" y="217128"/>
                  <a:pt x="10019658" y="195185"/>
                </a:cubicBezTo>
                <a:cubicBezTo>
                  <a:pt x="10019658" y="173240"/>
                  <a:pt x="10038137" y="154761"/>
                  <a:pt x="10060082" y="154761"/>
                </a:cubicBezTo>
                <a:close/>
                <a:moveTo>
                  <a:pt x="9653545" y="154761"/>
                </a:moveTo>
                <a:cubicBezTo>
                  <a:pt x="9675488" y="154761"/>
                  <a:pt x="9693967" y="173240"/>
                  <a:pt x="9693967" y="195185"/>
                </a:cubicBezTo>
                <a:cubicBezTo>
                  <a:pt x="9693967" y="217128"/>
                  <a:pt x="9675488" y="235607"/>
                  <a:pt x="9653545" y="235607"/>
                </a:cubicBezTo>
                <a:cubicBezTo>
                  <a:pt x="9631600" y="235607"/>
                  <a:pt x="9613122" y="217128"/>
                  <a:pt x="9613122" y="195185"/>
                </a:cubicBezTo>
                <a:cubicBezTo>
                  <a:pt x="9613122" y="173240"/>
                  <a:pt x="9631600" y="154761"/>
                  <a:pt x="9653545" y="154761"/>
                </a:cubicBezTo>
                <a:close/>
                <a:moveTo>
                  <a:pt x="8841022" y="154761"/>
                </a:moveTo>
                <a:cubicBezTo>
                  <a:pt x="8864121" y="154761"/>
                  <a:pt x="8881444" y="173240"/>
                  <a:pt x="8881444" y="195185"/>
                </a:cubicBezTo>
                <a:cubicBezTo>
                  <a:pt x="8881444" y="217128"/>
                  <a:pt x="8862965" y="235607"/>
                  <a:pt x="8841022" y="235607"/>
                </a:cubicBezTo>
                <a:cubicBezTo>
                  <a:pt x="8819078" y="235607"/>
                  <a:pt x="8800599" y="217128"/>
                  <a:pt x="8800599" y="195185"/>
                </a:cubicBezTo>
                <a:cubicBezTo>
                  <a:pt x="8800599" y="173240"/>
                  <a:pt x="8819078" y="154761"/>
                  <a:pt x="8841022" y="154761"/>
                </a:cubicBezTo>
                <a:close/>
                <a:moveTo>
                  <a:pt x="8570767" y="154761"/>
                </a:moveTo>
                <a:cubicBezTo>
                  <a:pt x="8592711" y="154761"/>
                  <a:pt x="8611190" y="173240"/>
                  <a:pt x="8611190" y="195185"/>
                </a:cubicBezTo>
                <a:cubicBezTo>
                  <a:pt x="8611190" y="217128"/>
                  <a:pt x="8592711" y="235607"/>
                  <a:pt x="8570767" y="235607"/>
                </a:cubicBezTo>
                <a:cubicBezTo>
                  <a:pt x="8548823" y="235607"/>
                  <a:pt x="8530344" y="217128"/>
                  <a:pt x="8530344" y="195185"/>
                </a:cubicBezTo>
                <a:cubicBezTo>
                  <a:pt x="8530344" y="173240"/>
                  <a:pt x="8548823" y="154761"/>
                  <a:pt x="8570767" y="154761"/>
                </a:cubicBezTo>
                <a:close/>
                <a:moveTo>
                  <a:pt x="6538083" y="154761"/>
                </a:moveTo>
                <a:cubicBezTo>
                  <a:pt x="6561183" y="154761"/>
                  <a:pt x="6578507" y="173240"/>
                  <a:pt x="6578507" y="195185"/>
                </a:cubicBezTo>
                <a:cubicBezTo>
                  <a:pt x="6578507" y="217128"/>
                  <a:pt x="6560028" y="235607"/>
                  <a:pt x="6538083" y="235607"/>
                </a:cubicBezTo>
                <a:cubicBezTo>
                  <a:pt x="6516139" y="235607"/>
                  <a:pt x="6497661" y="217128"/>
                  <a:pt x="6497661" y="195185"/>
                </a:cubicBezTo>
                <a:cubicBezTo>
                  <a:pt x="6497661" y="173240"/>
                  <a:pt x="6516139" y="154761"/>
                  <a:pt x="6538083" y="154761"/>
                </a:cubicBezTo>
                <a:close/>
                <a:moveTo>
                  <a:pt x="6267830" y="154761"/>
                </a:moveTo>
                <a:cubicBezTo>
                  <a:pt x="6289772" y="154761"/>
                  <a:pt x="6308251" y="173240"/>
                  <a:pt x="6308251" y="195185"/>
                </a:cubicBezTo>
                <a:cubicBezTo>
                  <a:pt x="6308251" y="217128"/>
                  <a:pt x="6289772" y="235607"/>
                  <a:pt x="6267830" y="235607"/>
                </a:cubicBezTo>
                <a:cubicBezTo>
                  <a:pt x="6245885" y="235607"/>
                  <a:pt x="6227406" y="217128"/>
                  <a:pt x="6227406" y="195185"/>
                </a:cubicBezTo>
                <a:cubicBezTo>
                  <a:pt x="6227406" y="173240"/>
                  <a:pt x="6245885" y="154761"/>
                  <a:pt x="6267830" y="154761"/>
                </a:cubicBezTo>
                <a:close/>
                <a:moveTo>
                  <a:pt x="5454756" y="154761"/>
                </a:moveTo>
                <a:cubicBezTo>
                  <a:pt x="5476698" y="154761"/>
                  <a:pt x="5495178" y="173240"/>
                  <a:pt x="5495178" y="195185"/>
                </a:cubicBezTo>
                <a:cubicBezTo>
                  <a:pt x="5495178" y="217128"/>
                  <a:pt x="5476698" y="235607"/>
                  <a:pt x="5454756" y="235607"/>
                </a:cubicBezTo>
                <a:cubicBezTo>
                  <a:pt x="5432812" y="235607"/>
                  <a:pt x="5414332" y="217128"/>
                  <a:pt x="5414332" y="195185"/>
                </a:cubicBezTo>
                <a:cubicBezTo>
                  <a:pt x="5414332" y="173240"/>
                  <a:pt x="5432812" y="154761"/>
                  <a:pt x="5454756" y="154761"/>
                </a:cubicBezTo>
                <a:close/>
                <a:moveTo>
                  <a:pt x="5048218" y="154761"/>
                </a:moveTo>
                <a:cubicBezTo>
                  <a:pt x="5070162" y="154761"/>
                  <a:pt x="5088641" y="173240"/>
                  <a:pt x="5088641" y="195185"/>
                </a:cubicBezTo>
                <a:cubicBezTo>
                  <a:pt x="5088641" y="217128"/>
                  <a:pt x="5070162" y="235607"/>
                  <a:pt x="5048218" y="235607"/>
                </a:cubicBezTo>
                <a:cubicBezTo>
                  <a:pt x="5026274" y="235607"/>
                  <a:pt x="5007796" y="217128"/>
                  <a:pt x="5007796" y="195185"/>
                </a:cubicBezTo>
                <a:cubicBezTo>
                  <a:pt x="5007796" y="173240"/>
                  <a:pt x="5026274" y="154761"/>
                  <a:pt x="5048218" y="154761"/>
                </a:cubicBezTo>
                <a:close/>
                <a:moveTo>
                  <a:pt x="4228217" y="154761"/>
                </a:moveTo>
                <a:cubicBezTo>
                  <a:pt x="4251315" y="154761"/>
                  <a:pt x="4268637" y="173240"/>
                  <a:pt x="4268637" y="195185"/>
                </a:cubicBezTo>
                <a:cubicBezTo>
                  <a:pt x="4268637" y="217128"/>
                  <a:pt x="4250160" y="235607"/>
                  <a:pt x="4228217" y="235607"/>
                </a:cubicBezTo>
                <a:cubicBezTo>
                  <a:pt x="4206271" y="235607"/>
                  <a:pt x="4187792" y="217128"/>
                  <a:pt x="4187792" y="195185"/>
                </a:cubicBezTo>
                <a:cubicBezTo>
                  <a:pt x="4187792" y="173240"/>
                  <a:pt x="4206271" y="154761"/>
                  <a:pt x="4228217" y="154761"/>
                </a:cubicBezTo>
                <a:close/>
                <a:moveTo>
                  <a:pt x="3957960" y="154761"/>
                </a:moveTo>
                <a:cubicBezTo>
                  <a:pt x="3979904" y="154761"/>
                  <a:pt x="3998382" y="173240"/>
                  <a:pt x="3998382" y="195185"/>
                </a:cubicBezTo>
                <a:cubicBezTo>
                  <a:pt x="3998382" y="217128"/>
                  <a:pt x="3979904" y="235607"/>
                  <a:pt x="3957960" y="235607"/>
                </a:cubicBezTo>
                <a:cubicBezTo>
                  <a:pt x="3936016" y="235607"/>
                  <a:pt x="3917537" y="217128"/>
                  <a:pt x="3917537" y="195185"/>
                </a:cubicBezTo>
                <a:cubicBezTo>
                  <a:pt x="3917537" y="173240"/>
                  <a:pt x="3936016" y="154761"/>
                  <a:pt x="3957960" y="154761"/>
                </a:cubicBezTo>
                <a:close/>
                <a:moveTo>
                  <a:pt x="1925276" y="154761"/>
                </a:moveTo>
                <a:cubicBezTo>
                  <a:pt x="1948375" y="154761"/>
                  <a:pt x="1965698" y="173240"/>
                  <a:pt x="1965698" y="195185"/>
                </a:cubicBezTo>
                <a:cubicBezTo>
                  <a:pt x="1965698" y="217128"/>
                  <a:pt x="1947219" y="235607"/>
                  <a:pt x="1925276" y="235607"/>
                </a:cubicBezTo>
                <a:cubicBezTo>
                  <a:pt x="1903332" y="235607"/>
                  <a:pt x="1884853" y="217128"/>
                  <a:pt x="1884853" y="195185"/>
                </a:cubicBezTo>
                <a:cubicBezTo>
                  <a:pt x="1884853" y="173240"/>
                  <a:pt x="1903332" y="154761"/>
                  <a:pt x="1925276" y="154761"/>
                </a:cubicBezTo>
                <a:close/>
                <a:moveTo>
                  <a:pt x="1655022" y="154761"/>
                </a:moveTo>
                <a:cubicBezTo>
                  <a:pt x="1676965" y="154761"/>
                  <a:pt x="1695444" y="173240"/>
                  <a:pt x="1695444" y="195185"/>
                </a:cubicBezTo>
                <a:cubicBezTo>
                  <a:pt x="1695444" y="217128"/>
                  <a:pt x="1676965" y="235607"/>
                  <a:pt x="1655022" y="235607"/>
                </a:cubicBezTo>
                <a:cubicBezTo>
                  <a:pt x="1633077" y="235607"/>
                  <a:pt x="1614598" y="217128"/>
                  <a:pt x="1614598" y="195185"/>
                </a:cubicBezTo>
                <a:cubicBezTo>
                  <a:pt x="1614598" y="173240"/>
                  <a:pt x="1633077" y="154761"/>
                  <a:pt x="1655022" y="154761"/>
                </a:cubicBezTo>
                <a:close/>
                <a:moveTo>
                  <a:pt x="841948" y="154761"/>
                </a:moveTo>
                <a:cubicBezTo>
                  <a:pt x="863891" y="154761"/>
                  <a:pt x="882370" y="173240"/>
                  <a:pt x="882370" y="195185"/>
                </a:cubicBezTo>
                <a:cubicBezTo>
                  <a:pt x="882370" y="217128"/>
                  <a:pt x="863891" y="235607"/>
                  <a:pt x="841948" y="235607"/>
                </a:cubicBezTo>
                <a:cubicBezTo>
                  <a:pt x="820004" y="235607"/>
                  <a:pt x="801525" y="217128"/>
                  <a:pt x="801525" y="195185"/>
                </a:cubicBezTo>
                <a:cubicBezTo>
                  <a:pt x="801525" y="173240"/>
                  <a:pt x="820004" y="154761"/>
                  <a:pt x="841948" y="154761"/>
                </a:cubicBezTo>
                <a:close/>
                <a:moveTo>
                  <a:pt x="435411" y="154761"/>
                </a:moveTo>
                <a:cubicBezTo>
                  <a:pt x="457354" y="154761"/>
                  <a:pt x="475833" y="173240"/>
                  <a:pt x="475833" y="195185"/>
                </a:cubicBezTo>
                <a:cubicBezTo>
                  <a:pt x="475833" y="217128"/>
                  <a:pt x="457354" y="235607"/>
                  <a:pt x="435411" y="235607"/>
                </a:cubicBezTo>
                <a:cubicBezTo>
                  <a:pt x="413467" y="235607"/>
                  <a:pt x="394988" y="217128"/>
                  <a:pt x="394988" y="195185"/>
                </a:cubicBezTo>
                <a:cubicBezTo>
                  <a:pt x="394988" y="173240"/>
                  <a:pt x="413467" y="154761"/>
                  <a:pt x="435411" y="154761"/>
                </a:cubicBezTo>
                <a:close/>
                <a:moveTo>
                  <a:pt x="11008282" y="144368"/>
                </a:moveTo>
                <a:cubicBezTo>
                  <a:pt x="11036000" y="144368"/>
                  <a:pt x="11059099" y="167466"/>
                  <a:pt x="11059099" y="195185"/>
                </a:cubicBezTo>
                <a:cubicBezTo>
                  <a:pt x="11059099" y="222903"/>
                  <a:pt x="11037156" y="246002"/>
                  <a:pt x="11008282" y="246002"/>
                </a:cubicBezTo>
                <a:cubicBezTo>
                  <a:pt x="10980564" y="246002"/>
                  <a:pt x="10957465" y="222903"/>
                  <a:pt x="10957465" y="195185"/>
                </a:cubicBezTo>
                <a:cubicBezTo>
                  <a:pt x="10957465" y="167466"/>
                  <a:pt x="10979409" y="144368"/>
                  <a:pt x="11008282" y="144368"/>
                </a:cubicBezTo>
                <a:close/>
                <a:moveTo>
                  <a:pt x="9924954" y="144368"/>
                </a:moveTo>
                <a:cubicBezTo>
                  <a:pt x="9952672" y="144368"/>
                  <a:pt x="9975771" y="167466"/>
                  <a:pt x="9975771" y="195185"/>
                </a:cubicBezTo>
                <a:cubicBezTo>
                  <a:pt x="9975771" y="222903"/>
                  <a:pt x="9953828" y="246002"/>
                  <a:pt x="9924954" y="246002"/>
                </a:cubicBezTo>
                <a:cubicBezTo>
                  <a:pt x="9897235" y="246002"/>
                  <a:pt x="9874137" y="222903"/>
                  <a:pt x="9874137" y="195185"/>
                </a:cubicBezTo>
                <a:cubicBezTo>
                  <a:pt x="9874137" y="167466"/>
                  <a:pt x="9896081" y="144368"/>
                  <a:pt x="9924954" y="144368"/>
                </a:cubicBezTo>
                <a:close/>
                <a:moveTo>
                  <a:pt x="9788672" y="144368"/>
                </a:moveTo>
                <a:cubicBezTo>
                  <a:pt x="9817545" y="144368"/>
                  <a:pt x="9839489" y="167466"/>
                  <a:pt x="9839489" y="195185"/>
                </a:cubicBezTo>
                <a:cubicBezTo>
                  <a:pt x="9839489" y="222903"/>
                  <a:pt x="9816390" y="246002"/>
                  <a:pt x="9788672" y="246002"/>
                </a:cubicBezTo>
                <a:cubicBezTo>
                  <a:pt x="9760953" y="246002"/>
                  <a:pt x="9737854" y="222903"/>
                  <a:pt x="9737854" y="195185"/>
                </a:cubicBezTo>
                <a:cubicBezTo>
                  <a:pt x="9737854" y="167466"/>
                  <a:pt x="9759799" y="144368"/>
                  <a:pt x="9788672" y="144368"/>
                </a:cubicBezTo>
                <a:close/>
                <a:moveTo>
                  <a:pt x="8705894" y="144368"/>
                </a:moveTo>
                <a:cubicBezTo>
                  <a:pt x="8733613" y="144368"/>
                  <a:pt x="8756711" y="167466"/>
                  <a:pt x="8756711" y="195185"/>
                </a:cubicBezTo>
                <a:cubicBezTo>
                  <a:pt x="8756711" y="222903"/>
                  <a:pt x="8733613" y="246002"/>
                  <a:pt x="8705894" y="246002"/>
                </a:cubicBezTo>
                <a:cubicBezTo>
                  <a:pt x="8678176" y="246002"/>
                  <a:pt x="8655077" y="222903"/>
                  <a:pt x="8655077" y="195185"/>
                </a:cubicBezTo>
                <a:cubicBezTo>
                  <a:pt x="8655077" y="167466"/>
                  <a:pt x="8677021" y="144368"/>
                  <a:pt x="8705894" y="144368"/>
                </a:cubicBezTo>
                <a:close/>
                <a:moveTo>
                  <a:pt x="6402956" y="144368"/>
                </a:moveTo>
                <a:cubicBezTo>
                  <a:pt x="6431830" y="144368"/>
                  <a:pt x="6453773" y="167466"/>
                  <a:pt x="6453773" y="195185"/>
                </a:cubicBezTo>
                <a:cubicBezTo>
                  <a:pt x="6453773" y="222903"/>
                  <a:pt x="6431830" y="246002"/>
                  <a:pt x="6402956" y="246002"/>
                </a:cubicBezTo>
                <a:cubicBezTo>
                  <a:pt x="6375237" y="246002"/>
                  <a:pt x="6352139" y="222903"/>
                  <a:pt x="6352139" y="195185"/>
                </a:cubicBezTo>
                <a:cubicBezTo>
                  <a:pt x="6352139" y="167466"/>
                  <a:pt x="6374084" y="144368"/>
                  <a:pt x="6402956" y="144368"/>
                </a:cubicBezTo>
                <a:close/>
                <a:moveTo>
                  <a:pt x="5319628" y="144368"/>
                </a:moveTo>
                <a:cubicBezTo>
                  <a:pt x="5347347" y="144368"/>
                  <a:pt x="5370444" y="167466"/>
                  <a:pt x="5370444" y="195185"/>
                </a:cubicBezTo>
                <a:cubicBezTo>
                  <a:pt x="5370444" y="222903"/>
                  <a:pt x="5347347" y="246002"/>
                  <a:pt x="5319628" y="246002"/>
                </a:cubicBezTo>
                <a:cubicBezTo>
                  <a:pt x="5291910" y="246002"/>
                  <a:pt x="5268810" y="222903"/>
                  <a:pt x="5268810" y="195185"/>
                </a:cubicBezTo>
                <a:cubicBezTo>
                  <a:pt x="5268810" y="167466"/>
                  <a:pt x="5290756" y="144368"/>
                  <a:pt x="5319628" y="144368"/>
                </a:cubicBezTo>
                <a:close/>
                <a:moveTo>
                  <a:pt x="5183346" y="144368"/>
                </a:moveTo>
                <a:cubicBezTo>
                  <a:pt x="5212220" y="144368"/>
                  <a:pt x="5234162" y="167466"/>
                  <a:pt x="5234162" y="195185"/>
                </a:cubicBezTo>
                <a:cubicBezTo>
                  <a:pt x="5234162" y="222903"/>
                  <a:pt x="5211064" y="246002"/>
                  <a:pt x="5183346" y="246002"/>
                </a:cubicBezTo>
                <a:cubicBezTo>
                  <a:pt x="5155627" y="246002"/>
                  <a:pt x="5132528" y="222903"/>
                  <a:pt x="5132528" y="195185"/>
                </a:cubicBezTo>
                <a:cubicBezTo>
                  <a:pt x="5132528" y="167466"/>
                  <a:pt x="5154473" y="144368"/>
                  <a:pt x="5183346" y="144368"/>
                </a:cubicBezTo>
                <a:close/>
                <a:moveTo>
                  <a:pt x="4093087" y="144368"/>
                </a:moveTo>
                <a:cubicBezTo>
                  <a:pt x="4120806" y="144368"/>
                  <a:pt x="4143904" y="167466"/>
                  <a:pt x="4143904" y="195185"/>
                </a:cubicBezTo>
                <a:cubicBezTo>
                  <a:pt x="4143904" y="222903"/>
                  <a:pt x="4120806" y="246002"/>
                  <a:pt x="4093087" y="246002"/>
                </a:cubicBezTo>
                <a:cubicBezTo>
                  <a:pt x="4065369" y="246002"/>
                  <a:pt x="4042270" y="222903"/>
                  <a:pt x="4042270" y="195185"/>
                </a:cubicBezTo>
                <a:cubicBezTo>
                  <a:pt x="4042270" y="167466"/>
                  <a:pt x="4064214" y="144368"/>
                  <a:pt x="4093087" y="144368"/>
                </a:cubicBezTo>
                <a:close/>
                <a:moveTo>
                  <a:pt x="1790148" y="144368"/>
                </a:moveTo>
                <a:cubicBezTo>
                  <a:pt x="1817867" y="144368"/>
                  <a:pt x="1840965" y="167466"/>
                  <a:pt x="1840965" y="195185"/>
                </a:cubicBezTo>
                <a:cubicBezTo>
                  <a:pt x="1840965" y="222903"/>
                  <a:pt x="1819022" y="246002"/>
                  <a:pt x="1790148" y="246002"/>
                </a:cubicBezTo>
                <a:cubicBezTo>
                  <a:pt x="1762430" y="246002"/>
                  <a:pt x="1739331" y="222903"/>
                  <a:pt x="1739331" y="195185"/>
                </a:cubicBezTo>
                <a:cubicBezTo>
                  <a:pt x="1739331" y="167466"/>
                  <a:pt x="1761275" y="144368"/>
                  <a:pt x="1790148" y="144368"/>
                </a:cubicBezTo>
                <a:close/>
                <a:moveTo>
                  <a:pt x="706820" y="144368"/>
                </a:moveTo>
                <a:cubicBezTo>
                  <a:pt x="734538" y="144368"/>
                  <a:pt x="757637" y="167466"/>
                  <a:pt x="757637" y="195185"/>
                </a:cubicBezTo>
                <a:cubicBezTo>
                  <a:pt x="757637" y="222903"/>
                  <a:pt x="735694" y="246002"/>
                  <a:pt x="706820" y="246002"/>
                </a:cubicBezTo>
                <a:cubicBezTo>
                  <a:pt x="679101" y="246002"/>
                  <a:pt x="656003" y="222903"/>
                  <a:pt x="656003" y="195185"/>
                </a:cubicBezTo>
                <a:cubicBezTo>
                  <a:pt x="656003" y="167466"/>
                  <a:pt x="677947" y="144368"/>
                  <a:pt x="706820" y="144368"/>
                </a:cubicBezTo>
                <a:close/>
                <a:moveTo>
                  <a:pt x="570538" y="144368"/>
                </a:moveTo>
                <a:cubicBezTo>
                  <a:pt x="599412" y="144368"/>
                  <a:pt x="621355" y="167466"/>
                  <a:pt x="621355" y="195185"/>
                </a:cubicBezTo>
                <a:cubicBezTo>
                  <a:pt x="621355" y="222903"/>
                  <a:pt x="598256" y="246002"/>
                  <a:pt x="570538" y="246002"/>
                </a:cubicBezTo>
                <a:cubicBezTo>
                  <a:pt x="542819" y="246002"/>
                  <a:pt x="519721" y="222903"/>
                  <a:pt x="519721" y="195185"/>
                </a:cubicBezTo>
                <a:cubicBezTo>
                  <a:pt x="519721" y="167466"/>
                  <a:pt x="541665" y="144368"/>
                  <a:pt x="570538" y="144368"/>
                </a:cubicBezTo>
                <a:close/>
                <a:moveTo>
                  <a:pt x="12180541" y="31184"/>
                </a:moveTo>
                <a:cubicBezTo>
                  <a:pt x="12192090" y="31184"/>
                  <a:pt x="12201330" y="40424"/>
                  <a:pt x="12201330" y="51973"/>
                </a:cubicBezTo>
                <a:cubicBezTo>
                  <a:pt x="12201330" y="63522"/>
                  <a:pt x="12192090" y="72762"/>
                  <a:pt x="12180541" y="72762"/>
                </a:cubicBezTo>
                <a:cubicBezTo>
                  <a:pt x="12168992" y="72762"/>
                  <a:pt x="12159752" y="63522"/>
                  <a:pt x="12159752" y="51973"/>
                </a:cubicBezTo>
                <a:cubicBezTo>
                  <a:pt x="12159752" y="40424"/>
                  <a:pt x="12168992" y="31184"/>
                  <a:pt x="12180541" y="31184"/>
                </a:cubicBezTo>
                <a:close/>
                <a:moveTo>
                  <a:pt x="12040793" y="31184"/>
                </a:moveTo>
                <a:cubicBezTo>
                  <a:pt x="12052342" y="31184"/>
                  <a:pt x="12061582" y="40424"/>
                  <a:pt x="12061582" y="51973"/>
                </a:cubicBezTo>
                <a:cubicBezTo>
                  <a:pt x="12061582" y="63522"/>
                  <a:pt x="12052342" y="72762"/>
                  <a:pt x="12040793" y="72762"/>
                </a:cubicBezTo>
                <a:cubicBezTo>
                  <a:pt x="12029244" y="72762"/>
                  <a:pt x="12020004" y="63522"/>
                  <a:pt x="12020004" y="51973"/>
                </a:cubicBezTo>
                <a:cubicBezTo>
                  <a:pt x="12020004" y="40424"/>
                  <a:pt x="12029244" y="31184"/>
                  <a:pt x="12040793" y="31184"/>
                </a:cubicBezTo>
                <a:close/>
                <a:moveTo>
                  <a:pt x="11901047" y="31184"/>
                </a:moveTo>
                <a:cubicBezTo>
                  <a:pt x="11912596" y="31184"/>
                  <a:pt x="11921836" y="40424"/>
                  <a:pt x="11921836" y="51973"/>
                </a:cubicBezTo>
                <a:cubicBezTo>
                  <a:pt x="11921836" y="63522"/>
                  <a:pt x="11912596" y="72762"/>
                  <a:pt x="11901047" y="72762"/>
                </a:cubicBezTo>
                <a:cubicBezTo>
                  <a:pt x="11889498" y="72762"/>
                  <a:pt x="11880258" y="63522"/>
                  <a:pt x="11880258" y="51973"/>
                </a:cubicBezTo>
                <a:cubicBezTo>
                  <a:pt x="11880258" y="40424"/>
                  <a:pt x="11889498" y="31184"/>
                  <a:pt x="11901047" y="31184"/>
                </a:cubicBezTo>
                <a:close/>
                <a:moveTo>
                  <a:pt x="11761299" y="31184"/>
                </a:moveTo>
                <a:cubicBezTo>
                  <a:pt x="11772848" y="31184"/>
                  <a:pt x="11782088" y="40424"/>
                  <a:pt x="11782088" y="51973"/>
                </a:cubicBezTo>
                <a:cubicBezTo>
                  <a:pt x="11782088" y="63522"/>
                  <a:pt x="11772848" y="72762"/>
                  <a:pt x="11761299" y="72762"/>
                </a:cubicBezTo>
                <a:cubicBezTo>
                  <a:pt x="11749750" y="72762"/>
                  <a:pt x="11740510" y="63522"/>
                  <a:pt x="11740510" y="51973"/>
                </a:cubicBezTo>
                <a:cubicBezTo>
                  <a:pt x="11740510" y="40424"/>
                  <a:pt x="11749750" y="31184"/>
                  <a:pt x="11761299" y="31184"/>
                </a:cubicBezTo>
                <a:close/>
                <a:moveTo>
                  <a:pt x="11621553" y="31184"/>
                </a:moveTo>
                <a:cubicBezTo>
                  <a:pt x="11633102" y="31184"/>
                  <a:pt x="11642342" y="40424"/>
                  <a:pt x="11642342" y="51973"/>
                </a:cubicBezTo>
                <a:cubicBezTo>
                  <a:pt x="11642342" y="63522"/>
                  <a:pt x="11633102" y="72762"/>
                  <a:pt x="11621553" y="72762"/>
                </a:cubicBezTo>
                <a:cubicBezTo>
                  <a:pt x="11610003" y="72762"/>
                  <a:pt x="11600764" y="63522"/>
                  <a:pt x="11600764" y="51973"/>
                </a:cubicBezTo>
                <a:cubicBezTo>
                  <a:pt x="11600764" y="40424"/>
                  <a:pt x="11610003" y="31184"/>
                  <a:pt x="11621553" y="31184"/>
                </a:cubicBezTo>
                <a:close/>
                <a:moveTo>
                  <a:pt x="11481805" y="31184"/>
                </a:moveTo>
                <a:cubicBezTo>
                  <a:pt x="11493354" y="31184"/>
                  <a:pt x="11502594" y="40424"/>
                  <a:pt x="11502594" y="51973"/>
                </a:cubicBezTo>
                <a:cubicBezTo>
                  <a:pt x="11502594" y="63522"/>
                  <a:pt x="11493354" y="72762"/>
                  <a:pt x="11481805" y="72762"/>
                </a:cubicBezTo>
                <a:cubicBezTo>
                  <a:pt x="11470256" y="72762"/>
                  <a:pt x="11461016" y="63522"/>
                  <a:pt x="11461016" y="51973"/>
                </a:cubicBezTo>
                <a:cubicBezTo>
                  <a:pt x="11461016" y="40424"/>
                  <a:pt x="11470256" y="31184"/>
                  <a:pt x="11481805" y="31184"/>
                </a:cubicBezTo>
                <a:close/>
                <a:moveTo>
                  <a:pt x="10644478" y="31184"/>
                </a:moveTo>
                <a:cubicBezTo>
                  <a:pt x="10656028" y="31184"/>
                  <a:pt x="10665267" y="40424"/>
                  <a:pt x="10665267" y="51973"/>
                </a:cubicBezTo>
                <a:cubicBezTo>
                  <a:pt x="10665267" y="63522"/>
                  <a:pt x="10656028" y="72762"/>
                  <a:pt x="10644478" y="72762"/>
                </a:cubicBezTo>
                <a:cubicBezTo>
                  <a:pt x="10632929" y="72762"/>
                  <a:pt x="10623690" y="63522"/>
                  <a:pt x="10623690" y="51973"/>
                </a:cubicBezTo>
                <a:cubicBezTo>
                  <a:pt x="10623690" y="40424"/>
                  <a:pt x="10632929" y="31184"/>
                  <a:pt x="10644478" y="31184"/>
                </a:cubicBezTo>
                <a:close/>
                <a:moveTo>
                  <a:pt x="10504731" y="31184"/>
                </a:moveTo>
                <a:cubicBezTo>
                  <a:pt x="10516280" y="31184"/>
                  <a:pt x="10525520" y="40424"/>
                  <a:pt x="10525520" y="51973"/>
                </a:cubicBezTo>
                <a:cubicBezTo>
                  <a:pt x="10525520" y="63522"/>
                  <a:pt x="10516280" y="72762"/>
                  <a:pt x="10504731" y="72762"/>
                </a:cubicBezTo>
                <a:cubicBezTo>
                  <a:pt x="10493181" y="72762"/>
                  <a:pt x="10483942" y="63522"/>
                  <a:pt x="10483942" y="51973"/>
                </a:cubicBezTo>
                <a:cubicBezTo>
                  <a:pt x="10483942" y="40424"/>
                  <a:pt x="10493181" y="31184"/>
                  <a:pt x="10504731" y="31184"/>
                </a:cubicBezTo>
                <a:close/>
                <a:moveTo>
                  <a:pt x="10364984" y="31184"/>
                </a:moveTo>
                <a:cubicBezTo>
                  <a:pt x="10376534" y="31184"/>
                  <a:pt x="10385773" y="40424"/>
                  <a:pt x="10385773" y="51973"/>
                </a:cubicBezTo>
                <a:cubicBezTo>
                  <a:pt x="10385773" y="63522"/>
                  <a:pt x="10376534" y="72762"/>
                  <a:pt x="10364984" y="72762"/>
                </a:cubicBezTo>
                <a:cubicBezTo>
                  <a:pt x="10353435" y="72762"/>
                  <a:pt x="10344196" y="63522"/>
                  <a:pt x="10344196" y="51973"/>
                </a:cubicBezTo>
                <a:cubicBezTo>
                  <a:pt x="10344196" y="40424"/>
                  <a:pt x="10353435" y="31184"/>
                  <a:pt x="10364984" y="31184"/>
                </a:cubicBezTo>
                <a:close/>
                <a:moveTo>
                  <a:pt x="7854709" y="31184"/>
                </a:moveTo>
                <a:cubicBezTo>
                  <a:pt x="7866258" y="31184"/>
                  <a:pt x="7875498" y="40424"/>
                  <a:pt x="7875498" y="51973"/>
                </a:cubicBezTo>
                <a:cubicBezTo>
                  <a:pt x="7875498" y="63522"/>
                  <a:pt x="7866258" y="72762"/>
                  <a:pt x="7854709" y="72762"/>
                </a:cubicBezTo>
                <a:cubicBezTo>
                  <a:pt x="7843160" y="72762"/>
                  <a:pt x="7833921" y="63522"/>
                  <a:pt x="7833921" y="51973"/>
                </a:cubicBezTo>
                <a:cubicBezTo>
                  <a:pt x="7833921" y="40424"/>
                  <a:pt x="7843160" y="31184"/>
                  <a:pt x="7854709" y="31184"/>
                </a:cubicBezTo>
                <a:close/>
                <a:moveTo>
                  <a:pt x="7714960" y="31184"/>
                </a:moveTo>
                <a:cubicBezTo>
                  <a:pt x="7726511" y="31184"/>
                  <a:pt x="7735749" y="40424"/>
                  <a:pt x="7735749" y="51973"/>
                </a:cubicBezTo>
                <a:cubicBezTo>
                  <a:pt x="7735749" y="63522"/>
                  <a:pt x="7726511" y="72762"/>
                  <a:pt x="7714960" y="72762"/>
                </a:cubicBezTo>
                <a:cubicBezTo>
                  <a:pt x="7703411" y="72762"/>
                  <a:pt x="7694172" y="63522"/>
                  <a:pt x="7694172" y="51973"/>
                </a:cubicBezTo>
                <a:cubicBezTo>
                  <a:pt x="7694172" y="40424"/>
                  <a:pt x="7703411" y="31184"/>
                  <a:pt x="7714960" y="31184"/>
                </a:cubicBezTo>
                <a:close/>
                <a:moveTo>
                  <a:pt x="7575214" y="31184"/>
                </a:moveTo>
                <a:cubicBezTo>
                  <a:pt x="7586765" y="31184"/>
                  <a:pt x="7596004" y="40424"/>
                  <a:pt x="7596004" y="51973"/>
                </a:cubicBezTo>
                <a:cubicBezTo>
                  <a:pt x="7596004" y="63522"/>
                  <a:pt x="7586765" y="72762"/>
                  <a:pt x="7575214" y="72762"/>
                </a:cubicBezTo>
                <a:cubicBezTo>
                  <a:pt x="7563665" y="72762"/>
                  <a:pt x="7554427" y="63522"/>
                  <a:pt x="7554427" y="51973"/>
                </a:cubicBezTo>
                <a:cubicBezTo>
                  <a:pt x="7554427" y="40424"/>
                  <a:pt x="7563665" y="31184"/>
                  <a:pt x="7575214" y="31184"/>
                </a:cubicBezTo>
                <a:close/>
                <a:moveTo>
                  <a:pt x="7435467" y="31184"/>
                </a:moveTo>
                <a:cubicBezTo>
                  <a:pt x="7447016" y="31184"/>
                  <a:pt x="7456257" y="40424"/>
                  <a:pt x="7456257" y="51973"/>
                </a:cubicBezTo>
                <a:cubicBezTo>
                  <a:pt x="7456257" y="63522"/>
                  <a:pt x="7447016" y="72762"/>
                  <a:pt x="7435467" y="72762"/>
                </a:cubicBezTo>
                <a:cubicBezTo>
                  <a:pt x="7423918" y="72762"/>
                  <a:pt x="7414678" y="63522"/>
                  <a:pt x="7414678" y="51973"/>
                </a:cubicBezTo>
                <a:cubicBezTo>
                  <a:pt x="7414678" y="40424"/>
                  <a:pt x="7423918" y="31184"/>
                  <a:pt x="7435467" y="31184"/>
                </a:cubicBezTo>
                <a:close/>
                <a:moveTo>
                  <a:pt x="7295720" y="31184"/>
                </a:moveTo>
                <a:cubicBezTo>
                  <a:pt x="7307271" y="31184"/>
                  <a:pt x="7316509" y="40424"/>
                  <a:pt x="7316509" y="51973"/>
                </a:cubicBezTo>
                <a:cubicBezTo>
                  <a:pt x="7316509" y="63522"/>
                  <a:pt x="7307271" y="72762"/>
                  <a:pt x="7295720" y="72762"/>
                </a:cubicBezTo>
                <a:cubicBezTo>
                  <a:pt x="7284172" y="72762"/>
                  <a:pt x="7274932" y="63522"/>
                  <a:pt x="7274932" y="51973"/>
                </a:cubicBezTo>
                <a:cubicBezTo>
                  <a:pt x="7274932" y="40424"/>
                  <a:pt x="7284172" y="31184"/>
                  <a:pt x="7295720" y="31184"/>
                </a:cubicBezTo>
                <a:close/>
                <a:moveTo>
                  <a:pt x="7155974" y="31184"/>
                </a:moveTo>
                <a:cubicBezTo>
                  <a:pt x="7167522" y="31184"/>
                  <a:pt x="7176762" y="40424"/>
                  <a:pt x="7176762" y="51973"/>
                </a:cubicBezTo>
                <a:cubicBezTo>
                  <a:pt x="7176762" y="63522"/>
                  <a:pt x="7167522" y="72762"/>
                  <a:pt x="7155974" y="72762"/>
                </a:cubicBezTo>
                <a:cubicBezTo>
                  <a:pt x="7144423" y="72762"/>
                  <a:pt x="7135183" y="63522"/>
                  <a:pt x="7135183" y="51973"/>
                </a:cubicBezTo>
                <a:cubicBezTo>
                  <a:pt x="7135183" y="40424"/>
                  <a:pt x="7144423" y="31184"/>
                  <a:pt x="7155974" y="31184"/>
                </a:cubicBezTo>
                <a:close/>
                <a:moveTo>
                  <a:pt x="7016227" y="31184"/>
                </a:moveTo>
                <a:cubicBezTo>
                  <a:pt x="7027776" y="31184"/>
                  <a:pt x="7037016" y="40424"/>
                  <a:pt x="7037016" y="51973"/>
                </a:cubicBezTo>
                <a:cubicBezTo>
                  <a:pt x="7037016" y="63522"/>
                  <a:pt x="7027776" y="72762"/>
                  <a:pt x="7016227" y="72762"/>
                </a:cubicBezTo>
                <a:cubicBezTo>
                  <a:pt x="7004678" y="72762"/>
                  <a:pt x="6995438" y="63522"/>
                  <a:pt x="6995438" y="51973"/>
                </a:cubicBezTo>
                <a:cubicBezTo>
                  <a:pt x="6995438" y="40424"/>
                  <a:pt x="7004678" y="31184"/>
                  <a:pt x="7016227" y="31184"/>
                </a:cubicBezTo>
                <a:close/>
                <a:moveTo>
                  <a:pt x="6877634" y="31184"/>
                </a:moveTo>
                <a:cubicBezTo>
                  <a:pt x="6888028" y="31184"/>
                  <a:pt x="6898424" y="40424"/>
                  <a:pt x="6898424" y="51973"/>
                </a:cubicBezTo>
                <a:cubicBezTo>
                  <a:pt x="6898424" y="63522"/>
                  <a:pt x="6889184" y="72762"/>
                  <a:pt x="6877634" y="72762"/>
                </a:cubicBezTo>
                <a:cubicBezTo>
                  <a:pt x="6866085" y="72762"/>
                  <a:pt x="6856845" y="63522"/>
                  <a:pt x="6856845" y="51973"/>
                </a:cubicBezTo>
                <a:cubicBezTo>
                  <a:pt x="6856845" y="40424"/>
                  <a:pt x="6866085" y="31184"/>
                  <a:pt x="6877634" y="31184"/>
                </a:cubicBezTo>
                <a:close/>
                <a:moveTo>
                  <a:pt x="6039151" y="31184"/>
                </a:moveTo>
                <a:cubicBezTo>
                  <a:pt x="6050702" y="31184"/>
                  <a:pt x="6059942" y="40424"/>
                  <a:pt x="6059942" y="51973"/>
                </a:cubicBezTo>
                <a:cubicBezTo>
                  <a:pt x="6059942" y="63522"/>
                  <a:pt x="6050702" y="72762"/>
                  <a:pt x="6039151" y="72762"/>
                </a:cubicBezTo>
                <a:cubicBezTo>
                  <a:pt x="6027603" y="72762"/>
                  <a:pt x="6018363" y="63522"/>
                  <a:pt x="6018363" y="51973"/>
                </a:cubicBezTo>
                <a:cubicBezTo>
                  <a:pt x="6018363" y="40424"/>
                  <a:pt x="6027603" y="31184"/>
                  <a:pt x="6039151" y="31184"/>
                </a:cubicBezTo>
                <a:close/>
                <a:moveTo>
                  <a:pt x="5899406" y="31184"/>
                </a:moveTo>
                <a:cubicBezTo>
                  <a:pt x="5910953" y="31184"/>
                  <a:pt x="5920193" y="40424"/>
                  <a:pt x="5920193" y="51973"/>
                </a:cubicBezTo>
                <a:cubicBezTo>
                  <a:pt x="5920193" y="63522"/>
                  <a:pt x="5910953" y="72762"/>
                  <a:pt x="5899406" y="72762"/>
                </a:cubicBezTo>
                <a:cubicBezTo>
                  <a:pt x="5887855" y="72762"/>
                  <a:pt x="5878616" y="63522"/>
                  <a:pt x="5878616" y="51973"/>
                </a:cubicBezTo>
                <a:cubicBezTo>
                  <a:pt x="5878616" y="40424"/>
                  <a:pt x="5887855" y="31184"/>
                  <a:pt x="5899406" y="31184"/>
                </a:cubicBezTo>
                <a:close/>
                <a:moveTo>
                  <a:pt x="5759658" y="31184"/>
                </a:moveTo>
                <a:cubicBezTo>
                  <a:pt x="5771207" y="31184"/>
                  <a:pt x="5780448" y="40424"/>
                  <a:pt x="5780448" y="51973"/>
                </a:cubicBezTo>
                <a:cubicBezTo>
                  <a:pt x="5780448" y="63522"/>
                  <a:pt x="5771207" y="72762"/>
                  <a:pt x="5759658" y="72762"/>
                </a:cubicBezTo>
                <a:cubicBezTo>
                  <a:pt x="5748109" y="72762"/>
                  <a:pt x="5738869" y="63522"/>
                  <a:pt x="5738869" y="51973"/>
                </a:cubicBezTo>
                <a:cubicBezTo>
                  <a:pt x="5738869" y="40424"/>
                  <a:pt x="5748109" y="31184"/>
                  <a:pt x="5759658" y="31184"/>
                </a:cubicBezTo>
                <a:close/>
                <a:moveTo>
                  <a:pt x="3241901" y="31184"/>
                </a:moveTo>
                <a:cubicBezTo>
                  <a:pt x="3253450" y="31184"/>
                  <a:pt x="3262690" y="40424"/>
                  <a:pt x="3262690" y="51973"/>
                </a:cubicBezTo>
                <a:cubicBezTo>
                  <a:pt x="3262690" y="63522"/>
                  <a:pt x="3253450" y="72762"/>
                  <a:pt x="3241901" y="72762"/>
                </a:cubicBezTo>
                <a:cubicBezTo>
                  <a:pt x="3230352" y="72762"/>
                  <a:pt x="3221112" y="63522"/>
                  <a:pt x="3221112" y="51973"/>
                </a:cubicBezTo>
                <a:cubicBezTo>
                  <a:pt x="3221112" y="40424"/>
                  <a:pt x="3230352" y="31184"/>
                  <a:pt x="3241901" y="31184"/>
                </a:cubicBezTo>
                <a:close/>
                <a:moveTo>
                  <a:pt x="3102153" y="31184"/>
                </a:moveTo>
                <a:cubicBezTo>
                  <a:pt x="3113703" y="31184"/>
                  <a:pt x="3122942" y="40424"/>
                  <a:pt x="3122942" y="51973"/>
                </a:cubicBezTo>
                <a:cubicBezTo>
                  <a:pt x="3122942" y="63522"/>
                  <a:pt x="3113703" y="72762"/>
                  <a:pt x="3102153" y="72762"/>
                </a:cubicBezTo>
                <a:cubicBezTo>
                  <a:pt x="3090605" y="72762"/>
                  <a:pt x="3081365" y="63522"/>
                  <a:pt x="3081365" y="51973"/>
                </a:cubicBezTo>
                <a:cubicBezTo>
                  <a:pt x="3081365" y="40424"/>
                  <a:pt x="3090605" y="31184"/>
                  <a:pt x="3102153" y="31184"/>
                </a:cubicBezTo>
                <a:close/>
                <a:moveTo>
                  <a:pt x="2962407" y="31184"/>
                </a:moveTo>
                <a:cubicBezTo>
                  <a:pt x="2973956" y="31184"/>
                  <a:pt x="2983196" y="40424"/>
                  <a:pt x="2983196" y="51973"/>
                </a:cubicBezTo>
                <a:cubicBezTo>
                  <a:pt x="2983196" y="63522"/>
                  <a:pt x="2973956" y="72762"/>
                  <a:pt x="2962407" y="72762"/>
                </a:cubicBezTo>
                <a:cubicBezTo>
                  <a:pt x="2950858" y="72762"/>
                  <a:pt x="2941618" y="63522"/>
                  <a:pt x="2941618" y="51973"/>
                </a:cubicBezTo>
                <a:cubicBezTo>
                  <a:pt x="2941618" y="40424"/>
                  <a:pt x="2950858" y="31184"/>
                  <a:pt x="2962407" y="31184"/>
                </a:cubicBezTo>
                <a:close/>
                <a:moveTo>
                  <a:pt x="2822659" y="31184"/>
                </a:moveTo>
                <a:cubicBezTo>
                  <a:pt x="2834209" y="31184"/>
                  <a:pt x="2843448" y="40424"/>
                  <a:pt x="2843448" y="51973"/>
                </a:cubicBezTo>
                <a:cubicBezTo>
                  <a:pt x="2843448" y="63522"/>
                  <a:pt x="2834209" y="72762"/>
                  <a:pt x="2822659" y="72762"/>
                </a:cubicBezTo>
                <a:cubicBezTo>
                  <a:pt x="2811110" y="72762"/>
                  <a:pt x="2801871" y="63522"/>
                  <a:pt x="2801871" y="51973"/>
                </a:cubicBezTo>
                <a:cubicBezTo>
                  <a:pt x="2801871" y="40424"/>
                  <a:pt x="2811110" y="31184"/>
                  <a:pt x="2822659" y="31184"/>
                </a:cubicBezTo>
                <a:close/>
                <a:moveTo>
                  <a:pt x="2682913" y="31184"/>
                </a:moveTo>
                <a:cubicBezTo>
                  <a:pt x="2694462" y="31184"/>
                  <a:pt x="2703702" y="40424"/>
                  <a:pt x="2703702" y="51973"/>
                </a:cubicBezTo>
                <a:cubicBezTo>
                  <a:pt x="2703702" y="63522"/>
                  <a:pt x="2694462" y="72762"/>
                  <a:pt x="2682913" y="72762"/>
                </a:cubicBezTo>
                <a:cubicBezTo>
                  <a:pt x="2671365" y="72762"/>
                  <a:pt x="2662124" y="63522"/>
                  <a:pt x="2662124" y="51973"/>
                </a:cubicBezTo>
                <a:cubicBezTo>
                  <a:pt x="2662124" y="40424"/>
                  <a:pt x="2671365" y="31184"/>
                  <a:pt x="2682913" y="31184"/>
                </a:cubicBezTo>
                <a:close/>
                <a:moveTo>
                  <a:pt x="2543167" y="31184"/>
                </a:moveTo>
                <a:cubicBezTo>
                  <a:pt x="2554715" y="31184"/>
                  <a:pt x="2563954" y="40424"/>
                  <a:pt x="2563954" y="51973"/>
                </a:cubicBezTo>
                <a:cubicBezTo>
                  <a:pt x="2563954" y="63522"/>
                  <a:pt x="2554715" y="72762"/>
                  <a:pt x="2543167" y="72762"/>
                </a:cubicBezTo>
                <a:cubicBezTo>
                  <a:pt x="2531616" y="72762"/>
                  <a:pt x="2522376" y="63522"/>
                  <a:pt x="2522376" y="51973"/>
                </a:cubicBezTo>
                <a:cubicBezTo>
                  <a:pt x="2522376" y="40424"/>
                  <a:pt x="2531616" y="31184"/>
                  <a:pt x="2543167" y="31184"/>
                </a:cubicBezTo>
                <a:close/>
                <a:moveTo>
                  <a:pt x="2403419" y="31184"/>
                </a:moveTo>
                <a:cubicBezTo>
                  <a:pt x="2414969" y="31184"/>
                  <a:pt x="2424209" y="40424"/>
                  <a:pt x="2424209" y="51973"/>
                </a:cubicBezTo>
                <a:cubicBezTo>
                  <a:pt x="2424209" y="63522"/>
                  <a:pt x="2414969" y="72762"/>
                  <a:pt x="2403419" y="72762"/>
                </a:cubicBezTo>
                <a:cubicBezTo>
                  <a:pt x="2391869" y="72762"/>
                  <a:pt x="2382630" y="63522"/>
                  <a:pt x="2382630" y="51973"/>
                </a:cubicBezTo>
                <a:cubicBezTo>
                  <a:pt x="2382630" y="40424"/>
                  <a:pt x="2391869" y="31184"/>
                  <a:pt x="2403419" y="31184"/>
                </a:cubicBezTo>
                <a:close/>
                <a:moveTo>
                  <a:pt x="2263671" y="31184"/>
                </a:moveTo>
                <a:cubicBezTo>
                  <a:pt x="2275221" y="31184"/>
                  <a:pt x="2284460" y="40424"/>
                  <a:pt x="2284460" y="51973"/>
                </a:cubicBezTo>
                <a:cubicBezTo>
                  <a:pt x="2284460" y="63522"/>
                  <a:pt x="2275221" y="72762"/>
                  <a:pt x="2263671" y="72762"/>
                </a:cubicBezTo>
                <a:cubicBezTo>
                  <a:pt x="2252122" y="72762"/>
                  <a:pt x="2242883" y="63522"/>
                  <a:pt x="2242883" y="51973"/>
                </a:cubicBezTo>
                <a:cubicBezTo>
                  <a:pt x="2242883" y="40424"/>
                  <a:pt x="2252122" y="31184"/>
                  <a:pt x="2263671" y="31184"/>
                </a:cubicBezTo>
                <a:close/>
                <a:moveTo>
                  <a:pt x="1426344" y="31184"/>
                </a:moveTo>
                <a:cubicBezTo>
                  <a:pt x="1437894" y="31184"/>
                  <a:pt x="1447133" y="40424"/>
                  <a:pt x="1447133" y="51973"/>
                </a:cubicBezTo>
                <a:cubicBezTo>
                  <a:pt x="1447133" y="63522"/>
                  <a:pt x="1437894" y="72762"/>
                  <a:pt x="1426344" y="72762"/>
                </a:cubicBezTo>
                <a:cubicBezTo>
                  <a:pt x="1414795" y="72762"/>
                  <a:pt x="1405556" y="63522"/>
                  <a:pt x="1405556" y="51973"/>
                </a:cubicBezTo>
                <a:cubicBezTo>
                  <a:pt x="1405556" y="40424"/>
                  <a:pt x="1414795" y="31184"/>
                  <a:pt x="1426344" y="31184"/>
                </a:cubicBezTo>
                <a:close/>
                <a:moveTo>
                  <a:pt x="1286597" y="31184"/>
                </a:moveTo>
                <a:cubicBezTo>
                  <a:pt x="1298146" y="31184"/>
                  <a:pt x="1307386" y="40424"/>
                  <a:pt x="1307386" y="51973"/>
                </a:cubicBezTo>
                <a:cubicBezTo>
                  <a:pt x="1307386" y="63522"/>
                  <a:pt x="1298146" y="72762"/>
                  <a:pt x="1286597" y="72762"/>
                </a:cubicBezTo>
                <a:cubicBezTo>
                  <a:pt x="1275048" y="72762"/>
                  <a:pt x="1265808" y="63522"/>
                  <a:pt x="1265808" y="51973"/>
                </a:cubicBezTo>
                <a:cubicBezTo>
                  <a:pt x="1265808" y="40424"/>
                  <a:pt x="1275048" y="31184"/>
                  <a:pt x="1286597" y="31184"/>
                </a:cubicBezTo>
                <a:close/>
                <a:moveTo>
                  <a:pt x="1146851" y="31184"/>
                </a:moveTo>
                <a:cubicBezTo>
                  <a:pt x="1158400" y="31184"/>
                  <a:pt x="1167639" y="40424"/>
                  <a:pt x="1167639" y="51973"/>
                </a:cubicBezTo>
                <a:cubicBezTo>
                  <a:pt x="1167639" y="63522"/>
                  <a:pt x="1158400" y="72762"/>
                  <a:pt x="1146851" y="72762"/>
                </a:cubicBezTo>
                <a:cubicBezTo>
                  <a:pt x="1135301" y="72762"/>
                  <a:pt x="1126062" y="63522"/>
                  <a:pt x="1126062" y="51973"/>
                </a:cubicBezTo>
                <a:cubicBezTo>
                  <a:pt x="1126062" y="40424"/>
                  <a:pt x="1135301" y="31184"/>
                  <a:pt x="1146851" y="31184"/>
                </a:cubicBezTo>
                <a:close/>
                <a:moveTo>
                  <a:pt x="11343213" y="27719"/>
                </a:moveTo>
                <a:cubicBezTo>
                  <a:pt x="11355918" y="27719"/>
                  <a:pt x="11366312" y="38114"/>
                  <a:pt x="11366312" y="50817"/>
                </a:cubicBezTo>
                <a:cubicBezTo>
                  <a:pt x="11366312" y="63522"/>
                  <a:pt x="11355918" y="73916"/>
                  <a:pt x="11343213" y="73916"/>
                </a:cubicBezTo>
                <a:cubicBezTo>
                  <a:pt x="11330509" y="73916"/>
                  <a:pt x="11320114" y="63522"/>
                  <a:pt x="11320114" y="50817"/>
                </a:cubicBezTo>
                <a:cubicBezTo>
                  <a:pt x="11320114" y="38114"/>
                  <a:pt x="11330509" y="27719"/>
                  <a:pt x="11343213" y="27719"/>
                </a:cubicBezTo>
                <a:close/>
                <a:moveTo>
                  <a:pt x="10225237" y="27719"/>
                </a:moveTo>
                <a:cubicBezTo>
                  <a:pt x="10237942" y="27719"/>
                  <a:pt x="10248335" y="38114"/>
                  <a:pt x="10248335" y="50817"/>
                </a:cubicBezTo>
                <a:cubicBezTo>
                  <a:pt x="10248335" y="63522"/>
                  <a:pt x="10237942" y="73916"/>
                  <a:pt x="10225237" y="73916"/>
                </a:cubicBezTo>
                <a:cubicBezTo>
                  <a:pt x="10212533" y="73916"/>
                  <a:pt x="10202138" y="63522"/>
                  <a:pt x="10202138" y="50817"/>
                </a:cubicBezTo>
                <a:cubicBezTo>
                  <a:pt x="10202138" y="38114"/>
                  <a:pt x="10212533" y="27719"/>
                  <a:pt x="10225237" y="27719"/>
                </a:cubicBezTo>
                <a:close/>
                <a:moveTo>
                  <a:pt x="9112431" y="27719"/>
                </a:moveTo>
                <a:cubicBezTo>
                  <a:pt x="9125136" y="27719"/>
                  <a:pt x="9135530" y="38114"/>
                  <a:pt x="9135530" y="50817"/>
                </a:cubicBezTo>
                <a:cubicBezTo>
                  <a:pt x="9135530" y="63522"/>
                  <a:pt x="9125136" y="73916"/>
                  <a:pt x="9112431" y="73916"/>
                </a:cubicBezTo>
                <a:cubicBezTo>
                  <a:pt x="9099727" y="73916"/>
                  <a:pt x="9089332" y="63522"/>
                  <a:pt x="9089332" y="50817"/>
                </a:cubicBezTo>
                <a:cubicBezTo>
                  <a:pt x="9089332" y="38114"/>
                  <a:pt x="9099727" y="27719"/>
                  <a:pt x="9112431" y="27719"/>
                </a:cubicBezTo>
                <a:close/>
                <a:moveTo>
                  <a:pt x="7994456" y="27719"/>
                </a:moveTo>
                <a:cubicBezTo>
                  <a:pt x="8007160" y="27719"/>
                  <a:pt x="8017555" y="38114"/>
                  <a:pt x="8017555" y="50817"/>
                </a:cubicBezTo>
                <a:cubicBezTo>
                  <a:pt x="8017555" y="63522"/>
                  <a:pt x="8007160" y="73916"/>
                  <a:pt x="7994456" y="73916"/>
                </a:cubicBezTo>
                <a:cubicBezTo>
                  <a:pt x="7981752" y="73916"/>
                  <a:pt x="7971356" y="63522"/>
                  <a:pt x="7971356" y="50817"/>
                </a:cubicBezTo>
                <a:cubicBezTo>
                  <a:pt x="7971356" y="38114"/>
                  <a:pt x="7981752" y="27719"/>
                  <a:pt x="7994456" y="27719"/>
                </a:cubicBezTo>
                <a:close/>
                <a:moveTo>
                  <a:pt x="6737887" y="27719"/>
                </a:moveTo>
                <a:cubicBezTo>
                  <a:pt x="6750591" y="27719"/>
                  <a:pt x="6760986" y="38114"/>
                  <a:pt x="6760986" y="50817"/>
                </a:cubicBezTo>
                <a:cubicBezTo>
                  <a:pt x="6760986" y="63522"/>
                  <a:pt x="6750591" y="73916"/>
                  <a:pt x="6737887" y="73916"/>
                </a:cubicBezTo>
                <a:cubicBezTo>
                  <a:pt x="6725183" y="73916"/>
                  <a:pt x="6714789" y="63522"/>
                  <a:pt x="6714789" y="50817"/>
                </a:cubicBezTo>
                <a:cubicBezTo>
                  <a:pt x="6714789" y="38114"/>
                  <a:pt x="6725183" y="27719"/>
                  <a:pt x="6737887" y="27719"/>
                </a:cubicBezTo>
                <a:close/>
                <a:moveTo>
                  <a:pt x="5619912" y="27719"/>
                </a:moveTo>
                <a:cubicBezTo>
                  <a:pt x="5632617" y="27719"/>
                  <a:pt x="5643008" y="38114"/>
                  <a:pt x="5643008" y="50817"/>
                </a:cubicBezTo>
                <a:cubicBezTo>
                  <a:pt x="5643008" y="63522"/>
                  <a:pt x="5632617" y="73916"/>
                  <a:pt x="5619912" y="73916"/>
                </a:cubicBezTo>
                <a:cubicBezTo>
                  <a:pt x="5607207" y="73916"/>
                  <a:pt x="5596812" y="63522"/>
                  <a:pt x="5596812" y="50817"/>
                </a:cubicBezTo>
                <a:cubicBezTo>
                  <a:pt x="5596812" y="38114"/>
                  <a:pt x="5607207" y="27719"/>
                  <a:pt x="5619912" y="27719"/>
                </a:cubicBezTo>
                <a:close/>
                <a:moveTo>
                  <a:pt x="4499625" y="27719"/>
                </a:moveTo>
                <a:cubicBezTo>
                  <a:pt x="4512330" y="27719"/>
                  <a:pt x="4522722" y="38114"/>
                  <a:pt x="4522722" y="50817"/>
                </a:cubicBezTo>
                <a:cubicBezTo>
                  <a:pt x="4522722" y="63522"/>
                  <a:pt x="4512330" y="73916"/>
                  <a:pt x="4499625" y="73916"/>
                </a:cubicBezTo>
                <a:cubicBezTo>
                  <a:pt x="4486920" y="73916"/>
                  <a:pt x="4476525" y="63522"/>
                  <a:pt x="4476525" y="50817"/>
                </a:cubicBezTo>
                <a:cubicBezTo>
                  <a:pt x="4476525" y="38114"/>
                  <a:pt x="4486920" y="27719"/>
                  <a:pt x="4499625" y="27719"/>
                </a:cubicBezTo>
                <a:close/>
                <a:moveTo>
                  <a:pt x="3381648" y="27719"/>
                </a:moveTo>
                <a:cubicBezTo>
                  <a:pt x="3394352" y="27719"/>
                  <a:pt x="3404746" y="38114"/>
                  <a:pt x="3404746" y="50817"/>
                </a:cubicBezTo>
                <a:cubicBezTo>
                  <a:pt x="3404746" y="63522"/>
                  <a:pt x="3394352" y="73916"/>
                  <a:pt x="3381648" y="73916"/>
                </a:cubicBezTo>
                <a:cubicBezTo>
                  <a:pt x="3368944" y="73916"/>
                  <a:pt x="3358549" y="63522"/>
                  <a:pt x="3358549" y="50817"/>
                </a:cubicBezTo>
                <a:cubicBezTo>
                  <a:pt x="3358549" y="38114"/>
                  <a:pt x="3368944" y="27719"/>
                  <a:pt x="3381648" y="27719"/>
                </a:cubicBezTo>
                <a:close/>
                <a:moveTo>
                  <a:pt x="2125079" y="27719"/>
                </a:moveTo>
                <a:cubicBezTo>
                  <a:pt x="2137784" y="27719"/>
                  <a:pt x="2148178" y="38114"/>
                  <a:pt x="2148178" y="50817"/>
                </a:cubicBezTo>
                <a:cubicBezTo>
                  <a:pt x="2148178" y="63522"/>
                  <a:pt x="2137784" y="73916"/>
                  <a:pt x="2125079" y="73916"/>
                </a:cubicBezTo>
                <a:cubicBezTo>
                  <a:pt x="2112376" y="73916"/>
                  <a:pt x="2101980" y="63522"/>
                  <a:pt x="2101980" y="50817"/>
                </a:cubicBezTo>
                <a:cubicBezTo>
                  <a:pt x="2101980" y="38114"/>
                  <a:pt x="2112376" y="27719"/>
                  <a:pt x="2125079" y="27719"/>
                </a:cubicBezTo>
                <a:close/>
                <a:moveTo>
                  <a:pt x="1007103" y="27719"/>
                </a:moveTo>
                <a:cubicBezTo>
                  <a:pt x="1019808" y="27719"/>
                  <a:pt x="1030201" y="38114"/>
                  <a:pt x="1030201" y="50817"/>
                </a:cubicBezTo>
                <a:cubicBezTo>
                  <a:pt x="1030201" y="63522"/>
                  <a:pt x="1019808" y="73916"/>
                  <a:pt x="1007103" y="73916"/>
                </a:cubicBezTo>
                <a:cubicBezTo>
                  <a:pt x="994399" y="73916"/>
                  <a:pt x="984004" y="63522"/>
                  <a:pt x="984004" y="50817"/>
                </a:cubicBezTo>
                <a:cubicBezTo>
                  <a:pt x="984004" y="38114"/>
                  <a:pt x="994399" y="27719"/>
                  <a:pt x="1007103" y="27719"/>
                </a:cubicBezTo>
                <a:close/>
                <a:moveTo>
                  <a:pt x="11203466" y="21945"/>
                </a:moveTo>
                <a:cubicBezTo>
                  <a:pt x="11218480" y="21945"/>
                  <a:pt x="11232339" y="34648"/>
                  <a:pt x="11232339" y="50817"/>
                </a:cubicBezTo>
                <a:cubicBezTo>
                  <a:pt x="11232339" y="66986"/>
                  <a:pt x="11219636" y="79691"/>
                  <a:pt x="11203466" y="79691"/>
                </a:cubicBezTo>
                <a:cubicBezTo>
                  <a:pt x="11187298" y="79691"/>
                  <a:pt x="11174593" y="66986"/>
                  <a:pt x="11174593" y="50817"/>
                </a:cubicBezTo>
                <a:cubicBezTo>
                  <a:pt x="11174593" y="34648"/>
                  <a:pt x="11187298" y="21945"/>
                  <a:pt x="11203466" y="21945"/>
                </a:cubicBezTo>
                <a:close/>
                <a:moveTo>
                  <a:pt x="10085490" y="21945"/>
                </a:moveTo>
                <a:cubicBezTo>
                  <a:pt x="10101659" y="21945"/>
                  <a:pt x="10114363" y="35804"/>
                  <a:pt x="10114363" y="51973"/>
                </a:cubicBezTo>
                <a:cubicBezTo>
                  <a:pt x="10114363" y="68142"/>
                  <a:pt x="10101659" y="80846"/>
                  <a:pt x="10085490" y="80846"/>
                </a:cubicBezTo>
                <a:cubicBezTo>
                  <a:pt x="10069321" y="80846"/>
                  <a:pt x="10056616" y="66986"/>
                  <a:pt x="10056616" y="50817"/>
                </a:cubicBezTo>
                <a:cubicBezTo>
                  <a:pt x="10056616" y="34648"/>
                  <a:pt x="10069321" y="21945"/>
                  <a:pt x="10085490" y="21945"/>
                </a:cubicBezTo>
                <a:close/>
                <a:moveTo>
                  <a:pt x="9247008" y="21945"/>
                </a:moveTo>
                <a:cubicBezTo>
                  <a:pt x="9263177" y="21945"/>
                  <a:pt x="9275881" y="34648"/>
                  <a:pt x="9275881" y="50817"/>
                </a:cubicBezTo>
                <a:cubicBezTo>
                  <a:pt x="9275881" y="66986"/>
                  <a:pt x="9263177" y="80846"/>
                  <a:pt x="9247008" y="80846"/>
                </a:cubicBezTo>
                <a:cubicBezTo>
                  <a:pt x="9230839" y="80846"/>
                  <a:pt x="9218134" y="65832"/>
                  <a:pt x="9218134" y="50817"/>
                </a:cubicBezTo>
                <a:cubicBezTo>
                  <a:pt x="9218134" y="35804"/>
                  <a:pt x="9230839" y="21945"/>
                  <a:pt x="9247008" y="21945"/>
                </a:cubicBezTo>
                <a:close/>
                <a:moveTo>
                  <a:pt x="8972685" y="21945"/>
                </a:moveTo>
                <a:cubicBezTo>
                  <a:pt x="8988854" y="21945"/>
                  <a:pt x="9001557" y="34648"/>
                  <a:pt x="9001557" y="50817"/>
                </a:cubicBezTo>
                <a:cubicBezTo>
                  <a:pt x="9001557" y="66986"/>
                  <a:pt x="8988854" y="79691"/>
                  <a:pt x="8972685" y="79691"/>
                </a:cubicBezTo>
                <a:cubicBezTo>
                  <a:pt x="8956515" y="79691"/>
                  <a:pt x="8943811" y="66986"/>
                  <a:pt x="8943811" y="50817"/>
                </a:cubicBezTo>
                <a:cubicBezTo>
                  <a:pt x="8943811" y="34648"/>
                  <a:pt x="8956515" y="21945"/>
                  <a:pt x="8972685" y="21945"/>
                </a:cubicBezTo>
                <a:close/>
                <a:moveTo>
                  <a:pt x="8134203" y="21945"/>
                </a:moveTo>
                <a:cubicBezTo>
                  <a:pt x="8150373" y="21945"/>
                  <a:pt x="8163075" y="34648"/>
                  <a:pt x="8163075" y="50817"/>
                </a:cubicBezTo>
                <a:cubicBezTo>
                  <a:pt x="8163075" y="66986"/>
                  <a:pt x="8150373" y="79691"/>
                  <a:pt x="8134203" y="79691"/>
                </a:cubicBezTo>
                <a:cubicBezTo>
                  <a:pt x="8118034" y="79691"/>
                  <a:pt x="8105330" y="66986"/>
                  <a:pt x="8105330" y="50817"/>
                </a:cubicBezTo>
                <a:cubicBezTo>
                  <a:pt x="8105330" y="34648"/>
                  <a:pt x="8118034" y="21945"/>
                  <a:pt x="8134203" y="21945"/>
                </a:cubicBezTo>
                <a:close/>
                <a:moveTo>
                  <a:pt x="6598140" y="21945"/>
                </a:moveTo>
                <a:cubicBezTo>
                  <a:pt x="6613155" y="21945"/>
                  <a:pt x="6627013" y="34648"/>
                  <a:pt x="6627013" y="50817"/>
                </a:cubicBezTo>
                <a:cubicBezTo>
                  <a:pt x="6627013" y="66986"/>
                  <a:pt x="6614309" y="79691"/>
                  <a:pt x="6598140" y="79691"/>
                </a:cubicBezTo>
                <a:cubicBezTo>
                  <a:pt x="6581971" y="79691"/>
                  <a:pt x="6569267" y="66986"/>
                  <a:pt x="6569267" y="50817"/>
                </a:cubicBezTo>
                <a:cubicBezTo>
                  <a:pt x="6569267" y="34648"/>
                  <a:pt x="6581971" y="21945"/>
                  <a:pt x="6598140" y="21945"/>
                </a:cubicBezTo>
                <a:close/>
                <a:moveTo>
                  <a:pt x="5480165" y="21945"/>
                </a:moveTo>
                <a:cubicBezTo>
                  <a:pt x="5496333" y="21945"/>
                  <a:pt x="5509037" y="34648"/>
                  <a:pt x="5509037" y="50817"/>
                </a:cubicBezTo>
                <a:cubicBezTo>
                  <a:pt x="5509037" y="66986"/>
                  <a:pt x="5496333" y="79691"/>
                  <a:pt x="5480165" y="79691"/>
                </a:cubicBezTo>
                <a:cubicBezTo>
                  <a:pt x="5463996" y="79691"/>
                  <a:pt x="5451289" y="66986"/>
                  <a:pt x="5451289" y="50817"/>
                </a:cubicBezTo>
                <a:cubicBezTo>
                  <a:pt x="5451289" y="34648"/>
                  <a:pt x="5463996" y="21945"/>
                  <a:pt x="5480165" y="21945"/>
                </a:cubicBezTo>
                <a:close/>
                <a:moveTo>
                  <a:pt x="4641682" y="21945"/>
                </a:moveTo>
                <a:cubicBezTo>
                  <a:pt x="4657851" y="21945"/>
                  <a:pt x="4670555" y="34648"/>
                  <a:pt x="4670555" y="50817"/>
                </a:cubicBezTo>
                <a:cubicBezTo>
                  <a:pt x="4670555" y="66986"/>
                  <a:pt x="4657851" y="79691"/>
                  <a:pt x="4641682" y="79691"/>
                </a:cubicBezTo>
                <a:cubicBezTo>
                  <a:pt x="4625513" y="79691"/>
                  <a:pt x="4612809" y="66986"/>
                  <a:pt x="4612809" y="50817"/>
                </a:cubicBezTo>
                <a:cubicBezTo>
                  <a:pt x="4612809" y="34648"/>
                  <a:pt x="4625513" y="21945"/>
                  <a:pt x="4641682" y="21945"/>
                </a:cubicBezTo>
                <a:close/>
                <a:moveTo>
                  <a:pt x="4359878" y="21945"/>
                </a:moveTo>
                <a:cubicBezTo>
                  <a:pt x="4376046" y="21945"/>
                  <a:pt x="4388751" y="34648"/>
                  <a:pt x="4388751" y="50817"/>
                </a:cubicBezTo>
                <a:cubicBezTo>
                  <a:pt x="4388751" y="66986"/>
                  <a:pt x="4376046" y="79691"/>
                  <a:pt x="4359878" y="79691"/>
                </a:cubicBezTo>
                <a:cubicBezTo>
                  <a:pt x="4343709" y="79691"/>
                  <a:pt x="4331004" y="66986"/>
                  <a:pt x="4331004" y="50817"/>
                </a:cubicBezTo>
                <a:cubicBezTo>
                  <a:pt x="4331004" y="34648"/>
                  <a:pt x="4343709" y="21945"/>
                  <a:pt x="4359878" y="21945"/>
                </a:cubicBezTo>
                <a:close/>
                <a:moveTo>
                  <a:pt x="3521396" y="21945"/>
                </a:moveTo>
                <a:cubicBezTo>
                  <a:pt x="3537564" y="21945"/>
                  <a:pt x="3550268" y="34648"/>
                  <a:pt x="3550268" y="50817"/>
                </a:cubicBezTo>
                <a:cubicBezTo>
                  <a:pt x="3550268" y="66986"/>
                  <a:pt x="3537564" y="79691"/>
                  <a:pt x="3521396" y="79691"/>
                </a:cubicBezTo>
                <a:cubicBezTo>
                  <a:pt x="3505226" y="79691"/>
                  <a:pt x="3492521" y="66986"/>
                  <a:pt x="3492521" y="50817"/>
                </a:cubicBezTo>
                <a:cubicBezTo>
                  <a:pt x="3492521" y="34648"/>
                  <a:pt x="3505226" y="21945"/>
                  <a:pt x="3521396" y="21945"/>
                </a:cubicBezTo>
                <a:close/>
                <a:moveTo>
                  <a:pt x="1985333" y="21945"/>
                </a:moveTo>
                <a:cubicBezTo>
                  <a:pt x="2000346" y="21945"/>
                  <a:pt x="2014205" y="34648"/>
                  <a:pt x="2014205" y="50817"/>
                </a:cubicBezTo>
                <a:cubicBezTo>
                  <a:pt x="2014205" y="66986"/>
                  <a:pt x="2001502" y="79691"/>
                  <a:pt x="1985333" y="79691"/>
                </a:cubicBezTo>
                <a:cubicBezTo>
                  <a:pt x="1969164" y="79691"/>
                  <a:pt x="1956459" y="66986"/>
                  <a:pt x="1956459" y="50817"/>
                </a:cubicBezTo>
                <a:cubicBezTo>
                  <a:pt x="1956459" y="34648"/>
                  <a:pt x="1969164" y="21945"/>
                  <a:pt x="1985333" y="21945"/>
                </a:cubicBezTo>
                <a:close/>
                <a:moveTo>
                  <a:pt x="867356" y="21945"/>
                </a:moveTo>
                <a:cubicBezTo>
                  <a:pt x="883525" y="21945"/>
                  <a:pt x="896229" y="35804"/>
                  <a:pt x="896229" y="51973"/>
                </a:cubicBezTo>
                <a:cubicBezTo>
                  <a:pt x="896229" y="68142"/>
                  <a:pt x="883525" y="80846"/>
                  <a:pt x="867356" y="80846"/>
                </a:cubicBezTo>
                <a:cubicBezTo>
                  <a:pt x="851187" y="80846"/>
                  <a:pt x="838482" y="66986"/>
                  <a:pt x="838482" y="50817"/>
                </a:cubicBezTo>
                <a:cubicBezTo>
                  <a:pt x="838482" y="34648"/>
                  <a:pt x="851187" y="21945"/>
                  <a:pt x="867356" y="21945"/>
                </a:cubicBezTo>
                <a:close/>
                <a:moveTo>
                  <a:pt x="28874" y="21945"/>
                </a:moveTo>
                <a:cubicBezTo>
                  <a:pt x="45043" y="21945"/>
                  <a:pt x="57747" y="34648"/>
                  <a:pt x="57747" y="50817"/>
                </a:cubicBezTo>
                <a:cubicBezTo>
                  <a:pt x="57747" y="66986"/>
                  <a:pt x="45043" y="80846"/>
                  <a:pt x="28874" y="80846"/>
                </a:cubicBezTo>
                <a:cubicBezTo>
                  <a:pt x="12705" y="80846"/>
                  <a:pt x="0" y="65832"/>
                  <a:pt x="0" y="50817"/>
                </a:cubicBezTo>
                <a:cubicBezTo>
                  <a:pt x="0" y="35804"/>
                  <a:pt x="12705" y="21945"/>
                  <a:pt x="28874" y="21945"/>
                </a:cubicBezTo>
                <a:close/>
                <a:moveTo>
                  <a:pt x="11063719" y="16169"/>
                </a:moveTo>
                <a:cubicBezTo>
                  <a:pt x="11082198" y="16169"/>
                  <a:pt x="11098367" y="32338"/>
                  <a:pt x="11098367" y="50817"/>
                </a:cubicBezTo>
                <a:cubicBezTo>
                  <a:pt x="11098367" y="69296"/>
                  <a:pt x="11083353" y="85465"/>
                  <a:pt x="11063719" y="85465"/>
                </a:cubicBezTo>
                <a:cubicBezTo>
                  <a:pt x="11045240" y="85465"/>
                  <a:pt x="11029071" y="69296"/>
                  <a:pt x="11029071" y="50817"/>
                </a:cubicBezTo>
                <a:cubicBezTo>
                  <a:pt x="11029071" y="32338"/>
                  <a:pt x="11044086" y="16169"/>
                  <a:pt x="11063719" y="16169"/>
                </a:cubicBezTo>
                <a:close/>
                <a:moveTo>
                  <a:pt x="9945743" y="16169"/>
                </a:moveTo>
                <a:cubicBezTo>
                  <a:pt x="9965377" y="16169"/>
                  <a:pt x="9980391" y="32338"/>
                  <a:pt x="9980391" y="50817"/>
                </a:cubicBezTo>
                <a:cubicBezTo>
                  <a:pt x="9980391" y="69296"/>
                  <a:pt x="9964222" y="85465"/>
                  <a:pt x="9945743" y="85465"/>
                </a:cubicBezTo>
                <a:cubicBezTo>
                  <a:pt x="9927264" y="85465"/>
                  <a:pt x="9911094" y="69296"/>
                  <a:pt x="9911094" y="50817"/>
                </a:cubicBezTo>
                <a:cubicBezTo>
                  <a:pt x="9911094" y="32338"/>
                  <a:pt x="9926109" y="16169"/>
                  <a:pt x="9945743" y="16169"/>
                </a:cubicBezTo>
                <a:close/>
                <a:moveTo>
                  <a:pt x="9386754" y="16169"/>
                </a:moveTo>
                <a:cubicBezTo>
                  <a:pt x="9406389" y="16169"/>
                  <a:pt x="9421402" y="32338"/>
                  <a:pt x="9421402" y="50817"/>
                </a:cubicBezTo>
                <a:cubicBezTo>
                  <a:pt x="9421402" y="69296"/>
                  <a:pt x="9405233" y="85465"/>
                  <a:pt x="9386754" y="85465"/>
                </a:cubicBezTo>
                <a:cubicBezTo>
                  <a:pt x="9368275" y="85465"/>
                  <a:pt x="9352106" y="69296"/>
                  <a:pt x="9352106" y="50817"/>
                </a:cubicBezTo>
                <a:cubicBezTo>
                  <a:pt x="9352106" y="32338"/>
                  <a:pt x="9367121" y="16169"/>
                  <a:pt x="9386754" y="16169"/>
                </a:cubicBezTo>
                <a:close/>
                <a:moveTo>
                  <a:pt x="8832937" y="16169"/>
                </a:moveTo>
                <a:cubicBezTo>
                  <a:pt x="8852571" y="16169"/>
                  <a:pt x="8867585" y="32338"/>
                  <a:pt x="8867585" y="50817"/>
                </a:cubicBezTo>
                <a:cubicBezTo>
                  <a:pt x="8867585" y="69296"/>
                  <a:pt x="8852571" y="85465"/>
                  <a:pt x="8832937" y="85465"/>
                </a:cubicBezTo>
                <a:cubicBezTo>
                  <a:pt x="8814458" y="85465"/>
                  <a:pt x="8798289" y="69296"/>
                  <a:pt x="8798289" y="50817"/>
                </a:cubicBezTo>
                <a:cubicBezTo>
                  <a:pt x="8798289" y="32338"/>
                  <a:pt x="8813304" y="16169"/>
                  <a:pt x="8832937" y="16169"/>
                </a:cubicBezTo>
                <a:close/>
                <a:moveTo>
                  <a:pt x="8273949" y="16169"/>
                </a:moveTo>
                <a:cubicBezTo>
                  <a:pt x="8293584" y="16169"/>
                  <a:pt x="8308598" y="32338"/>
                  <a:pt x="8308598" y="50817"/>
                </a:cubicBezTo>
                <a:cubicBezTo>
                  <a:pt x="8308598" y="69296"/>
                  <a:pt x="8293584" y="85465"/>
                  <a:pt x="8273949" y="85465"/>
                </a:cubicBezTo>
                <a:cubicBezTo>
                  <a:pt x="8255471" y="85465"/>
                  <a:pt x="8239301" y="69296"/>
                  <a:pt x="8239301" y="50817"/>
                </a:cubicBezTo>
                <a:cubicBezTo>
                  <a:pt x="8239301" y="32338"/>
                  <a:pt x="8254316" y="16169"/>
                  <a:pt x="8273949" y="16169"/>
                </a:cubicBezTo>
                <a:close/>
                <a:moveTo>
                  <a:pt x="6458393" y="16169"/>
                </a:moveTo>
                <a:cubicBezTo>
                  <a:pt x="6476871" y="16169"/>
                  <a:pt x="6493041" y="32338"/>
                  <a:pt x="6493041" y="50817"/>
                </a:cubicBezTo>
                <a:cubicBezTo>
                  <a:pt x="6493041" y="69296"/>
                  <a:pt x="6476871" y="85465"/>
                  <a:pt x="6458393" y="85465"/>
                </a:cubicBezTo>
                <a:cubicBezTo>
                  <a:pt x="6439914" y="85465"/>
                  <a:pt x="6423745" y="69296"/>
                  <a:pt x="6423745" y="50817"/>
                </a:cubicBezTo>
                <a:cubicBezTo>
                  <a:pt x="6423745" y="32338"/>
                  <a:pt x="6438760" y="16169"/>
                  <a:pt x="6458393" y="16169"/>
                </a:cubicBezTo>
                <a:close/>
                <a:moveTo>
                  <a:pt x="5340416" y="16169"/>
                </a:moveTo>
                <a:cubicBezTo>
                  <a:pt x="5360051" y="16169"/>
                  <a:pt x="5375064" y="32338"/>
                  <a:pt x="5375064" y="50817"/>
                </a:cubicBezTo>
                <a:cubicBezTo>
                  <a:pt x="5375064" y="69296"/>
                  <a:pt x="5358895" y="85465"/>
                  <a:pt x="5340416" y="85465"/>
                </a:cubicBezTo>
                <a:cubicBezTo>
                  <a:pt x="5321939" y="85465"/>
                  <a:pt x="5305769" y="69296"/>
                  <a:pt x="5305769" y="50817"/>
                </a:cubicBezTo>
                <a:cubicBezTo>
                  <a:pt x="5305769" y="32338"/>
                  <a:pt x="5320783" y="16169"/>
                  <a:pt x="5340416" y="16169"/>
                </a:cubicBezTo>
                <a:close/>
                <a:moveTo>
                  <a:pt x="4781429" y="16169"/>
                </a:moveTo>
                <a:cubicBezTo>
                  <a:pt x="4801062" y="16169"/>
                  <a:pt x="4816075" y="32338"/>
                  <a:pt x="4816075" y="50817"/>
                </a:cubicBezTo>
                <a:cubicBezTo>
                  <a:pt x="4816075" y="69296"/>
                  <a:pt x="4799906" y="85465"/>
                  <a:pt x="4781429" y="85465"/>
                </a:cubicBezTo>
                <a:cubicBezTo>
                  <a:pt x="4762949" y="85465"/>
                  <a:pt x="4746781" y="69296"/>
                  <a:pt x="4746781" y="50817"/>
                </a:cubicBezTo>
                <a:cubicBezTo>
                  <a:pt x="4746781" y="32338"/>
                  <a:pt x="4761794" y="16169"/>
                  <a:pt x="4781429" y="16169"/>
                </a:cubicBezTo>
                <a:close/>
                <a:moveTo>
                  <a:pt x="4220129" y="16169"/>
                </a:moveTo>
                <a:cubicBezTo>
                  <a:pt x="4239764" y="16169"/>
                  <a:pt x="4254779" y="32338"/>
                  <a:pt x="4254779" y="50817"/>
                </a:cubicBezTo>
                <a:cubicBezTo>
                  <a:pt x="4254779" y="69296"/>
                  <a:pt x="4239764" y="85465"/>
                  <a:pt x="4220129" y="85465"/>
                </a:cubicBezTo>
                <a:cubicBezTo>
                  <a:pt x="4201651" y="85465"/>
                  <a:pt x="4185482" y="69296"/>
                  <a:pt x="4185482" y="50817"/>
                </a:cubicBezTo>
                <a:cubicBezTo>
                  <a:pt x="4185482" y="32338"/>
                  <a:pt x="4200498" y="16169"/>
                  <a:pt x="4220129" y="16169"/>
                </a:cubicBezTo>
                <a:close/>
                <a:moveTo>
                  <a:pt x="3661142" y="16169"/>
                </a:moveTo>
                <a:cubicBezTo>
                  <a:pt x="3680776" y="16169"/>
                  <a:pt x="3695791" y="32338"/>
                  <a:pt x="3695791" y="50817"/>
                </a:cubicBezTo>
                <a:cubicBezTo>
                  <a:pt x="3695791" y="69296"/>
                  <a:pt x="3680776" y="85465"/>
                  <a:pt x="3661142" y="85465"/>
                </a:cubicBezTo>
                <a:cubicBezTo>
                  <a:pt x="3642663" y="85465"/>
                  <a:pt x="3626494" y="69296"/>
                  <a:pt x="3626494" y="50817"/>
                </a:cubicBezTo>
                <a:cubicBezTo>
                  <a:pt x="3626494" y="32338"/>
                  <a:pt x="3641508" y="16169"/>
                  <a:pt x="3661142" y="16169"/>
                </a:cubicBezTo>
                <a:close/>
                <a:moveTo>
                  <a:pt x="1845585" y="16169"/>
                </a:moveTo>
                <a:cubicBezTo>
                  <a:pt x="1864064" y="16169"/>
                  <a:pt x="1880233" y="32338"/>
                  <a:pt x="1880233" y="50817"/>
                </a:cubicBezTo>
                <a:cubicBezTo>
                  <a:pt x="1880233" y="69296"/>
                  <a:pt x="1865220" y="85465"/>
                  <a:pt x="1845585" y="85465"/>
                </a:cubicBezTo>
                <a:cubicBezTo>
                  <a:pt x="1827106" y="85465"/>
                  <a:pt x="1810937" y="69296"/>
                  <a:pt x="1810937" y="50817"/>
                </a:cubicBezTo>
                <a:cubicBezTo>
                  <a:pt x="1810937" y="32338"/>
                  <a:pt x="1825952" y="16169"/>
                  <a:pt x="1845585" y="16169"/>
                </a:cubicBezTo>
                <a:close/>
                <a:moveTo>
                  <a:pt x="727609" y="16169"/>
                </a:moveTo>
                <a:cubicBezTo>
                  <a:pt x="747243" y="16169"/>
                  <a:pt x="762257" y="32338"/>
                  <a:pt x="762257" y="50817"/>
                </a:cubicBezTo>
                <a:cubicBezTo>
                  <a:pt x="762257" y="69296"/>
                  <a:pt x="746088" y="85465"/>
                  <a:pt x="727609" y="85465"/>
                </a:cubicBezTo>
                <a:cubicBezTo>
                  <a:pt x="709130" y="85465"/>
                  <a:pt x="692961" y="69296"/>
                  <a:pt x="692961" y="50817"/>
                </a:cubicBezTo>
                <a:cubicBezTo>
                  <a:pt x="692961" y="32338"/>
                  <a:pt x="707976" y="16169"/>
                  <a:pt x="727609" y="16169"/>
                </a:cubicBezTo>
                <a:close/>
                <a:moveTo>
                  <a:pt x="168621" y="16169"/>
                </a:moveTo>
                <a:cubicBezTo>
                  <a:pt x="188255" y="16169"/>
                  <a:pt x="203269" y="32338"/>
                  <a:pt x="203269" y="50817"/>
                </a:cubicBezTo>
                <a:cubicBezTo>
                  <a:pt x="203269" y="69296"/>
                  <a:pt x="187100" y="85465"/>
                  <a:pt x="168621" y="85465"/>
                </a:cubicBezTo>
                <a:cubicBezTo>
                  <a:pt x="150142" y="85465"/>
                  <a:pt x="133973" y="69296"/>
                  <a:pt x="133973" y="50817"/>
                </a:cubicBezTo>
                <a:cubicBezTo>
                  <a:pt x="133973" y="32338"/>
                  <a:pt x="148988" y="16169"/>
                  <a:pt x="168621" y="16169"/>
                </a:cubicBezTo>
                <a:close/>
                <a:moveTo>
                  <a:pt x="10923972" y="10395"/>
                </a:moveTo>
                <a:cubicBezTo>
                  <a:pt x="10945916" y="10395"/>
                  <a:pt x="10964394" y="28874"/>
                  <a:pt x="10964394" y="50817"/>
                </a:cubicBezTo>
                <a:cubicBezTo>
                  <a:pt x="10964394" y="72762"/>
                  <a:pt x="10945916" y="91241"/>
                  <a:pt x="10923972" y="91241"/>
                </a:cubicBezTo>
                <a:cubicBezTo>
                  <a:pt x="10902028" y="91241"/>
                  <a:pt x="10883549" y="72762"/>
                  <a:pt x="10883549" y="50817"/>
                </a:cubicBezTo>
                <a:cubicBezTo>
                  <a:pt x="10883549" y="28874"/>
                  <a:pt x="10902028" y="10395"/>
                  <a:pt x="10923972" y="10395"/>
                </a:cubicBezTo>
                <a:close/>
                <a:moveTo>
                  <a:pt x="9805996" y="10395"/>
                </a:moveTo>
                <a:cubicBezTo>
                  <a:pt x="9827939" y="10395"/>
                  <a:pt x="9846418" y="30029"/>
                  <a:pt x="9846418" y="51973"/>
                </a:cubicBezTo>
                <a:cubicBezTo>
                  <a:pt x="9846418" y="73916"/>
                  <a:pt x="9827939" y="92395"/>
                  <a:pt x="9805996" y="92395"/>
                </a:cubicBezTo>
                <a:cubicBezTo>
                  <a:pt x="9784052" y="92395"/>
                  <a:pt x="9765573" y="72762"/>
                  <a:pt x="9765573" y="50817"/>
                </a:cubicBezTo>
                <a:cubicBezTo>
                  <a:pt x="9765573" y="28874"/>
                  <a:pt x="9784052" y="10395"/>
                  <a:pt x="9805996" y="10395"/>
                </a:cubicBezTo>
                <a:close/>
                <a:moveTo>
                  <a:pt x="9526502" y="10395"/>
                </a:moveTo>
                <a:cubicBezTo>
                  <a:pt x="9548445" y="10395"/>
                  <a:pt x="9566924" y="30029"/>
                  <a:pt x="9566924" y="51973"/>
                </a:cubicBezTo>
                <a:cubicBezTo>
                  <a:pt x="9566924" y="73916"/>
                  <a:pt x="9548445" y="92395"/>
                  <a:pt x="9526502" y="92395"/>
                </a:cubicBezTo>
                <a:cubicBezTo>
                  <a:pt x="9504558" y="92395"/>
                  <a:pt x="9486079" y="72762"/>
                  <a:pt x="9486079" y="50817"/>
                </a:cubicBezTo>
                <a:cubicBezTo>
                  <a:pt x="9486079" y="28874"/>
                  <a:pt x="9504558" y="10395"/>
                  <a:pt x="9526502" y="10395"/>
                </a:cubicBezTo>
                <a:close/>
                <a:moveTo>
                  <a:pt x="8693190" y="10395"/>
                </a:moveTo>
                <a:cubicBezTo>
                  <a:pt x="8715134" y="10395"/>
                  <a:pt x="8733613" y="28874"/>
                  <a:pt x="8733613" y="50817"/>
                </a:cubicBezTo>
                <a:cubicBezTo>
                  <a:pt x="8733613" y="72762"/>
                  <a:pt x="8715134" y="91241"/>
                  <a:pt x="8693190" y="91241"/>
                </a:cubicBezTo>
                <a:cubicBezTo>
                  <a:pt x="8671246" y="91241"/>
                  <a:pt x="8652767" y="72762"/>
                  <a:pt x="8652767" y="50817"/>
                </a:cubicBezTo>
                <a:cubicBezTo>
                  <a:pt x="8652767" y="28874"/>
                  <a:pt x="8671246" y="10395"/>
                  <a:pt x="8693190" y="10395"/>
                </a:cubicBezTo>
                <a:close/>
                <a:moveTo>
                  <a:pt x="8413696" y="10395"/>
                </a:moveTo>
                <a:cubicBezTo>
                  <a:pt x="8435640" y="10395"/>
                  <a:pt x="8454118" y="28874"/>
                  <a:pt x="8454118" y="50817"/>
                </a:cubicBezTo>
                <a:cubicBezTo>
                  <a:pt x="8454118" y="72762"/>
                  <a:pt x="8435640" y="91241"/>
                  <a:pt x="8413696" y="91241"/>
                </a:cubicBezTo>
                <a:cubicBezTo>
                  <a:pt x="8391752" y="91241"/>
                  <a:pt x="8373274" y="72762"/>
                  <a:pt x="8373274" y="50817"/>
                </a:cubicBezTo>
                <a:cubicBezTo>
                  <a:pt x="8373274" y="28874"/>
                  <a:pt x="8391752" y="10395"/>
                  <a:pt x="8413696" y="10395"/>
                </a:cubicBezTo>
                <a:close/>
                <a:moveTo>
                  <a:pt x="6318647" y="10395"/>
                </a:moveTo>
                <a:cubicBezTo>
                  <a:pt x="6340589" y="10395"/>
                  <a:pt x="6359068" y="28874"/>
                  <a:pt x="6359068" y="50817"/>
                </a:cubicBezTo>
                <a:cubicBezTo>
                  <a:pt x="6359068" y="72762"/>
                  <a:pt x="6340589" y="91241"/>
                  <a:pt x="6318647" y="91241"/>
                </a:cubicBezTo>
                <a:cubicBezTo>
                  <a:pt x="6296702" y="91241"/>
                  <a:pt x="6278223" y="72762"/>
                  <a:pt x="6278223" y="50817"/>
                </a:cubicBezTo>
                <a:cubicBezTo>
                  <a:pt x="6278223" y="28874"/>
                  <a:pt x="6296702" y="10395"/>
                  <a:pt x="6318647" y="10395"/>
                </a:cubicBezTo>
                <a:close/>
                <a:moveTo>
                  <a:pt x="5200670" y="10395"/>
                </a:moveTo>
                <a:cubicBezTo>
                  <a:pt x="5222613" y="10395"/>
                  <a:pt x="5241093" y="28874"/>
                  <a:pt x="5241093" y="50817"/>
                </a:cubicBezTo>
                <a:cubicBezTo>
                  <a:pt x="5241093" y="72762"/>
                  <a:pt x="5222613" y="91241"/>
                  <a:pt x="5200670" y="91241"/>
                </a:cubicBezTo>
                <a:cubicBezTo>
                  <a:pt x="5178725" y="91241"/>
                  <a:pt x="5160247" y="72762"/>
                  <a:pt x="5160247" y="50817"/>
                </a:cubicBezTo>
                <a:cubicBezTo>
                  <a:pt x="5160247" y="28874"/>
                  <a:pt x="5178725" y="10395"/>
                  <a:pt x="5200670" y="10395"/>
                </a:cubicBezTo>
                <a:close/>
                <a:moveTo>
                  <a:pt x="4921176" y="10395"/>
                </a:moveTo>
                <a:cubicBezTo>
                  <a:pt x="4944275" y="10395"/>
                  <a:pt x="4961598" y="28874"/>
                  <a:pt x="4961598" y="50817"/>
                </a:cubicBezTo>
                <a:cubicBezTo>
                  <a:pt x="4961598" y="72762"/>
                  <a:pt x="4943120" y="91241"/>
                  <a:pt x="4921176" y="91241"/>
                </a:cubicBezTo>
                <a:cubicBezTo>
                  <a:pt x="4899233" y="91241"/>
                  <a:pt x="4880752" y="72762"/>
                  <a:pt x="4880752" y="50817"/>
                </a:cubicBezTo>
                <a:cubicBezTo>
                  <a:pt x="4880752" y="28874"/>
                  <a:pt x="4899233" y="10395"/>
                  <a:pt x="4921176" y="10395"/>
                </a:cubicBezTo>
                <a:close/>
                <a:moveTo>
                  <a:pt x="4080383" y="10395"/>
                </a:moveTo>
                <a:cubicBezTo>
                  <a:pt x="4102326" y="10395"/>
                  <a:pt x="4120806" y="28874"/>
                  <a:pt x="4120806" y="50817"/>
                </a:cubicBezTo>
                <a:cubicBezTo>
                  <a:pt x="4120806" y="72762"/>
                  <a:pt x="4102326" y="91241"/>
                  <a:pt x="4080383" y="91241"/>
                </a:cubicBezTo>
                <a:cubicBezTo>
                  <a:pt x="4058439" y="91241"/>
                  <a:pt x="4039961" y="72762"/>
                  <a:pt x="4039961" y="50817"/>
                </a:cubicBezTo>
                <a:cubicBezTo>
                  <a:pt x="4039961" y="28874"/>
                  <a:pt x="4058439" y="10395"/>
                  <a:pt x="4080383" y="10395"/>
                </a:cubicBezTo>
                <a:close/>
                <a:moveTo>
                  <a:pt x="3800889" y="10395"/>
                </a:moveTo>
                <a:cubicBezTo>
                  <a:pt x="3822833" y="10395"/>
                  <a:pt x="3841311" y="28874"/>
                  <a:pt x="3841311" y="50817"/>
                </a:cubicBezTo>
                <a:cubicBezTo>
                  <a:pt x="3841311" y="72762"/>
                  <a:pt x="3822833" y="91241"/>
                  <a:pt x="3800889" y="91241"/>
                </a:cubicBezTo>
                <a:cubicBezTo>
                  <a:pt x="3778945" y="91241"/>
                  <a:pt x="3760466" y="72762"/>
                  <a:pt x="3760466" y="50817"/>
                </a:cubicBezTo>
                <a:cubicBezTo>
                  <a:pt x="3760466" y="28874"/>
                  <a:pt x="3778945" y="10395"/>
                  <a:pt x="3800889" y="10395"/>
                </a:cubicBezTo>
                <a:close/>
                <a:moveTo>
                  <a:pt x="1705839" y="10395"/>
                </a:moveTo>
                <a:cubicBezTo>
                  <a:pt x="1727782" y="10395"/>
                  <a:pt x="1746261" y="28874"/>
                  <a:pt x="1746261" y="50817"/>
                </a:cubicBezTo>
                <a:cubicBezTo>
                  <a:pt x="1746261" y="72762"/>
                  <a:pt x="1727782" y="91241"/>
                  <a:pt x="1705839" y="91241"/>
                </a:cubicBezTo>
                <a:cubicBezTo>
                  <a:pt x="1683894" y="91241"/>
                  <a:pt x="1665415" y="72762"/>
                  <a:pt x="1665415" y="50817"/>
                </a:cubicBezTo>
                <a:cubicBezTo>
                  <a:pt x="1665415" y="28874"/>
                  <a:pt x="1683894" y="10395"/>
                  <a:pt x="1705839" y="10395"/>
                </a:cubicBezTo>
                <a:close/>
                <a:moveTo>
                  <a:pt x="587862" y="10395"/>
                </a:moveTo>
                <a:cubicBezTo>
                  <a:pt x="609806" y="10395"/>
                  <a:pt x="628284" y="30029"/>
                  <a:pt x="628284" y="51973"/>
                </a:cubicBezTo>
                <a:cubicBezTo>
                  <a:pt x="628284" y="73916"/>
                  <a:pt x="609806" y="92395"/>
                  <a:pt x="587862" y="92395"/>
                </a:cubicBezTo>
                <a:cubicBezTo>
                  <a:pt x="565918" y="92395"/>
                  <a:pt x="547439" y="72762"/>
                  <a:pt x="547439" y="50817"/>
                </a:cubicBezTo>
                <a:cubicBezTo>
                  <a:pt x="547439" y="28874"/>
                  <a:pt x="565918" y="10395"/>
                  <a:pt x="587862" y="10395"/>
                </a:cubicBezTo>
                <a:close/>
                <a:moveTo>
                  <a:pt x="308368" y="10395"/>
                </a:moveTo>
                <a:cubicBezTo>
                  <a:pt x="330311" y="10395"/>
                  <a:pt x="348790" y="30029"/>
                  <a:pt x="348790" y="51973"/>
                </a:cubicBezTo>
                <a:cubicBezTo>
                  <a:pt x="348790" y="73916"/>
                  <a:pt x="330311" y="92395"/>
                  <a:pt x="308368" y="92395"/>
                </a:cubicBezTo>
                <a:cubicBezTo>
                  <a:pt x="286424" y="92395"/>
                  <a:pt x="267945" y="72762"/>
                  <a:pt x="267945" y="50817"/>
                </a:cubicBezTo>
                <a:cubicBezTo>
                  <a:pt x="267945" y="28874"/>
                  <a:pt x="286424" y="10395"/>
                  <a:pt x="308368" y="10395"/>
                </a:cubicBezTo>
                <a:close/>
                <a:moveTo>
                  <a:pt x="10784225" y="0"/>
                </a:moveTo>
                <a:cubicBezTo>
                  <a:pt x="10811943" y="0"/>
                  <a:pt x="10835042" y="23099"/>
                  <a:pt x="10835042" y="50817"/>
                </a:cubicBezTo>
                <a:cubicBezTo>
                  <a:pt x="10835042" y="78536"/>
                  <a:pt x="10811943" y="101634"/>
                  <a:pt x="10784225" y="101634"/>
                </a:cubicBezTo>
                <a:cubicBezTo>
                  <a:pt x="10756506" y="101634"/>
                  <a:pt x="10733408" y="78536"/>
                  <a:pt x="10733408" y="50817"/>
                </a:cubicBezTo>
                <a:cubicBezTo>
                  <a:pt x="10733408" y="23099"/>
                  <a:pt x="10755352" y="0"/>
                  <a:pt x="10784225" y="0"/>
                </a:cubicBezTo>
                <a:close/>
                <a:moveTo>
                  <a:pt x="9666248" y="0"/>
                </a:moveTo>
                <a:cubicBezTo>
                  <a:pt x="9695122" y="0"/>
                  <a:pt x="9717066" y="23099"/>
                  <a:pt x="9717066" y="50817"/>
                </a:cubicBezTo>
                <a:cubicBezTo>
                  <a:pt x="9717066" y="78536"/>
                  <a:pt x="9695122" y="101634"/>
                  <a:pt x="9666248" y="101634"/>
                </a:cubicBezTo>
                <a:cubicBezTo>
                  <a:pt x="9638530" y="101634"/>
                  <a:pt x="9615431" y="78536"/>
                  <a:pt x="9615431" y="50817"/>
                </a:cubicBezTo>
                <a:cubicBezTo>
                  <a:pt x="9615431" y="23099"/>
                  <a:pt x="9637376" y="0"/>
                  <a:pt x="9666248" y="0"/>
                </a:cubicBezTo>
                <a:close/>
                <a:moveTo>
                  <a:pt x="8553443" y="0"/>
                </a:moveTo>
                <a:cubicBezTo>
                  <a:pt x="8582317" y="0"/>
                  <a:pt x="8604260" y="23099"/>
                  <a:pt x="8604260" y="50817"/>
                </a:cubicBezTo>
                <a:cubicBezTo>
                  <a:pt x="8604260" y="78536"/>
                  <a:pt x="8582317" y="101634"/>
                  <a:pt x="8553443" y="101634"/>
                </a:cubicBezTo>
                <a:cubicBezTo>
                  <a:pt x="8525724" y="101634"/>
                  <a:pt x="8502626" y="78536"/>
                  <a:pt x="8502626" y="50817"/>
                </a:cubicBezTo>
                <a:cubicBezTo>
                  <a:pt x="8502626" y="23099"/>
                  <a:pt x="8524570" y="0"/>
                  <a:pt x="8553443" y="0"/>
                </a:cubicBezTo>
                <a:close/>
                <a:moveTo>
                  <a:pt x="6178898" y="0"/>
                </a:moveTo>
                <a:cubicBezTo>
                  <a:pt x="6206618" y="0"/>
                  <a:pt x="6229715" y="23099"/>
                  <a:pt x="6229715" y="50817"/>
                </a:cubicBezTo>
                <a:cubicBezTo>
                  <a:pt x="6229715" y="78536"/>
                  <a:pt x="6206618" y="101634"/>
                  <a:pt x="6178898" y="101634"/>
                </a:cubicBezTo>
                <a:cubicBezTo>
                  <a:pt x="6151180" y="101634"/>
                  <a:pt x="6128081" y="78536"/>
                  <a:pt x="6128081" y="50817"/>
                </a:cubicBezTo>
                <a:cubicBezTo>
                  <a:pt x="6128081" y="23099"/>
                  <a:pt x="6150025" y="0"/>
                  <a:pt x="6178898" y="0"/>
                </a:cubicBezTo>
                <a:close/>
                <a:moveTo>
                  <a:pt x="5060922" y="0"/>
                </a:moveTo>
                <a:cubicBezTo>
                  <a:pt x="5089795" y="0"/>
                  <a:pt x="5111740" y="23099"/>
                  <a:pt x="5111740" y="50817"/>
                </a:cubicBezTo>
                <a:cubicBezTo>
                  <a:pt x="5111740" y="78536"/>
                  <a:pt x="5088641" y="101634"/>
                  <a:pt x="5060922" y="101634"/>
                </a:cubicBezTo>
                <a:cubicBezTo>
                  <a:pt x="5033205" y="101634"/>
                  <a:pt x="5010105" y="78536"/>
                  <a:pt x="5010105" y="50817"/>
                </a:cubicBezTo>
                <a:cubicBezTo>
                  <a:pt x="5010105" y="23099"/>
                  <a:pt x="5032050" y="0"/>
                  <a:pt x="5060922" y="0"/>
                </a:cubicBezTo>
                <a:close/>
                <a:moveTo>
                  <a:pt x="3940636" y="0"/>
                </a:moveTo>
                <a:cubicBezTo>
                  <a:pt x="3969510" y="0"/>
                  <a:pt x="3991453" y="23099"/>
                  <a:pt x="3991453" y="50817"/>
                </a:cubicBezTo>
                <a:cubicBezTo>
                  <a:pt x="3991453" y="78536"/>
                  <a:pt x="3969510" y="101634"/>
                  <a:pt x="3940636" y="101634"/>
                </a:cubicBezTo>
                <a:cubicBezTo>
                  <a:pt x="3912917" y="101634"/>
                  <a:pt x="3889819" y="78536"/>
                  <a:pt x="3889819" y="50817"/>
                </a:cubicBezTo>
                <a:cubicBezTo>
                  <a:pt x="3889819" y="23099"/>
                  <a:pt x="3911763" y="0"/>
                  <a:pt x="3940636" y="0"/>
                </a:cubicBezTo>
                <a:close/>
                <a:moveTo>
                  <a:pt x="1566091" y="0"/>
                </a:moveTo>
                <a:cubicBezTo>
                  <a:pt x="1593810" y="0"/>
                  <a:pt x="1616908" y="23099"/>
                  <a:pt x="1616908" y="50817"/>
                </a:cubicBezTo>
                <a:cubicBezTo>
                  <a:pt x="1616908" y="78536"/>
                  <a:pt x="1593810" y="101634"/>
                  <a:pt x="1566091" y="101634"/>
                </a:cubicBezTo>
                <a:cubicBezTo>
                  <a:pt x="1538373" y="101634"/>
                  <a:pt x="1515274" y="78536"/>
                  <a:pt x="1515274" y="50817"/>
                </a:cubicBezTo>
                <a:cubicBezTo>
                  <a:pt x="1515274" y="23099"/>
                  <a:pt x="1537218" y="0"/>
                  <a:pt x="1566091" y="0"/>
                </a:cubicBezTo>
                <a:close/>
                <a:moveTo>
                  <a:pt x="448115" y="0"/>
                </a:moveTo>
                <a:cubicBezTo>
                  <a:pt x="476989" y="0"/>
                  <a:pt x="498932" y="23099"/>
                  <a:pt x="498932" y="50817"/>
                </a:cubicBezTo>
                <a:cubicBezTo>
                  <a:pt x="498932" y="78536"/>
                  <a:pt x="476989" y="101634"/>
                  <a:pt x="448115" y="101634"/>
                </a:cubicBezTo>
                <a:cubicBezTo>
                  <a:pt x="420396" y="101634"/>
                  <a:pt x="397298" y="78536"/>
                  <a:pt x="397298" y="50817"/>
                </a:cubicBezTo>
                <a:cubicBezTo>
                  <a:pt x="397298" y="23099"/>
                  <a:pt x="419242" y="0"/>
                  <a:pt x="448115" y="0"/>
                </a:cubicBezTo>
                <a:close/>
              </a:path>
            </a:pathLst>
          </a:custGeom>
          <a:solidFill>
            <a:schemeClr val="bg2">
              <a:alpha val="6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800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23F41AB2-E4EA-46BA-9797-EE783A29346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E6FFDDB9-EADC-45C3-9B9E-0296DEB59E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6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A0D4FE7D-0FBF-4FBE-B450-41F7F6DEB8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549EFA15-ADB9-4F37-A509-987C3916BA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2" name="BR Logo">
            <a:extLst>
              <a:ext uri="{FF2B5EF4-FFF2-40B4-BE49-F238E27FC236}">
                <a16:creationId xmlns:a16="http://schemas.microsoft.com/office/drawing/2014/main" id="{4E434024-75F6-9240-A8DC-DCAAEC7606DA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2CB4D5F8-3161-2941-891D-FB65E214F67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86D1E27-C0A3-1444-9C07-D3EF6FB4CE4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9735167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light, sitting, clock, red&#10;&#10;Description automatically generated">
            <a:extLst>
              <a:ext uri="{FF2B5EF4-FFF2-40B4-BE49-F238E27FC236}">
                <a16:creationId xmlns:a16="http://schemas.microsoft.com/office/drawing/2014/main" id="{8F8C94D4-D591-4E8D-A692-031F3E2A6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saturation sat="75000"/>
                    </a14:imgEffect>
                    <a14:imgEffect>
                      <a14:brightnessContrast brigh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971801"/>
            <a:ext cx="12192000" cy="2286000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B40680-BB93-48C7-8B38-7F50CFAE48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8429" y="5760720"/>
            <a:ext cx="2469523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</a:t>
            </a:r>
            <a:br>
              <a:rPr lang="en-US"/>
            </a:br>
            <a:r>
              <a:rPr lang="en-US"/>
              <a:t>Click to add Tit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85B82375-5985-4C18-B830-1743F6074E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45148" y="5760720"/>
            <a:ext cx="2469523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</a:t>
            </a:r>
            <a:br>
              <a:rPr lang="en-US"/>
            </a:br>
            <a:r>
              <a:rPr lang="en-US"/>
              <a:t>Click to add Titl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8D702B-87E2-48E6-A773-8A7970EEF013}"/>
              </a:ext>
            </a:extLst>
          </p:cNvPr>
          <p:cNvGrpSpPr/>
          <p:nvPr userDrawn="1"/>
        </p:nvGrpSpPr>
        <p:grpSpPr>
          <a:xfrm>
            <a:off x="-4764" y="4533582"/>
            <a:ext cx="9174816" cy="1120561"/>
            <a:chOff x="-4763" y="4533581"/>
            <a:chExt cx="9172427" cy="1120561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931B92C8-021E-43CC-8FC6-30B1751B12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64630"/>
            <a:stretch/>
          </p:blipFill>
          <p:spPr>
            <a:xfrm>
              <a:off x="-4763" y="5257800"/>
              <a:ext cx="9172427" cy="396342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2EE26333-CCBF-4200-9105-BEECA8FB635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b="35370"/>
            <a:stretch/>
          </p:blipFill>
          <p:spPr>
            <a:xfrm>
              <a:off x="-4763" y="4533581"/>
              <a:ext cx="9172427" cy="724219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1398824-FEF2-4B3D-9B68-5D4E78249161}"/>
              </a:ext>
            </a:extLst>
          </p:cNvPr>
          <p:cNvGrpSpPr/>
          <p:nvPr userDrawn="1"/>
        </p:nvGrpSpPr>
        <p:grpSpPr>
          <a:xfrm>
            <a:off x="9174816" y="4533582"/>
            <a:ext cx="3017185" cy="1120561"/>
            <a:chOff x="-4763" y="4533581"/>
            <a:chExt cx="3016399" cy="1120561"/>
          </a:xfrm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0FE18926-1B86-4167-9320-9383EA7669D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t="64630" r="67115"/>
            <a:stretch/>
          </p:blipFill>
          <p:spPr>
            <a:xfrm>
              <a:off x="-4763" y="5257800"/>
              <a:ext cx="3016399" cy="396342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A7D4E4C5-FD7D-446F-A8D6-73591C97AA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r="67115" b="35370"/>
            <a:stretch/>
          </p:blipFill>
          <p:spPr>
            <a:xfrm>
              <a:off x="-4763" y="4533581"/>
              <a:ext cx="3016399" cy="724219"/>
            </a:xfrm>
            <a:prstGeom prst="rect">
              <a:avLst/>
            </a:prstGeom>
          </p:spPr>
        </p:pic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18E9440D-9B93-414F-9D69-CDDC407025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0115BF9F-2978-48D4-A3FC-A5B0CCCEC65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6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ABB9E6FD-DDD0-4D53-9638-2A6B039BBB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711" y="6243221"/>
            <a:ext cx="2469523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C64B74C1-5E10-48D3-8B7A-3CC071DB49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1" y="5760720"/>
            <a:ext cx="2469523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9" name="BR Logo">
            <a:extLst>
              <a:ext uri="{FF2B5EF4-FFF2-40B4-BE49-F238E27FC236}">
                <a16:creationId xmlns:a16="http://schemas.microsoft.com/office/drawing/2014/main" id="{7F3400BB-F5BF-B34B-B6BC-FDEBE0001B85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8B2FD43F-0FDC-D449-83DD-D8A69F2C1C1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B3EFC9C-A5DD-A841-83A5-8AB4ED49171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1620699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FD919DE-B351-46BB-A8AC-1E9CD30E6AE6}"/>
              </a:ext>
            </a:extLst>
          </p:cNvPr>
          <p:cNvSpPr/>
          <p:nvPr userDrawn="1"/>
        </p:nvSpPr>
        <p:spPr bwMode="white">
          <a:xfrm>
            <a:off x="1" y="0"/>
            <a:ext cx="12192000" cy="74295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9" name="Picture 8" descr="A picture containing scene, road&#10;&#10;Description automatically generated">
            <a:extLst>
              <a:ext uri="{FF2B5EF4-FFF2-40B4-BE49-F238E27FC236}">
                <a16:creationId xmlns:a16="http://schemas.microsoft.com/office/drawing/2014/main" id="{133826F2-69D5-4D34-A685-F6FDBBDEF8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4817" y="633743"/>
            <a:ext cx="12196817" cy="58432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45CAD8-C050-4321-90D4-2F217686D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46348" y="2286000"/>
            <a:ext cx="6219540" cy="1828800"/>
          </a:xfrm>
        </p:spPr>
        <p:txBody>
          <a:bodyPr anchor="t"/>
          <a:lstStyle>
            <a:lvl1pPr marL="0" marR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600" b="0" i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ivider slides should only be used to divide presentation sections. Maximum 3 line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A1AB2D-1B4C-4BD4-BF67-5541C63D072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646348" y="1371600"/>
            <a:ext cx="6219540" cy="457200"/>
          </a:xfrm>
        </p:spPr>
        <p:txBody>
          <a:bodyPr/>
          <a:lstStyle>
            <a:lvl1pPr marL="0" indent="0">
              <a:buNone/>
              <a:defRPr sz="1400" b="1" spc="30" baseline="0">
                <a:solidFill>
                  <a:schemeClr val="accent2"/>
                </a:solidFill>
              </a:defRPr>
            </a:lvl1pPr>
            <a:lvl2pPr marL="45720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Optional eyebrow line</a:t>
            </a:r>
          </a:p>
        </p:txBody>
      </p:sp>
    </p:spTree>
    <p:extLst>
      <p:ext uri="{BB962C8B-B14F-4D97-AF65-F5344CB8AC3E}">
        <p14:creationId xmlns:p14="http://schemas.microsoft.com/office/powerpoint/2010/main" val="473948495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pos="103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FD919DE-B351-46BB-A8AC-1E9CD30E6AE6}"/>
              </a:ext>
            </a:extLst>
          </p:cNvPr>
          <p:cNvSpPr/>
          <p:nvPr userDrawn="1"/>
        </p:nvSpPr>
        <p:spPr bwMode="white">
          <a:xfrm>
            <a:off x="1" y="0"/>
            <a:ext cx="12192000" cy="74295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B4773D83-34EC-49C0-A9C6-C10A42623F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40081"/>
            <a:ext cx="12191999" cy="58369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45CAD8-C050-4321-90D4-2F217686D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46347" y="2286000"/>
            <a:ext cx="6219540" cy="1828800"/>
          </a:xfrm>
        </p:spPr>
        <p:txBody>
          <a:bodyPr anchor="t"/>
          <a:lstStyle>
            <a:lvl1pPr marL="0" marR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chemeClr val="tx1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ivider slides should only be used to divide presentation sections. Maximum 3 line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A1AB2D-1B4C-4BD4-BF67-5541C63D072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646348" y="1371600"/>
            <a:ext cx="6219540" cy="457200"/>
          </a:xfrm>
        </p:spPr>
        <p:txBody>
          <a:bodyPr/>
          <a:lstStyle>
            <a:lvl1pPr marL="0" indent="0">
              <a:buNone/>
              <a:defRPr sz="1400" b="1" spc="30" baseline="0">
                <a:solidFill>
                  <a:schemeClr val="accent1"/>
                </a:solidFill>
              </a:defRPr>
            </a:lvl1pPr>
            <a:lvl2pPr marL="45720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Optional eyebrow line</a:t>
            </a:r>
          </a:p>
        </p:txBody>
      </p:sp>
    </p:spTree>
    <p:extLst>
      <p:ext uri="{BB962C8B-B14F-4D97-AF65-F5344CB8AC3E}">
        <p14:creationId xmlns:p14="http://schemas.microsoft.com/office/powerpoint/2010/main" val="2533401996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pos="103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FD919DE-B351-46BB-A8AC-1E9CD30E6AE6}"/>
              </a:ext>
            </a:extLst>
          </p:cNvPr>
          <p:cNvSpPr/>
          <p:nvPr userDrawn="1"/>
        </p:nvSpPr>
        <p:spPr bwMode="white">
          <a:xfrm>
            <a:off x="1" y="0"/>
            <a:ext cx="12192000" cy="74295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9" name="Picture 8" descr="A close up of a white background&#10;&#10;Description automatically generated">
            <a:extLst>
              <a:ext uri="{FF2B5EF4-FFF2-40B4-BE49-F238E27FC236}">
                <a16:creationId xmlns:a16="http://schemas.microsoft.com/office/drawing/2014/main" id="{2D10E026-DF59-4A44-9BFA-C44DD71E9C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40080"/>
            <a:ext cx="12192000" cy="58369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45CAD8-C050-4321-90D4-2F217686D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46348" y="2286000"/>
            <a:ext cx="6219540" cy="1828800"/>
          </a:xfrm>
        </p:spPr>
        <p:txBody>
          <a:bodyPr anchor="t"/>
          <a:lstStyle>
            <a:lvl1pPr marL="0" marR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FFFFFF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ivider slides should only be used to divide presentation sections. Maximum 3 line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A1AB2D-1B4C-4BD4-BF67-5541C63D072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646348" y="1371600"/>
            <a:ext cx="6219540" cy="457200"/>
          </a:xfrm>
        </p:spPr>
        <p:txBody>
          <a:bodyPr/>
          <a:lstStyle>
            <a:lvl1pPr marL="0" indent="0">
              <a:buNone/>
              <a:defRPr sz="1400" b="1" spc="30" baseline="0">
                <a:solidFill>
                  <a:schemeClr val="accent2"/>
                </a:solidFill>
              </a:defRPr>
            </a:lvl1pPr>
            <a:lvl2pPr marL="45720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Optional eyebrow line</a:t>
            </a:r>
          </a:p>
        </p:txBody>
      </p:sp>
    </p:spTree>
    <p:extLst>
      <p:ext uri="{BB962C8B-B14F-4D97-AF65-F5344CB8AC3E}">
        <p14:creationId xmlns:p14="http://schemas.microsoft.com/office/powerpoint/2010/main" val="3443912893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pos="103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FD919DE-B351-46BB-A8AC-1E9CD30E6AE6}"/>
              </a:ext>
            </a:extLst>
          </p:cNvPr>
          <p:cNvSpPr/>
          <p:nvPr userDrawn="1"/>
        </p:nvSpPr>
        <p:spPr bwMode="white">
          <a:xfrm>
            <a:off x="1" y="0"/>
            <a:ext cx="12192000" cy="74295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04575D-28DF-48B7-9016-EA9B946280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40080"/>
            <a:ext cx="12191998" cy="58369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45CAD8-C050-4321-90D4-2F217686D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46348" y="2286000"/>
            <a:ext cx="6219540" cy="1828800"/>
          </a:xfrm>
        </p:spPr>
        <p:txBody>
          <a:bodyPr anchor="t"/>
          <a:lstStyle>
            <a:lvl1pPr marL="0" marR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FFFFFF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Divider slides should only be used to divide presentation sections. Maximum 3 lines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A1AB2D-1B4C-4BD4-BF67-5541C63D072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646348" y="1371600"/>
            <a:ext cx="6219540" cy="457200"/>
          </a:xfrm>
        </p:spPr>
        <p:txBody>
          <a:bodyPr/>
          <a:lstStyle>
            <a:lvl1pPr marL="0" indent="0">
              <a:buNone/>
              <a:defRPr sz="1400" b="1" spc="30" baseline="0">
                <a:solidFill>
                  <a:schemeClr val="accent6"/>
                </a:solidFill>
              </a:defRPr>
            </a:lvl1pPr>
            <a:lvl2pPr marL="45720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Optional eyebrow line</a:t>
            </a:r>
          </a:p>
        </p:txBody>
      </p:sp>
    </p:spTree>
    <p:extLst>
      <p:ext uri="{BB962C8B-B14F-4D97-AF65-F5344CB8AC3E}">
        <p14:creationId xmlns:p14="http://schemas.microsoft.com/office/powerpoint/2010/main" val="382461314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pos="103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4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pic>
        <p:nvPicPr>
          <p:cNvPr id="16" name="Picture 15" descr="A picture containing swimming, large, laptop, sitting&#10;&#10;Description automatically generated">
            <a:extLst>
              <a:ext uri="{FF2B5EF4-FFF2-40B4-BE49-F238E27FC236}">
                <a16:creationId xmlns:a16="http://schemas.microsoft.com/office/drawing/2014/main" id="{338C03BC-00A3-43D2-878D-D11BA0FD4E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971800"/>
            <a:ext cx="12212719" cy="2286000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D2F8ECD-C490-45D9-890F-19655D35AA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0" name="BR Logo">
            <a:extLst>
              <a:ext uri="{FF2B5EF4-FFF2-40B4-BE49-F238E27FC236}">
                <a16:creationId xmlns:a16="http://schemas.microsoft.com/office/drawing/2014/main" id="{56ABD2E0-1AF8-4FA5-95BF-F2D4266792B8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7B85939F-582F-46C2-A2E4-E8B4D36E2B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D14C828-FC46-4E4D-A477-B5EB3767D63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6295495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  <p15:guide id="4" pos="6359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931812E-0624-4C05-8ECE-7EF24F1A51FA}"/>
              </a:ext>
            </a:extLst>
          </p:cNvPr>
          <p:cNvSpPr/>
          <p:nvPr userDrawn="1"/>
        </p:nvSpPr>
        <p:spPr>
          <a:xfrm>
            <a:off x="732367" y="6046790"/>
            <a:ext cx="6009811" cy="46166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100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No part of this document may be distributed, reproduced or posted without the express written permission of Broadridge Financial Solutions, Inc.</a:t>
            </a:r>
            <a:r>
              <a:rPr lang="en-US" sz="10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00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©2021 Broadridge Financial Solutions, Inc. All rights reserved. Broadridge and the Broadridge logo are registered trademarks of Broadridge Financial Solutions, Inc.</a:t>
            </a:r>
          </a:p>
        </p:txBody>
      </p:sp>
      <p:pic>
        <p:nvPicPr>
          <p:cNvPr id="7" name="Picture 6" descr="A picture containing swimming, large, laptop, sitting&#10;&#10;Description automatically generated">
            <a:extLst>
              <a:ext uri="{FF2B5EF4-FFF2-40B4-BE49-F238E27FC236}">
                <a16:creationId xmlns:a16="http://schemas.microsoft.com/office/drawing/2014/main" id="{FDD00C6A-3404-4CF5-99EC-8C3CC45914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31900"/>
            <a:ext cx="12212719" cy="2286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C5DC86D-D149-4BA2-9B77-5268C72C138C}"/>
              </a:ext>
            </a:extLst>
          </p:cNvPr>
          <p:cNvSpPr/>
          <p:nvPr userDrawn="1"/>
        </p:nvSpPr>
        <p:spPr>
          <a:xfrm>
            <a:off x="10307814" y="5961888"/>
            <a:ext cx="1280493" cy="54864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102000"/>
              </a:lnSpc>
              <a:spcAft>
                <a:spcPts val="0"/>
              </a:spcAft>
            </a:pPr>
            <a:r>
              <a:rPr lang="en-US" sz="105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mmunications</a:t>
            </a:r>
          </a:p>
          <a:p>
            <a:pPr>
              <a:lnSpc>
                <a:spcPct val="102000"/>
              </a:lnSpc>
              <a:spcAft>
                <a:spcPts val="0"/>
              </a:spcAft>
            </a:pPr>
            <a:r>
              <a:rPr lang="en-US" sz="105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Technology</a:t>
            </a:r>
          </a:p>
          <a:p>
            <a:pPr>
              <a:lnSpc>
                <a:spcPct val="102000"/>
              </a:lnSpc>
              <a:spcAft>
                <a:spcPts val="0"/>
              </a:spcAft>
            </a:pPr>
            <a:r>
              <a:rPr lang="en-US" sz="105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Data and Analytics</a:t>
            </a:r>
          </a:p>
        </p:txBody>
      </p:sp>
      <p:sp>
        <p:nvSpPr>
          <p:cNvPr id="11" name="BR Logo">
            <a:extLst>
              <a:ext uri="{FF2B5EF4-FFF2-40B4-BE49-F238E27FC236}">
                <a16:creationId xmlns:a16="http://schemas.microsoft.com/office/drawing/2014/main" id="{497FEC03-F9AE-4643-A15D-E0AAED6CCA57}"/>
              </a:ext>
            </a:extLst>
          </p:cNvPr>
          <p:cNvSpPr>
            <a:spLocks noChangeAspect="1"/>
          </p:cNvSpPr>
          <p:nvPr userDrawn="1"/>
        </p:nvSpPr>
        <p:spPr>
          <a:xfrm>
            <a:off x="9925287" y="4653305"/>
            <a:ext cx="1589945" cy="32204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80489D37-BA87-45A8-ABC2-E9A9B666FD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757" y="5619750"/>
            <a:ext cx="1051556" cy="245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42413388"/>
      </p:ext>
    </p:extLst>
  </p:cSld>
  <p:clrMapOvr>
    <a:masterClrMapping/>
  </p:clrMapOvr>
  <p:transition spd="med"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E47DF3B-58CC-5549-8637-1365F9A9B714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732029" y="1219201"/>
            <a:ext cx="10060702" cy="4968875"/>
          </a:xfrm>
        </p:spPr>
        <p:txBody>
          <a:bodyPr/>
          <a:lstStyle/>
          <a:p>
            <a:r>
              <a:rPr lang="en-US"/>
              <a:t>Add Meeting Agenda Table Here</a:t>
            </a:r>
          </a:p>
        </p:txBody>
      </p:sp>
    </p:spTree>
    <p:extLst>
      <p:ext uri="{BB962C8B-B14F-4D97-AF65-F5344CB8AC3E}">
        <p14:creationId xmlns:p14="http://schemas.microsoft.com/office/powerpoint/2010/main" val="3817838507"/>
      </p:ext>
    </p:extLst>
  </p:cSld>
  <p:clrMapOvr>
    <a:masterClrMapping/>
  </p:clrMapOvr>
  <p:transition spd="med"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E30A9F-9756-9640-A36C-3A823EDA41F6}"/>
              </a:ext>
            </a:extLst>
          </p:cNvPr>
          <p:cNvSpPr/>
          <p:nvPr userDrawn="1"/>
        </p:nvSpPr>
        <p:spPr>
          <a:xfrm>
            <a:off x="753231" y="1183341"/>
            <a:ext cx="6865166" cy="502378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pic>
        <p:nvPicPr>
          <p:cNvPr id="11" name="Picture 10" descr="A picture containing clock, light&#10;&#10;Description automatically generated">
            <a:extLst>
              <a:ext uri="{FF2B5EF4-FFF2-40B4-BE49-F238E27FC236}">
                <a16:creationId xmlns:a16="http://schemas.microsoft.com/office/drawing/2014/main" id="{983F892D-F094-B74E-A43A-89A527A01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69"/>
          <a:stretch/>
        </p:blipFill>
        <p:spPr>
          <a:xfrm>
            <a:off x="6665585" y="1433955"/>
            <a:ext cx="5083687" cy="46092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EA3FBED-6C60-3546-AE58-BF4FB05943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insert slide title, sentence cas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9CB8AB7-E9C8-F54B-B5D5-344F67AD8E9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71596" y="1270000"/>
            <a:ext cx="5778361" cy="4937125"/>
          </a:xfrm>
        </p:spPr>
        <p:txBody>
          <a:bodyPr/>
          <a:lstStyle>
            <a:lvl1pPr marL="180975" indent="-180975"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1600" cap="none">
                <a:solidFill>
                  <a:schemeClr val="bg1"/>
                </a:solidFill>
              </a:defRPr>
            </a:lvl1pPr>
            <a:lvl2pPr marL="458788" indent="-225425">
              <a:buClr>
                <a:schemeClr val="bg1"/>
              </a:buClr>
              <a:buFont typeface="System Font Regular"/>
              <a:buChar char="–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21729290"/>
      </p:ext>
    </p:extLst>
  </p:cSld>
  <p:clrMapOvr>
    <a:masterClrMapping/>
  </p:clrMapOvr>
  <p:transition spd="med"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Bod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2367" y="1737360"/>
            <a:ext cx="10061020" cy="4433888"/>
          </a:xfrm>
        </p:spPr>
        <p:txBody>
          <a:bodyPr/>
          <a:lstStyle>
            <a:lvl1pPr>
              <a:lnSpc>
                <a:spcPct val="100000"/>
              </a:lnSpc>
              <a:defRPr sz="16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4885936-F63D-4385-9C78-49599A7A5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810344844"/>
      </p:ext>
    </p:extLst>
  </p:cSld>
  <p:clrMapOvr>
    <a:masterClrMapping/>
  </p:clrMapOvr>
  <p:transition spd="med"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2367" y="1737360"/>
            <a:ext cx="10061020" cy="4433888"/>
          </a:xfrm>
        </p:spPr>
        <p:txBody>
          <a:bodyPr/>
          <a:lstStyle>
            <a:lvl1pPr marL="0" marR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List Level 1 Optional header (To change format to body copy, Click ”Increase list level” button and remove the bullet)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41AF45-0C1D-49AB-A57A-C79CEBEB05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944406642"/>
      </p:ext>
    </p:extLst>
  </p:cSld>
  <p:clrMapOvr>
    <a:masterClrMapping/>
  </p:clrMapOvr>
  <p:transition spd="med"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and Bod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2367" y="1737360"/>
            <a:ext cx="4939046" cy="4433888"/>
          </a:xfrm>
        </p:spPr>
        <p:txBody>
          <a:bodyPr/>
          <a:lstStyle>
            <a:lvl1pPr>
              <a:lnSpc>
                <a:spcPct val="100000"/>
              </a:lnSpc>
              <a:defRPr sz="16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4885936-F63D-4385-9C78-49599A7A5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BC842C3-9F17-43FD-A002-3B1B1176BF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20587" y="1761294"/>
            <a:ext cx="4939046" cy="2560320"/>
          </a:xfrm>
        </p:spPr>
        <p:txBody>
          <a:bodyPr tIns="27432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11857412"/>
      </p:ext>
    </p:extLst>
  </p:cSld>
  <p:clrMapOvr>
    <a:masterClrMapping/>
  </p:clrMapOvr>
  <p:transition spd="med"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F5CE3D1-C4C0-4B46-977A-FDB46EEB38C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1711" y="1233488"/>
            <a:ext cx="10061020" cy="4937760"/>
          </a:xfrm>
        </p:spPr>
        <p:txBody>
          <a:bodyPr/>
          <a:lstStyle>
            <a:lvl1pPr>
              <a:lnSpc>
                <a:spcPct val="100000"/>
              </a:lnSpc>
              <a:defRPr sz="16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6660708"/>
      </p:ext>
    </p:extLst>
  </p:cSld>
  <p:clrMapOvr>
    <a:masterClrMapping/>
  </p:clrMapOvr>
  <p:transition spd="med"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3C8DF-A2C4-4C88-9B81-87925316C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A9379-C910-4F15-93A0-767BFC1A468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32368" y="1234440"/>
            <a:ext cx="5120641" cy="493776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4DAEF8-811E-4A3B-8AD7-33A4125F93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9841" y="1234440"/>
            <a:ext cx="5120641" cy="493776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9620147"/>
      </p:ext>
    </p:extLst>
  </p:cSld>
  <p:clrMapOvr>
    <a:masterClrMapping/>
  </p:clrMapOvr>
  <p:transition spd="med"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3C8DF-A2C4-4C88-9B81-87925316C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A9379-C910-4F15-93A0-767BFC1A468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32368" y="1737360"/>
            <a:ext cx="5120641" cy="443484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4DAEF8-811E-4A3B-8AD7-33A4125F93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9841" y="1737360"/>
            <a:ext cx="5120641" cy="4434840"/>
          </a:xfrm>
        </p:spPr>
        <p:txBody>
          <a:bodyPr/>
          <a:lstStyle>
            <a:lvl1pPr marL="0" marR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List Level 1 Optional header (To change format to body copy, Click ”Increase list level” button and remove the bullet)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7444B71D-26D1-4788-900B-3768644D4D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977482948"/>
      </p:ext>
    </p:extLst>
  </p:cSld>
  <p:clrMapOvr>
    <a:masterClrMapping/>
  </p:clrMapOvr>
  <p:transition spd="med"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2367" y="1233488"/>
            <a:ext cx="3292697" cy="493776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3B2EEA9-7F7C-41D2-817F-1AD8AA75BDA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449651" y="1233488"/>
            <a:ext cx="3292697" cy="493776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2D1BBBD-657D-4F65-91B3-608D60A68526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66936" y="1233488"/>
            <a:ext cx="3292697" cy="493776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0439207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133C91CA-9CD2-42F1-8DC2-73758E677D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2971802"/>
            <a:ext cx="12191999" cy="2285998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8CA09573-12E1-4D48-B3B9-59B19048A8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711" y="1097280"/>
            <a:ext cx="6036612" cy="1188720"/>
          </a:xfrm>
        </p:spPr>
        <p:txBody>
          <a:bodyPr anchor="b" anchorCtr="0"/>
          <a:lstStyle>
            <a:lvl1pPr>
              <a:lnSpc>
                <a:spcPct val="105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Slide, Title Case Maximum Two-Line Titl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ECE40BA1-1624-4319-B4AC-A35703EB673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711" y="2377440"/>
            <a:ext cx="6036612" cy="457200"/>
          </a:xfrm>
        </p:spPr>
        <p:txBody>
          <a:bodyPr wrap="square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0" spc="30" baseline="0">
                <a:solidFill>
                  <a:schemeClr val="accent4"/>
                </a:solidFill>
                <a:latin typeface="+mn-lt"/>
              </a:defRPr>
            </a:lvl1pPr>
            <a:lvl2pPr marL="457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AC3B507F-9B6F-4359-A311-FE05301FD1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1710" y="6243221"/>
            <a:ext cx="2743915" cy="27432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fld id="{426710D3-D7CB-4A65-BA65-152E56306D9F}" type="datetime4">
              <a:rPr lang="en-US" smtClean="0"/>
              <a:t>December 10, 2019</a:t>
            </a:fld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1536300-DF53-47E1-B801-2F87423768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710" y="5760720"/>
            <a:ext cx="2743915" cy="4572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cap="none" spc="3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 Name</a:t>
            </a:r>
            <a:br>
              <a:rPr lang="en-US"/>
            </a:br>
            <a:r>
              <a:rPr lang="en-US"/>
              <a:t>Click to add Presenter Title</a:t>
            </a:r>
          </a:p>
        </p:txBody>
      </p:sp>
      <p:sp>
        <p:nvSpPr>
          <p:cNvPr id="10" name="BR Logo">
            <a:extLst>
              <a:ext uri="{FF2B5EF4-FFF2-40B4-BE49-F238E27FC236}">
                <a16:creationId xmlns:a16="http://schemas.microsoft.com/office/drawing/2014/main" id="{B7C8B328-F073-6E4B-9700-CC26818F4DE8}"/>
              </a:ext>
            </a:extLst>
          </p:cNvPr>
          <p:cNvSpPr>
            <a:spLocks noChangeAspect="1"/>
          </p:cNvSpPr>
          <p:nvPr userDrawn="1"/>
        </p:nvSpPr>
        <p:spPr>
          <a:xfrm>
            <a:off x="9653486" y="549275"/>
            <a:ext cx="1816014" cy="36783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34AD6C37-8E45-7C41-AE05-6F37F374EC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280" y="6229874"/>
            <a:ext cx="1442214" cy="337030"/>
          </a:xfrm>
          <a:prstGeom prst="rect">
            <a:avLst/>
          </a:prstGeom>
        </p:spPr>
      </p:pic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726F1F1E-F711-9542-A353-42006D406CA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1711" y="549275"/>
            <a:ext cx="2561304" cy="407988"/>
          </a:xfr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119063" marR="0" indent="0" algn="ctr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10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US"/>
              <a:t>     Insert Optional Client logo or dele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0051481"/>
      </p:ext>
    </p:extLst>
  </p:cSld>
  <p:clrMapOvr>
    <a:masterClrMapping/>
  </p:clrMapOvr>
  <p:transition spd="med">
    <p:wipe dir="r"/>
  </p:transition>
  <p:extLst>
    <p:ext uri="{DCECCB84-F9BA-43D5-87BE-67443E8EF086}">
      <p15:sldGuideLst xmlns:p15="http://schemas.microsoft.com/office/powerpoint/2012/main">
        <p15:guide id="1" orient="horz" pos="346">
          <p15:clr>
            <a:srgbClr val="9FCC3B"/>
          </p15:clr>
        </p15:guide>
        <p15:guide id="2" orient="horz" pos="1872">
          <p15:clr>
            <a:srgbClr val="9FCC3B"/>
          </p15:clr>
        </p15:guide>
        <p15:guide id="3" orient="horz" pos="3312">
          <p15:clr>
            <a:srgbClr val="9FCC3B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B3C8DF-A2C4-4C88-9B81-87925316CA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FA9379-C910-4F15-93A0-767BFC1A468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32368" y="1234440"/>
            <a:ext cx="5120641" cy="228600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4DAEF8-811E-4A3B-8AD7-33A4125F930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39841" y="1234440"/>
            <a:ext cx="5120641" cy="228600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488133-D8DE-4431-8085-F896EADCB1A6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732368" y="3886200"/>
            <a:ext cx="5120641" cy="228600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99E118F-96CC-4B62-900F-A1FC0BA55424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6339841" y="3886200"/>
            <a:ext cx="5120641" cy="2286000"/>
          </a:xfrm>
        </p:spPr>
        <p:txBody>
          <a:bodyPr/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7719011"/>
      </p:ext>
    </p:extLst>
  </p:cSld>
  <p:clrMapOvr>
    <a:masterClrMapping/>
  </p:clrMapOvr>
  <p:transition spd="med"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4DB1994-9E77-4638-A321-7FD372C82E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913D150-F204-4A1B-8CD4-0EEE5C7728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10061020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328414668"/>
      </p:ext>
    </p:extLst>
  </p:cSld>
  <p:clrMapOvr>
    <a:masterClrMapping/>
  </p:clrMapOvr>
  <p:transition spd="med"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4DB1994-9E77-4638-A321-7FD372C82E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67" y="91440"/>
            <a:ext cx="10061020" cy="7315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515349992"/>
      </p:ext>
    </p:extLst>
  </p:cSld>
  <p:clrMapOvr>
    <a:masterClrMapping/>
  </p:clrMapOvr>
  <p:transition spd="med"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aphic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9841093"/>
      </p:ext>
    </p:extLst>
  </p:cSld>
  <p:clrMapOvr>
    <a:masterClrMapping/>
  </p:clrMapOvr>
  <p:transition spd="med"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64099"/>
      </p:ext>
    </p:extLst>
  </p:cSld>
  <p:clrMapOvr>
    <a:masterClrMapping/>
  </p:clrMapOvr>
  <p:transition spd="med"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2367" y="1737360"/>
            <a:ext cx="9997441" cy="44338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41AF45-0C1D-49AB-A57A-C79CEBEB05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367" y="1005840"/>
            <a:ext cx="9997441" cy="54864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subtitle,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247355839"/>
      </p:ext>
    </p:extLst>
  </p:cSld>
  <p:clrMapOvr>
    <a:masterClrMapping/>
  </p:clrMapOvr>
  <p:transition spd="med"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5242" y="6149261"/>
            <a:ext cx="1321905" cy="70639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4799" y="1057200"/>
            <a:ext cx="11376001" cy="4932000"/>
          </a:xfrm>
        </p:spPr>
        <p:txBody>
          <a:bodyPr>
            <a:noAutofit/>
          </a:bodyPr>
          <a:lstStyle>
            <a:lvl1pPr>
              <a:buClr>
                <a:srgbClr val="800000"/>
              </a:buClr>
              <a:defRPr sz="2400">
                <a:latin typeface="Arial"/>
                <a:cs typeface="Arial"/>
              </a:defRPr>
            </a:lvl1pPr>
            <a:lvl2pPr>
              <a:buClr>
                <a:srgbClr val="800000"/>
              </a:buClr>
              <a:defRPr sz="2000">
                <a:latin typeface="Arial"/>
                <a:cs typeface="Arial"/>
              </a:defRPr>
            </a:lvl2pPr>
            <a:lvl3pPr>
              <a:buClr>
                <a:srgbClr val="800000"/>
              </a:buClr>
              <a:defRPr sz="1800">
                <a:latin typeface="Arial"/>
                <a:cs typeface="Arial"/>
              </a:defRPr>
            </a:lvl3pPr>
            <a:lvl4pPr>
              <a:buClr>
                <a:srgbClr val="800000"/>
              </a:buClr>
              <a:defRPr sz="1600">
                <a:latin typeface="Arial"/>
                <a:cs typeface="Arial"/>
              </a:defRPr>
            </a:lvl4pPr>
            <a:lvl5pPr>
              <a:buClr>
                <a:srgbClr val="800000"/>
              </a:buClr>
              <a:defRPr sz="14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01084" y="39984"/>
            <a:ext cx="11381316" cy="1041401"/>
          </a:xfrm>
        </p:spPr>
        <p:txBody>
          <a:bodyPr>
            <a:noAutofit/>
          </a:bodyPr>
          <a:lstStyle>
            <a:lvl1pPr algn="l">
              <a:defRPr sz="3200" b="1"/>
            </a:lvl1pPr>
          </a:lstStyle>
          <a:p>
            <a:pPr eaLnBrk="1" hangingPunct="1"/>
            <a:r>
              <a:rPr lang="en-US">
                <a:solidFill>
                  <a:schemeClr val="tx1"/>
                </a:solidFill>
                <a:latin typeface="Arial" charset="0"/>
                <a:cs typeface="Arial" charset="0"/>
              </a:rPr>
              <a:t>Slide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0781082" y="6201835"/>
            <a:ext cx="0" cy="656167"/>
          </a:xfrm>
          <a:prstGeom prst="line">
            <a:avLst/>
          </a:prstGeom>
          <a:ln>
            <a:solidFill>
              <a:srgbClr val="750F3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7840692" y="629266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E1B4350-3172-6D44-95EA-3995F6B5CA19}" type="slidenum">
              <a:rPr lang="en-US" sz="1200" smtClean="0">
                <a:solidFill>
                  <a:srgbClr val="595A58"/>
                </a:solidFill>
                <a:latin typeface="Arial"/>
                <a:cs typeface="Arial"/>
              </a:rPr>
              <a:pPr/>
              <a:t>‹#›</a:t>
            </a:fld>
            <a:endParaRPr lang="en-US" sz="1200">
              <a:solidFill>
                <a:srgbClr val="595A58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3844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576B172-929D-5E42-BFEB-47367A427F26}"/>
              </a:ext>
            </a:extLst>
          </p:cNvPr>
          <p:cNvSpPr/>
          <p:nvPr userDrawn="1"/>
        </p:nvSpPr>
        <p:spPr>
          <a:xfrm>
            <a:off x="1" y="1"/>
            <a:ext cx="12192000" cy="648244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790248"/>
      </p:ext>
    </p:extLst>
  </p:cSld>
  <p:clrMapOvr>
    <a:masterClrMapping/>
  </p:clrMapOvr>
  <p:transition spd="med"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385E39-A61C-41C0-82E7-B15972D7C8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spcAft>
                <a:spcPts val="4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5073752"/>
      </p:ext>
    </p:extLst>
  </p:cSld>
  <p:clrMapOvr>
    <a:masterClrMapping/>
  </p:clrMapOvr>
  <p:transition spd="med"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772584" y="1188720"/>
            <a:ext cx="10648949" cy="517550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9437635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931812E-0624-4C05-8ECE-7EF24F1A51FA}"/>
              </a:ext>
            </a:extLst>
          </p:cNvPr>
          <p:cNvSpPr/>
          <p:nvPr userDrawn="1"/>
        </p:nvSpPr>
        <p:spPr>
          <a:xfrm>
            <a:off x="732367" y="6046790"/>
            <a:ext cx="6009811" cy="46166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r>
              <a:rPr lang="en-US" sz="100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No part of this document may be distributed, reproduced or posted without the express written permission of Broadridge Financial Solutions, Inc.</a:t>
            </a:r>
            <a:r>
              <a:rPr lang="en-US" sz="10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00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©2021 Broadridge Financial Solutions, Inc. All rights reserved. Broadridge and the Broadridge logo are registered trademarks of Broadridge Financial Solutions, Inc.</a:t>
            </a:r>
          </a:p>
        </p:txBody>
      </p:sp>
      <p:pic>
        <p:nvPicPr>
          <p:cNvPr id="7" name="Picture 6" descr="A picture containing swimming, large, laptop, sitting&#10;&#10;Description automatically generated">
            <a:extLst>
              <a:ext uri="{FF2B5EF4-FFF2-40B4-BE49-F238E27FC236}">
                <a16:creationId xmlns:a16="http://schemas.microsoft.com/office/drawing/2014/main" id="{FDD00C6A-3404-4CF5-99EC-8C3CC45914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31900"/>
            <a:ext cx="12212719" cy="2286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C5DC86D-D149-4BA2-9B77-5268C72C138C}"/>
              </a:ext>
            </a:extLst>
          </p:cNvPr>
          <p:cNvSpPr/>
          <p:nvPr userDrawn="1"/>
        </p:nvSpPr>
        <p:spPr>
          <a:xfrm>
            <a:off x="10307814" y="5961888"/>
            <a:ext cx="1280493" cy="54864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ct val="102000"/>
              </a:lnSpc>
              <a:spcAft>
                <a:spcPts val="0"/>
              </a:spcAft>
            </a:pPr>
            <a:r>
              <a:rPr lang="en-US" sz="105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mmunications</a:t>
            </a:r>
          </a:p>
          <a:p>
            <a:pPr>
              <a:lnSpc>
                <a:spcPct val="102000"/>
              </a:lnSpc>
              <a:spcAft>
                <a:spcPts val="0"/>
              </a:spcAft>
            </a:pPr>
            <a:r>
              <a:rPr lang="en-US" sz="105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Technology</a:t>
            </a:r>
          </a:p>
          <a:p>
            <a:pPr>
              <a:lnSpc>
                <a:spcPct val="102000"/>
              </a:lnSpc>
              <a:spcAft>
                <a:spcPts val="0"/>
              </a:spcAft>
            </a:pPr>
            <a:r>
              <a:rPr lang="en-US" sz="1050" b="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Data and Analytics</a:t>
            </a:r>
          </a:p>
        </p:txBody>
      </p:sp>
      <p:sp>
        <p:nvSpPr>
          <p:cNvPr id="11" name="BR Logo">
            <a:extLst>
              <a:ext uri="{FF2B5EF4-FFF2-40B4-BE49-F238E27FC236}">
                <a16:creationId xmlns:a16="http://schemas.microsoft.com/office/drawing/2014/main" id="{497FEC03-F9AE-4643-A15D-E0AAED6CCA57}"/>
              </a:ext>
            </a:extLst>
          </p:cNvPr>
          <p:cNvSpPr>
            <a:spLocks noChangeAspect="1"/>
          </p:cNvSpPr>
          <p:nvPr userDrawn="1"/>
        </p:nvSpPr>
        <p:spPr>
          <a:xfrm>
            <a:off x="9925287" y="4653305"/>
            <a:ext cx="1589945" cy="322044"/>
          </a:xfrm>
          <a:custGeom>
            <a:avLst/>
            <a:gdLst>
              <a:gd name="connsiteX0" fmla="*/ 1803083 w 6365557"/>
              <a:gd name="connsiteY0" fmla="*/ 1002983 h 1289684"/>
              <a:gd name="connsiteX1" fmla="*/ 1579245 w 6365557"/>
              <a:gd name="connsiteY1" fmla="*/ 1002983 h 1289684"/>
              <a:gd name="connsiteX2" fmla="*/ 1579245 w 6365557"/>
              <a:gd name="connsiteY2" fmla="*/ 322898 h 1289684"/>
              <a:gd name="connsiteX3" fmla="*/ 1805940 w 6365557"/>
              <a:gd name="connsiteY3" fmla="*/ 322898 h 1289684"/>
              <a:gd name="connsiteX4" fmla="*/ 2041208 w 6365557"/>
              <a:gd name="connsiteY4" fmla="*/ 492443 h 1289684"/>
              <a:gd name="connsiteX5" fmla="*/ 1920240 w 6365557"/>
              <a:gd name="connsiteY5" fmla="*/ 648653 h 1289684"/>
              <a:gd name="connsiteX6" fmla="*/ 1920240 w 6365557"/>
              <a:gd name="connsiteY6" fmla="*/ 650558 h 1289684"/>
              <a:gd name="connsiteX7" fmla="*/ 2069783 w 6365557"/>
              <a:gd name="connsiteY7" fmla="*/ 814388 h 1289684"/>
              <a:gd name="connsiteX8" fmla="*/ 1803083 w 6365557"/>
              <a:gd name="connsiteY8" fmla="*/ 1002983 h 1289684"/>
              <a:gd name="connsiteX9" fmla="*/ 1790700 w 6365557"/>
              <a:gd name="connsiteY9" fmla="*/ 433388 h 1289684"/>
              <a:gd name="connsiteX10" fmla="*/ 1707833 w 6365557"/>
              <a:gd name="connsiteY10" fmla="*/ 433388 h 1289684"/>
              <a:gd name="connsiteX11" fmla="*/ 1707833 w 6365557"/>
              <a:gd name="connsiteY11" fmla="*/ 602933 h 1289684"/>
              <a:gd name="connsiteX12" fmla="*/ 1787843 w 6365557"/>
              <a:gd name="connsiteY12" fmla="*/ 602933 h 1289684"/>
              <a:gd name="connsiteX13" fmla="*/ 1899285 w 6365557"/>
              <a:gd name="connsiteY13" fmla="*/ 515303 h 1289684"/>
              <a:gd name="connsiteX14" fmla="*/ 1790700 w 6365557"/>
              <a:gd name="connsiteY14" fmla="*/ 433388 h 1289684"/>
              <a:gd name="connsiteX15" fmla="*/ 1789748 w 6365557"/>
              <a:gd name="connsiteY15" fmla="*/ 705803 h 1289684"/>
              <a:gd name="connsiteX16" fmla="*/ 1707833 w 6365557"/>
              <a:gd name="connsiteY16" fmla="*/ 705803 h 1289684"/>
              <a:gd name="connsiteX17" fmla="*/ 1707833 w 6365557"/>
              <a:gd name="connsiteY17" fmla="*/ 892493 h 1289684"/>
              <a:gd name="connsiteX18" fmla="*/ 1783080 w 6365557"/>
              <a:gd name="connsiteY18" fmla="*/ 892493 h 1289684"/>
              <a:gd name="connsiteX19" fmla="*/ 1909763 w 6365557"/>
              <a:gd name="connsiteY19" fmla="*/ 801053 h 1289684"/>
              <a:gd name="connsiteX20" fmla="*/ 1789748 w 6365557"/>
              <a:gd name="connsiteY20" fmla="*/ 705803 h 1289684"/>
              <a:gd name="connsiteX21" fmla="*/ 2473643 w 6365557"/>
              <a:gd name="connsiteY21" fmla="*/ 506730 h 1289684"/>
              <a:gd name="connsiteX22" fmla="*/ 2406015 w 6365557"/>
              <a:gd name="connsiteY22" fmla="*/ 493395 h 1289684"/>
              <a:gd name="connsiteX23" fmla="*/ 2280285 w 6365557"/>
              <a:gd name="connsiteY23" fmla="*/ 573405 h 1289684"/>
              <a:gd name="connsiteX24" fmla="*/ 2280285 w 6365557"/>
              <a:gd name="connsiteY24" fmla="*/ 505778 h 1289684"/>
              <a:gd name="connsiteX25" fmla="*/ 2144078 w 6365557"/>
              <a:gd name="connsiteY25" fmla="*/ 505778 h 1289684"/>
              <a:gd name="connsiteX26" fmla="*/ 2144078 w 6365557"/>
              <a:gd name="connsiteY26" fmla="*/ 1002983 h 1289684"/>
              <a:gd name="connsiteX27" fmla="*/ 2280285 w 6365557"/>
              <a:gd name="connsiteY27" fmla="*/ 1002983 h 1289684"/>
              <a:gd name="connsiteX28" fmla="*/ 2280285 w 6365557"/>
              <a:gd name="connsiteY28" fmla="*/ 689610 h 1289684"/>
              <a:gd name="connsiteX29" fmla="*/ 2388870 w 6365557"/>
              <a:gd name="connsiteY29" fmla="*/ 614363 h 1289684"/>
              <a:gd name="connsiteX30" fmla="*/ 2441258 w 6365557"/>
              <a:gd name="connsiteY30" fmla="*/ 625793 h 1289684"/>
              <a:gd name="connsiteX31" fmla="*/ 2473643 w 6365557"/>
              <a:gd name="connsiteY31" fmla="*/ 506730 h 1289684"/>
              <a:gd name="connsiteX32" fmla="*/ 2715578 w 6365557"/>
              <a:gd name="connsiteY32" fmla="*/ 1015365 h 1289684"/>
              <a:gd name="connsiteX33" fmla="*/ 2466023 w 6365557"/>
              <a:gd name="connsiteY33" fmla="*/ 756285 h 1289684"/>
              <a:gd name="connsiteX34" fmla="*/ 2714625 w 6365557"/>
              <a:gd name="connsiteY34" fmla="*/ 493395 h 1289684"/>
              <a:gd name="connsiteX35" fmla="*/ 2967038 w 6365557"/>
              <a:gd name="connsiteY35" fmla="*/ 751523 h 1289684"/>
              <a:gd name="connsiteX36" fmla="*/ 2715578 w 6365557"/>
              <a:gd name="connsiteY36" fmla="*/ 1015365 h 1289684"/>
              <a:gd name="connsiteX37" fmla="*/ 2712720 w 6365557"/>
              <a:gd name="connsiteY37" fmla="*/ 594360 h 1289684"/>
              <a:gd name="connsiteX38" fmla="*/ 2610803 w 6365557"/>
              <a:gd name="connsiteY38" fmla="*/ 751523 h 1289684"/>
              <a:gd name="connsiteX39" fmla="*/ 2718435 w 6365557"/>
              <a:gd name="connsiteY39" fmla="*/ 911543 h 1289684"/>
              <a:gd name="connsiteX40" fmla="*/ 2824163 w 6365557"/>
              <a:gd name="connsiteY40" fmla="*/ 755333 h 1289684"/>
              <a:gd name="connsiteX41" fmla="*/ 2712720 w 6365557"/>
              <a:gd name="connsiteY41" fmla="*/ 594360 h 1289684"/>
              <a:gd name="connsiteX42" fmla="*/ 3301365 w 6365557"/>
              <a:gd name="connsiteY42" fmla="*/ 1002983 h 1289684"/>
              <a:gd name="connsiteX43" fmla="*/ 3292793 w 6365557"/>
              <a:gd name="connsiteY43" fmla="*/ 949643 h 1289684"/>
              <a:gd name="connsiteX44" fmla="*/ 3152775 w 6365557"/>
              <a:gd name="connsiteY44" fmla="*/ 1015365 h 1289684"/>
              <a:gd name="connsiteX45" fmla="*/ 3002280 w 6365557"/>
              <a:gd name="connsiteY45" fmla="*/ 875348 h 1289684"/>
              <a:gd name="connsiteX46" fmla="*/ 3268028 w 6365557"/>
              <a:gd name="connsiteY46" fmla="*/ 698183 h 1289684"/>
              <a:gd name="connsiteX47" fmla="*/ 3285173 w 6365557"/>
              <a:gd name="connsiteY47" fmla="*/ 698183 h 1289684"/>
              <a:gd name="connsiteX48" fmla="*/ 3285173 w 6365557"/>
              <a:gd name="connsiteY48" fmla="*/ 669608 h 1289684"/>
              <a:gd name="connsiteX49" fmla="*/ 3204210 w 6365557"/>
              <a:gd name="connsiteY49" fmla="*/ 600075 h 1289684"/>
              <a:gd name="connsiteX50" fmla="*/ 3077528 w 6365557"/>
              <a:gd name="connsiteY50" fmla="*/ 646748 h 1289684"/>
              <a:gd name="connsiteX51" fmla="*/ 3018473 w 6365557"/>
              <a:gd name="connsiteY51" fmla="*/ 563880 h 1289684"/>
              <a:gd name="connsiteX52" fmla="*/ 3219450 w 6365557"/>
              <a:gd name="connsiteY52" fmla="*/ 492443 h 1289684"/>
              <a:gd name="connsiteX53" fmla="*/ 3419475 w 6365557"/>
              <a:gd name="connsiteY53" fmla="*/ 676275 h 1289684"/>
              <a:gd name="connsiteX54" fmla="*/ 3419475 w 6365557"/>
              <a:gd name="connsiteY54" fmla="*/ 855345 h 1289684"/>
              <a:gd name="connsiteX55" fmla="*/ 3433763 w 6365557"/>
              <a:gd name="connsiteY55" fmla="*/ 1002030 h 1289684"/>
              <a:gd name="connsiteX56" fmla="*/ 3301365 w 6365557"/>
              <a:gd name="connsiteY56" fmla="*/ 1002030 h 1289684"/>
              <a:gd name="connsiteX57" fmla="*/ 3271838 w 6365557"/>
              <a:gd name="connsiteY57" fmla="*/ 782955 h 1289684"/>
              <a:gd name="connsiteX58" fmla="*/ 3254693 w 6365557"/>
              <a:gd name="connsiteY58" fmla="*/ 782955 h 1289684"/>
              <a:gd name="connsiteX59" fmla="*/ 3119438 w 6365557"/>
              <a:gd name="connsiteY59" fmla="*/ 864870 h 1289684"/>
              <a:gd name="connsiteX60" fmla="*/ 3179445 w 6365557"/>
              <a:gd name="connsiteY60" fmla="*/ 917258 h 1289684"/>
              <a:gd name="connsiteX61" fmla="*/ 3271838 w 6365557"/>
              <a:gd name="connsiteY61" fmla="*/ 873443 h 1289684"/>
              <a:gd name="connsiteX62" fmla="*/ 3271838 w 6365557"/>
              <a:gd name="connsiteY62" fmla="*/ 782955 h 1289684"/>
              <a:gd name="connsiteX63" fmla="*/ 3713798 w 6365557"/>
              <a:gd name="connsiteY63" fmla="*/ 493395 h 1289684"/>
              <a:gd name="connsiteX64" fmla="*/ 3829050 w 6365557"/>
              <a:gd name="connsiteY64" fmla="*/ 527685 h 1289684"/>
              <a:gd name="connsiteX65" fmla="*/ 3829050 w 6365557"/>
              <a:gd name="connsiteY65" fmla="*/ 270510 h 1289684"/>
              <a:gd name="connsiteX66" fmla="*/ 3965258 w 6365557"/>
              <a:gd name="connsiteY66" fmla="*/ 270510 h 1289684"/>
              <a:gd name="connsiteX67" fmla="*/ 3965258 w 6365557"/>
              <a:gd name="connsiteY67" fmla="*/ 861060 h 1289684"/>
              <a:gd name="connsiteX68" fmla="*/ 3979545 w 6365557"/>
              <a:gd name="connsiteY68" fmla="*/ 1002983 h 1289684"/>
              <a:gd name="connsiteX69" fmla="*/ 3845243 w 6365557"/>
              <a:gd name="connsiteY69" fmla="*/ 1002983 h 1289684"/>
              <a:gd name="connsiteX70" fmla="*/ 3834765 w 6365557"/>
              <a:gd name="connsiteY70" fmla="*/ 948690 h 1289684"/>
              <a:gd name="connsiteX71" fmla="*/ 3694748 w 6365557"/>
              <a:gd name="connsiteY71" fmla="*/ 1016318 h 1289684"/>
              <a:gd name="connsiteX72" fmla="*/ 3489960 w 6365557"/>
              <a:gd name="connsiteY72" fmla="*/ 755333 h 1289684"/>
              <a:gd name="connsiteX73" fmla="*/ 3713798 w 6365557"/>
              <a:gd name="connsiteY73" fmla="*/ 493395 h 1289684"/>
              <a:gd name="connsiteX74" fmla="*/ 3736658 w 6365557"/>
              <a:gd name="connsiteY74" fmla="*/ 906780 h 1289684"/>
              <a:gd name="connsiteX75" fmla="*/ 3830003 w 6365557"/>
              <a:gd name="connsiteY75" fmla="*/ 856298 h 1289684"/>
              <a:gd name="connsiteX76" fmla="*/ 3830003 w 6365557"/>
              <a:gd name="connsiteY76" fmla="*/ 632460 h 1289684"/>
              <a:gd name="connsiteX77" fmla="*/ 3743325 w 6365557"/>
              <a:gd name="connsiteY77" fmla="*/ 600075 h 1289684"/>
              <a:gd name="connsiteX78" fmla="*/ 3635693 w 6365557"/>
              <a:gd name="connsiteY78" fmla="*/ 756285 h 1289684"/>
              <a:gd name="connsiteX79" fmla="*/ 3736658 w 6365557"/>
              <a:gd name="connsiteY79" fmla="*/ 906780 h 1289684"/>
              <a:gd name="connsiteX80" fmla="*/ 4397693 w 6365557"/>
              <a:gd name="connsiteY80" fmla="*/ 506730 h 1289684"/>
              <a:gd name="connsiteX81" fmla="*/ 4330065 w 6365557"/>
              <a:gd name="connsiteY81" fmla="*/ 493395 h 1289684"/>
              <a:gd name="connsiteX82" fmla="*/ 4204335 w 6365557"/>
              <a:gd name="connsiteY82" fmla="*/ 573405 h 1289684"/>
              <a:gd name="connsiteX83" fmla="*/ 4204335 w 6365557"/>
              <a:gd name="connsiteY83" fmla="*/ 505778 h 1289684"/>
              <a:gd name="connsiteX84" fmla="*/ 4068128 w 6365557"/>
              <a:gd name="connsiteY84" fmla="*/ 505778 h 1289684"/>
              <a:gd name="connsiteX85" fmla="*/ 4068128 w 6365557"/>
              <a:gd name="connsiteY85" fmla="*/ 1002983 h 1289684"/>
              <a:gd name="connsiteX86" fmla="*/ 4204335 w 6365557"/>
              <a:gd name="connsiteY86" fmla="*/ 1002983 h 1289684"/>
              <a:gd name="connsiteX87" fmla="*/ 4204335 w 6365557"/>
              <a:gd name="connsiteY87" fmla="*/ 689610 h 1289684"/>
              <a:gd name="connsiteX88" fmla="*/ 4312920 w 6365557"/>
              <a:gd name="connsiteY88" fmla="*/ 614363 h 1289684"/>
              <a:gd name="connsiteX89" fmla="*/ 4365308 w 6365557"/>
              <a:gd name="connsiteY89" fmla="*/ 625793 h 1289684"/>
              <a:gd name="connsiteX90" fmla="*/ 4397693 w 6365557"/>
              <a:gd name="connsiteY90" fmla="*/ 506730 h 1289684"/>
              <a:gd name="connsiteX91" fmla="*/ 4517708 w 6365557"/>
              <a:gd name="connsiteY91" fmla="*/ 441008 h 1289684"/>
              <a:gd name="connsiteX92" fmla="*/ 4595813 w 6365557"/>
              <a:gd name="connsiteY92" fmla="*/ 364808 h 1289684"/>
              <a:gd name="connsiteX93" fmla="*/ 4517708 w 6365557"/>
              <a:gd name="connsiteY93" fmla="*/ 290513 h 1289684"/>
              <a:gd name="connsiteX94" fmla="*/ 4440555 w 6365557"/>
              <a:gd name="connsiteY94" fmla="*/ 364808 h 1289684"/>
              <a:gd name="connsiteX95" fmla="*/ 4517708 w 6365557"/>
              <a:gd name="connsiteY95" fmla="*/ 441008 h 1289684"/>
              <a:gd name="connsiteX96" fmla="*/ 4450080 w 6365557"/>
              <a:gd name="connsiteY96" fmla="*/ 1002983 h 1289684"/>
              <a:gd name="connsiteX97" fmla="*/ 4587240 w 6365557"/>
              <a:gd name="connsiteY97" fmla="*/ 1002983 h 1289684"/>
              <a:gd name="connsiteX98" fmla="*/ 4587240 w 6365557"/>
              <a:gd name="connsiteY98" fmla="*/ 505778 h 1289684"/>
              <a:gd name="connsiteX99" fmla="*/ 4450080 w 6365557"/>
              <a:gd name="connsiteY99" fmla="*/ 505778 h 1289684"/>
              <a:gd name="connsiteX100" fmla="*/ 4450080 w 6365557"/>
              <a:gd name="connsiteY100" fmla="*/ 1002983 h 1289684"/>
              <a:gd name="connsiteX101" fmla="*/ 4884420 w 6365557"/>
              <a:gd name="connsiteY101" fmla="*/ 493395 h 1289684"/>
              <a:gd name="connsiteX102" fmla="*/ 4999673 w 6365557"/>
              <a:gd name="connsiteY102" fmla="*/ 527685 h 1289684"/>
              <a:gd name="connsiteX103" fmla="*/ 4999673 w 6365557"/>
              <a:gd name="connsiteY103" fmla="*/ 270510 h 1289684"/>
              <a:gd name="connsiteX104" fmla="*/ 5135880 w 6365557"/>
              <a:gd name="connsiteY104" fmla="*/ 270510 h 1289684"/>
              <a:gd name="connsiteX105" fmla="*/ 5135880 w 6365557"/>
              <a:gd name="connsiteY105" fmla="*/ 861060 h 1289684"/>
              <a:gd name="connsiteX106" fmla="*/ 5150168 w 6365557"/>
              <a:gd name="connsiteY106" fmla="*/ 1002983 h 1289684"/>
              <a:gd name="connsiteX107" fmla="*/ 5015865 w 6365557"/>
              <a:gd name="connsiteY107" fmla="*/ 1002983 h 1289684"/>
              <a:gd name="connsiteX108" fmla="*/ 5005388 w 6365557"/>
              <a:gd name="connsiteY108" fmla="*/ 948690 h 1289684"/>
              <a:gd name="connsiteX109" fmla="*/ 4865370 w 6365557"/>
              <a:gd name="connsiteY109" fmla="*/ 1016318 h 1289684"/>
              <a:gd name="connsiteX110" fmla="*/ 4660583 w 6365557"/>
              <a:gd name="connsiteY110" fmla="*/ 755333 h 1289684"/>
              <a:gd name="connsiteX111" fmla="*/ 4884420 w 6365557"/>
              <a:gd name="connsiteY111" fmla="*/ 493395 h 1289684"/>
              <a:gd name="connsiteX112" fmla="*/ 4907280 w 6365557"/>
              <a:gd name="connsiteY112" fmla="*/ 906780 h 1289684"/>
              <a:gd name="connsiteX113" fmla="*/ 5000625 w 6365557"/>
              <a:gd name="connsiteY113" fmla="*/ 856298 h 1289684"/>
              <a:gd name="connsiteX114" fmla="*/ 5000625 w 6365557"/>
              <a:gd name="connsiteY114" fmla="*/ 632460 h 1289684"/>
              <a:gd name="connsiteX115" fmla="*/ 4913948 w 6365557"/>
              <a:gd name="connsiteY115" fmla="*/ 600075 h 1289684"/>
              <a:gd name="connsiteX116" fmla="*/ 4806315 w 6365557"/>
              <a:gd name="connsiteY116" fmla="*/ 756285 h 1289684"/>
              <a:gd name="connsiteX117" fmla="*/ 4907280 w 6365557"/>
              <a:gd name="connsiteY117" fmla="*/ 906780 h 1289684"/>
              <a:gd name="connsiteX118" fmla="*/ 5695950 w 6365557"/>
              <a:gd name="connsiteY118" fmla="*/ 493395 h 1289684"/>
              <a:gd name="connsiteX119" fmla="*/ 5695950 w 6365557"/>
              <a:gd name="connsiteY119" fmla="*/ 594360 h 1289684"/>
              <a:gd name="connsiteX120" fmla="*/ 5629275 w 6365557"/>
              <a:gd name="connsiteY120" fmla="*/ 594360 h 1289684"/>
              <a:gd name="connsiteX121" fmla="*/ 5647373 w 6365557"/>
              <a:gd name="connsiteY121" fmla="*/ 674370 h 1289684"/>
              <a:gd name="connsiteX122" fmla="*/ 5433060 w 6365557"/>
              <a:gd name="connsiteY122" fmla="*/ 854393 h 1289684"/>
              <a:gd name="connsiteX123" fmla="*/ 5374005 w 6365557"/>
              <a:gd name="connsiteY123" fmla="*/ 849630 h 1289684"/>
              <a:gd name="connsiteX124" fmla="*/ 5355908 w 6365557"/>
              <a:gd name="connsiteY124" fmla="*/ 879158 h 1289684"/>
              <a:gd name="connsiteX125" fmla="*/ 5455920 w 6365557"/>
              <a:gd name="connsiteY125" fmla="*/ 914400 h 1289684"/>
              <a:gd name="connsiteX126" fmla="*/ 5690235 w 6365557"/>
              <a:gd name="connsiteY126" fmla="*/ 1067753 h 1289684"/>
              <a:gd name="connsiteX127" fmla="*/ 5417820 w 6365557"/>
              <a:gd name="connsiteY127" fmla="*/ 1247775 h 1289684"/>
              <a:gd name="connsiteX128" fmla="*/ 5198745 w 6365557"/>
              <a:gd name="connsiteY128" fmla="*/ 1115378 h 1289684"/>
              <a:gd name="connsiteX129" fmla="*/ 5282565 w 6365557"/>
              <a:gd name="connsiteY129" fmla="*/ 993458 h 1289684"/>
              <a:gd name="connsiteX130" fmla="*/ 5238750 w 6365557"/>
              <a:gd name="connsiteY130" fmla="*/ 918210 h 1289684"/>
              <a:gd name="connsiteX131" fmla="*/ 5294948 w 6365557"/>
              <a:gd name="connsiteY131" fmla="*/ 823913 h 1289684"/>
              <a:gd name="connsiteX132" fmla="*/ 5206365 w 6365557"/>
              <a:gd name="connsiteY132" fmla="*/ 674370 h 1289684"/>
              <a:gd name="connsiteX133" fmla="*/ 5427345 w 6365557"/>
              <a:gd name="connsiteY133" fmla="*/ 493395 h 1289684"/>
              <a:gd name="connsiteX134" fmla="*/ 5695950 w 6365557"/>
              <a:gd name="connsiteY134" fmla="*/ 493395 h 1289684"/>
              <a:gd name="connsiteX135" fmla="*/ 5314950 w 6365557"/>
              <a:gd name="connsiteY135" fmla="*/ 1088708 h 1289684"/>
              <a:gd name="connsiteX136" fmla="*/ 5412105 w 6365557"/>
              <a:gd name="connsiteY136" fmla="*/ 1156335 h 1289684"/>
              <a:gd name="connsiteX137" fmla="*/ 5541645 w 6365557"/>
              <a:gd name="connsiteY137" fmla="*/ 1082993 h 1289684"/>
              <a:gd name="connsiteX138" fmla="*/ 5422583 w 6365557"/>
              <a:gd name="connsiteY138" fmla="*/ 1026795 h 1289684"/>
              <a:gd name="connsiteX139" fmla="*/ 5354955 w 6365557"/>
              <a:gd name="connsiteY139" fmla="*/ 1020128 h 1289684"/>
              <a:gd name="connsiteX140" fmla="*/ 5314950 w 6365557"/>
              <a:gd name="connsiteY140" fmla="*/ 1088708 h 1289684"/>
              <a:gd name="connsiteX141" fmla="*/ 5517833 w 6365557"/>
              <a:gd name="connsiteY141" fmla="*/ 674370 h 1289684"/>
              <a:gd name="connsiteX142" fmla="*/ 5428298 w 6365557"/>
              <a:gd name="connsiteY142" fmla="*/ 581978 h 1289684"/>
              <a:gd name="connsiteX143" fmla="*/ 5338763 w 6365557"/>
              <a:gd name="connsiteY143" fmla="*/ 674370 h 1289684"/>
              <a:gd name="connsiteX144" fmla="*/ 5428298 w 6365557"/>
              <a:gd name="connsiteY144" fmla="*/ 766763 h 1289684"/>
              <a:gd name="connsiteX145" fmla="*/ 5517833 w 6365557"/>
              <a:gd name="connsiteY145" fmla="*/ 674370 h 1289684"/>
              <a:gd name="connsiteX146" fmla="*/ 5992178 w 6365557"/>
              <a:gd name="connsiteY146" fmla="*/ 914400 h 1289684"/>
              <a:gd name="connsiteX147" fmla="*/ 6121718 w 6365557"/>
              <a:gd name="connsiteY147" fmla="*/ 880110 h 1289684"/>
              <a:gd name="connsiteX148" fmla="*/ 6165533 w 6365557"/>
              <a:gd name="connsiteY148" fmla="*/ 967740 h 1289684"/>
              <a:gd name="connsiteX149" fmla="*/ 5979795 w 6365557"/>
              <a:gd name="connsiteY149" fmla="*/ 1015365 h 1289684"/>
              <a:gd name="connsiteX150" fmla="*/ 5719763 w 6365557"/>
              <a:gd name="connsiteY150" fmla="*/ 751523 h 1289684"/>
              <a:gd name="connsiteX151" fmla="*/ 5965508 w 6365557"/>
              <a:gd name="connsiteY151" fmla="*/ 492443 h 1289684"/>
              <a:gd name="connsiteX152" fmla="*/ 6179820 w 6365557"/>
              <a:gd name="connsiteY152" fmla="*/ 784860 h 1289684"/>
              <a:gd name="connsiteX153" fmla="*/ 5863590 w 6365557"/>
              <a:gd name="connsiteY153" fmla="*/ 784860 h 1289684"/>
              <a:gd name="connsiteX154" fmla="*/ 5992178 w 6365557"/>
              <a:gd name="connsiteY154" fmla="*/ 914400 h 1289684"/>
              <a:gd name="connsiteX155" fmla="*/ 6049328 w 6365557"/>
              <a:gd name="connsiteY155" fmla="*/ 693420 h 1289684"/>
              <a:gd name="connsiteX156" fmla="*/ 5963603 w 6365557"/>
              <a:gd name="connsiteY156" fmla="*/ 591503 h 1289684"/>
              <a:gd name="connsiteX157" fmla="*/ 5864543 w 6365557"/>
              <a:gd name="connsiteY157" fmla="*/ 693420 h 1289684"/>
              <a:gd name="connsiteX158" fmla="*/ 6049328 w 6365557"/>
              <a:gd name="connsiteY158" fmla="*/ 693420 h 1289684"/>
              <a:gd name="connsiteX159" fmla="*/ 6296025 w 6365557"/>
              <a:gd name="connsiteY159" fmla="*/ 634365 h 1289684"/>
              <a:gd name="connsiteX160" fmla="*/ 6226493 w 6365557"/>
              <a:gd name="connsiteY160" fmla="*/ 564833 h 1289684"/>
              <a:gd name="connsiteX161" fmla="*/ 6296025 w 6365557"/>
              <a:gd name="connsiteY161" fmla="*/ 495300 h 1289684"/>
              <a:gd name="connsiteX162" fmla="*/ 6365558 w 6365557"/>
              <a:gd name="connsiteY162" fmla="*/ 564833 h 1289684"/>
              <a:gd name="connsiteX163" fmla="*/ 6296025 w 6365557"/>
              <a:gd name="connsiteY163" fmla="*/ 634365 h 1289684"/>
              <a:gd name="connsiteX164" fmla="*/ 6296025 w 6365557"/>
              <a:gd name="connsiteY164" fmla="*/ 505778 h 1289684"/>
              <a:gd name="connsiteX165" fmla="*/ 6237923 w 6365557"/>
              <a:gd name="connsiteY165" fmla="*/ 564833 h 1289684"/>
              <a:gd name="connsiteX166" fmla="*/ 6296025 w 6365557"/>
              <a:gd name="connsiteY166" fmla="*/ 623888 h 1289684"/>
              <a:gd name="connsiteX167" fmla="*/ 6354128 w 6365557"/>
              <a:gd name="connsiteY167" fmla="*/ 564833 h 1289684"/>
              <a:gd name="connsiteX168" fmla="*/ 6296025 w 6365557"/>
              <a:gd name="connsiteY168" fmla="*/ 505778 h 1289684"/>
              <a:gd name="connsiteX169" fmla="*/ 6316028 w 6365557"/>
              <a:gd name="connsiteY169" fmla="*/ 605790 h 1289684"/>
              <a:gd name="connsiteX170" fmla="*/ 6296978 w 6365557"/>
              <a:gd name="connsiteY170" fmla="*/ 577215 h 1289684"/>
              <a:gd name="connsiteX171" fmla="*/ 6284595 w 6365557"/>
              <a:gd name="connsiteY171" fmla="*/ 569595 h 1289684"/>
              <a:gd name="connsiteX172" fmla="*/ 6284595 w 6365557"/>
              <a:gd name="connsiteY172" fmla="*/ 606743 h 1289684"/>
              <a:gd name="connsiteX173" fmla="*/ 6271260 w 6365557"/>
              <a:gd name="connsiteY173" fmla="*/ 606743 h 1289684"/>
              <a:gd name="connsiteX174" fmla="*/ 6271260 w 6365557"/>
              <a:gd name="connsiteY174" fmla="*/ 522923 h 1289684"/>
              <a:gd name="connsiteX175" fmla="*/ 6298883 w 6365557"/>
              <a:gd name="connsiteY175" fmla="*/ 522923 h 1289684"/>
              <a:gd name="connsiteX176" fmla="*/ 6325553 w 6365557"/>
              <a:gd name="connsiteY176" fmla="*/ 546735 h 1289684"/>
              <a:gd name="connsiteX177" fmla="*/ 6303645 w 6365557"/>
              <a:gd name="connsiteY177" fmla="*/ 568643 h 1289684"/>
              <a:gd name="connsiteX178" fmla="*/ 6313170 w 6365557"/>
              <a:gd name="connsiteY178" fmla="*/ 580073 h 1289684"/>
              <a:gd name="connsiteX179" fmla="*/ 6331268 w 6365557"/>
              <a:gd name="connsiteY179" fmla="*/ 606743 h 1289684"/>
              <a:gd name="connsiteX180" fmla="*/ 6316028 w 6365557"/>
              <a:gd name="connsiteY180" fmla="*/ 606743 h 1289684"/>
              <a:gd name="connsiteX181" fmla="*/ 6296025 w 6365557"/>
              <a:gd name="connsiteY181" fmla="*/ 533400 h 1289684"/>
              <a:gd name="connsiteX182" fmla="*/ 6284595 w 6365557"/>
              <a:gd name="connsiteY182" fmla="*/ 533400 h 1289684"/>
              <a:gd name="connsiteX183" fmla="*/ 6284595 w 6365557"/>
              <a:gd name="connsiteY183" fmla="*/ 559118 h 1289684"/>
              <a:gd name="connsiteX184" fmla="*/ 6293168 w 6365557"/>
              <a:gd name="connsiteY184" fmla="*/ 559118 h 1289684"/>
              <a:gd name="connsiteX185" fmla="*/ 6311265 w 6365557"/>
              <a:gd name="connsiteY185" fmla="*/ 546735 h 1289684"/>
              <a:gd name="connsiteX186" fmla="*/ 6296025 w 6365557"/>
              <a:gd name="connsiteY186" fmla="*/ 533400 h 1289684"/>
              <a:gd name="connsiteX187" fmla="*/ 1146810 w 6365557"/>
              <a:gd name="connsiteY187" fmla="*/ 1905 h 1289684"/>
              <a:gd name="connsiteX188" fmla="*/ 1146810 w 6365557"/>
              <a:gd name="connsiteY188" fmla="*/ 0 h 1289684"/>
              <a:gd name="connsiteX189" fmla="*/ 0 w 6365557"/>
              <a:gd name="connsiteY189" fmla="*/ 0 h 1289684"/>
              <a:gd name="connsiteX190" fmla="*/ 0 w 6365557"/>
              <a:gd name="connsiteY190" fmla="*/ 1905 h 1289684"/>
              <a:gd name="connsiteX191" fmla="*/ 0 w 6365557"/>
              <a:gd name="connsiteY191" fmla="*/ 1289685 h 1289684"/>
              <a:gd name="connsiteX192" fmla="*/ 1146810 w 6365557"/>
              <a:gd name="connsiteY192" fmla="*/ 1289685 h 1289684"/>
              <a:gd name="connsiteX193" fmla="*/ 1146810 w 6365557"/>
              <a:gd name="connsiteY193" fmla="*/ 1905 h 1289684"/>
              <a:gd name="connsiteX194" fmla="*/ 897255 w 6365557"/>
              <a:gd name="connsiteY194" fmla="*/ 880110 h 1289684"/>
              <a:gd name="connsiteX195" fmla="*/ 897255 w 6365557"/>
              <a:gd name="connsiteY195" fmla="*/ 934403 h 1289684"/>
              <a:gd name="connsiteX196" fmla="*/ 642938 w 6365557"/>
              <a:gd name="connsiteY196" fmla="*/ 843915 h 1289684"/>
              <a:gd name="connsiteX197" fmla="*/ 672465 w 6365557"/>
              <a:gd name="connsiteY197" fmla="*/ 915353 h 1289684"/>
              <a:gd name="connsiteX198" fmla="*/ 1126808 w 6365557"/>
              <a:gd name="connsiteY198" fmla="*/ 1173480 h 1289684"/>
              <a:gd name="connsiteX199" fmla="*/ 1126808 w 6365557"/>
              <a:gd name="connsiteY199" fmla="*/ 1243965 h 1289684"/>
              <a:gd name="connsiteX200" fmla="*/ 608648 w 6365557"/>
              <a:gd name="connsiteY200" fmla="*/ 944880 h 1289684"/>
              <a:gd name="connsiteX201" fmla="*/ 572453 w 6365557"/>
              <a:gd name="connsiteY201" fmla="*/ 857250 h 1289684"/>
              <a:gd name="connsiteX202" fmla="*/ 189548 w 6365557"/>
              <a:gd name="connsiteY202" fmla="*/ 1110615 h 1289684"/>
              <a:gd name="connsiteX203" fmla="*/ 189548 w 6365557"/>
              <a:gd name="connsiteY203" fmla="*/ 1032510 h 1289684"/>
              <a:gd name="connsiteX204" fmla="*/ 531495 w 6365557"/>
              <a:gd name="connsiteY204" fmla="*/ 644843 h 1289684"/>
              <a:gd name="connsiteX205" fmla="*/ 615315 w 6365557"/>
              <a:gd name="connsiteY205" fmla="*/ 644843 h 1289684"/>
              <a:gd name="connsiteX206" fmla="*/ 957263 w 6365557"/>
              <a:gd name="connsiteY206" fmla="*/ 265748 h 1289684"/>
              <a:gd name="connsiteX207" fmla="*/ 957263 w 6365557"/>
              <a:gd name="connsiteY207" fmla="*/ 187643 h 1289684"/>
              <a:gd name="connsiteX208" fmla="*/ 574358 w 6365557"/>
              <a:gd name="connsiteY208" fmla="*/ 441008 h 1289684"/>
              <a:gd name="connsiteX209" fmla="*/ 538163 w 6365557"/>
              <a:gd name="connsiteY209" fmla="*/ 353378 h 1289684"/>
              <a:gd name="connsiteX210" fmla="*/ 19050 w 6365557"/>
              <a:gd name="connsiteY210" fmla="*/ 54293 h 1289684"/>
              <a:gd name="connsiteX211" fmla="*/ 19050 w 6365557"/>
              <a:gd name="connsiteY211" fmla="*/ 19050 h 1289684"/>
              <a:gd name="connsiteX212" fmla="*/ 1127760 w 6365557"/>
              <a:gd name="connsiteY212" fmla="*/ 19050 h 1289684"/>
              <a:gd name="connsiteX213" fmla="*/ 1127760 w 6365557"/>
              <a:gd name="connsiteY213" fmla="*/ 644843 h 1289684"/>
              <a:gd name="connsiteX214" fmla="*/ 615315 w 6365557"/>
              <a:gd name="connsiteY214" fmla="*/ 644843 h 1289684"/>
              <a:gd name="connsiteX215" fmla="*/ 897255 w 6365557"/>
              <a:gd name="connsiteY215" fmla="*/ 880110 h 1289684"/>
              <a:gd name="connsiteX216" fmla="*/ 19050 w 6365557"/>
              <a:gd name="connsiteY216" fmla="*/ 124778 h 1289684"/>
              <a:gd name="connsiteX217" fmla="*/ 473393 w 6365557"/>
              <a:gd name="connsiteY217" fmla="*/ 382905 h 1289684"/>
              <a:gd name="connsiteX218" fmla="*/ 502920 w 6365557"/>
              <a:gd name="connsiteY218" fmla="*/ 453390 h 1289684"/>
              <a:gd name="connsiteX219" fmla="*/ 248603 w 6365557"/>
              <a:gd name="connsiteY219" fmla="*/ 362903 h 1289684"/>
              <a:gd name="connsiteX220" fmla="*/ 248603 w 6365557"/>
              <a:gd name="connsiteY220" fmla="*/ 418148 h 1289684"/>
              <a:gd name="connsiteX221" fmla="*/ 530543 w 6365557"/>
              <a:gd name="connsiteY221" fmla="*/ 644843 h 1289684"/>
              <a:gd name="connsiteX222" fmla="*/ 19050 w 6365557"/>
              <a:gd name="connsiteY222" fmla="*/ 644843 h 1289684"/>
              <a:gd name="connsiteX223" fmla="*/ 19050 w 6365557"/>
              <a:gd name="connsiteY223" fmla="*/ 124778 h 1289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6365557" h="1289684">
                <a:moveTo>
                  <a:pt x="1803083" y="1002983"/>
                </a:moveTo>
                <a:lnTo>
                  <a:pt x="1579245" y="1002983"/>
                </a:lnTo>
                <a:lnTo>
                  <a:pt x="1579245" y="322898"/>
                </a:lnTo>
                <a:lnTo>
                  <a:pt x="1805940" y="322898"/>
                </a:lnTo>
                <a:cubicBezTo>
                  <a:pt x="1931670" y="322898"/>
                  <a:pt x="2041208" y="363855"/>
                  <a:pt x="2041208" y="492443"/>
                </a:cubicBezTo>
                <a:cubicBezTo>
                  <a:pt x="2041208" y="580073"/>
                  <a:pt x="1994535" y="629603"/>
                  <a:pt x="1920240" y="648653"/>
                </a:cubicBezTo>
                <a:lnTo>
                  <a:pt x="1920240" y="650558"/>
                </a:lnTo>
                <a:cubicBezTo>
                  <a:pt x="2001203" y="662940"/>
                  <a:pt x="2069783" y="717233"/>
                  <a:pt x="2069783" y="814388"/>
                </a:cubicBezTo>
                <a:cubicBezTo>
                  <a:pt x="2069783" y="953453"/>
                  <a:pt x="1958340" y="1002983"/>
                  <a:pt x="1803083" y="1002983"/>
                </a:cubicBezTo>
                <a:moveTo>
                  <a:pt x="1790700" y="433388"/>
                </a:moveTo>
                <a:lnTo>
                  <a:pt x="1707833" y="433388"/>
                </a:lnTo>
                <a:lnTo>
                  <a:pt x="1707833" y="602933"/>
                </a:lnTo>
                <a:lnTo>
                  <a:pt x="1787843" y="602933"/>
                </a:lnTo>
                <a:cubicBezTo>
                  <a:pt x="1865948" y="602933"/>
                  <a:pt x="1899285" y="575310"/>
                  <a:pt x="1899285" y="515303"/>
                </a:cubicBezTo>
                <a:cubicBezTo>
                  <a:pt x="1899285" y="459105"/>
                  <a:pt x="1862138" y="433388"/>
                  <a:pt x="1790700" y="433388"/>
                </a:cubicBezTo>
                <a:moveTo>
                  <a:pt x="1789748" y="705803"/>
                </a:moveTo>
                <a:lnTo>
                  <a:pt x="1707833" y="705803"/>
                </a:lnTo>
                <a:lnTo>
                  <a:pt x="1707833" y="892493"/>
                </a:lnTo>
                <a:lnTo>
                  <a:pt x="1783080" y="892493"/>
                </a:lnTo>
                <a:cubicBezTo>
                  <a:pt x="1865948" y="892493"/>
                  <a:pt x="1909763" y="866775"/>
                  <a:pt x="1909763" y="801053"/>
                </a:cubicBezTo>
                <a:cubicBezTo>
                  <a:pt x="1909763" y="738188"/>
                  <a:pt x="1873568" y="705803"/>
                  <a:pt x="1789748" y="705803"/>
                </a:cubicBezTo>
                <a:moveTo>
                  <a:pt x="2473643" y="506730"/>
                </a:moveTo>
                <a:cubicBezTo>
                  <a:pt x="2462213" y="501015"/>
                  <a:pt x="2443163" y="493395"/>
                  <a:pt x="2406015" y="493395"/>
                </a:cubicBezTo>
                <a:cubicBezTo>
                  <a:pt x="2343150" y="493395"/>
                  <a:pt x="2302193" y="536258"/>
                  <a:pt x="2280285" y="573405"/>
                </a:cubicBezTo>
                <a:lnTo>
                  <a:pt x="2280285" y="505778"/>
                </a:lnTo>
                <a:lnTo>
                  <a:pt x="2144078" y="505778"/>
                </a:lnTo>
                <a:lnTo>
                  <a:pt x="2144078" y="1002983"/>
                </a:lnTo>
                <a:lnTo>
                  <a:pt x="2280285" y="1002983"/>
                </a:lnTo>
                <a:lnTo>
                  <a:pt x="2280285" y="689610"/>
                </a:lnTo>
                <a:cubicBezTo>
                  <a:pt x="2292668" y="666750"/>
                  <a:pt x="2327910" y="614363"/>
                  <a:pt x="2388870" y="614363"/>
                </a:cubicBezTo>
                <a:cubicBezTo>
                  <a:pt x="2417445" y="614363"/>
                  <a:pt x="2432685" y="620078"/>
                  <a:pt x="2441258" y="625793"/>
                </a:cubicBezTo>
                <a:lnTo>
                  <a:pt x="2473643" y="506730"/>
                </a:lnTo>
                <a:close/>
                <a:moveTo>
                  <a:pt x="2715578" y="1015365"/>
                </a:moveTo>
                <a:cubicBezTo>
                  <a:pt x="2542223" y="1015365"/>
                  <a:pt x="2466023" y="883920"/>
                  <a:pt x="2466023" y="756285"/>
                </a:cubicBezTo>
                <a:cubicBezTo>
                  <a:pt x="2466023" y="628650"/>
                  <a:pt x="2540318" y="493395"/>
                  <a:pt x="2714625" y="493395"/>
                </a:cubicBezTo>
                <a:cubicBezTo>
                  <a:pt x="2887980" y="493395"/>
                  <a:pt x="2967038" y="623888"/>
                  <a:pt x="2967038" y="751523"/>
                </a:cubicBezTo>
                <a:cubicBezTo>
                  <a:pt x="2967038" y="877253"/>
                  <a:pt x="2890838" y="1015365"/>
                  <a:pt x="2715578" y="1015365"/>
                </a:cubicBezTo>
                <a:moveTo>
                  <a:pt x="2712720" y="594360"/>
                </a:moveTo>
                <a:cubicBezTo>
                  <a:pt x="2636520" y="594360"/>
                  <a:pt x="2610803" y="659130"/>
                  <a:pt x="2610803" y="751523"/>
                </a:cubicBezTo>
                <a:cubicBezTo>
                  <a:pt x="2610803" y="843915"/>
                  <a:pt x="2641283" y="911543"/>
                  <a:pt x="2718435" y="911543"/>
                </a:cubicBezTo>
                <a:cubicBezTo>
                  <a:pt x="2796540" y="911543"/>
                  <a:pt x="2824163" y="847725"/>
                  <a:pt x="2824163" y="755333"/>
                </a:cubicBezTo>
                <a:cubicBezTo>
                  <a:pt x="2823210" y="662940"/>
                  <a:pt x="2789873" y="594360"/>
                  <a:pt x="2712720" y="594360"/>
                </a:cubicBezTo>
                <a:moveTo>
                  <a:pt x="3301365" y="1002983"/>
                </a:moveTo>
                <a:cubicBezTo>
                  <a:pt x="3297555" y="990600"/>
                  <a:pt x="3293745" y="964883"/>
                  <a:pt x="3292793" y="949643"/>
                </a:cubicBezTo>
                <a:cubicBezTo>
                  <a:pt x="3269933" y="976313"/>
                  <a:pt x="3223260" y="1015365"/>
                  <a:pt x="3152775" y="1015365"/>
                </a:cubicBezTo>
                <a:cubicBezTo>
                  <a:pt x="3068003" y="1015365"/>
                  <a:pt x="3002280" y="963930"/>
                  <a:pt x="3002280" y="875348"/>
                </a:cubicBezTo>
                <a:cubicBezTo>
                  <a:pt x="3002280" y="745808"/>
                  <a:pt x="3135630" y="698183"/>
                  <a:pt x="3268028" y="698183"/>
                </a:cubicBezTo>
                <a:lnTo>
                  <a:pt x="3285173" y="698183"/>
                </a:lnTo>
                <a:lnTo>
                  <a:pt x="3285173" y="669608"/>
                </a:lnTo>
                <a:cubicBezTo>
                  <a:pt x="3285173" y="626745"/>
                  <a:pt x="3268028" y="600075"/>
                  <a:pt x="3204210" y="600075"/>
                </a:cubicBezTo>
                <a:cubicBezTo>
                  <a:pt x="3139440" y="600075"/>
                  <a:pt x="3095625" y="633413"/>
                  <a:pt x="3077528" y="646748"/>
                </a:cubicBezTo>
                <a:lnTo>
                  <a:pt x="3018473" y="563880"/>
                </a:lnTo>
                <a:cubicBezTo>
                  <a:pt x="3048000" y="537210"/>
                  <a:pt x="3113723" y="492443"/>
                  <a:pt x="3219450" y="492443"/>
                </a:cubicBezTo>
                <a:cubicBezTo>
                  <a:pt x="3355658" y="492443"/>
                  <a:pt x="3419475" y="544830"/>
                  <a:pt x="3419475" y="676275"/>
                </a:cubicBezTo>
                <a:lnTo>
                  <a:pt x="3419475" y="855345"/>
                </a:lnTo>
                <a:cubicBezTo>
                  <a:pt x="3419475" y="922973"/>
                  <a:pt x="3426143" y="970598"/>
                  <a:pt x="3433763" y="1002030"/>
                </a:cubicBezTo>
                <a:lnTo>
                  <a:pt x="3301365" y="1002030"/>
                </a:lnTo>
                <a:close/>
                <a:moveTo>
                  <a:pt x="3271838" y="782955"/>
                </a:moveTo>
                <a:lnTo>
                  <a:pt x="3254693" y="782955"/>
                </a:lnTo>
                <a:cubicBezTo>
                  <a:pt x="3174683" y="782955"/>
                  <a:pt x="3119438" y="806768"/>
                  <a:pt x="3119438" y="864870"/>
                </a:cubicBezTo>
                <a:cubicBezTo>
                  <a:pt x="3119438" y="902018"/>
                  <a:pt x="3148965" y="917258"/>
                  <a:pt x="3179445" y="917258"/>
                </a:cubicBezTo>
                <a:cubicBezTo>
                  <a:pt x="3228023" y="917258"/>
                  <a:pt x="3257550" y="888683"/>
                  <a:pt x="3271838" y="873443"/>
                </a:cubicBezTo>
                <a:lnTo>
                  <a:pt x="3271838" y="782955"/>
                </a:lnTo>
                <a:close/>
                <a:moveTo>
                  <a:pt x="3713798" y="493395"/>
                </a:moveTo>
                <a:cubicBezTo>
                  <a:pt x="3774758" y="493395"/>
                  <a:pt x="3810953" y="515303"/>
                  <a:pt x="3829050" y="527685"/>
                </a:cubicBezTo>
                <a:lnTo>
                  <a:pt x="3829050" y="270510"/>
                </a:lnTo>
                <a:lnTo>
                  <a:pt x="3965258" y="270510"/>
                </a:lnTo>
                <a:lnTo>
                  <a:pt x="3965258" y="861060"/>
                </a:lnTo>
                <a:cubicBezTo>
                  <a:pt x="3965258" y="925830"/>
                  <a:pt x="3973830" y="975360"/>
                  <a:pt x="3979545" y="1002983"/>
                </a:cubicBezTo>
                <a:lnTo>
                  <a:pt x="3845243" y="1002983"/>
                </a:lnTo>
                <a:cubicBezTo>
                  <a:pt x="3841433" y="990600"/>
                  <a:pt x="3835718" y="963930"/>
                  <a:pt x="3834765" y="948690"/>
                </a:cubicBezTo>
                <a:cubicBezTo>
                  <a:pt x="3804285" y="984885"/>
                  <a:pt x="3761423" y="1016318"/>
                  <a:pt x="3694748" y="1016318"/>
                </a:cubicBezTo>
                <a:cubicBezTo>
                  <a:pt x="3569970" y="1016318"/>
                  <a:pt x="3489960" y="922020"/>
                  <a:pt x="3489960" y="755333"/>
                </a:cubicBezTo>
                <a:cubicBezTo>
                  <a:pt x="3490913" y="596265"/>
                  <a:pt x="3586163" y="493395"/>
                  <a:pt x="3713798" y="493395"/>
                </a:cubicBezTo>
                <a:moveTo>
                  <a:pt x="3736658" y="906780"/>
                </a:moveTo>
                <a:cubicBezTo>
                  <a:pt x="3786188" y="906780"/>
                  <a:pt x="3818573" y="871538"/>
                  <a:pt x="3830003" y="856298"/>
                </a:cubicBezTo>
                <a:lnTo>
                  <a:pt x="3830003" y="632460"/>
                </a:lnTo>
                <a:cubicBezTo>
                  <a:pt x="3812858" y="617220"/>
                  <a:pt x="3787140" y="600075"/>
                  <a:pt x="3743325" y="600075"/>
                </a:cubicBezTo>
                <a:cubicBezTo>
                  <a:pt x="3673793" y="600075"/>
                  <a:pt x="3635693" y="658178"/>
                  <a:pt x="3635693" y="756285"/>
                </a:cubicBezTo>
                <a:cubicBezTo>
                  <a:pt x="3635693" y="850583"/>
                  <a:pt x="3667125" y="906780"/>
                  <a:pt x="3736658" y="906780"/>
                </a:cubicBezTo>
                <a:moveTo>
                  <a:pt x="4397693" y="506730"/>
                </a:moveTo>
                <a:cubicBezTo>
                  <a:pt x="4386263" y="501015"/>
                  <a:pt x="4367213" y="493395"/>
                  <a:pt x="4330065" y="493395"/>
                </a:cubicBezTo>
                <a:cubicBezTo>
                  <a:pt x="4267200" y="493395"/>
                  <a:pt x="4226243" y="536258"/>
                  <a:pt x="4204335" y="573405"/>
                </a:cubicBezTo>
                <a:lnTo>
                  <a:pt x="4204335" y="505778"/>
                </a:lnTo>
                <a:lnTo>
                  <a:pt x="4068128" y="505778"/>
                </a:lnTo>
                <a:lnTo>
                  <a:pt x="4068128" y="1002983"/>
                </a:lnTo>
                <a:lnTo>
                  <a:pt x="4204335" y="1002983"/>
                </a:lnTo>
                <a:lnTo>
                  <a:pt x="4204335" y="689610"/>
                </a:lnTo>
                <a:cubicBezTo>
                  <a:pt x="4216718" y="666750"/>
                  <a:pt x="4251960" y="614363"/>
                  <a:pt x="4312920" y="614363"/>
                </a:cubicBezTo>
                <a:cubicBezTo>
                  <a:pt x="4341495" y="614363"/>
                  <a:pt x="4356735" y="620078"/>
                  <a:pt x="4365308" y="625793"/>
                </a:cubicBezTo>
                <a:lnTo>
                  <a:pt x="4397693" y="506730"/>
                </a:lnTo>
                <a:close/>
                <a:moveTo>
                  <a:pt x="4517708" y="441008"/>
                </a:moveTo>
                <a:cubicBezTo>
                  <a:pt x="4562475" y="441008"/>
                  <a:pt x="4595813" y="405765"/>
                  <a:pt x="4595813" y="364808"/>
                </a:cubicBezTo>
                <a:cubicBezTo>
                  <a:pt x="4595813" y="324803"/>
                  <a:pt x="4562475" y="290513"/>
                  <a:pt x="4517708" y="290513"/>
                </a:cubicBezTo>
                <a:cubicBezTo>
                  <a:pt x="4472940" y="290513"/>
                  <a:pt x="4440555" y="324803"/>
                  <a:pt x="4440555" y="364808"/>
                </a:cubicBezTo>
                <a:cubicBezTo>
                  <a:pt x="4441508" y="406718"/>
                  <a:pt x="4473893" y="441008"/>
                  <a:pt x="4517708" y="441008"/>
                </a:cubicBezTo>
                <a:moveTo>
                  <a:pt x="4450080" y="1002983"/>
                </a:moveTo>
                <a:lnTo>
                  <a:pt x="4587240" y="1002983"/>
                </a:lnTo>
                <a:lnTo>
                  <a:pt x="4587240" y="505778"/>
                </a:lnTo>
                <a:lnTo>
                  <a:pt x="4450080" y="505778"/>
                </a:lnTo>
                <a:lnTo>
                  <a:pt x="4450080" y="1002983"/>
                </a:lnTo>
                <a:close/>
                <a:moveTo>
                  <a:pt x="4884420" y="493395"/>
                </a:moveTo>
                <a:cubicBezTo>
                  <a:pt x="4945380" y="493395"/>
                  <a:pt x="4981575" y="515303"/>
                  <a:pt x="4999673" y="527685"/>
                </a:cubicBezTo>
                <a:lnTo>
                  <a:pt x="4999673" y="270510"/>
                </a:lnTo>
                <a:lnTo>
                  <a:pt x="5135880" y="270510"/>
                </a:lnTo>
                <a:lnTo>
                  <a:pt x="5135880" y="861060"/>
                </a:lnTo>
                <a:cubicBezTo>
                  <a:pt x="5135880" y="925830"/>
                  <a:pt x="5144453" y="975360"/>
                  <a:pt x="5150168" y="1002983"/>
                </a:cubicBezTo>
                <a:lnTo>
                  <a:pt x="5015865" y="1002983"/>
                </a:lnTo>
                <a:cubicBezTo>
                  <a:pt x="5012055" y="990600"/>
                  <a:pt x="5006340" y="963930"/>
                  <a:pt x="5005388" y="948690"/>
                </a:cubicBezTo>
                <a:cubicBezTo>
                  <a:pt x="4974908" y="984885"/>
                  <a:pt x="4932045" y="1016318"/>
                  <a:pt x="4865370" y="1016318"/>
                </a:cubicBezTo>
                <a:cubicBezTo>
                  <a:pt x="4740593" y="1016318"/>
                  <a:pt x="4660583" y="922020"/>
                  <a:pt x="4660583" y="755333"/>
                </a:cubicBezTo>
                <a:cubicBezTo>
                  <a:pt x="4662488" y="596265"/>
                  <a:pt x="4756785" y="493395"/>
                  <a:pt x="4884420" y="493395"/>
                </a:cubicBezTo>
                <a:moveTo>
                  <a:pt x="4907280" y="906780"/>
                </a:moveTo>
                <a:cubicBezTo>
                  <a:pt x="4955858" y="906780"/>
                  <a:pt x="4989195" y="871538"/>
                  <a:pt x="5000625" y="856298"/>
                </a:cubicBezTo>
                <a:lnTo>
                  <a:pt x="5000625" y="632460"/>
                </a:lnTo>
                <a:cubicBezTo>
                  <a:pt x="4983480" y="617220"/>
                  <a:pt x="4957763" y="600075"/>
                  <a:pt x="4913948" y="600075"/>
                </a:cubicBezTo>
                <a:cubicBezTo>
                  <a:pt x="4844415" y="600075"/>
                  <a:pt x="4806315" y="658178"/>
                  <a:pt x="4806315" y="756285"/>
                </a:cubicBezTo>
                <a:cubicBezTo>
                  <a:pt x="4806315" y="850583"/>
                  <a:pt x="4837748" y="906780"/>
                  <a:pt x="4907280" y="906780"/>
                </a:cubicBezTo>
                <a:moveTo>
                  <a:pt x="5695950" y="493395"/>
                </a:moveTo>
                <a:lnTo>
                  <a:pt x="5695950" y="594360"/>
                </a:lnTo>
                <a:lnTo>
                  <a:pt x="5629275" y="594360"/>
                </a:lnTo>
                <a:cubicBezTo>
                  <a:pt x="5641658" y="618173"/>
                  <a:pt x="5647373" y="645795"/>
                  <a:pt x="5647373" y="674370"/>
                </a:cubicBezTo>
                <a:cubicBezTo>
                  <a:pt x="5647373" y="781050"/>
                  <a:pt x="5572125" y="854393"/>
                  <a:pt x="5433060" y="854393"/>
                </a:cubicBezTo>
                <a:cubicBezTo>
                  <a:pt x="5411153" y="854393"/>
                  <a:pt x="5392103" y="852488"/>
                  <a:pt x="5374005" y="849630"/>
                </a:cubicBezTo>
                <a:cubicBezTo>
                  <a:pt x="5365433" y="855345"/>
                  <a:pt x="5355908" y="864870"/>
                  <a:pt x="5355908" y="879158"/>
                </a:cubicBezTo>
                <a:cubicBezTo>
                  <a:pt x="5355908" y="905828"/>
                  <a:pt x="5384483" y="910590"/>
                  <a:pt x="5455920" y="914400"/>
                </a:cubicBezTo>
                <a:cubicBezTo>
                  <a:pt x="5558790" y="919163"/>
                  <a:pt x="5690235" y="920115"/>
                  <a:pt x="5690235" y="1067753"/>
                </a:cubicBezTo>
                <a:cubicBezTo>
                  <a:pt x="5690235" y="1172528"/>
                  <a:pt x="5580698" y="1247775"/>
                  <a:pt x="5417820" y="1247775"/>
                </a:cubicBezTo>
                <a:cubicBezTo>
                  <a:pt x="5280660" y="1247775"/>
                  <a:pt x="5198745" y="1204913"/>
                  <a:pt x="5198745" y="1115378"/>
                </a:cubicBezTo>
                <a:cubicBezTo>
                  <a:pt x="5198745" y="1060133"/>
                  <a:pt x="5232083" y="1020128"/>
                  <a:pt x="5282565" y="993458"/>
                </a:cubicBezTo>
                <a:cubicBezTo>
                  <a:pt x="5254943" y="977265"/>
                  <a:pt x="5238750" y="953453"/>
                  <a:pt x="5238750" y="918210"/>
                </a:cubicBezTo>
                <a:cubicBezTo>
                  <a:pt x="5238750" y="871538"/>
                  <a:pt x="5265420" y="842010"/>
                  <a:pt x="5294948" y="823913"/>
                </a:cubicBezTo>
                <a:cubicBezTo>
                  <a:pt x="5238750" y="792480"/>
                  <a:pt x="5206365" y="740093"/>
                  <a:pt x="5206365" y="674370"/>
                </a:cubicBezTo>
                <a:cubicBezTo>
                  <a:pt x="5206365" y="566738"/>
                  <a:pt x="5289233" y="493395"/>
                  <a:pt x="5427345" y="493395"/>
                </a:cubicBezTo>
                <a:cubicBezTo>
                  <a:pt x="5459730" y="493395"/>
                  <a:pt x="5695950" y="493395"/>
                  <a:pt x="5695950" y="493395"/>
                </a:cubicBezTo>
                <a:moveTo>
                  <a:pt x="5314950" y="1088708"/>
                </a:moveTo>
                <a:cubicBezTo>
                  <a:pt x="5314950" y="1128713"/>
                  <a:pt x="5342573" y="1156335"/>
                  <a:pt x="5412105" y="1156335"/>
                </a:cubicBezTo>
                <a:cubicBezTo>
                  <a:pt x="5494973" y="1156335"/>
                  <a:pt x="5541645" y="1124903"/>
                  <a:pt x="5541645" y="1082993"/>
                </a:cubicBezTo>
                <a:cubicBezTo>
                  <a:pt x="5541645" y="1029653"/>
                  <a:pt x="5494973" y="1031558"/>
                  <a:pt x="5422583" y="1026795"/>
                </a:cubicBezTo>
                <a:cubicBezTo>
                  <a:pt x="5398770" y="1024890"/>
                  <a:pt x="5376863" y="1022985"/>
                  <a:pt x="5354955" y="1020128"/>
                </a:cubicBezTo>
                <a:cubicBezTo>
                  <a:pt x="5329238" y="1037273"/>
                  <a:pt x="5314950" y="1059180"/>
                  <a:pt x="5314950" y="1088708"/>
                </a:cubicBezTo>
                <a:moveTo>
                  <a:pt x="5517833" y="674370"/>
                </a:moveTo>
                <a:cubicBezTo>
                  <a:pt x="5517833" y="616268"/>
                  <a:pt x="5484495" y="581978"/>
                  <a:pt x="5428298" y="581978"/>
                </a:cubicBezTo>
                <a:cubicBezTo>
                  <a:pt x="5372100" y="581978"/>
                  <a:pt x="5338763" y="615315"/>
                  <a:pt x="5338763" y="674370"/>
                </a:cubicBezTo>
                <a:cubicBezTo>
                  <a:pt x="5338763" y="731520"/>
                  <a:pt x="5372100" y="766763"/>
                  <a:pt x="5428298" y="766763"/>
                </a:cubicBezTo>
                <a:cubicBezTo>
                  <a:pt x="5483543" y="765810"/>
                  <a:pt x="5517833" y="731520"/>
                  <a:pt x="5517833" y="674370"/>
                </a:cubicBezTo>
                <a:moveTo>
                  <a:pt x="5992178" y="914400"/>
                </a:moveTo>
                <a:cubicBezTo>
                  <a:pt x="6059805" y="914400"/>
                  <a:pt x="6096953" y="891540"/>
                  <a:pt x="6121718" y="880110"/>
                </a:cubicBezTo>
                <a:lnTo>
                  <a:pt x="6165533" y="967740"/>
                </a:lnTo>
                <a:cubicBezTo>
                  <a:pt x="6133148" y="985838"/>
                  <a:pt x="6081713" y="1015365"/>
                  <a:pt x="5979795" y="1015365"/>
                </a:cubicBezTo>
                <a:cubicBezTo>
                  <a:pt x="5813108" y="1015365"/>
                  <a:pt x="5719763" y="910590"/>
                  <a:pt x="5719763" y="751523"/>
                </a:cubicBezTo>
                <a:cubicBezTo>
                  <a:pt x="5719763" y="594360"/>
                  <a:pt x="5828348" y="492443"/>
                  <a:pt x="5965508" y="492443"/>
                </a:cubicBezTo>
                <a:cubicBezTo>
                  <a:pt x="6120765" y="492443"/>
                  <a:pt x="6196965" y="601028"/>
                  <a:pt x="6179820" y="784860"/>
                </a:cubicBezTo>
                <a:lnTo>
                  <a:pt x="5863590" y="784860"/>
                </a:lnTo>
                <a:cubicBezTo>
                  <a:pt x="5871210" y="862013"/>
                  <a:pt x="5909310" y="914400"/>
                  <a:pt x="5992178" y="914400"/>
                </a:cubicBezTo>
                <a:moveTo>
                  <a:pt x="6049328" y="693420"/>
                </a:moveTo>
                <a:cubicBezTo>
                  <a:pt x="6048375" y="637223"/>
                  <a:pt x="6025515" y="591503"/>
                  <a:pt x="5963603" y="591503"/>
                </a:cubicBezTo>
                <a:cubicBezTo>
                  <a:pt x="5906453" y="591503"/>
                  <a:pt x="5874068" y="628650"/>
                  <a:pt x="5864543" y="693420"/>
                </a:cubicBezTo>
                <a:lnTo>
                  <a:pt x="6049328" y="693420"/>
                </a:lnTo>
                <a:close/>
                <a:moveTo>
                  <a:pt x="6296025" y="634365"/>
                </a:moveTo>
                <a:cubicBezTo>
                  <a:pt x="6257925" y="634365"/>
                  <a:pt x="6226493" y="602933"/>
                  <a:pt x="6226493" y="564833"/>
                </a:cubicBezTo>
                <a:cubicBezTo>
                  <a:pt x="6226493" y="526733"/>
                  <a:pt x="6257925" y="495300"/>
                  <a:pt x="6296025" y="495300"/>
                </a:cubicBezTo>
                <a:cubicBezTo>
                  <a:pt x="6334125" y="495300"/>
                  <a:pt x="6365558" y="526733"/>
                  <a:pt x="6365558" y="564833"/>
                </a:cubicBezTo>
                <a:cubicBezTo>
                  <a:pt x="6365558" y="602933"/>
                  <a:pt x="6335078" y="634365"/>
                  <a:pt x="6296025" y="634365"/>
                </a:cubicBezTo>
                <a:moveTo>
                  <a:pt x="6296025" y="505778"/>
                </a:moveTo>
                <a:cubicBezTo>
                  <a:pt x="6262688" y="505778"/>
                  <a:pt x="6237923" y="530543"/>
                  <a:pt x="6237923" y="564833"/>
                </a:cubicBezTo>
                <a:cubicBezTo>
                  <a:pt x="6237923" y="599123"/>
                  <a:pt x="6262688" y="623888"/>
                  <a:pt x="6296025" y="623888"/>
                </a:cubicBezTo>
                <a:cubicBezTo>
                  <a:pt x="6329363" y="623888"/>
                  <a:pt x="6354128" y="599123"/>
                  <a:pt x="6354128" y="564833"/>
                </a:cubicBezTo>
                <a:cubicBezTo>
                  <a:pt x="6355080" y="530543"/>
                  <a:pt x="6329363" y="505778"/>
                  <a:pt x="6296025" y="505778"/>
                </a:cubicBezTo>
                <a:moveTo>
                  <a:pt x="6316028" y="605790"/>
                </a:moveTo>
                <a:lnTo>
                  <a:pt x="6296978" y="577215"/>
                </a:lnTo>
                <a:cubicBezTo>
                  <a:pt x="6293168" y="571500"/>
                  <a:pt x="6290310" y="569595"/>
                  <a:pt x="6284595" y="569595"/>
                </a:cubicBezTo>
                <a:lnTo>
                  <a:pt x="6284595" y="606743"/>
                </a:lnTo>
                <a:lnTo>
                  <a:pt x="6271260" y="606743"/>
                </a:lnTo>
                <a:lnTo>
                  <a:pt x="6271260" y="522923"/>
                </a:lnTo>
                <a:lnTo>
                  <a:pt x="6298883" y="522923"/>
                </a:lnTo>
                <a:cubicBezTo>
                  <a:pt x="6316028" y="522923"/>
                  <a:pt x="6325553" y="533400"/>
                  <a:pt x="6325553" y="546735"/>
                </a:cubicBezTo>
                <a:cubicBezTo>
                  <a:pt x="6325553" y="559118"/>
                  <a:pt x="6316980" y="566738"/>
                  <a:pt x="6303645" y="568643"/>
                </a:cubicBezTo>
                <a:cubicBezTo>
                  <a:pt x="6307455" y="571500"/>
                  <a:pt x="6310313" y="574358"/>
                  <a:pt x="6313170" y="580073"/>
                </a:cubicBezTo>
                <a:lnTo>
                  <a:pt x="6331268" y="606743"/>
                </a:lnTo>
                <a:lnTo>
                  <a:pt x="6316028" y="606743"/>
                </a:lnTo>
                <a:close/>
                <a:moveTo>
                  <a:pt x="6296025" y="533400"/>
                </a:moveTo>
                <a:lnTo>
                  <a:pt x="6284595" y="533400"/>
                </a:lnTo>
                <a:lnTo>
                  <a:pt x="6284595" y="559118"/>
                </a:lnTo>
                <a:lnTo>
                  <a:pt x="6293168" y="559118"/>
                </a:lnTo>
                <a:cubicBezTo>
                  <a:pt x="6302693" y="559118"/>
                  <a:pt x="6311265" y="558165"/>
                  <a:pt x="6311265" y="546735"/>
                </a:cubicBezTo>
                <a:cubicBezTo>
                  <a:pt x="6310313" y="539115"/>
                  <a:pt x="6306503" y="533400"/>
                  <a:pt x="6296025" y="533400"/>
                </a:cubicBezTo>
                <a:moveTo>
                  <a:pt x="1146810" y="1905"/>
                </a:moveTo>
                <a:lnTo>
                  <a:pt x="1146810" y="0"/>
                </a:lnTo>
                <a:lnTo>
                  <a:pt x="0" y="0"/>
                </a:lnTo>
                <a:lnTo>
                  <a:pt x="0" y="1905"/>
                </a:lnTo>
                <a:lnTo>
                  <a:pt x="0" y="1289685"/>
                </a:lnTo>
                <a:lnTo>
                  <a:pt x="1146810" y="1289685"/>
                </a:lnTo>
                <a:lnTo>
                  <a:pt x="1146810" y="1905"/>
                </a:lnTo>
                <a:close/>
                <a:moveTo>
                  <a:pt x="897255" y="880110"/>
                </a:moveTo>
                <a:lnTo>
                  <a:pt x="897255" y="934403"/>
                </a:lnTo>
                <a:cubicBezTo>
                  <a:pt x="771525" y="934403"/>
                  <a:pt x="692468" y="894398"/>
                  <a:pt x="642938" y="843915"/>
                </a:cubicBezTo>
                <a:cubicBezTo>
                  <a:pt x="651510" y="866775"/>
                  <a:pt x="661035" y="890588"/>
                  <a:pt x="672465" y="915353"/>
                </a:cubicBezTo>
                <a:cubicBezTo>
                  <a:pt x="758190" y="1083945"/>
                  <a:pt x="908685" y="1170623"/>
                  <a:pt x="1126808" y="1173480"/>
                </a:cubicBezTo>
                <a:lnTo>
                  <a:pt x="1126808" y="1243965"/>
                </a:lnTo>
                <a:cubicBezTo>
                  <a:pt x="819150" y="1241108"/>
                  <a:pt x="675323" y="1080135"/>
                  <a:pt x="608648" y="944880"/>
                </a:cubicBezTo>
                <a:cubicBezTo>
                  <a:pt x="593408" y="915353"/>
                  <a:pt x="581978" y="885825"/>
                  <a:pt x="572453" y="857250"/>
                </a:cubicBezTo>
                <a:cubicBezTo>
                  <a:pt x="470535" y="1106805"/>
                  <a:pt x="192405" y="1110615"/>
                  <a:pt x="189548" y="1110615"/>
                </a:cubicBezTo>
                <a:lnTo>
                  <a:pt x="189548" y="1032510"/>
                </a:lnTo>
                <a:cubicBezTo>
                  <a:pt x="203835" y="1032510"/>
                  <a:pt x="531495" y="1022033"/>
                  <a:pt x="531495" y="644843"/>
                </a:cubicBezTo>
                <a:lnTo>
                  <a:pt x="615315" y="644843"/>
                </a:lnTo>
                <a:cubicBezTo>
                  <a:pt x="615315" y="267653"/>
                  <a:pt x="942975" y="265748"/>
                  <a:pt x="957263" y="265748"/>
                </a:cubicBezTo>
                <a:lnTo>
                  <a:pt x="957263" y="187643"/>
                </a:lnTo>
                <a:cubicBezTo>
                  <a:pt x="953453" y="187643"/>
                  <a:pt x="676275" y="191453"/>
                  <a:pt x="574358" y="441008"/>
                </a:cubicBezTo>
                <a:cubicBezTo>
                  <a:pt x="564833" y="412433"/>
                  <a:pt x="553403" y="382905"/>
                  <a:pt x="538163" y="353378"/>
                </a:cubicBezTo>
                <a:cubicBezTo>
                  <a:pt x="470535" y="218123"/>
                  <a:pt x="326708" y="58103"/>
                  <a:pt x="19050" y="54293"/>
                </a:cubicBezTo>
                <a:lnTo>
                  <a:pt x="19050" y="19050"/>
                </a:lnTo>
                <a:lnTo>
                  <a:pt x="1127760" y="19050"/>
                </a:lnTo>
                <a:lnTo>
                  <a:pt x="1127760" y="644843"/>
                </a:lnTo>
                <a:lnTo>
                  <a:pt x="615315" y="644843"/>
                </a:lnTo>
                <a:cubicBezTo>
                  <a:pt x="615315" y="654368"/>
                  <a:pt x="620078" y="880110"/>
                  <a:pt x="897255" y="880110"/>
                </a:cubicBezTo>
                <a:close/>
                <a:moveTo>
                  <a:pt x="19050" y="124778"/>
                </a:moveTo>
                <a:cubicBezTo>
                  <a:pt x="237173" y="127635"/>
                  <a:pt x="388620" y="214313"/>
                  <a:pt x="473393" y="382905"/>
                </a:cubicBezTo>
                <a:cubicBezTo>
                  <a:pt x="485775" y="406718"/>
                  <a:pt x="495300" y="430530"/>
                  <a:pt x="502920" y="453390"/>
                </a:cubicBezTo>
                <a:cubicBezTo>
                  <a:pt x="453390" y="402908"/>
                  <a:pt x="374333" y="362903"/>
                  <a:pt x="248603" y="362903"/>
                </a:cubicBezTo>
                <a:lnTo>
                  <a:pt x="248603" y="418148"/>
                </a:lnTo>
                <a:cubicBezTo>
                  <a:pt x="526733" y="418148"/>
                  <a:pt x="530543" y="635318"/>
                  <a:pt x="530543" y="644843"/>
                </a:cubicBezTo>
                <a:lnTo>
                  <a:pt x="19050" y="644843"/>
                </a:lnTo>
                <a:lnTo>
                  <a:pt x="19050" y="124778"/>
                </a:lnTo>
                <a:close/>
              </a:path>
            </a:pathLst>
          </a:custGeom>
          <a:solidFill>
            <a:srgbClr val="00578E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/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80489D37-BA87-45A8-ABC2-E9A9B666FD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4757" y="5619750"/>
            <a:ext cx="1051556" cy="245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42124972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021B26-8680-4C07-8833-89E8405689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insert slide title, sentence cas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E47DF3B-58CC-5549-8637-1365F9A9B714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732029" y="1219201"/>
            <a:ext cx="10060702" cy="4968875"/>
          </a:xfrm>
        </p:spPr>
        <p:txBody>
          <a:bodyPr/>
          <a:lstStyle/>
          <a:p>
            <a:r>
              <a:rPr lang="en-US"/>
              <a:t>Add Meeting Agenda Table Here</a:t>
            </a:r>
          </a:p>
        </p:txBody>
      </p:sp>
    </p:spTree>
    <p:extLst>
      <p:ext uri="{BB962C8B-B14F-4D97-AF65-F5344CB8AC3E}">
        <p14:creationId xmlns:p14="http://schemas.microsoft.com/office/powerpoint/2010/main" val="4287390938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4E30A9F-9756-9640-A36C-3A823EDA41F6}"/>
              </a:ext>
            </a:extLst>
          </p:cNvPr>
          <p:cNvSpPr/>
          <p:nvPr userDrawn="1"/>
        </p:nvSpPr>
        <p:spPr>
          <a:xfrm>
            <a:off x="753231" y="1183341"/>
            <a:ext cx="6865166" cy="502378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pic>
        <p:nvPicPr>
          <p:cNvPr id="11" name="Picture 10" descr="A picture containing clock, light&#10;&#10;Description automatically generated">
            <a:extLst>
              <a:ext uri="{FF2B5EF4-FFF2-40B4-BE49-F238E27FC236}">
                <a16:creationId xmlns:a16="http://schemas.microsoft.com/office/drawing/2014/main" id="{983F892D-F094-B74E-A43A-89A527A012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69"/>
          <a:stretch/>
        </p:blipFill>
        <p:spPr>
          <a:xfrm>
            <a:off x="6665585" y="1433955"/>
            <a:ext cx="5083687" cy="46092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EA3FBED-6C60-3546-AE58-BF4FB05943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insert slide title, sentence cas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9CB8AB7-E9C8-F54B-B5D5-344F67AD8E9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71596" y="1270000"/>
            <a:ext cx="5778361" cy="4937125"/>
          </a:xfrm>
        </p:spPr>
        <p:txBody>
          <a:bodyPr/>
          <a:lstStyle>
            <a:lvl1pPr marL="180975" indent="-180975">
              <a:buClr>
                <a:schemeClr val="bg1"/>
              </a:buClr>
              <a:buFont typeface="Arial" panose="020B0604020202020204" pitchFamily="34" charset="0"/>
              <a:buChar char="•"/>
              <a:tabLst/>
              <a:defRPr sz="1600" cap="none">
                <a:solidFill>
                  <a:schemeClr val="bg1"/>
                </a:solidFill>
              </a:defRPr>
            </a:lvl1pPr>
            <a:lvl2pPr marL="458788" indent="-225425">
              <a:buClr>
                <a:schemeClr val="bg1"/>
              </a:buClr>
              <a:buFont typeface="System Font Regular"/>
              <a:buChar char="–"/>
              <a:tabLst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06057390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tags" Target="../tags/tag16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8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2367" y="91440"/>
            <a:ext cx="9997441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insert slide title, sentence ca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2367" y="1233488"/>
            <a:ext cx="9997441" cy="49377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07E2D-8BE1-47B7-A03A-69D91335FC4A}"/>
              </a:ext>
            </a:extLst>
          </p:cNvPr>
          <p:cNvSpPr/>
          <p:nvPr/>
        </p:nvSpPr>
        <p:spPr bwMode="white">
          <a:xfrm>
            <a:off x="0" y="819176"/>
            <a:ext cx="751418" cy="21558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EC7639ED-10E5-44F6-A3B8-64C15CF1121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2242" y="6477000"/>
            <a:ext cx="365220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 algn="r"/>
            <a:fld id="{2C78AFB4-C6FC-46C2-866E-1D035D18C516}" type="slidenum">
              <a:rPr lang="en-US" sz="900" noProof="0" smtClean="0">
                <a:solidFill>
                  <a:schemeClr val="accent1"/>
                </a:solidFill>
              </a:rPr>
              <a:pPr lvl="0" algn="r"/>
              <a:t>‹#›</a:t>
            </a:fld>
            <a:endParaRPr lang="en-US" sz="900" noProof="0">
              <a:solidFill>
                <a:schemeClr val="accent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06FAF80-FE09-409C-8B62-31407F89490A}"/>
              </a:ext>
            </a:extLst>
          </p:cNvPr>
          <p:cNvCxnSpPr>
            <a:cxnSpLocks/>
          </p:cNvCxnSpPr>
          <p:nvPr userDrawn="1"/>
        </p:nvCxnSpPr>
        <p:spPr>
          <a:xfrm>
            <a:off x="1" y="6477000"/>
            <a:ext cx="12192000" cy="0"/>
          </a:xfrm>
          <a:prstGeom prst="line">
            <a:avLst/>
          </a:prstGeom>
          <a:ln w="6350" cmpd="sng">
            <a:solidFill>
              <a:schemeClr val="bg2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A571AB3-8E59-4421-9ECA-F8FE60B7A2B5}"/>
              </a:ext>
            </a:extLst>
          </p:cNvPr>
          <p:cNvSpPr txBox="1"/>
          <p:nvPr userDrawn="1"/>
        </p:nvSpPr>
        <p:spPr>
          <a:xfrm>
            <a:off x="11012181" y="6482454"/>
            <a:ext cx="457319" cy="3755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© 2022 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873E399-255D-4B33-B188-D62A9A0DB162}"/>
              </a:ext>
            </a:extLst>
          </p:cNvPr>
          <p:cNvSpPr txBox="1"/>
          <p:nvPr userDrawn="1"/>
        </p:nvSpPr>
        <p:spPr>
          <a:xfrm>
            <a:off x="8120591" y="6477000"/>
            <a:ext cx="2835378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nfidential information</a:t>
            </a:r>
            <a:r>
              <a:rPr lang="en-US" sz="9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      |</a:t>
            </a:r>
            <a:endParaRPr lang="en-US" sz="900" kern="1200" cap="all" baseline="0">
              <a:solidFill>
                <a:schemeClr val="bg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3" name="Corner graphic">
            <a:extLst>
              <a:ext uri="{FF2B5EF4-FFF2-40B4-BE49-F238E27FC236}">
                <a16:creationId xmlns:a16="http://schemas.microsoft.com/office/drawing/2014/main" id="{E2B24B96-0435-448C-893F-FBF6151E5B40}"/>
              </a:ext>
            </a:extLst>
          </p:cNvPr>
          <p:cNvGrpSpPr/>
          <p:nvPr userDrawn="1"/>
        </p:nvGrpSpPr>
        <p:grpSpPr>
          <a:xfrm>
            <a:off x="83474" y="15903"/>
            <a:ext cx="345041" cy="2279788"/>
            <a:chOff x="4052887" y="9525"/>
            <a:chExt cx="1035367" cy="6842760"/>
          </a:xfrm>
        </p:grpSpPr>
        <p:sp>
          <p:nvSpPr>
            <p:cNvPr id="24" name="Corner gray">
              <a:extLst>
                <a:ext uri="{FF2B5EF4-FFF2-40B4-BE49-F238E27FC236}">
                  <a16:creationId xmlns:a16="http://schemas.microsoft.com/office/drawing/2014/main" id="{092B024E-5054-4C11-9A4E-AF3B91CBCC74}"/>
                </a:ext>
              </a:extLst>
            </p:cNvPr>
            <p:cNvSpPr/>
            <p:nvPr/>
          </p:nvSpPr>
          <p:spPr>
            <a:xfrm>
              <a:off x="4052887" y="9525"/>
              <a:ext cx="1035367" cy="6842760"/>
            </a:xfrm>
            <a:custGeom>
              <a:avLst/>
              <a:gdLst>
                <a:gd name="connsiteX0" fmla="*/ 0 w 1035367"/>
                <a:gd name="connsiteY0" fmla="*/ 1128713 h 6842760"/>
                <a:gd name="connsiteX1" fmla="*/ 78105 w 1035367"/>
                <a:gd name="connsiteY1" fmla="*/ 1206818 h 6842760"/>
                <a:gd name="connsiteX2" fmla="*/ 156210 w 1035367"/>
                <a:gd name="connsiteY2" fmla="*/ 1128713 h 6842760"/>
                <a:gd name="connsiteX3" fmla="*/ 78105 w 1035367"/>
                <a:gd name="connsiteY3" fmla="*/ 1050608 h 6842760"/>
                <a:gd name="connsiteX4" fmla="*/ 0 w 1035367"/>
                <a:gd name="connsiteY4" fmla="*/ 1128713 h 6842760"/>
                <a:gd name="connsiteX5" fmla="*/ 42863 w 1035367"/>
                <a:gd name="connsiteY5" fmla="*/ 2162175 h 6842760"/>
                <a:gd name="connsiteX6" fmla="*/ 80963 w 1035367"/>
                <a:gd name="connsiteY6" fmla="*/ 2194560 h 6842760"/>
                <a:gd name="connsiteX7" fmla="*/ 113348 w 1035367"/>
                <a:gd name="connsiteY7" fmla="*/ 2156460 h 6842760"/>
                <a:gd name="connsiteX8" fmla="*/ 75248 w 1035367"/>
                <a:gd name="connsiteY8" fmla="*/ 2124075 h 6842760"/>
                <a:gd name="connsiteX9" fmla="*/ 42863 w 1035367"/>
                <a:gd name="connsiteY9" fmla="*/ 2162175 h 6842760"/>
                <a:gd name="connsiteX10" fmla="*/ 34290 w 1035367"/>
                <a:gd name="connsiteY10" fmla="*/ 1953578 h 6842760"/>
                <a:gd name="connsiteX11" fmla="*/ 78105 w 1035367"/>
                <a:gd name="connsiteY11" fmla="*/ 1997393 h 6842760"/>
                <a:gd name="connsiteX12" fmla="*/ 121920 w 1035367"/>
                <a:gd name="connsiteY12" fmla="*/ 1953578 h 6842760"/>
                <a:gd name="connsiteX13" fmla="*/ 78105 w 1035367"/>
                <a:gd name="connsiteY13" fmla="*/ 1909763 h 6842760"/>
                <a:gd name="connsiteX14" fmla="*/ 34290 w 1035367"/>
                <a:gd name="connsiteY14" fmla="*/ 1953578 h 6842760"/>
                <a:gd name="connsiteX15" fmla="*/ 16193 w 1035367"/>
                <a:gd name="connsiteY15" fmla="*/ 1541145 h 6842760"/>
                <a:gd name="connsiteX16" fmla="*/ 78105 w 1035367"/>
                <a:gd name="connsiteY16" fmla="*/ 1603058 h 6842760"/>
                <a:gd name="connsiteX17" fmla="*/ 140018 w 1035367"/>
                <a:gd name="connsiteY17" fmla="*/ 1541145 h 6842760"/>
                <a:gd name="connsiteX18" fmla="*/ 78105 w 1035367"/>
                <a:gd name="connsiteY18" fmla="*/ 1479233 h 6842760"/>
                <a:gd name="connsiteX19" fmla="*/ 16193 w 1035367"/>
                <a:gd name="connsiteY19" fmla="*/ 1541145 h 6842760"/>
                <a:gd name="connsiteX20" fmla="*/ 24765 w 1035367"/>
                <a:gd name="connsiteY20" fmla="*/ 716280 h 6842760"/>
                <a:gd name="connsiteX21" fmla="*/ 78105 w 1035367"/>
                <a:gd name="connsiteY21" fmla="*/ 769620 h 6842760"/>
                <a:gd name="connsiteX22" fmla="*/ 131445 w 1035367"/>
                <a:gd name="connsiteY22" fmla="*/ 716280 h 6842760"/>
                <a:gd name="connsiteX23" fmla="*/ 78105 w 1035367"/>
                <a:gd name="connsiteY23" fmla="*/ 662940 h 6842760"/>
                <a:gd name="connsiteX24" fmla="*/ 24765 w 1035367"/>
                <a:gd name="connsiteY24" fmla="*/ 716280 h 6842760"/>
                <a:gd name="connsiteX25" fmla="*/ 34290 w 1035367"/>
                <a:gd name="connsiteY25" fmla="*/ 510540 h 6842760"/>
                <a:gd name="connsiteX26" fmla="*/ 78105 w 1035367"/>
                <a:gd name="connsiteY26" fmla="*/ 554355 h 6842760"/>
                <a:gd name="connsiteX27" fmla="*/ 121920 w 1035367"/>
                <a:gd name="connsiteY27" fmla="*/ 510540 h 6842760"/>
                <a:gd name="connsiteX28" fmla="*/ 78105 w 1035367"/>
                <a:gd name="connsiteY28" fmla="*/ 466725 h 6842760"/>
                <a:gd name="connsiteX29" fmla="*/ 34290 w 1035367"/>
                <a:gd name="connsiteY29" fmla="*/ 510540 h 6842760"/>
                <a:gd name="connsiteX30" fmla="*/ 24765 w 1035367"/>
                <a:gd name="connsiteY30" fmla="*/ 1746885 h 6842760"/>
                <a:gd name="connsiteX31" fmla="*/ 78105 w 1035367"/>
                <a:gd name="connsiteY31" fmla="*/ 1800225 h 6842760"/>
                <a:gd name="connsiteX32" fmla="*/ 131445 w 1035367"/>
                <a:gd name="connsiteY32" fmla="*/ 1746885 h 6842760"/>
                <a:gd name="connsiteX33" fmla="*/ 78105 w 1035367"/>
                <a:gd name="connsiteY33" fmla="*/ 1693545 h 6842760"/>
                <a:gd name="connsiteX34" fmla="*/ 24765 w 1035367"/>
                <a:gd name="connsiteY34" fmla="*/ 1746885 h 6842760"/>
                <a:gd name="connsiteX35" fmla="*/ 16193 w 1035367"/>
                <a:gd name="connsiteY35" fmla="*/ 922973 h 6842760"/>
                <a:gd name="connsiteX36" fmla="*/ 78105 w 1035367"/>
                <a:gd name="connsiteY36" fmla="*/ 984885 h 6842760"/>
                <a:gd name="connsiteX37" fmla="*/ 140018 w 1035367"/>
                <a:gd name="connsiteY37" fmla="*/ 922973 h 6842760"/>
                <a:gd name="connsiteX38" fmla="*/ 78105 w 1035367"/>
                <a:gd name="connsiteY38" fmla="*/ 861060 h 6842760"/>
                <a:gd name="connsiteX39" fmla="*/ 16193 w 1035367"/>
                <a:gd name="connsiteY39" fmla="*/ 922973 h 6842760"/>
                <a:gd name="connsiteX40" fmla="*/ 46673 w 1035367"/>
                <a:gd name="connsiteY40" fmla="*/ 98108 h 6842760"/>
                <a:gd name="connsiteX41" fmla="*/ 78105 w 1035367"/>
                <a:gd name="connsiteY41" fmla="*/ 129540 h 6842760"/>
                <a:gd name="connsiteX42" fmla="*/ 109538 w 1035367"/>
                <a:gd name="connsiteY42" fmla="*/ 98108 h 6842760"/>
                <a:gd name="connsiteX43" fmla="*/ 78105 w 1035367"/>
                <a:gd name="connsiteY43" fmla="*/ 66675 h 6842760"/>
                <a:gd name="connsiteX44" fmla="*/ 46673 w 1035367"/>
                <a:gd name="connsiteY44" fmla="*/ 98108 h 6842760"/>
                <a:gd name="connsiteX45" fmla="*/ 42863 w 1035367"/>
                <a:gd name="connsiteY45" fmla="*/ 303848 h 6842760"/>
                <a:gd name="connsiteX46" fmla="*/ 78105 w 1035367"/>
                <a:gd name="connsiteY46" fmla="*/ 339090 h 6842760"/>
                <a:gd name="connsiteX47" fmla="*/ 113348 w 1035367"/>
                <a:gd name="connsiteY47" fmla="*/ 303848 h 6842760"/>
                <a:gd name="connsiteX48" fmla="*/ 78105 w 1035367"/>
                <a:gd name="connsiteY48" fmla="*/ 268605 h 6842760"/>
                <a:gd name="connsiteX49" fmla="*/ 42863 w 1035367"/>
                <a:gd name="connsiteY49" fmla="*/ 303848 h 6842760"/>
                <a:gd name="connsiteX50" fmla="*/ 0 w 1035367"/>
                <a:gd name="connsiteY50" fmla="*/ 1335405 h 6842760"/>
                <a:gd name="connsiteX51" fmla="*/ 78105 w 1035367"/>
                <a:gd name="connsiteY51" fmla="*/ 1413510 h 6842760"/>
                <a:gd name="connsiteX52" fmla="*/ 156210 w 1035367"/>
                <a:gd name="connsiteY52" fmla="*/ 1335405 h 6842760"/>
                <a:gd name="connsiteX53" fmla="*/ 78105 w 1035367"/>
                <a:gd name="connsiteY53" fmla="*/ 1257300 h 6842760"/>
                <a:gd name="connsiteX54" fmla="*/ 0 w 1035367"/>
                <a:gd name="connsiteY54" fmla="*/ 1335405 h 6842760"/>
                <a:gd name="connsiteX55" fmla="*/ 266700 w 1035367"/>
                <a:gd name="connsiteY55" fmla="*/ 2159318 h 6842760"/>
                <a:gd name="connsiteX56" fmla="*/ 298133 w 1035367"/>
                <a:gd name="connsiteY56" fmla="*/ 2190750 h 6842760"/>
                <a:gd name="connsiteX57" fmla="*/ 329565 w 1035367"/>
                <a:gd name="connsiteY57" fmla="*/ 2159318 h 6842760"/>
                <a:gd name="connsiteX58" fmla="*/ 298133 w 1035367"/>
                <a:gd name="connsiteY58" fmla="*/ 2127885 h 6842760"/>
                <a:gd name="connsiteX59" fmla="*/ 266700 w 1035367"/>
                <a:gd name="connsiteY59" fmla="*/ 2159318 h 6842760"/>
                <a:gd name="connsiteX60" fmla="*/ 262890 w 1035367"/>
                <a:gd name="connsiteY60" fmla="*/ 1918335 h 6842760"/>
                <a:gd name="connsiteX61" fmla="*/ 298133 w 1035367"/>
                <a:gd name="connsiteY61" fmla="*/ 1953578 h 6842760"/>
                <a:gd name="connsiteX62" fmla="*/ 333375 w 1035367"/>
                <a:gd name="connsiteY62" fmla="*/ 1918335 h 6842760"/>
                <a:gd name="connsiteX63" fmla="*/ 298133 w 1035367"/>
                <a:gd name="connsiteY63" fmla="*/ 1883093 h 6842760"/>
                <a:gd name="connsiteX64" fmla="*/ 262890 w 1035367"/>
                <a:gd name="connsiteY64" fmla="*/ 1918335 h 6842760"/>
                <a:gd name="connsiteX65" fmla="*/ 236220 w 1035367"/>
                <a:gd name="connsiteY65" fmla="*/ 1289685 h 6842760"/>
                <a:gd name="connsiteX66" fmla="*/ 298133 w 1035367"/>
                <a:gd name="connsiteY66" fmla="*/ 1351598 h 6842760"/>
                <a:gd name="connsiteX67" fmla="*/ 360045 w 1035367"/>
                <a:gd name="connsiteY67" fmla="*/ 1289685 h 6842760"/>
                <a:gd name="connsiteX68" fmla="*/ 298133 w 1035367"/>
                <a:gd name="connsiteY68" fmla="*/ 1227773 h 6842760"/>
                <a:gd name="connsiteX69" fmla="*/ 236220 w 1035367"/>
                <a:gd name="connsiteY69" fmla="*/ 1289685 h 6842760"/>
                <a:gd name="connsiteX70" fmla="*/ 236220 w 1035367"/>
                <a:gd name="connsiteY70" fmla="*/ 869633 h 6842760"/>
                <a:gd name="connsiteX71" fmla="*/ 298133 w 1035367"/>
                <a:gd name="connsiteY71" fmla="*/ 931545 h 6842760"/>
                <a:gd name="connsiteX72" fmla="*/ 360045 w 1035367"/>
                <a:gd name="connsiteY72" fmla="*/ 869633 h 6842760"/>
                <a:gd name="connsiteX73" fmla="*/ 298133 w 1035367"/>
                <a:gd name="connsiteY73" fmla="*/ 807720 h 6842760"/>
                <a:gd name="connsiteX74" fmla="*/ 236220 w 1035367"/>
                <a:gd name="connsiteY74" fmla="*/ 869633 h 6842760"/>
                <a:gd name="connsiteX75" fmla="*/ 244793 w 1035367"/>
                <a:gd name="connsiteY75" fmla="*/ 660083 h 6842760"/>
                <a:gd name="connsiteX76" fmla="*/ 298133 w 1035367"/>
                <a:gd name="connsiteY76" fmla="*/ 713423 h 6842760"/>
                <a:gd name="connsiteX77" fmla="*/ 351473 w 1035367"/>
                <a:gd name="connsiteY77" fmla="*/ 660083 h 6842760"/>
                <a:gd name="connsiteX78" fmla="*/ 298133 w 1035367"/>
                <a:gd name="connsiteY78" fmla="*/ 606743 h 6842760"/>
                <a:gd name="connsiteX79" fmla="*/ 244793 w 1035367"/>
                <a:gd name="connsiteY79" fmla="*/ 660083 h 6842760"/>
                <a:gd name="connsiteX80" fmla="*/ 253365 w 1035367"/>
                <a:gd name="connsiteY80" fmla="*/ 1708785 h 6842760"/>
                <a:gd name="connsiteX81" fmla="*/ 297180 w 1035367"/>
                <a:gd name="connsiteY81" fmla="*/ 1752600 h 6842760"/>
                <a:gd name="connsiteX82" fmla="*/ 340995 w 1035367"/>
                <a:gd name="connsiteY82" fmla="*/ 1708785 h 6842760"/>
                <a:gd name="connsiteX83" fmla="*/ 297180 w 1035367"/>
                <a:gd name="connsiteY83" fmla="*/ 1664970 h 6842760"/>
                <a:gd name="connsiteX84" fmla="*/ 253365 w 1035367"/>
                <a:gd name="connsiteY84" fmla="*/ 1708785 h 6842760"/>
                <a:gd name="connsiteX85" fmla="*/ 244793 w 1035367"/>
                <a:gd name="connsiteY85" fmla="*/ 1499235 h 6842760"/>
                <a:gd name="connsiteX86" fmla="*/ 298133 w 1035367"/>
                <a:gd name="connsiteY86" fmla="*/ 1552575 h 6842760"/>
                <a:gd name="connsiteX87" fmla="*/ 351473 w 1035367"/>
                <a:gd name="connsiteY87" fmla="*/ 1499235 h 6842760"/>
                <a:gd name="connsiteX88" fmla="*/ 298133 w 1035367"/>
                <a:gd name="connsiteY88" fmla="*/ 1445895 h 6842760"/>
                <a:gd name="connsiteX89" fmla="*/ 244793 w 1035367"/>
                <a:gd name="connsiteY89" fmla="*/ 1499235 h 6842760"/>
                <a:gd name="connsiteX90" fmla="*/ 262890 w 1035367"/>
                <a:gd name="connsiteY90" fmla="*/ 240983 h 6842760"/>
                <a:gd name="connsiteX91" fmla="*/ 298133 w 1035367"/>
                <a:gd name="connsiteY91" fmla="*/ 276225 h 6842760"/>
                <a:gd name="connsiteX92" fmla="*/ 333375 w 1035367"/>
                <a:gd name="connsiteY92" fmla="*/ 240983 h 6842760"/>
                <a:gd name="connsiteX93" fmla="*/ 298133 w 1035367"/>
                <a:gd name="connsiteY93" fmla="*/ 205740 h 6842760"/>
                <a:gd name="connsiteX94" fmla="*/ 262890 w 1035367"/>
                <a:gd name="connsiteY94" fmla="*/ 240983 h 6842760"/>
                <a:gd name="connsiteX95" fmla="*/ 266700 w 1035367"/>
                <a:gd name="connsiteY95" fmla="*/ 31433 h 6842760"/>
                <a:gd name="connsiteX96" fmla="*/ 298133 w 1035367"/>
                <a:gd name="connsiteY96" fmla="*/ 62865 h 6842760"/>
                <a:gd name="connsiteX97" fmla="*/ 329565 w 1035367"/>
                <a:gd name="connsiteY97" fmla="*/ 31433 h 6842760"/>
                <a:gd name="connsiteX98" fmla="*/ 298133 w 1035367"/>
                <a:gd name="connsiteY98" fmla="*/ 0 h 6842760"/>
                <a:gd name="connsiteX99" fmla="*/ 266700 w 1035367"/>
                <a:gd name="connsiteY99" fmla="*/ 31433 h 6842760"/>
                <a:gd name="connsiteX100" fmla="*/ 253365 w 1035367"/>
                <a:gd name="connsiteY100" fmla="*/ 450533 h 6842760"/>
                <a:gd name="connsiteX101" fmla="*/ 297180 w 1035367"/>
                <a:gd name="connsiteY101" fmla="*/ 494348 h 6842760"/>
                <a:gd name="connsiteX102" fmla="*/ 340995 w 1035367"/>
                <a:gd name="connsiteY102" fmla="*/ 450533 h 6842760"/>
                <a:gd name="connsiteX103" fmla="*/ 297180 w 1035367"/>
                <a:gd name="connsiteY103" fmla="*/ 406718 h 6842760"/>
                <a:gd name="connsiteX104" fmla="*/ 253365 w 1035367"/>
                <a:gd name="connsiteY104" fmla="*/ 450533 h 6842760"/>
                <a:gd name="connsiteX105" fmla="*/ 220028 w 1035367"/>
                <a:gd name="connsiteY105" fmla="*/ 1080135 h 6842760"/>
                <a:gd name="connsiteX106" fmla="*/ 298133 w 1035367"/>
                <a:gd name="connsiteY106" fmla="*/ 1158240 h 6842760"/>
                <a:gd name="connsiteX107" fmla="*/ 376238 w 1035367"/>
                <a:gd name="connsiteY107" fmla="*/ 1080135 h 6842760"/>
                <a:gd name="connsiteX108" fmla="*/ 298133 w 1035367"/>
                <a:gd name="connsiteY108" fmla="*/ 1002030 h 6842760"/>
                <a:gd name="connsiteX109" fmla="*/ 220028 w 1035367"/>
                <a:gd name="connsiteY109" fmla="*/ 1080135 h 6842760"/>
                <a:gd name="connsiteX110" fmla="*/ 473393 w 1035367"/>
                <a:gd name="connsiteY110" fmla="*/ 2159318 h 6842760"/>
                <a:gd name="connsiteX111" fmla="*/ 517208 w 1035367"/>
                <a:gd name="connsiteY111" fmla="*/ 2203133 h 6842760"/>
                <a:gd name="connsiteX112" fmla="*/ 561023 w 1035367"/>
                <a:gd name="connsiteY112" fmla="*/ 2159318 h 6842760"/>
                <a:gd name="connsiteX113" fmla="*/ 517208 w 1035367"/>
                <a:gd name="connsiteY113" fmla="*/ 2115503 h 6842760"/>
                <a:gd name="connsiteX114" fmla="*/ 473393 w 1035367"/>
                <a:gd name="connsiteY114" fmla="*/ 2159318 h 6842760"/>
                <a:gd name="connsiteX115" fmla="*/ 464820 w 1035367"/>
                <a:gd name="connsiteY115" fmla="*/ 1946910 h 6842760"/>
                <a:gd name="connsiteX116" fmla="*/ 518160 w 1035367"/>
                <a:gd name="connsiteY116" fmla="*/ 2000250 h 6842760"/>
                <a:gd name="connsiteX117" fmla="*/ 571500 w 1035367"/>
                <a:gd name="connsiteY117" fmla="*/ 1946910 h 6842760"/>
                <a:gd name="connsiteX118" fmla="*/ 518160 w 1035367"/>
                <a:gd name="connsiteY118" fmla="*/ 1893570 h 6842760"/>
                <a:gd name="connsiteX119" fmla="*/ 464820 w 1035367"/>
                <a:gd name="connsiteY119" fmla="*/ 1946910 h 6842760"/>
                <a:gd name="connsiteX120" fmla="*/ 456248 w 1035367"/>
                <a:gd name="connsiteY120" fmla="*/ 1309688 h 6842760"/>
                <a:gd name="connsiteX121" fmla="*/ 518160 w 1035367"/>
                <a:gd name="connsiteY121" fmla="*/ 1371600 h 6842760"/>
                <a:gd name="connsiteX122" fmla="*/ 580073 w 1035367"/>
                <a:gd name="connsiteY122" fmla="*/ 1309688 h 6842760"/>
                <a:gd name="connsiteX123" fmla="*/ 518160 w 1035367"/>
                <a:gd name="connsiteY123" fmla="*/ 1247775 h 6842760"/>
                <a:gd name="connsiteX124" fmla="*/ 456248 w 1035367"/>
                <a:gd name="connsiteY124" fmla="*/ 1309688 h 6842760"/>
                <a:gd name="connsiteX125" fmla="*/ 473393 w 1035367"/>
                <a:gd name="connsiteY125" fmla="*/ 883920 h 6842760"/>
                <a:gd name="connsiteX126" fmla="*/ 517208 w 1035367"/>
                <a:gd name="connsiteY126" fmla="*/ 927735 h 6842760"/>
                <a:gd name="connsiteX127" fmla="*/ 561023 w 1035367"/>
                <a:gd name="connsiteY127" fmla="*/ 883920 h 6842760"/>
                <a:gd name="connsiteX128" fmla="*/ 517208 w 1035367"/>
                <a:gd name="connsiteY128" fmla="*/ 840105 h 6842760"/>
                <a:gd name="connsiteX129" fmla="*/ 473393 w 1035367"/>
                <a:gd name="connsiteY129" fmla="*/ 883920 h 6842760"/>
                <a:gd name="connsiteX130" fmla="*/ 481965 w 1035367"/>
                <a:gd name="connsiteY130" fmla="*/ 671513 h 6842760"/>
                <a:gd name="connsiteX131" fmla="*/ 517208 w 1035367"/>
                <a:gd name="connsiteY131" fmla="*/ 706755 h 6842760"/>
                <a:gd name="connsiteX132" fmla="*/ 552450 w 1035367"/>
                <a:gd name="connsiteY132" fmla="*/ 671513 h 6842760"/>
                <a:gd name="connsiteX133" fmla="*/ 517208 w 1035367"/>
                <a:gd name="connsiteY133" fmla="*/ 636270 h 6842760"/>
                <a:gd name="connsiteX134" fmla="*/ 481965 w 1035367"/>
                <a:gd name="connsiteY134" fmla="*/ 671513 h 6842760"/>
                <a:gd name="connsiteX135" fmla="*/ 456248 w 1035367"/>
                <a:gd name="connsiteY135" fmla="*/ 1734503 h 6842760"/>
                <a:gd name="connsiteX136" fmla="*/ 518160 w 1035367"/>
                <a:gd name="connsiteY136" fmla="*/ 1796415 h 6842760"/>
                <a:gd name="connsiteX137" fmla="*/ 580073 w 1035367"/>
                <a:gd name="connsiteY137" fmla="*/ 1734503 h 6842760"/>
                <a:gd name="connsiteX138" fmla="*/ 518160 w 1035367"/>
                <a:gd name="connsiteY138" fmla="*/ 1672590 h 6842760"/>
                <a:gd name="connsiteX139" fmla="*/ 456248 w 1035367"/>
                <a:gd name="connsiteY139" fmla="*/ 1734503 h 6842760"/>
                <a:gd name="connsiteX140" fmla="*/ 464820 w 1035367"/>
                <a:gd name="connsiteY140" fmla="*/ 1096328 h 6842760"/>
                <a:gd name="connsiteX141" fmla="*/ 518160 w 1035367"/>
                <a:gd name="connsiteY141" fmla="*/ 1149668 h 6842760"/>
                <a:gd name="connsiteX142" fmla="*/ 571500 w 1035367"/>
                <a:gd name="connsiteY142" fmla="*/ 1096328 h 6842760"/>
                <a:gd name="connsiteX143" fmla="*/ 518160 w 1035367"/>
                <a:gd name="connsiteY143" fmla="*/ 1042988 h 6842760"/>
                <a:gd name="connsiteX144" fmla="*/ 464820 w 1035367"/>
                <a:gd name="connsiteY144" fmla="*/ 1096328 h 6842760"/>
                <a:gd name="connsiteX145" fmla="*/ 486728 w 1035367"/>
                <a:gd name="connsiteY145" fmla="*/ 246698 h 6842760"/>
                <a:gd name="connsiteX146" fmla="*/ 518160 w 1035367"/>
                <a:gd name="connsiteY146" fmla="*/ 278130 h 6842760"/>
                <a:gd name="connsiteX147" fmla="*/ 549593 w 1035367"/>
                <a:gd name="connsiteY147" fmla="*/ 246698 h 6842760"/>
                <a:gd name="connsiteX148" fmla="*/ 518160 w 1035367"/>
                <a:gd name="connsiteY148" fmla="*/ 215265 h 6842760"/>
                <a:gd name="connsiteX149" fmla="*/ 486728 w 1035367"/>
                <a:gd name="connsiteY149" fmla="*/ 246698 h 6842760"/>
                <a:gd name="connsiteX150" fmla="*/ 486728 w 1035367"/>
                <a:gd name="connsiteY150" fmla="*/ 33338 h 6842760"/>
                <a:gd name="connsiteX151" fmla="*/ 518160 w 1035367"/>
                <a:gd name="connsiteY151" fmla="*/ 64770 h 6842760"/>
                <a:gd name="connsiteX152" fmla="*/ 549593 w 1035367"/>
                <a:gd name="connsiteY152" fmla="*/ 33338 h 6842760"/>
                <a:gd name="connsiteX153" fmla="*/ 518160 w 1035367"/>
                <a:gd name="connsiteY153" fmla="*/ 1905 h 6842760"/>
                <a:gd name="connsiteX154" fmla="*/ 486728 w 1035367"/>
                <a:gd name="connsiteY154" fmla="*/ 33338 h 6842760"/>
                <a:gd name="connsiteX155" fmla="*/ 486728 w 1035367"/>
                <a:gd name="connsiteY155" fmla="*/ 459105 h 6842760"/>
                <a:gd name="connsiteX156" fmla="*/ 518160 w 1035367"/>
                <a:gd name="connsiteY156" fmla="*/ 490538 h 6842760"/>
                <a:gd name="connsiteX157" fmla="*/ 549593 w 1035367"/>
                <a:gd name="connsiteY157" fmla="*/ 459105 h 6842760"/>
                <a:gd name="connsiteX158" fmla="*/ 518160 w 1035367"/>
                <a:gd name="connsiteY158" fmla="*/ 427673 h 6842760"/>
                <a:gd name="connsiteX159" fmla="*/ 486728 w 1035367"/>
                <a:gd name="connsiteY159" fmla="*/ 459105 h 6842760"/>
                <a:gd name="connsiteX160" fmla="*/ 440055 w 1035367"/>
                <a:gd name="connsiteY160" fmla="*/ 1522095 h 6842760"/>
                <a:gd name="connsiteX161" fmla="*/ 518160 w 1035367"/>
                <a:gd name="connsiteY161" fmla="*/ 1600200 h 6842760"/>
                <a:gd name="connsiteX162" fmla="*/ 596265 w 1035367"/>
                <a:gd name="connsiteY162" fmla="*/ 1522095 h 6842760"/>
                <a:gd name="connsiteX163" fmla="*/ 518160 w 1035367"/>
                <a:gd name="connsiteY163" fmla="*/ 1443990 h 6842760"/>
                <a:gd name="connsiteX164" fmla="*/ 440055 w 1035367"/>
                <a:gd name="connsiteY164" fmla="*/ 1522095 h 6842760"/>
                <a:gd name="connsiteX165" fmla="*/ 659130 w 1035367"/>
                <a:gd name="connsiteY165" fmla="*/ 1128713 h 6842760"/>
                <a:gd name="connsiteX166" fmla="*/ 737235 w 1035367"/>
                <a:gd name="connsiteY166" fmla="*/ 1206818 h 6842760"/>
                <a:gd name="connsiteX167" fmla="*/ 815340 w 1035367"/>
                <a:gd name="connsiteY167" fmla="*/ 1128713 h 6842760"/>
                <a:gd name="connsiteX168" fmla="*/ 737235 w 1035367"/>
                <a:gd name="connsiteY168" fmla="*/ 1050608 h 6842760"/>
                <a:gd name="connsiteX169" fmla="*/ 659130 w 1035367"/>
                <a:gd name="connsiteY169" fmla="*/ 1128713 h 6842760"/>
                <a:gd name="connsiteX170" fmla="*/ 701993 w 1035367"/>
                <a:gd name="connsiteY170" fmla="*/ 2162175 h 6842760"/>
                <a:gd name="connsiteX171" fmla="*/ 740093 w 1035367"/>
                <a:gd name="connsiteY171" fmla="*/ 2194560 h 6842760"/>
                <a:gd name="connsiteX172" fmla="*/ 772478 w 1035367"/>
                <a:gd name="connsiteY172" fmla="*/ 2156460 h 6842760"/>
                <a:gd name="connsiteX173" fmla="*/ 734378 w 1035367"/>
                <a:gd name="connsiteY173" fmla="*/ 2124075 h 6842760"/>
                <a:gd name="connsiteX174" fmla="*/ 701993 w 1035367"/>
                <a:gd name="connsiteY174" fmla="*/ 2162175 h 6842760"/>
                <a:gd name="connsiteX175" fmla="*/ 693420 w 1035367"/>
                <a:gd name="connsiteY175" fmla="*/ 1953578 h 6842760"/>
                <a:gd name="connsiteX176" fmla="*/ 737235 w 1035367"/>
                <a:gd name="connsiteY176" fmla="*/ 1997393 h 6842760"/>
                <a:gd name="connsiteX177" fmla="*/ 781050 w 1035367"/>
                <a:gd name="connsiteY177" fmla="*/ 1953578 h 6842760"/>
                <a:gd name="connsiteX178" fmla="*/ 737235 w 1035367"/>
                <a:gd name="connsiteY178" fmla="*/ 1909763 h 6842760"/>
                <a:gd name="connsiteX179" fmla="*/ 693420 w 1035367"/>
                <a:gd name="connsiteY179" fmla="*/ 1953578 h 6842760"/>
                <a:gd name="connsiteX180" fmla="*/ 675323 w 1035367"/>
                <a:gd name="connsiteY180" fmla="*/ 1541145 h 6842760"/>
                <a:gd name="connsiteX181" fmla="*/ 737235 w 1035367"/>
                <a:gd name="connsiteY181" fmla="*/ 1603058 h 6842760"/>
                <a:gd name="connsiteX182" fmla="*/ 799148 w 1035367"/>
                <a:gd name="connsiteY182" fmla="*/ 1541145 h 6842760"/>
                <a:gd name="connsiteX183" fmla="*/ 737235 w 1035367"/>
                <a:gd name="connsiteY183" fmla="*/ 1479233 h 6842760"/>
                <a:gd name="connsiteX184" fmla="*/ 675323 w 1035367"/>
                <a:gd name="connsiteY184" fmla="*/ 1541145 h 6842760"/>
                <a:gd name="connsiteX185" fmla="*/ 684848 w 1035367"/>
                <a:gd name="connsiteY185" fmla="*/ 716280 h 6842760"/>
                <a:gd name="connsiteX186" fmla="*/ 738188 w 1035367"/>
                <a:gd name="connsiteY186" fmla="*/ 769620 h 6842760"/>
                <a:gd name="connsiteX187" fmla="*/ 791528 w 1035367"/>
                <a:gd name="connsiteY187" fmla="*/ 716280 h 6842760"/>
                <a:gd name="connsiteX188" fmla="*/ 738188 w 1035367"/>
                <a:gd name="connsiteY188" fmla="*/ 662940 h 6842760"/>
                <a:gd name="connsiteX189" fmla="*/ 684848 w 1035367"/>
                <a:gd name="connsiteY189" fmla="*/ 716280 h 6842760"/>
                <a:gd name="connsiteX190" fmla="*/ 693420 w 1035367"/>
                <a:gd name="connsiteY190" fmla="*/ 510540 h 6842760"/>
                <a:gd name="connsiteX191" fmla="*/ 737235 w 1035367"/>
                <a:gd name="connsiteY191" fmla="*/ 554355 h 6842760"/>
                <a:gd name="connsiteX192" fmla="*/ 781050 w 1035367"/>
                <a:gd name="connsiteY192" fmla="*/ 510540 h 6842760"/>
                <a:gd name="connsiteX193" fmla="*/ 737235 w 1035367"/>
                <a:gd name="connsiteY193" fmla="*/ 466725 h 6842760"/>
                <a:gd name="connsiteX194" fmla="*/ 693420 w 1035367"/>
                <a:gd name="connsiteY194" fmla="*/ 510540 h 6842760"/>
                <a:gd name="connsiteX195" fmla="*/ 684848 w 1035367"/>
                <a:gd name="connsiteY195" fmla="*/ 1746885 h 6842760"/>
                <a:gd name="connsiteX196" fmla="*/ 738188 w 1035367"/>
                <a:gd name="connsiteY196" fmla="*/ 1800225 h 6842760"/>
                <a:gd name="connsiteX197" fmla="*/ 791528 w 1035367"/>
                <a:gd name="connsiteY197" fmla="*/ 1746885 h 6842760"/>
                <a:gd name="connsiteX198" fmla="*/ 738188 w 1035367"/>
                <a:gd name="connsiteY198" fmla="*/ 1693545 h 6842760"/>
                <a:gd name="connsiteX199" fmla="*/ 684848 w 1035367"/>
                <a:gd name="connsiteY199" fmla="*/ 1746885 h 6842760"/>
                <a:gd name="connsiteX200" fmla="*/ 675323 w 1035367"/>
                <a:gd name="connsiteY200" fmla="*/ 922973 h 6842760"/>
                <a:gd name="connsiteX201" fmla="*/ 737235 w 1035367"/>
                <a:gd name="connsiteY201" fmla="*/ 984885 h 6842760"/>
                <a:gd name="connsiteX202" fmla="*/ 799148 w 1035367"/>
                <a:gd name="connsiteY202" fmla="*/ 922973 h 6842760"/>
                <a:gd name="connsiteX203" fmla="*/ 737235 w 1035367"/>
                <a:gd name="connsiteY203" fmla="*/ 861060 h 6842760"/>
                <a:gd name="connsiteX204" fmla="*/ 675323 w 1035367"/>
                <a:gd name="connsiteY204" fmla="*/ 922973 h 6842760"/>
                <a:gd name="connsiteX205" fmla="*/ 706755 w 1035367"/>
                <a:gd name="connsiteY205" fmla="*/ 98108 h 6842760"/>
                <a:gd name="connsiteX206" fmla="*/ 738188 w 1035367"/>
                <a:gd name="connsiteY206" fmla="*/ 129540 h 6842760"/>
                <a:gd name="connsiteX207" fmla="*/ 769620 w 1035367"/>
                <a:gd name="connsiteY207" fmla="*/ 98108 h 6842760"/>
                <a:gd name="connsiteX208" fmla="*/ 737235 w 1035367"/>
                <a:gd name="connsiteY208" fmla="*/ 66675 h 6842760"/>
                <a:gd name="connsiteX209" fmla="*/ 706755 w 1035367"/>
                <a:gd name="connsiteY209" fmla="*/ 98108 h 6842760"/>
                <a:gd name="connsiteX210" fmla="*/ 701993 w 1035367"/>
                <a:gd name="connsiteY210" fmla="*/ 303848 h 6842760"/>
                <a:gd name="connsiteX211" fmla="*/ 737235 w 1035367"/>
                <a:gd name="connsiteY211" fmla="*/ 339090 h 6842760"/>
                <a:gd name="connsiteX212" fmla="*/ 772478 w 1035367"/>
                <a:gd name="connsiteY212" fmla="*/ 303848 h 6842760"/>
                <a:gd name="connsiteX213" fmla="*/ 737235 w 1035367"/>
                <a:gd name="connsiteY213" fmla="*/ 268605 h 6842760"/>
                <a:gd name="connsiteX214" fmla="*/ 701993 w 1035367"/>
                <a:gd name="connsiteY214" fmla="*/ 303848 h 6842760"/>
                <a:gd name="connsiteX215" fmla="*/ 659130 w 1035367"/>
                <a:gd name="connsiteY215" fmla="*/ 1335405 h 6842760"/>
                <a:gd name="connsiteX216" fmla="*/ 737235 w 1035367"/>
                <a:gd name="connsiteY216" fmla="*/ 1413510 h 6842760"/>
                <a:gd name="connsiteX217" fmla="*/ 815340 w 1035367"/>
                <a:gd name="connsiteY217" fmla="*/ 1335405 h 6842760"/>
                <a:gd name="connsiteX218" fmla="*/ 737235 w 1035367"/>
                <a:gd name="connsiteY218" fmla="*/ 1257300 h 6842760"/>
                <a:gd name="connsiteX219" fmla="*/ 659130 w 1035367"/>
                <a:gd name="connsiteY219" fmla="*/ 1335405 h 6842760"/>
                <a:gd name="connsiteX220" fmla="*/ 925830 w 1035367"/>
                <a:gd name="connsiteY220" fmla="*/ 2159318 h 6842760"/>
                <a:gd name="connsiteX221" fmla="*/ 957263 w 1035367"/>
                <a:gd name="connsiteY221" fmla="*/ 2190750 h 6842760"/>
                <a:gd name="connsiteX222" fmla="*/ 988695 w 1035367"/>
                <a:gd name="connsiteY222" fmla="*/ 2159318 h 6842760"/>
                <a:gd name="connsiteX223" fmla="*/ 957263 w 1035367"/>
                <a:gd name="connsiteY223" fmla="*/ 2127885 h 6842760"/>
                <a:gd name="connsiteX224" fmla="*/ 925830 w 1035367"/>
                <a:gd name="connsiteY224" fmla="*/ 2159318 h 6842760"/>
                <a:gd name="connsiteX225" fmla="*/ 922020 w 1035367"/>
                <a:gd name="connsiteY225" fmla="*/ 1918335 h 6842760"/>
                <a:gd name="connsiteX226" fmla="*/ 957263 w 1035367"/>
                <a:gd name="connsiteY226" fmla="*/ 1953578 h 6842760"/>
                <a:gd name="connsiteX227" fmla="*/ 992505 w 1035367"/>
                <a:gd name="connsiteY227" fmla="*/ 1918335 h 6842760"/>
                <a:gd name="connsiteX228" fmla="*/ 957263 w 1035367"/>
                <a:gd name="connsiteY228" fmla="*/ 1883093 h 6842760"/>
                <a:gd name="connsiteX229" fmla="*/ 922020 w 1035367"/>
                <a:gd name="connsiteY229" fmla="*/ 1918335 h 6842760"/>
                <a:gd name="connsiteX230" fmla="*/ 895350 w 1035367"/>
                <a:gd name="connsiteY230" fmla="*/ 1289685 h 6842760"/>
                <a:gd name="connsiteX231" fmla="*/ 957263 w 1035367"/>
                <a:gd name="connsiteY231" fmla="*/ 1351598 h 6842760"/>
                <a:gd name="connsiteX232" fmla="*/ 1019175 w 1035367"/>
                <a:gd name="connsiteY232" fmla="*/ 1289685 h 6842760"/>
                <a:gd name="connsiteX233" fmla="*/ 957263 w 1035367"/>
                <a:gd name="connsiteY233" fmla="*/ 1227773 h 6842760"/>
                <a:gd name="connsiteX234" fmla="*/ 895350 w 1035367"/>
                <a:gd name="connsiteY234" fmla="*/ 1289685 h 6842760"/>
                <a:gd name="connsiteX235" fmla="*/ 895350 w 1035367"/>
                <a:gd name="connsiteY235" fmla="*/ 869633 h 6842760"/>
                <a:gd name="connsiteX236" fmla="*/ 957263 w 1035367"/>
                <a:gd name="connsiteY236" fmla="*/ 931545 h 6842760"/>
                <a:gd name="connsiteX237" fmla="*/ 1019175 w 1035367"/>
                <a:gd name="connsiteY237" fmla="*/ 869633 h 6842760"/>
                <a:gd name="connsiteX238" fmla="*/ 957263 w 1035367"/>
                <a:gd name="connsiteY238" fmla="*/ 807720 h 6842760"/>
                <a:gd name="connsiteX239" fmla="*/ 895350 w 1035367"/>
                <a:gd name="connsiteY239" fmla="*/ 869633 h 6842760"/>
                <a:gd name="connsiteX240" fmla="*/ 903923 w 1035367"/>
                <a:gd name="connsiteY240" fmla="*/ 660083 h 6842760"/>
                <a:gd name="connsiteX241" fmla="*/ 957263 w 1035367"/>
                <a:gd name="connsiteY241" fmla="*/ 713423 h 6842760"/>
                <a:gd name="connsiteX242" fmla="*/ 1010603 w 1035367"/>
                <a:gd name="connsiteY242" fmla="*/ 660083 h 6842760"/>
                <a:gd name="connsiteX243" fmla="*/ 957263 w 1035367"/>
                <a:gd name="connsiteY243" fmla="*/ 606743 h 6842760"/>
                <a:gd name="connsiteX244" fmla="*/ 903923 w 1035367"/>
                <a:gd name="connsiteY244" fmla="*/ 660083 h 6842760"/>
                <a:gd name="connsiteX245" fmla="*/ 913448 w 1035367"/>
                <a:gd name="connsiteY245" fmla="*/ 1708785 h 6842760"/>
                <a:gd name="connsiteX246" fmla="*/ 957263 w 1035367"/>
                <a:gd name="connsiteY246" fmla="*/ 1752600 h 6842760"/>
                <a:gd name="connsiteX247" fmla="*/ 1001078 w 1035367"/>
                <a:gd name="connsiteY247" fmla="*/ 1708785 h 6842760"/>
                <a:gd name="connsiteX248" fmla="*/ 957263 w 1035367"/>
                <a:gd name="connsiteY248" fmla="*/ 1664970 h 6842760"/>
                <a:gd name="connsiteX249" fmla="*/ 913448 w 1035367"/>
                <a:gd name="connsiteY249" fmla="*/ 1708785 h 6842760"/>
                <a:gd name="connsiteX250" fmla="*/ 903923 w 1035367"/>
                <a:gd name="connsiteY250" fmla="*/ 1499235 h 6842760"/>
                <a:gd name="connsiteX251" fmla="*/ 957263 w 1035367"/>
                <a:gd name="connsiteY251" fmla="*/ 1552575 h 6842760"/>
                <a:gd name="connsiteX252" fmla="*/ 1010603 w 1035367"/>
                <a:gd name="connsiteY252" fmla="*/ 1499235 h 6842760"/>
                <a:gd name="connsiteX253" fmla="*/ 957263 w 1035367"/>
                <a:gd name="connsiteY253" fmla="*/ 1445895 h 6842760"/>
                <a:gd name="connsiteX254" fmla="*/ 903923 w 1035367"/>
                <a:gd name="connsiteY254" fmla="*/ 1499235 h 6842760"/>
                <a:gd name="connsiteX255" fmla="*/ 922020 w 1035367"/>
                <a:gd name="connsiteY255" fmla="*/ 240983 h 6842760"/>
                <a:gd name="connsiteX256" fmla="*/ 957263 w 1035367"/>
                <a:gd name="connsiteY256" fmla="*/ 276225 h 6842760"/>
                <a:gd name="connsiteX257" fmla="*/ 992505 w 1035367"/>
                <a:gd name="connsiteY257" fmla="*/ 240983 h 6842760"/>
                <a:gd name="connsiteX258" fmla="*/ 957263 w 1035367"/>
                <a:gd name="connsiteY258" fmla="*/ 205740 h 6842760"/>
                <a:gd name="connsiteX259" fmla="*/ 922020 w 1035367"/>
                <a:gd name="connsiteY259" fmla="*/ 240983 h 6842760"/>
                <a:gd name="connsiteX260" fmla="*/ 925830 w 1035367"/>
                <a:gd name="connsiteY260" fmla="*/ 31433 h 6842760"/>
                <a:gd name="connsiteX261" fmla="*/ 957263 w 1035367"/>
                <a:gd name="connsiteY261" fmla="*/ 62865 h 6842760"/>
                <a:gd name="connsiteX262" fmla="*/ 988695 w 1035367"/>
                <a:gd name="connsiteY262" fmla="*/ 31433 h 6842760"/>
                <a:gd name="connsiteX263" fmla="*/ 957263 w 1035367"/>
                <a:gd name="connsiteY263" fmla="*/ 0 h 6842760"/>
                <a:gd name="connsiteX264" fmla="*/ 925830 w 1035367"/>
                <a:gd name="connsiteY264" fmla="*/ 31433 h 6842760"/>
                <a:gd name="connsiteX265" fmla="*/ 913448 w 1035367"/>
                <a:gd name="connsiteY265" fmla="*/ 450533 h 6842760"/>
                <a:gd name="connsiteX266" fmla="*/ 957263 w 1035367"/>
                <a:gd name="connsiteY266" fmla="*/ 494348 h 6842760"/>
                <a:gd name="connsiteX267" fmla="*/ 1001078 w 1035367"/>
                <a:gd name="connsiteY267" fmla="*/ 450533 h 6842760"/>
                <a:gd name="connsiteX268" fmla="*/ 957263 w 1035367"/>
                <a:gd name="connsiteY268" fmla="*/ 406718 h 6842760"/>
                <a:gd name="connsiteX269" fmla="*/ 913448 w 1035367"/>
                <a:gd name="connsiteY269" fmla="*/ 450533 h 6842760"/>
                <a:gd name="connsiteX270" fmla="*/ 879158 w 1035367"/>
                <a:gd name="connsiteY270" fmla="*/ 1080135 h 6842760"/>
                <a:gd name="connsiteX271" fmla="*/ 957263 w 1035367"/>
                <a:gd name="connsiteY271" fmla="*/ 1158240 h 6842760"/>
                <a:gd name="connsiteX272" fmla="*/ 1035368 w 1035367"/>
                <a:gd name="connsiteY272" fmla="*/ 1080135 h 6842760"/>
                <a:gd name="connsiteX273" fmla="*/ 957263 w 1035367"/>
                <a:gd name="connsiteY273" fmla="*/ 1002030 h 6842760"/>
                <a:gd name="connsiteX274" fmla="*/ 879158 w 1035367"/>
                <a:gd name="connsiteY274" fmla="*/ 1080135 h 6842760"/>
                <a:gd name="connsiteX275" fmla="*/ 244793 w 1035367"/>
                <a:gd name="connsiteY275" fmla="*/ 6789420 h 6842760"/>
                <a:gd name="connsiteX276" fmla="*/ 298133 w 1035367"/>
                <a:gd name="connsiteY276" fmla="*/ 6842760 h 6842760"/>
                <a:gd name="connsiteX277" fmla="*/ 351473 w 1035367"/>
                <a:gd name="connsiteY277" fmla="*/ 6789420 h 6842760"/>
                <a:gd name="connsiteX278" fmla="*/ 298133 w 1035367"/>
                <a:gd name="connsiteY278" fmla="*/ 6736080 h 6842760"/>
                <a:gd name="connsiteX279" fmla="*/ 244793 w 1035367"/>
                <a:gd name="connsiteY279" fmla="*/ 6789420 h 6842760"/>
                <a:gd name="connsiteX280" fmla="*/ 236220 w 1035367"/>
                <a:gd name="connsiteY280" fmla="*/ 6548438 h 6842760"/>
                <a:gd name="connsiteX281" fmla="*/ 298133 w 1035367"/>
                <a:gd name="connsiteY281" fmla="*/ 6610350 h 6842760"/>
                <a:gd name="connsiteX282" fmla="*/ 360045 w 1035367"/>
                <a:gd name="connsiteY282" fmla="*/ 6548438 h 6842760"/>
                <a:gd name="connsiteX283" fmla="*/ 298133 w 1035367"/>
                <a:gd name="connsiteY283" fmla="*/ 6486525 h 6842760"/>
                <a:gd name="connsiteX284" fmla="*/ 236220 w 1035367"/>
                <a:gd name="connsiteY284" fmla="*/ 6548438 h 6842760"/>
                <a:gd name="connsiteX285" fmla="*/ 244793 w 1035367"/>
                <a:gd name="connsiteY285" fmla="*/ 5918835 h 6842760"/>
                <a:gd name="connsiteX286" fmla="*/ 298133 w 1035367"/>
                <a:gd name="connsiteY286" fmla="*/ 5972175 h 6842760"/>
                <a:gd name="connsiteX287" fmla="*/ 351473 w 1035367"/>
                <a:gd name="connsiteY287" fmla="*/ 5918835 h 6842760"/>
                <a:gd name="connsiteX288" fmla="*/ 298133 w 1035367"/>
                <a:gd name="connsiteY288" fmla="*/ 5865495 h 6842760"/>
                <a:gd name="connsiteX289" fmla="*/ 244793 w 1035367"/>
                <a:gd name="connsiteY289" fmla="*/ 5918835 h 6842760"/>
                <a:gd name="connsiteX290" fmla="*/ 262890 w 1035367"/>
                <a:gd name="connsiteY290" fmla="*/ 5499735 h 6842760"/>
                <a:gd name="connsiteX291" fmla="*/ 298133 w 1035367"/>
                <a:gd name="connsiteY291" fmla="*/ 5534978 h 6842760"/>
                <a:gd name="connsiteX292" fmla="*/ 333375 w 1035367"/>
                <a:gd name="connsiteY292" fmla="*/ 5499735 h 6842760"/>
                <a:gd name="connsiteX293" fmla="*/ 298133 w 1035367"/>
                <a:gd name="connsiteY293" fmla="*/ 5464493 h 6842760"/>
                <a:gd name="connsiteX294" fmla="*/ 262890 w 1035367"/>
                <a:gd name="connsiteY294" fmla="*/ 5499735 h 6842760"/>
                <a:gd name="connsiteX295" fmla="*/ 266700 w 1035367"/>
                <a:gd name="connsiteY295" fmla="*/ 5290185 h 6842760"/>
                <a:gd name="connsiteX296" fmla="*/ 298133 w 1035367"/>
                <a:gd name="connsiteY296" fmla="*/ 5321618 h 6842760"/>
                <a:gd name="connsiteX297" fmla="*/ 329565 w 1035367"/>
                <a:gd name="connsiteY297" fmla="*/ 5290185 h 6842760"/>
                <a:gd name="connsiteX298" fmla="*/ 298133 w 1035367"/>
                <a:gd name="connsiteY298" fmla="*/ 5258753 h 6842760"/>
                <a:gd name="connsiteX299" fmla="*/ 266700 w 1035367"/>
                <a:gd name="connsiteY299" fmla="*/ 5290185 h 6842760"/>
                <a:gd name="connsiteX300" fmla="*/ 236220 w 1035367"/>
                <a:gd name="connsiteY300" fmla="*/ 6129338 h 6842760"/>
                <a:gd name="connsiteX301" fmla="*/ 298133 w 1035367"/>
                <a:gd name="connsiteY301" fmla="*/ 6191250 h 6842760"/>
                <a:gd name="connsiteX302" fmla="*/ 360045 w 1035367"/>
                <a:gd name="connsiteY302" fmla="*/ 6129338 h 6842760"/>
                <a:gd name="connsiteX303" fmla="*/ 298133 w 1035367"/>
                <a:gd name="connsiteY303" fmla="*/ 6067425 h 6842760"/>
                <a:gd name="connsiteX304" fmla="*/ 236220 w 1035367"/>
                <a:gd name="connsiteY304" fmla="*/ 6129338 h 6842760"/>
                <a:gd name="connsiteX305" fmla="*/ 253365 w 1035367"/>
                <a:gd name="connsiteY305" fmla="*/ 5709285 h 6842760"/>
                <a:gd name="connsiteX306" fmla="*/ 297180 w 1035367"/>
                <a:gd name="connsiteY306" fmla="*/ 5753100 h 6842760"/>
                <a:gd name="connsiteX307" fmla="*/ 340995 w 1035367"/>
                <a:gd name="connsiteY307" fmla="*/ 5709285 h 6842760"/>
                <a:gd name="connsiteX308" fmla="*/ 297180 w 1035367"/>
                <a:gd name="connsiteY308" fmla="*/ 5665470 h 6842760"/>
                <a:gd name="connsiteX309" fmla="*/ 253365 w 1035367"/>
                <a:gd name="connsiteY309" fmla="*/ 5709285 h 6842760"/>
                <a:gd name="connsiteX310" fmla="*/ 266700 w 1035367"/>
                <a:gd name="connsiteY310" fmla="*/ 4871085 h 6842760"/>
                <a:gd name="connsiteX311" fmla="*/ 298133 w 1035367"/>
                <a:gd name="connsiteY311" fmla="*/ 4902518 h 6842760"/>
                <a:gd name="connsiteX312" fmla="*/ 329565 w 1035367"/>
                <a:gd name="connsiteY312" fmla="*/ 4871085 h 6842760"/>
                <a:gd name="connsiteX313" fmla="*/ 298133 w 1035367"/>
                <a:gd name="connsiteY313" fmla="*/ 4839653 h 6842760"/>
                <a:gd name="connsiteX314" fmla="*/ 266700 w 1035367"/>
                <a:gd name="connsiteY314" fmla="*/ 4871085 h 6842760"/>
                <a:gd name="connsiteX315" fmla="*/ 266700 w 1035367"/>
                <a:gd name="connsiteY315" fmla="*/ 4660583 h 6842760"/>
                <a:gd name="connsiteX316" fmla="*/ 298133 w 1035367"/>
                <a:gd name="connsiteY316" fmla="*/ 4692015 h 6842760"/>
                <a:gd name="connsiteX317" fmla="*/ 329565 w 1035367"/>
                <a:gd name="connsiteY317" fmla="*/ 4660583 h 6842760"/>
                <a:gd name="connsiteX318" fmla="*/ 298133 w 1035367"/>
                <a:gd name="connsiteY318" fmla="*/ 4629150 h 6842760"/>
                <a:gd name="connsiteX319" fmla="*/ 266700 w 1035367"/>
                <a:gd name="connsiteY319" fmla="*/ 4660583 h 6842760"/>
                <a:gd name="connsiteX320" fmla="*/ 266700 w 1035367"/>
                <a:gd name="connsiteY320" fmla="*/ 5080635 h 6842760"/>
                <a:gd name="connsiteX321" fmla="*/ 298133 w 1035367"/>
                <a:gd name="connsiteY321" fmla="*/ 5112068 h 6842760"/>
                <a:gd name="connsiteX322" fmla="*/ 329565 w 1035367"/>
                <a:gd name="connsiteY322" fmla="*/ 5080635 h 6842760"/>
                <a:gd name="connsiteX323" fmla="*/ 298133 w 1035367"/>
                <a:gd name="connsiteY323" fmla="*/ 5049203 h 6842760"/>
                <a:gd name="connsiteX324" fmla="*/ 266700 w 1035367"/>
                <a:gd name="connsiteY324" fmla="*/ 5080635 h 6842760"/>
                <a:gd name="connsiteX325" fmla="*/ 220028 w 1035367"/>
                <a:gd name="connsiteY325" fmla="*/ 6338888 h 6842760"/>
                <a:gd name="connsiteX326" fmla="*/ 298133 w 1035367"/>
                <a:gd name="connsiteY326" fmla="*/ 6416993 h 6842760"/>
                <a:gd name="connsiteX327" fmla="*/ 376238 w 1035367"/>
                <a:gd name="connsiteY327" fmla="*/ 6338888 h 6842760"/>
                <a:gd name="connsiteX328" fmla="*/ 298133 w 1035367"/>
                <a:gd name="connsiteY328" fmla="*/ 6260783 h 6842760"/>
                <a:gd name="connsiteX329" fmla="*/ 220028 w 1035367"/>
                <a:gd name="connsiteY329" fmla="*/ 6338888 h 6842760"/>
                <a:gd name="connsiteX330" fmla="*/ 46673 w 1035367"/>
                <a:gd name="connsiteY330" fmla="*/ 4428173 h 6842760"/>
                <a:gd name="connsiteX331" fmla="*/ 78105 w 1035367"/>
                <a:gd name="connsiteY331" fmla="*/ 4459605 h 6842760"/>
                <a:gd name="connsiteX332" fmla="*/ 109538 w 1035367"/>
                <a:gd name="connsiteY332" fmla="*/ 4428173 h 6842760"/>
                <a:gd name="connsiteX333" fmla="*/ 78105 w 1035367"/>
                <a:gd name="connsiteY333" fmla="*/ 4396740 h 6842760"/>
                <a:gd name="connsiteX334" fmla="*/ 46673 w 1035367"/>
                <a:gd name="connsiteY334" fmla="*/ 4428173 h 6842760"/>
                <a:gd name="connsiteX335" fmla="*/ 46673 w 1035367"/>
                <a:gd name="connsiteY335" fmla="*/ 4222433 h 6842760"/>
                <a:gd name="connsiteX336" fmla="*/ 78105 w 1035367"/>
                <a:gd name="connsiteY336" fmla="*/ 4253865 h 6842760"/>
                <a:gd name="connsiteX337" fmla="*/ 109538 w 1035367"/>
                <a:gd name="connsiteY337" fmla="*/ 4222433 h 6842760"/>
                <a:gd name="connsiteX338" fmla="*/ 78105 w 1035367"/>
                <a:gd name="connsiteY338" fmla="*/ 4191000 h 6842760"/>
                <a:gd name="connsiteX339" fmla="*/ 46673 w 1035367"/>
                <a:gd name="connsiteY339" fmla="*/ 4222433 h 6842760"/>
                <a:gd name="connsiteX340" fmla="*/ 34290 w 1035367"/>
                <a:gd name="connsiteY340" fmla="*/ 3604260 h 6842760"/>
                <a:gd name="connsiteX341" fmla="*/ 78105 w 1035367"/>
                <a:gd name="connsiteY341" fmla="*/ 3648075 h 6842760"/>
                <a:gd name="connsiteX342" fmla="*/ 121920 w 1035367"/>
                <a:gd name="connsiteY342" fmla="*/ 3604260 h 6842760"/>
                <a:gd name="connsiteX343" fmla="*/ 78105 w 1035367"/>
                <a:gd name="connsiteY343" fmla="*/ 3560445 h 6842760"/>
                <a:gd name="connsiteX344" fmla="*/ 34290 w 1035367"/>
                <a:gd name="connsiteY344" fmla="*/ 3604260 h 6842760"/>
                <a:gd name="connsiteX345" fmla="*/ 24765 w 1035367"/>
                <a:gd name="connsiteY345" fmla="*/ 3397568 h 6842760"/>
                <a:gd name="connsiteX346" fmla="*/ 78105 w 1035367"/>
                <a:gd name="connsiteY346" fmla="*/ 3450908 h 6842760"/>
                <a:gd name="connsiteX347" fmla="*/ 131445 w 1035367"/>
                <a:gd name="connsiteY347" fmla="*/ 3397568 h 6842760"/>
                <a:gd name="connsiteX348" fmla="*/ 78105 w 1035367"/>
                <a:gd name="connsiteY348" fmla="*/ 3344228 h 6842760"/>
                <a:gd name="connsiteX349" fmla="*/ 24765 w 1035367"/>
                <a:gd name="connsiteY349" fmla="*/ 3397568 h 6842760"/>
                <a:gd name="connsiteX350" fmla="*/ 16193 w 1035367"/>
                <a:gd name="connsiteY350" fmla="*/ 3191828 h 6842760"/>
                <a:gd name="connsiteX351" fmla="*/ 78105 w 1035367"/>
                <a:gd name="connsiteY351" fmla="*/ 3253740 h 6842760"/>
                <a:gd name="connsiteX352" fmla="*/ 140018 w 1035367"/>
                <a:gd name="connsiteY352" fmla="*/ 3191828 h 6842760"/>
                <a:gd name="connsiteX353" fmla="*/ 78105 w 1035367"/>
                <a:gd name="connsiteY353" fmla="*/ 3129915 h 6842760"/>
                <a:gd name="connsiteX354" fmla="*/ 16193 w 1035367"/>
                <a:gd name="connsiteY354" fmla="*/ 3191828 h 6842760"/>
                <a:gd name="connsiteX355" fmla="*/ 46673 w 1035367"/>
                <a:gd name="connsiteY355" fmla="*/ 4016693 h 6842760"/>
                <a:gd name="connsiteX356" fmla="*/ 78105 w 1035367"/>
                <a:gd name="connsiteY356" fmla="*/ 4048125 h 6842760"/>
                <a:gd name="connsiteX357" fmla="*/ 109538 w 1035367"/>
                <a:gd name="connsiteY357" fmla="*/ 4016693 h 6842760"/>
                <a:gd name="connsiteX358" fmla="*/ 78105 w 1035367"/>
                <a:gd name="connsiteY358" fmla="*/ 3985260 h 6842760"/>
                <a:gd name="connsiteX359" fmla="*/ 46673 w 1035367"/>
                <a:gd name="connsiteY359" fmla="*/ 4016693 h 6842760"/>
                <a:gd name="connsiteX360" fmla="*/ 42863 w 1035367"/>
                <a:gd name="connsiteY360" fmla="*/ 3810000 h 6842760"/>
                <a:gd name="connsiteX361" fmla="*/ 78105 w 1035367"/>
                <a:gd name="connsiteY361" fmla="*/ 3845243 h 6842760"/>
                <a:gd name="connsiteX362" fmla="*/ 113348 w 1035367"/>
                <a:gd name="connsiteY362" fmla="*/ 3810000 h 6842760"/>
                <a:gd name="connsiteX363" fmla="*/ 78105 w 1035367"/>
                <a:gd name="connsiteY363" fmla="*/ 3774758 h 6842760"/>
                <a:gd name="connsiteX364" fmla="*/ 42863 w 1035367"/>
                <a:gd name="connsiteY364" fmla="*/ 3810000 h 6842760"/>
                <a:gd name="connsiteX365" fmla="*/ 24765 w 1035367"/>
                <a:gd name="connsiteY365" fmla="*/ 2573655 h 6842760"/>
                <a:gd name="connsiteX366" fmla="*/ 78105 w 1035367"/>
                <a:gd name="connsiteY366" fmla="*/ 2626995 h 6842760"/>
                <a:gd name="connsiteX367" fmla="*/ 131445 w 1035367"/>
                <a:gd name="connsiteY367" fmla="*/ 2573655 h 6842760"/>
                <a:gd name="connsiteX368" fmla="*/ 78105 w 1035367"/>
                <a:gd name="connsiteY368" fmla="*/ 2520315 h 6842760"/>
                <a:gd name="connsiteX369" fmla="*/ 24765 w 1035367"/>
                <a:gd name="connsiteY369" fmla="*/ 2573655 h 6842760"/>
                <a:gd name="connsiteX370" fmla="*/ 34290 w 1035367"/>
                <a:gd name="connsiteY370" fmla="*/ 2366963 h 6842760"/>
                <a:gd name="connsiteX371" fmla="*/ 78105 w 1035367"/>
                <a:gd name="connsiteY371" fmla="*/ 2410778 h 6842760"/>
                <a:gd name="connsiteX372" fmla="*/ 121920 w 1035367"/>
                <a:gd name="connsiteY372" fmla="*/ 2366963 h 6842760"/>
                <a:gd name="connsiteX373" fmla="*/ 78105 w 1035367"/>
                <a:gd name="connsiteY373" fmla="*/ 2323148 h 6842760"/>
                <a:gd name="connsiteX374" fmla="*/ 34290 w 1035367"/>
                <a:gd name="connsiteY374" fmla="*/ 2366963 h 6842760"/>
                <a:gd name="connsiteX375" fmla="*/ 16193 w 1035367"/>
                <a:gd name="connsiteY375" fmla="*/ 2779395 h 6842760"/>
                <a:gd name="connsiteX376" fmla="*/ 78105 w 1035367"/>
                <a:gd name="connsiteY376" fmla="*/ 2841308 h 6842760"/>
                <a:gd name="connsiteX377" fmla="*/ 140018 w 1035367"/>
                <a:gd name="connsiteY377" fmla="*/ 2779395 h 6842760"/>
                <a:gd name="connsiteX378" fmla="*/ 78105 w 1035367"/>
                <a:gd name="connsiteY378" fmla="*/ 2717483 h 6842760"/>
                <a:gd name="connsiteX379" fmla="*/ 16193 w 1035367"/>
                <a:gd name="connsiteY379" fmla="*/ 2779395 h 6842760"/>
                <a:gd name="connsiteX380" fmla="*/ 0 w 1035367"/>
                <a:gd name="connsiteY380" fmla="*/ 2985135 h 6842760"/>
                <a:gd name="connsiteX381" fmla="*/ 78105 w 1035367"/>
                <a:gd name="connsiteY381" fmla="*/ 3063240 h 6842760"/>
                <a:gd name="connsiteX382" fmla="*/ 156210 w 1035367"/>
                <a:gd name="connsiteY382" fmla="*/ 2985135 h 6842760"/>
                <a:gd name="connsiteX383" fmla="*/ 78105 w 1035367"/>
                <a:gd name="connsiteY383" fmla="*/ 2907030 h 6842760"/>
                <a:gd name="connsiteX384" fmla="*/ 0 w 1035367"/>
                <a:gd name="connsiteY384" fmla="*/ 2985135 h 6842760"/>
                <a:gd name="connsiteX385" fmla="*/ 266700 w 1035367"/>
                <a:gd name="connsiteY385" fmla="*/ 4495800 h 6842760"/>
                <a:gd name="connsiteX386" fmla="*/ 298133 w 1035367"/>
                <a:gd name="connsiteY386" fmla="*/ 4527233 h 6842760"/>
                <a:gd name="connsiteX387" fmla="*/ 329565 w 1035367"/>
                <a:gd name="connsiteY387" fmla="*/ 4495800 h 6842760"/>
                <a:gd name="connsiteX388" fmla="*/ 298133 w 1035367"/>
                <a:gd name="connsiteY388" fmla="*/ 4464368 h 6842760"/>
                <a:gd name="connsiteX389" fmla="*/ 266700 w 1035367"/>
                <a:gd name="connsiteY389" fmla="*/ 4495800 h 6842760"/>
                <a:gd name="connsiteX390" fmla="*/ 266700 w 1035367"/>
                <a:gd name="connsiteY390" fmla="*/ 4254818 h 6842760"/>
                <a:gd name="connsiteX391" fmla="*/ 298133 w 1035367"/>
                <a:gd name="connsiteY391" fmla="*/ 4286250 h 6842760"/>
                <a:gd name="connsiteX392" fmla="*/ 329565 w 1035367"/>
                <a:gd name="connsiteY392" fmla="*/ 4254818 h 6842760"/>
                <a:gd name="connsiteX393" fmla="*/ 298133 w 1035367"/>
                <a:gd name="connsiteY393" fmla="*/ 4223385 h 6842760"/>
                <a:gd name="connsiteX394" fmla="*/ 266700 w 1035367"/>
                <a:gd name="connsiteY394" fmla="*/ 4254818 h 6842760"/>
                <a:gd name="connsiteX395" fmla="*/ 262890 w 1035367"/>
                <a:gd name="connsiteY395" fmla="*/ 3625215 h 6842760"/>
                <a:gd name="connsiteX396" fmla="*/ 298133 w 1035367"/>
                <a:gd name="connsiteY396" fmla="*/ 3660458 h 6842760"/>
                <a:gd name="connsiteX397" fmla="*/ 333375 w 1035367"/>
                <a:gd name="connsiteY397" fmla="*/ 3625215 h 6842760"/>
                <a:gd name="connsiteX398" fmla="*/ 298133 w 1035367"/>
                <a:gd name="connsiteY398" fmla="*/ 3589973 h 6842760"/>
                <a:gd name="connsiteX399" fmla="*/ 262890 w 1035367"/>
                <a:gd name="connsiteY399" fmla="*/ 3625215 h 6842760"/>
                <a:gd name="connsiteX400" fmla="*/ 253365 w 1035367"/>
                <a:gd name="connsiteY400" fmla="*/ 3415665 h 6842760"/>
                <a:gd name="connsiteX401" fmla="*/ 297180 w 1035367"/>
                <a:gd name="connsiteY401" fmla="*/ 3459480 h 6842760"/>
                <a:gd name="connsiteX402" fmla="*/ 340995 w 1035367"/>
                <a:gd name="connsiteY402" fmla="*/ 3415665 h 6842760"/>
                <a:gd name="connsiteX403" fmla="*/ 297180 w 1035367"/>
                <a:gd name="connsiteY403" fmla="*/ 3371850 h 6842760"/>
                <a:gd name="connsiteX404" fmla="*/ 253365 w 1035367"/>
                <a:gd name="connsiteY404" fmla="*/ 3415665 h 6842760"/>
                <a:gd name="connsiteX405" fmla="*/ 244793 w 1035367"/>
                <a:gd name="connsiteY405" fmla="*/ 3206115 h 6842760"/>
                <a:gd name="connsiteX406" fmla="*/ 298133 w 1035367"/>
                <a:gd name="connsiteY406" fmla="*/ 3259455 h 6842760"/>
                <a:gd name="connsiteX407" fmla="*/ 351473 w 1035367"/>
                <a:gd name="connsiteY407" fmla="*/ 3206115 h 6842760"/>
                <a:gd name="connsiteX408" fmla="*/ 298133 w 1035367"/>
                <a:gd name="connsiteY408" fmla="*/ 3152775 h 6842760"/>
                <a:gd name="connsiteX409" fmla="*/ 244793 w 1035367"/>
                <a:gd name="connsiteY409" fmla="*/ 3206115 h 6842760"/>
                <a:gd name="connsiteX410" fmla="*/ 266700 w 1035367"/>
                <a:gd name="connsiteY410" fmla="*/ 4044315 h 6842760"/>
                <a:gd name="connsiteX411" fmla="*/ 298133 w 1035367"/>
                <a:gd name="connsiteY411" fmla="*/ 4075748 h 6842760"/>
                <a:gd name="connsiteX412" fmla="*/ 329565 w 1035367"/>
                <a:gd name="connsiteY412" fmla="*/ 4044315 h 6842760"/>
                <a:gd name="connsiteX413" fmla="*/ 298133 w 1035367"/>
                <a:gd name="connsiteY413" fmla="*/ 4012883 h 6842760"/>
                <a:gd name="connsiteX414" fmla="*/ 266700 w 1035367"/>
                <a:gd name="connsiteY414" fmla="*/ 4044315 h 6842760"/>
                <a:gd name="connsiteX415" fmla="*/ 266700 w 1035367"/>
                <a:gd name="connsiteY415" fmla="*/ 3834765 h 6842760"/>
                <a:gd name="connsiteX416" fmla="*/ 298133 w 1035367"/>
                <a:gd name="connsiteY416" fmla="*/ 3866198 h 6842760"/>
                <a:gd name="connsiteX417" fmla="*/ 329565 w 1035367"/>
                <a:gd name="connsiteY417" fmla="*/ 3834765 h 6842760"/>
                <a:gd name="connsiteX418" fmla="*/ 298133 w 1035367"/>
                <a:gd name="connsiteY418" fmla="*/ 3803333 h 6842760"/>
                <a:gd name="connsiteX419" fmla="*/ 266700 w 1035367"/>
                <a:gd name="connsiteY419" fmla="*/ 3834765 h 6842760"/>
                <a:gd name="connsiteX420" fmla="*/ 236220 w 1035367"/>
                <a:gd name="connsiteY420" fmla="*/ 2576513 h 6842760"/>
                <a:gd name="connsiteX421" fmla="*/ 298133 w 1035367"/>
                <a:gd name="connsiteY421" fmla="*/ 2638425 h 6842760"/>
                <a:gd name="connsiteX422" fmla="*/ 360045 w 1035367"/>
                <a:gd name="connsiteY422" fmla="*/ 2576513 h 6842760"/>
                <a:gd name="connsiteX423" fmla="*/ 298133 w 1035367"/>
                <a:gd name="connsiteY423" fmla="*/ 2514600 h 6842760"/>
                <a:gd name="connsiteX424" fmla="*/ 236220 w 1035367"/>
                <a:gd name="connsiteY424" fmla="*/ 2576513 h 6842760"/>
                <a:gd name="connsiteX425" fmla="*/ 244793 w 1035367"/>
                <a:gd name="connsiteY425" fmla="*/ 2366963 h 6842760"/>
                <a:gd name="connsiteX426" fmla="*/ 298133 w 1035367"/>
                <a:gd name="connsiteY426" fmla="*/ 2420303 h 6842760"/>
                <a:gd name="connsiteX427" fmla="*/ 351473 w 1035367"/>
                <a:gd name="connsiteY427" fmla="*/ 2366963 h 6842760"/>
                <a:gd name="connsiteX428" fmla="*/ 298133 w 1035367"/>
                <a:gd name="connsiteY428" fmla="*/ 2313623 h 6842760"/>
                <a:gd name="connsiteX429" fmla="*/ 244793 w 1035367"/>
                <a:gd name="connsiteY429" fmla="*/ 2366963 h 6842760"/>
                <a:gd name="connsiteX430" fmla="*/ 236220 w 1035367"/>
                <a:gd name="connsiteY430" fmla="*/ 2996565 h 6842760"/>
                <a:gd name="connsiteX431" fmla="*/ 298133 w 1035367"/>
                <a:gd name="connsiteY431" fmla="*/ 3058478 h 6842760"/>
                <a:gd name="connsiteX432" fmla="*/ 360045 w 1035367"/>
                <a:gd name="connsiteY432" fmla="*/ 2996565 h 6842760"/>
                <a:gd name="connsiteX433" fmla="*/ 298133 w 1035367"/>
                <a:gd name="connsiteY433" fmla="*/ 2934653 h 6842760"/>
                <a:gd name="connsiteX434" fmla="*/ 236220 w 1035367"/>
                <a:gd name="connsiteY434" fmla="*/ 2996565 h 6842760"/>
                <a:gd name="connsiteX435" fmla="*/ 220028 w 1035367"/>
                <a:gd name="connsiteY435" fmla="*/ 2786063 h 6842760"/>
                <a:gd name="connsiteX436" fmla="*/ 298133 w 1035367"/>
                <a:gd name="connsiteY436" fmla="*/ 2864168 h 6842760"/>
                <a:gd name="connsiteX437" fmla="*/ 376238 w 1035367"/>
                <a:gd name="connsiteY437" fmla="*/ 2786063 h 6842760"/>
                <a:gd name="connsiteX438" fmla="*/ 298133 w 1035367"/>
                <a:gd name="connsiteY438" fmla="*/ 2707958 h 6842760"/>
                <a:gd name="connsiteX439" fmla="*/ 220028 w 1035367"/>
                <a:gd name="connsiteY439" fmla="*/ 2786063 h 6842760"/>
                <a:gd name="connsiteX440" fmla="*/ 464820 w 1035367"/>
                <a:gd name="connsiteY440" fmla="*/ 6406515 h 6842760"/>
                <a:gd name="connsiteX441" fmla="*/ 518160 w 1035367"/>
                <a:gd name="connsiteY441" fmla="*/ 6459855 h 6842760"/>
                <a:gd name="connsiteX442" fmla="*/ 571500 w 1035367"/>
                <a:gd name="connsiteY442" fmla="*/ 6406515 h 6842760"/>
                <a:gd name="connsiteX443" fmla="*/ 518160 w 1035367"/>
                <a:gd name="connsiteY443" fmla="*/ 6353175 h 6842760"/>
                <a:gd name="connsiteX444" fmla="*/ 464820 w 1035367"/>
                <a:gd name="connsiteY444" fmla="*/ 6406515 h 6842760"/>
                <a:gd name="connsiteX445" fmla="*/ 481965 w 1035367"/>
                <a:gd name="connsiteY445" fmla="*/ 5980748 h 6842760"/>
                <a:gd name="connsiteX446" fmla="*/ 517208 w 1035367"/>
                <a:gd name="connsiteY446" fmla="*/ 6015990 h 6842760"/>
                <a:gd name="connsiteX447" fmla="*/ 552450 w 1035367"/>
                <a:gd name="connsiteY447" fmla="*/ 5980748 h 6842760"/>
                <a:gd name="connsiteX448" fmla="*/ 517208 w 1035367"/>
                <a:gd name="connsiteY448" fmla="*/ 5945505 h 6842760"/>
                <a:gd name="connsiteX449" fmla="*/ 481965 w 1035367"/>
                <a:gd name="connsiteY449" fmla="*/ 5980748 h 6842760"/>
                <a:gd name="connsiteX450" fmla="*/ 486728 w 1035367"/>
                <a:gd name="connsiteY450" fmla="*/ 5555933 h 6842760"/>
                <a:gd name="connsiteX451" fmla="*/ 518160 w 1035367"/>
                <a:gd name="connsiteY451" fmla="*/ 5587365 h 6842760"/>
                <a:gd name="connsiteX452" fmla="*/ 549593 w 1035367"/>
                <a:gd name="connsiteY452" fmla="*/ 5555933 h 6842760"/>
                <a:gd name="connsiteX453" fmla="*/ 518160 w 1035367"/>
                <a:gd name="connsiteY453" fmla="*/ 5524500 h 6842760"/>
                <a:gd name="connsiteX454" fmla="*/ 486728 w 1035367"/>
                <a:gd name="connsiteY454" fmla="*/ 5555933 h 6842760"/>
                <a:gd name="connsiteX455" fmla="*/ 486728 w 1035367"/>
                <a:gd name="connsiteY455" fmla="*/ 5343525 h 6842760"/>
                <a:gd name="connsiteX456" fmla="*/ 518160 w 1035367"/>
                <a:gd name="connsiteY456" fmla="*/ 5374958 h 6842760"/>
                <a:gd name="connsiteX457" fmla="*/ 549593 w 1035367"/>
                <a:gd name="connsiteY457" fmla="*/ 5343525 h 6842760"/>
                <a:gd name="connsiteX458" fmla="*/ 518160 w 1035367"/>
                <a:gd name="connsiteY458" fmla="*/ 5312093 h 6842760"/>
                <a:gd name="connsiteX459" fmla="*/ 486728 w 1035367"/>
                <a:gd name="connsiteY459" fmla="*/ 5343525 h 6842760"/>
                <a:gd name="connsiteX460" fmla="*/ 473393 w 1035367"/>
                <a:gd name="connsiteY460" fmla="*/ 6194108 h 6842760"/>
                <a:gd name="connsiteX461" fmla="*/ 517208 w 1035367"/>
                <a:gd name="connsiteY461" fmla="*/ 6237923 h 6842760"/>
                <a:gd name="connsiteX462" fmla="*/ 561023 w 1035367"/>
                <a:gd name="connsiteY462" fmla="*/ 6194108 h 6842760"/>
                <a:gd name="connsiteX463" fmla="*/ 517208 w 1035367"/>
                <a:gd name="connsiteY463" fmla="*/ 6150293 h 6842760"/>
                <a:gd name="connsiteX464" fmla="*/ 473393 w 1035367"/>
                <a:gd name="connsiteY464" fmla="*/ 6194108 h 6842760"/>
                <a:gd name="connsiteX465" fmla="*/ 486728 w 1035367"/>
                <a:gd name="connsiteY465" fmla="*/ 5768340 h 6842760"/>
                <a:gd name="connsiteX466" fmla="*/ 518160 w 1035367"/>
                <a:gd name="connsiteY466" fmla="*/ 5799773 h 6842760"/>
                <a:gd name="connsiteX467" fmla="*/ 549593 w 1035367"/>
                <a:gd name="connsiteY467" fmla="*/ 5768340 h 6842760"/>
                <a:gd name="connsiteX468" fmla="*/ 518160 w 1035367"/>
                <a:gd name="connsiteY468" fmla="*/ 5736908 h 6842760"/>
                <a:gd name="connsiteX469" fmla="*/ 486728 w 1035367"/>
                <a:gd name="connsiteY469" fmla="*/ 5768340 h 6842760"/>
                <a:gd name="connsiteX470" fmla="*/ 486728 w 1035367"/>
                <a:gd name="connsiteY470" fmla="*/ 4917758 h 6842760"/>
                <a:gd name="connsiteX471" fmla="*/ 518160 w 1035367"/>
                <a:gd name="connsiteY471" fmla="*/ 4949190 h 6842760"/>
                <a:gd name="connsiteX472" fmla="*/ 549593 w 1035367"/>
                <a:gd name="connsiteY472" fmla="*/ 4917758 h 6842760"/>
                <a:gd name="connsiteX473" fmla="*/ 518160 w 1035367"/>
                <a:gd name="connsiteY473" fmla="*/ 4886325 h 6842760"/>
                <a:gd name="connsiteX474" fmla="*/ 486728 w 1035367"/>
                <a:gd name="connsiteY474" fmla="*/ 4917758 h 6842760"/>
                <a:gd name="connsiteX475" fmla="*/ 486728 w 1035367"/>
                <a:gd name="connsiteY475" fmla="*/ 4705350 h 6842760"/>
                <a:gd name="connsiteX476" fmla="*/ 518160 w 1035367"/>
                <a:gd name="connsiteY476" fmla="*/ 4736783 h 6842760"/>
                <a:gd name="connsiteX477" fmla="*/ 549593 w 1035367"/>
                <a:gd name="connsiteY477" fmla="*/ 4705350 h 6842760"/>
                <a:gd name="connsiteX478" fmla="*/ 518160 w 1035367"/>
                <a:gd name="connsiteY478" fmla="*/ 4673918 h 6842760"/>
                <a:gd name="connsiteX479" fmla="*/ 486728 w 1035367"/>
                <a:gd name="connsiteY479" fmla="*/ 4705350 h 6842760"/>
                <a:gd name="connsiteX480" fmla="*/ 486728 w 1035367"/>
                <a:gd name="connsiteY480" fmla="*/ 5131118 h 6842760"/>
                <a:gd name="connsiteX481" fmla="*/ 518160 w 1035367"/>
                <a:gd name="connsiteY481" fmla="*/ 5162550 h 6842760"/>
                <a:gd name="connsiteX482" fmla="*/ 549593 w 1035367"/>
                <a:gd name="connsiteY482" fmla="*/ 5131118 h 6842760"/>
                <a:gd name="connsiteX483" fmla="*/ 518160 w 1035367"/>
                <a:gd name="connsiteY483" fmla="*/ 5099685 h 6842760"/>
                <a:gd name="connsiteX484" fmla="*/ 486728 w 1035367"/>
                <a:gd name="connsiteY484" fmla="*/ 5131118 h 6842760"/>
                <a:gd name="connsiteX485" fmla="*/ 706755 w 1035367"/>
                <a:gd name="connsiteY485" fmla="*/ 5253038 h 6842760"/>
                <a:gd name="connsiteX486" fmla="*/ 738188 w 1035367"/>
                <a:gd name="connsiteY486" fmla="*/ 5284470 h 6842760"/>
                <a:gd name="connsiteX487" fmla="*/ 769620 w 1035367"/>
                <a:gd name="connsiteY487" fmla="*/ 5253038 h 6842760"/>
                <a:gd name="connsiteX488" fmla="*/ 738188 w 1035367"/>
                <a:gd name="connsiteY488" fmla="*/ 5221605 h 6842760"/>
                <a:gd name="connsiteX489" fmla="*/ 706755 w 1035367"/>
                <a:gd name="connsiteY489" fmla="*/ 5253038 h 6842760"/>
                <a:gd name="connsiteX490" fmla="*/ 706755 w 1035367"/>
                <a:gd name="connsiteY490" fmla="*/ 4840605 h 6842760"/>
                <a:gd name="connsiteX491" fmla="*/ 738188 w 1035367"/>
                <a:gd name="connsiteY491" fmla="*/ 4872038 h 6842760"/>
                <a:gd name="connsiteX492" fmla="*/ 769620 w 1035367"/>
                <a:gd name="connsiteY492" fmla="*/ 4840605 h 6842760"/>
                <a:gd name="connsiteX493" fmla="*/ 738188 w 1035367"/>
                <a:gd name="connsiteY493" fmla="*/ 4809173 h 6842760"/>
                <a:gd name="connsiteX494" fmla="*/ 706755 w 1035367"/>
                <a:gd name="connsiteY494" fmla="*/ 4840605 h 6842760"/>
                <a:gd name="connsiteX495" fmla="*/ 706755 w 1035367"/>
                <a:gd name="connsiteY495" fmla="*/ 4634865 h 6842760"/>
                <a:gd name="connsiteX496" fmla="*/ 738188 w 1035367"/>
                <a:gd name="connsiteY496" fmla="*/ 4666298 h 6842760"/>
                <a:gd name="connsiteX497" fmla="*/ 769620 w 1035367"/>
                <a:gd name="connsiteY497" fmla="*/ 4634865 h 6842760"/>
                <a:gd name="connsiteX498" fmla="*/ 738188 w 1035367"/>
                <a:gd name="connsiteY498" fmla="*/ 4603433 h 6842760"/>
                <a:gd name="connsiteX499" fmla="*/ 706755 w 1035367"/>
                <a:gd name="connsiteY499" fmla="*/ 4634865 h 6842760"/>
                <a:gd name="connsiteX500" fmla="*/ 706755 w 1035367"/>
                <a:gd name="connsiteY500" fmla="*/ 5047298 h 6842760"/>
                <a:gd name="connsiteX501" fmla="*/ 738188 w 1035367"/>
                <a:gd name="connsiteY501" fmla="*/ 5078730 h 6842760"/>
                <a:gd name="connsiteX502" fmla="*/ 769620 w 1035367"/>
                <a:gd name="connsiteY502" fmla="*/ 5047298 h 6842760"/>
                <a:gd name="connsiteX503" fmla="*/ 738188 w 1035367"/>
                <a:gd name="connsiteY503" fmla="*/ 5015865 h 6842760"/>
                <a:gd name="connsiteX504" fmla="*/ 706755 w 1035367"/>
                <a:gd name="connsiteY504" fmla="*/ 5047298 h 6842760"/>
                <a:gd name="connsiteX505" fmla="*/ 486728 w 1035367"/>
                <a:gd name="connsiteY505" fmla="*/ 4492943 h 6842760"/>
                <a:gd name="connsiteX506" fmla="*/ 518160 w 1035367"/>
                <a:gd name="connsiteY506" fmla="*/ 4524375 h 6842760"/>
                <a:gd name="connsiteX507" fmla="*/ 549593 w 1035367"/>
                <a:gd name="connsiteY507" fmla="*/ 4492943 h 6842760"/>
                <a:gd name="connsiteX508" fmla="*/ 518160 w 1035367"/>
                <a:gd name="connsiteY508" fmla="*/ 4461510 h 6842760"/>
                <a:gd name="connsiteX509" fmla="*/ 486728 w 1035367"/>
                <a:gd name="connsiteY509" fmla="*/ 4492943 h 6842760"/>
                <a:gd name="connsiteX510" fmla="*/ 486728 w 1035367"/>
                <a:gd name="connsiteY510" fmla="*/ 4280535 h 6842760"/>
                <a:gd name="connsiteX511" fmla="*/ 518160 w 1035367"/>
                <a:gd name="connsiteY511" fmla="*/ 4311968 h 6842760"/>
                <a:gd name="connsiteX512" fmla="*/ 549593 w 1035367"/>
                <a:gd name="connsiteY512" fmla="*/ 4280535 h 6842760"/>
                <a:gd name="connsiteX513" fmla="*/ 518160 w 1035367"/>
                <a:gd name="connsiteY513" fmla="*/ 4249103 h 6842760"/>
                <a:gd name="connsiteX514" fmla="*/ 486728 w 1035367"/>
                <a:gd name="connsiteY514" fmla="*/ 4280535 h 6842760"/>
                <a:gd name="connsiteX515" fmla="*/ 464820 w 1035367"/>
                <a:gd name="connsiteY515" fmla="*/ 3642360 h 6842760"/>
                <a:gd name="connsiteX516" fmla="*/ 518160 w 1035367"/>
                <a:gd name="connsiteY516" fmla="*/ 3695700 h 6842760"/>
                <a:gd name="connsiteX517" fmla="*/ 571500 w 1035367"/>
                <a:gd name="connsiteY517" fmla="*/ 3642360 h 6842760"/>
                <a:gd name="connsiteX518" fmla="*/ 518160 w 1035367"/>
                <a:gd name="connsiteY518" fmla="*/ 3589020 h 6842760"/>
                <a:gd name="connsiteX519" fmla="*/ 464820 w 1035367"/>
                <a:gd name="connsiteY519" fmla="*/ 3642360 h 6842760"/>
                <a:gd name="connsiteX520" fmla="*/ 456248 w 1035367"/>
                <a:gd name="connsiteY520" fmla="*/ 3429953 h 6842760"/>
                <a:gd name="connsiteX521" fmla="*/ 518160 w 1035367"/>
                <a:gd name="connsiteY521" fmla="*/ 3491865 h 6842760"/>
                <a:gd name="connsiteX522" fmla="*/ 580073 w 1035367"/>
                <a:gd name="connsiteY522" fmla="*/ 3429953 h 6842760"/>
                <a:gd name="connsiteX523" fmla="*/ 518160 w 1035367"/>
                <a:gd name="connsiteY523" fmla="*/ 3368040 h 6842760"/>
                <a:gd name="connsiteX524" fmla="*/ 456248 w 1035367"/>
                <a:gd name="connsiteY524" fmla="*/ 3429953 h 6842760"/>
                <a:gd name="connsiteX525" fmla="*/ 456248 w 1035367"/>
                <a:gd name="connsiteY525" fmla="*/ 3005138 h 6842760"/>
                <a:gd name="connsiteX526" fmla="*/ 518160 w 1035367"/>
                <a:gd name="connsiteY526" fmla="*/ 3067050 h 6842760"/>
                <a:gd name="connsiteX527" fmla="*/ 580073 w 1035367"/>
                <a:gd name="connsiteY527" fmla="*/ 3005138 h 6842760"/>
                <a:gd name="connsiteX528" fmla="*/ 518160 w 1035367"/>
                <a:gd name="connsiteY528" fmla="*/ 2943225 h 6842760"/>
                <a:gd name="connsiteX529" fmla="*/ 456248 w 1035367"/>
                <a:gd name="connsiteY529" fmla="*/ 3005138 h 6842760"/>
                <a:gd name="connsiteX530" fmla="*/ 481965 w 1035367"/>
                <a:gd name="connsiteY530" fmla="*/ 4068128 h 6842760"/>
                <a:gd name="connsiteX531" fmla="*/ 517208 w 1035367"/>
                <a:gd name="connsiteY531" fmla="*/ 4103370 h 6842760"/>
                <a:gd name="connsiteX532" fmla="*/ 552450 w 1035367"/>
                <a:gd name="connsiteY532" fmla="*/ 4068128 h 6842760"/>
                <a:gd name="connsiteX533" fmla="*/ 517208 w 1035367"/>
                <a:gd name="connsiteY533" fmla="*/ 4032885 h 6842760"/>
                <a:gd name="connsiteX534" fmla="*/ 481965 w 1035367"/>
                <a:gd name="connsiteY534" fmla="*/ 4068128 h 6842760"/>
                <a:gd name="connsiteX535" fmla="*/ 473393 w 1035367"/>
                <a:gd name="connsiteY535" fmla="*/ 3854768 h 6842760"/>
                <a:gd name="connsiteX536" fmla="*/ 517208 w 1035367"/>
                <a:gd name="connsiteY536" fmla="*/ 3898583 h 6842760"/>
                <a:gd name="connsiteX537" fmla="*/ 561023 w 1035367"/>
                <a:gd name="connsiteY537" fmla="*/ 3854768 h 6842760"/>
                <a:gd name="connsiteX538" fmla="*/ 517208 w 1035367"/>
                <a:gd name="connsiteY538" fmla="*/ 3810953 h 6842760"/>
                <a:gd name="connsiteX539" fmla="*/ 473393 w 1035367"/>
                <a:gd name="connsiteY539" fmla="*/ 3854768 h 6842760"/>
                <a:gd name="connsiteX540" fmla="*/ 473393 w 1035367"/>
                <a:gd name="connsiteY540" fmla="*/ 2579370 h 6842760"/>
                <a:gd name="connsiteX541" fmla="*/ 517208 w 1035367"/>
                <a:gd name="connsiteY541" fmla="*/ 2623185 h 6842760"/>
                <a:gd name="connsiteX542" fmla="*/ 561023 w 1035367"/>
                <a:gd name="connsiteY542" fmla="*/ 2579370 h 6842760"/>
                <a:gd name="connsiteX543" fmla="*/ 517208 w 1035367"/>
                <a:gd name="connsiteY543" fmla="*/ 2535555 h 6842760"/>
                <a:gd name="connsiteX544" fmla="*/ 473393 w 1035367"/>
                <a:gd name="connsiteY544" fmla="*/ 2579370 h 6842760"/>
                <a:gd name="connsiteX545" fmla="*/ 481965 w 1035367"/>
                <a:gd name="connsiteY545" fmla="*/ 2366963 h 6842760"/>
                <a:gd name="connsiteX546" fmla="*/ 517208 w 1035367"/>
                <a:gd name="connsiteY546" fmla="*/ 2402205 h 6842760"/>
                <a:gd name="connsiteX547" fmla="*/ 552450 w 1035367"/>
                <a:gd name="connsiteY547" fmla="*/ 2366963 h 6842760"/>
                <a:gd name="connsiteX548" fmla="*/ 517208 w 1035367"/>
                <a:gd name="connsiteY548" fmla="*/ 2331720 h 6842760"/>
                <a:gd name="connsiteX549" fmla="*/ 481965 w 1035367"/>
                <a:gd name="connsiteY549" fmla="*/ 2366963 h 6842760"/>
                <a:gd name="connsiteX550" fmla="*/ 464820 w 1035367"/>
                <a:gd name="connsiteY550" fmla="*/ 2791778 h 6842760"/>
                <a:gd name="connsiteX551" fmla="*/ 518160 w 1035367"/>
                <a:gd name="connsiteY551" fmla="*/ 2845118 h 6842760"/>
                <a:gd name="connsiteX552" fmla="*/ 571500 w 1035367"/>
                <a:gd name="connsiteY552" fmla="*/ 2791778 h 6842760"/>
                <a:gd name="connsiteX553" fmla="*/ 518160 w 1035367"/>
                <a:gd name="connsiteY553" fmla="*/ 2738438 h 6842760"/>
                <a:gd name="connsiteX554" fmla="*/ 464820 w 1035367"/>
                <a:gd name="connsiteY554" fmla="*/ 2791778 h 6842760"/>
                <a:gd name="connsiteX555" fmla="*/ 440055 w 1035367"/>
                <a:gd name="connsiteY555" fmla="*/ 3217545 h 6842760"/>
                <a:gd name="connsiteX556" fmla="*/ 518160 w 1035367"/>
                <a:gd name="connsiteY556" fmla="*/ 3295650 h 6842760"/>
                <a:gd name="connsiteX557" fmla="*/ 596265 w 1035367"/>
                <a:gd name="connsiteY557" fmla="*/ 3217545 h 6842760"/>
                <a:gd name="connsiteX558" fmla="*/ 518160 w 1035367"/>
                <a:gd name="connsiteY558" fmla="*/ 3139440 h 6842760"/>
                <a:gd name="connsiteX559" fmla="*/ 440055 w 1035367"/>
                <a:gd name="connsiteY559" fmla="*/ 3217545 h 6842760"/>
                <a:gd name="connsiteX560" fmla="*/ 706755 w 1035367"/>
                <a:gd name="connsiteY560" fmla="*/ 4428173 h 6842760"/>
                <a:gd name="connsiteX561" fmla="*/ 738188 w 1035367"/>
                <a:gd name="connsiteY561" fmla="*/ 4459605 h 6842760"/>
                <a:gd name="connsiteX562" fmla="*/ 769620 w 1035367"/>
                <a:gd name="connsiteY562" fmla="*/ 4428173 h 6842760"/>
                <a:gd name="connsiteX563" fmla="*/ 738188 w 1035367"/>
                <a:gd name="connsiteY563" fmla="*/ 4396740 h 6842760"/>
                <a:gd name="connsiteX564" fmla="*/ 706755 w 1035367"/>
                <a:gd name="connsiteY564" fmla="*/ 4428173 h 6842760"/>
                <a:gd name="connsiteX565" fmla="*/ 706755 w 1035367"/>
                <a:gd name="connsiteY565" fmla="*/ 4222433 h 6842760"/>
                <a:gd name="connsiteX566" fmla="*/ 738188 w 1035367"/>
                <a:gd name="connsiteY566" fmla="*/ 4253865 h 6842760"/>
                <a:gd name="connsiteX567" fmla="*/ 769620 w 1035367"/>
                <a:gd name="connsiteY567" fmla="*/ 4222433 h 6842760"/>
                <a:gd name="connsiteX568" fmla="*/ 738188 w 1035367"/>
                <a:gd name="connsiteY568" fmla="*/ 4191000 h 6842760"/>
                <a:gd name="connsiteX569" fmla="*/ 706755 w 1035367"/>
                <a:gd name="connsiteY569" fmla="*/ 4222433 h 6842760"/>
                <a:gd name="connsiteX570" fmla="*/ 693420 w 1035367"/>
                <a:gd name="connsiteY570" fmla="*/ 3604260 h 6842760"/>
                <a:gd name="connsiteX571" fmla="*/ 737235 w 1035367"/>
                <a:gd name="connsiteY571" fmla="*/ 3648075 h 6842760"/>
                <a:gd name="connsiteX572" fmla="*/ 781050 w 1035367"/>
                <a:gd name="connsiteY572" fmla="*/ 3604260 h 6842760"/>
                <a:gd name="connsiteX573" fmla="*/ 737235 w 1035367"/>
                <a:gd name="connsiteY573" fmla="*/ 3560445 h 6842760"/>
                <a:gd name="connsiteX574" fmla="*/ 693420 w 1035367"/>
                <a:gd name="connsiteY574" fmla="*/ 3604260 h 6842760"/>
                <a:gd name="connsiteX575" fmla="*/ 684848 w 1035367"/>
                <a:gd name="connsiteY575" fmla="*/ 3397568 h 6842760"/>
                <a:gd name="connsiteX576" fmla="*/ 738188 w 1035367"/>
                <a:gd name="connsiteY576" fmla="*/ 3450908 h 6842760"/>
                <a:gd name="connsiteX577" fmla="*/ 791528 w 1035367"/>
                <a:gd name="connsiteY577" fmla="*/ 3397568 h 6842760"/>
                <a:gd name="connsiteX578" fmla="*/ 738188 w 1035367"/>
                <a:gd name="connsiteY578" fmla="*/ 3344228 h 6842760"/>
                <a:gd name="connsiteX579" fmla="*/ 684848 w 1035367"/>
                <a:gd name="connsiteY579" fmla="*/ 3397568 h 6842760"/>
                <a:gd name="connsiteX580" fmla="*/ 675323 w 1035367"/>
                <a:gd name="connsiteY580" fmla="*/ 3191828 h 6842760"/>
                <a:gd name="connsiteX581" fmla="*/ 737235 w 1035367"/>
                <a:gd name="connsiteY581" fmla="*/ 3253740 h 6842760"/>
                <a:gd name="connsiteX582" fmla="*/ 799148 w 1035367"/>
                <a:gd name="connsiteY582" fmla="*/ 3191828 h 6842760"/>
                <a:gd name="connsiteX583" fmla="*/ 737235 w 1035367"/>
                <a:gd name="connsiteY583" fmla="*/ 3129915 h 6842760"/>
                <a:gd name="connsiteX584" fmla="*/ 675323 w 1035367"/>
                <a:gd name="connsiteY584" fmla="*/ 3191828 h 6842760"/>
                <a:gd name="connsiteX585" fmla="*/ 706755 w 1035367"/>
                <a:gd name="connsiteY585" fmla="*/ 4016693 h 6842760"/>
                <a:gd name="connsiteX586" fmla="*/ 738188 w 1035367"/>
                <a:gd name="connsiteY586" fmla="*/ 4048125 h 6842760"/>
                <a:gd name="connsiteX587" fmla="*/ 769620 w 1035367"/>
                <a:gd name="connsiteY587" fmla="*/ 4016693 h 6842760"/>
                <a:gd name="connsiteX588" fmla="*/ 738188 w 1035367"/>
                <a:gd name="connsiteY588" fmla="*/ 3985260 h 6842760"/>
                <a:gd name="connsiteX589" fmla="*/ 706755 w 1035367"/>
                <a:gd name="connsiteY589" fmla="*/ 4016693 h 6842760"/>
                <a:gd name="connsiteX590" fmla="*/ 701993 w 1035367"/>
                <a:gd name="connsiteY590" fmla="*/ 3810000 h 6842760"/>
                <a:gd name="connsiteX591" fmla="*/ 737235 w 1035367"/>
                <a:gd name="connsiteY591" fmla="*/ 3845243 h 6842760"/>
                <a:gd name="connsiteX592" fmla="*/ 772478 w 1035367"/>
                <a:gd name="connsiteY592" fmla="*/ 3810000 h 6842760"/>
                <a:gd name="connsiteX593" fmla="*/ 737235 w 1035367"/>
                <a:gd name="connsiteY593" fmla="*/ 3774758 h 6842760"/>
                <a:gd name="connsiteX594" fmla="*/ 701993 w 1035367"/>
                <a:gd name="connsiteY594" fmla="*/ 3810000 h 6842760"/>
                <a:gd name="connsiteX595" fmla="*/ 684848 w 1035367"/>
                <a:gd name="connsiteY595" fmla="*/ 2573655 h 6842760"/>
                <a:gd name="connsiteX596" fmla="*/ 738188 w 1035367"/>
                <a:gd name="connsiteY596" fmla="*/ 2626995 h 6842760"/>
                <a:gd name="connsiteX597" fmla="*/ 791528 w 1035367"/>
                <a:gd name="connsiteY597" fmla="*/ 2573655 h 6842760"/>
                <a:gd name="connsiteX598" fmla="*/ 738188 w 1035367"/>
                <a:gd name="connsiteY598" fmla="*/ 2520315 h 6842760"/>
                <a:gd name="connsiteX599" fmla="*/ 684848 w 1035367"/>
                <a:gd name="connsiteY599" fmla="*/ 2573655 h 6842760"/>
                <a:gd name="connsiteX600" fmla="*/ 693420 w 1035367"/>
                <a:gd name="connsiteY600" fmla="*/ 2366963 h 6842760"/>
                <a:gd name="connsiteX601" fmla="*/ 737235 w 1035367"/>
                <a:gd name="connsiteY601" fmla="*/ 2410778 h 6842760"/>
                <a:gd name="connsiteX602" fmla="*/ 781050 w 1035367"/>
                <a:gd name="connsiteY602" fmla="*/ 2366963 h 6842760"/>
                <a:gd name="connsiteX603" fmla="*/ 737235 w 1035367"/>
                <a:gd name="connsiteY603" fmla="*/ 2323148 h 6842760"/>
                <a:gd name="connsiteX604" fmla="*/ 693420 w 1035367"/>
                <a:gd name="connsiteY604" fmla="*/ 2366963 h 6842760"/>
                <a:gd name="connsiteX605" fmla="*/ 675323 w 1035367"/>
                <a:gd name="connsiteY605" fmla="*/ 2779395 h 6842760"/>
                <a:gd name="connsiteX606" fmla="*/ 737235 w 1035367"/>
                <a:gd name="connsiteY606" fmla="*/ 2841308 h 6842760"/>
                <a:gd name="connsiteX607" fmla="*/ 799148 w 1035367"/>
                <a:gd name="connsiteY607" fmla="*/ 2779395 h 6842760"/>
                <a:gd name="connsiteX608" fmla="*/ 737235 w 1035367"/>
                <a:gd name="connsiteY608" fmla="*/ 2717483 h 6842760"/>
                <a:gd name="connsiteX609" fmla="*/ 675323 w 1035367"/>
                <a:gd name="connsiteY609" fmla="*/ 2779395 h 6842760"/>
                <a:gd name="connsiteX610" fmla="*/ 659130 w 1035367"/>
                <a:gd name="connsiteY610" fmla="*/ 2985135 h 6842760"/>
                <a:gd name="connsiteX611" fmla="*/ 737235 w 1035367"/>
                <a:gd name="connsiteY611" fmla="*/ 3063240 h 6842760"/>
                <a:gd name="connsiteX612" fmla="*/ 815340 w 1035367"/>
                <a:gd name="connsiteY612" fmla="*/ 2985135 h 6842760"/>
                <a:gd name="connsiteX613" fmla="*/ 737235 w 1035367"/>
                <a:gd name="connsiteY613" fmla="*/ 2907030 h 6842760"/>
                <a:gd name="connsiteX614" fmla="*/ 659130 w 1035367"/>
                <a:gd name="connsiteY614" fmla="*/ 2985135 h 6842760"/>
                <a:gd name="connsiteX615" fmla="*/ 922020 w 1035367"/>
                <a:gd name="connsiteY615" fmla="*/ 3625215 h 6842760"/>
                <a:gd name="connsiteX616" fmla="*/ 957263 w 1035367"/>
                <a:gd name="connsiteY616" fmla="*/ 3660458 h 6842760"/>
                <a:gd name="connsiteX617" fmla="*/ 992505 w 1035367"/>
                <a:gd name="connsiteY617" fmla="*/ 3625215 h 6842760"/>
                <a:gd name="connsiteX618" fmla="*/ 957263 w 1035367"/>
                <a:gd name="connsiteY618" fmla="*/ 3589973 h 6842760"/>
                <a:gd name="connsiteX619" fmla="*/ 922020 w 1035367"/>
                <a:gd name="connsiteY619" fmla="*/ 3625215 h 6842760"/>
                <a:gd name="connsiteX620" fmla="*/ 913448 w 1035367"/>
                <a:gd name="connsiteY620" fmla="*/ 3415665 h 6842760"/>
                <a:gd name="connsiteX621" fmla="*/ 957263 w 1035367"/>
                <a:gd name="connsiteY621" fmla="*/ 3459480 h 6842760"/>
                <a:gd name="connsiteX622" fmla="*/ 1001078 w 1035367"/>
                <a:gd name="connsiteY622" fmla="*/ 3415665 h 6842760"/>
                <a:gd name="connsiteX623" fmla="*/ 957263 w 1035367"/>
                <a:gd name="connsiteY623" fmla="*/ 3371850 h 6842760"/>
                <a:gd name="connsiteX624" fmla="*/ 913448 w 1035367"/>
                <a:gd name="connsiteY624" fmla="*/ 3415665 h 6842760"/>
                <a:gd name="connsiteX625" fmla="*/ 903923 w 1035367"/>
                <a:gd name="connsiteY625" fmla="*/ 3206115 h 6842760"/>
                <a:gd name="connsiteX626" fmla="*/ 957263 w 1035367"/>
                <a:gd name="connsiteY626" fmla="*/ 3259455 h 6842760"/>
                <a:gd name="connsiteX627" fmla="*/ 1010603 w 1035367"/>
                <a:gd name="connsiteY627" fmla="*/ 3206115 h 6842760"/>
                <a:gd name="connsiteX628" fmla="*/ 957263 w 1035367"/>
                <a:gd name="connsiteY628" fmla="*/ 3152775 h 6842760"/>
                <a:gd name="connsiteX629" fmla="*/ 903923 w 1035367"/>
                <a:gd name="connsiteY629" fmla="*/ 3206115 h 6842760"/>
                <a:gd name="connsiteX630" fmla="*/ 895350 w 1035367"/>
                <a:gd name="connsiteY630" fmla="*/ 2576513 h 6842760"/>
                <a:gd name="connsiteX631" fmla="*/ 957263 w 1035367"/>
                <a:gd name="connsiteY631" fmla="*/ 2638425 h 6842760"/>
                <a:gd name="connsiteX632" fmla="*/ 1019175 w 1035367"/>
                <a:gd name="connsiteY632" fmla="*/ 2576513 h 6842760"/>
                <a:gd name="connsiteX633" fmla="*/ 957263 w 1035367"/>
                <a:gd name="connsiteY633" fmla="*/ 2514600 h 6842760"/>
                <a:gd name="connsiteX634" fmla="*/ 895350 w 1035367"/>
                <a:gd name="connsiteY634" fmla="*/ 2576513 h 6842760"/>
                <a:gd name="connsiteX635" fmla="*/ 903923 w 1035367"/>
                <a:gd name="connsiteY635" fmla="*/ 2366963 h 6842760"/>
                <a:gd name="connsiteX636" fmla="*/ 957263 w 1035367"/>
                <a:gd name="connsiteY636" fmla="*/ 2420303 h 6842760"/>
                <a:gd name="connsiteX637" fmla="*/ 1010603 w 1035367"/>
                <a:gd name="connsiteY637" fmla="*/ 2366963 h 6842760"/>
                <a:gd name="connsiteX638" fmla="*/ 957263 w 1035367"/>
                <a:gd name="connsiteY638" fmla="*/ 2313623 h 6842760"/>
                <a:gd name="connsiteX639" fmla="*/ 903923 w 1035367"/>
                <a:gd name="connsiteY639" fmla="*/ 2366963 h 6842760"/>
                <a:gd name="connsiteX640" fmla="*/ 895350 w 1035367"/>
                <a:gd name="connsiteY640" fmla="*/ 2996565 h 6842760"/>
                <a:gd name="connsiteX641" fmla="*/ 957263 w 1035367"/>
                <a:gd name="connsiteY641" fmla="*/ 3058478 h 6842760"/>
                <a:gd name="connsiteX642" fmla="*/ 1019175 w 1035367"/>
                <a:gd name="connsiteY642" fmla="*/ 2996565 h 6842760"/>
                <a:gd name="connsiteX643" fmla="*/ 957263 w 1035367"/>
                <a:gd name="connsiteY643" fmla="*/ 2934653 h 6842760"/>
                <a:gd name="connsiteX644" fmla="*/ 895350 w 1035367"/>
                <a:gd name="connsiteY644" fmla="*/ 2996565 h 6842760"/>
                <a:gd name="connsiteX645" fmla="*/ 879158 w 1035367"/>
                <a:gd name="connsiteY645" fmla="*/ 2786063 h 6842760"/>
                <a:gd name="connsiteX646" fmla="*/ 957263 w 1035367"/>
                <a:gd name="connsiteY646" fmla="*/ 2864168 h 6842760"/>
                <a:gd name="connsiteX647" fmla="*/ 1035368 w 1035367"/>
                <a:gd name="connsiteY647" fmla="*/ 2786063 h 6842760"/>
                <a:gd name="connsiteX648" fmla="*/ 957263 w 1035367"/>
                <a:gd name="connsiteY648" fmla="*/ 2707958 h 6842760"/>
                <a:gd name="connsiteX649" fmla="*/ 879158 w 1035367"/>
                <a:gd name="connsiteY649" fmla="*/ 2786063 h 684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</a:cxnLst>
              <a:rect l="l" t="t" r="r" b="b"/>
              <a:pathLst>
                <a:path w="1035367" h="6842760">
                  <a:moveTo>
                    <a:pt x="0" y="1128713"/>
                  </a:moveTo>
                  <a:cubicBezTo>
                    <a:pt x="0" y="1171575"/>
                    <a:pt x="35243" y="1206818"/>
                    <a:pt x="78105" y="1206818"/>
                  </a:cubicBezTo>
                  <a:cubicBezTo>
                    <a:pt x="120968" y="1206818"/>
                    <a:pt x="156210" y="1171575"/>
                    <a:pt x="156210" y="1128713"/>
                  </a:cubicBezTo>
                  <a:cubicBezTo>
                    <a:pt x="156210" y="1085850"/>
                    <a:pt x="120968" y="1050608"/>
                    <a:pt x="78105" y="1050608"/>
                  </a:cubicBezTo>
                  <a:cubicBezTo>
                    <a:pt x="35243" y="1050608"/>
                    <a:pt x="0" y="1085850"/>
                    <a:pt x="0" y="1128713"/>
                  </a:cubicBezTo>
                  <a:close/>
                  <a:moveTo>
                    <a:pt x="42863" y="2162175"/>
                  </a:moveTo>
                  <a:cubicBezTo>
                    <a:pt x="44768" y="2181225"/>
                    <a:pt x="61913" y="2196465"/>
                    <a:pt x="80963" y="2194560"/>
                  </a:cubicBezTo>
                  <a:cubicBezTo>
                    <a:pt x="100013" y="2192655"/>
                    <a:pt x="115253" y="2175510"/>
                    <a:pt x="113348" y="2156460"/>
                  </a:cubicBezTo>
                  <a:cubicBezTo>
                    <a:pt x="111443" y="2137410"/>
                    <a:pt x="94298" y="2122170"/>
                    <a:pt x="75248" y="2124075"/>
                  </a:cubicBezTo>
                  <a:cubicBezTo>
                    <a:pt x="55245" y="2125980"/>
                    <a:pt x="40958" y="2143125"/>
                    <a:pt x="42863" y="2162175"/>
                  </a:cubicBezTo>
                  <a:close/>
                  <a:moveTo>
                    <a:pt x="34290" y="1953578"/>
                  </a:moveTo>
                  <a:cubicBezTo>
                    <a:pt x="34290" y="1978343"/>
                    <a:pt x="54293" y="1997393"/>
                    <a:pt x="78105" y="1997393"/>
                  </a:cubicBezTo>
                  <a:cubicBezTo>
                    <a:pt x="101918" y="1997393"/>
                    <a:pt x="121920" y="1977390"/>
                    <a:pt x="121920" y="1953578"/>
                  </a:cubicBezTo>
                  <a:cubicBezTo>
                    <a:pt x="121920" y="1929765"/>
                    <a:pt x="101918" y="1909763"/>
                    <a:pt x="78105" y="1909763"/>
                  </a:cubicBezTo>
                  <a:cubicBezTo>
                    <a:pt x="54293" y="1909763"/>
                    <a:pt x="34290" y="1928813"/>
                    <a:pt x="34290" y="1953578"/>
                  </a:cubicBezTo>
                  <a:close/>
                  <a:moveTo>
                    <a:pt x="16193" y="1541145"/>
                  </a:moveTo>
                  <a:cubicBezTo>
                    <a:pt x="16193" y="1575435"/>
                    <a:pt x="43815" y="1603058"/>
                    <a:pt x="78105" y="1603058"/>
                  </a:cubicBezTo>
                  <a:cubicBezTo>
                    <a:pt x="112395" y="1603058"/>
                    <a:pt x="140018" y="1575435"/>
                    <a:pt x="140018" y="1541145"/>
                  </a:cubicBezTo>
                  <a:cubicBezTo>
                    <a:pt x="140018" y="1506855"/>
                    <a:pt x="112395" y="1479233"/>
                    <a:pt x="78105" y="1479233"/>
                  </a:cubicBezTo>
                  <a:cubicBezTo>
                    <a:pt x="43815" y="1479233"/>
                    <a:pt x="16193" y="1506855"/>
                    <a:pt x="16193" y="1541145"/>
                  </a:cubicBezTo>
                  <a:close/>
                  <a:moveTo>
                    <a:pt x="24765" y="716280"/>
                  </a:moveTo>
                  <a:cubicBezTo>
                    <a:pt x="24765" y="745808"/>
                    <a:pt x="48578" y="769620"/>
                    <a:pt x="78105" y="769620"/>
                  </a:cubicBezTo>
                  <a:cubicBezTo>
                    <a:pt x="107633" y="769620"/>
                    <a:pt x="131445" y="745808"/>
                    <a:pt x="131445" y="716280"/>
                  </a:cubicBezTo>
                  <a:cubicBezTo>
                    <a:pt x="131445" y="686753"/>
                    <a:pt x="107633" y="662940"/>
                    <a:pt x="78105" y="662940"/>
                  </a:cubicBezTo>
                  <a:cubicBezTo>
                    <a:pt x="48578" y="662940"/>
                    <a:pt x="24765" y="687705"/>
                    <a:pt x="24765" y="716280"/>
                  </a:cubicBezTo>
                  <a:close/>
                  <a:moveTo>
                    <a:pt x="34290" y="510540"/>
                  </a:moveTo>
                  <a:cubicBezTo>
                    <a:pt x="34290" y="535305"/>
                    <a:pt x="54293" y="554355"/>
                    <a:pt x="78105" y="554355"/>
                  </a:cubicBezTo>
                  <a:cubicBezTo>
                    <a:pt x="101918" y="554355"/>
                    <a:pt x="121920" y="534353"/>
                    <a:pt x="121920" y="510540"/>
                  </a:cubicBezTo>
                  <a:cubicBezTo>
                    <a:pt x="121920" y="485775"/>
                    <a:pt x="101918" y="466725"/>
                    <a:pt x="78105" y="466725"/>
                  </a:cubicBezTo>
                  <a:cubicBezTo>
                    <a:pt x="54293" y="466725"/>
                    <a:pt x="34290" y="485775"/>
                    <a:pt x="34290" y="510540"/>
                  </a:cubicBezTo>
                  <a:close/>
                  <a:moveTo>
                    <a:pt x="24765" y="1746885"/>
                  </a:moveTo>
                  <a:cubicBezTo>
                    <a:pt x="24765" y="1776413"/>
                    <a:pt x="48578" y="1800225"/>
                    <a:pt x="78105" y="1800225"/>
                  </a:cubicBezTo>
                  <a:cubicBezTo>
                    <a:pt x="107633" y="1800225"/>
                    <a:pt x="131445" y="1776413"/>
                    <a:pt x="131445" y="1746885"/>
                  </a:cubicBezTo>
                  <a:cubicBezTo>
                    <a:pt x="131445" y="1717358"/>
                    <a:pt x="107633" y="1693545"/>
                    <a:pt x="78105" y="1693545"/>
                  </a:cubicBezTo>
                  <a:cubicBezTo>
                    <a:pt x="48578" y="1693545"/>
                    <a:pt x="24765" y="1718310"/>
                    <a:pt x="24765" y="1746885"/>
                  </a:cubicBezTo>
                  <a:close/>
                  <a:moveTo>
                    <a:pt x="16193" y="922973"/>
                  </a:moveTo>
                  <a:cubicBezTo>
                    <a:pt x="16193" y="957263"/>
                    <a:pt x="43815" y="984885"/>
                    <a:pt x="78105" y="984885"/>
                  </a:cubicBezTo>
                  <a:cubicBezTo>
                    <a:pt x="112395" y="984885"/>
                    <a:pt x="140018" y="957263"/>
                    <a:pt x="140018" y="922973"/>
                  </a:cubicBezTo>
                  <a:cubicBezTo>
                    <a:pt x="140018" y="888683"/>
                    <a:pt x="112395" y="861060"/>
                    <a:pt x="78105" y="861060"/>
                  </a:cubicBezTo>
                  <a:cubicBezTo>
                    <a:pt x="43815" y="861060"/>
                    <a:pt x="16193" y="888683"/>
                    <a:pt x="16193" y="922973"/>
                  </a:cubicBezTo>
                  <a:close/>
                  <a:moveTo>
                    <a:pt x="46673" y="98108"/>
                  </a:moveTo>
                  <a:cubicBezTo>
                    <a:pt x="46673" y="115253"/>
                    <a:pt x="60960" y="129540"/>
                    <a:pt x="78105" y="129540"/>
                  </a:cubicBezTo>
                  <a:cubicBezTo>
                    <a:pt x="95250" y="129540"/>
                    <a:pt x="109538" y="115253"/>
                    <a:pt x="109538" y="98108"/>
                  </a:cubicBezTo>
                  <a:cubicBezTo>
                    <a:pt x="109538" y="80963"/>
                    <a:pt x="95250" y="66675"/>
                    <a:pt x="78105" y="66675"/>
                  </a:cubicBezTo>
                  <a:cubicBezTo>
                    <a:pt x="60960" y="66675"/>
                    <a:pt x="46673" y="80963"/>
                    <a:pt x="46673" y="98108"/>
                  </a:cubicBezTo>
                  <a:close/>
                  <a:moveTo>
                    <a:pt x="42863" y="303848"/>
                  </a:moveTo>
                  <a:cubicBezTo>
                    <a:pt x="42863" y="322898"/>
                    <a:pt x="59055" y="339090"/>
                    <a:pt x="78105" y="339090"/>
                  </a:cubicBezTo>
                  <a:cubicBezTo>
                    <a:pt x="97155" y="339090"/>
                    <a:pt x="113348" y="322898"/>
                    <a:pt x="113348" y="303848"/>
                  </a:cubicBezTo>
                  <a:cubicBezTo>
                    <a:pt x="113348" y="284798"/>
                    <a:pt x="97155" y="268605"/>
                    <a:pt x="78105" y="268605"/>
                  </a:cubicBezTo>
                  <a:cubicBezTo>
                    <a:pt x="59055" y="268605"/>
                    <a:pt x="42863" y="284798"/>
                    <a:pt x="42863" y="303848"/>
                  </a:cubicBezTo>
                  <a:close/>
                  <a:moveTo>
                    <a:pt x="0" y="1335405"/>
                  </a:moveTo>
                  <a:cubicBezTo>
                    <a:pt x="0" y="1378268"/>
                    <a:pt x="35243" y="1413510"/>
                    <a:pt x="78105" y="1413510"/>
                  </a:cubicBezTo>
                  <a:cubicBezTo>
                    <a:pt x="120968" y="1413510"/>
                    <a:pt x="156210" y="1378268"/>
                    <a:pt x="156210" y="1335405"/>
                  </a:cubicBezTo>
                  <a:cubicBezTo>
                    <a:pt x="156210" y="1292543"/>
                    <a:pt x="120968" y="1257300"/>
                    <a:pt x="78105" y="1257300"/>
                  </a:cubicBezTo>
                  <a:cubicBezTo>
                    <a:pt x="35243" y="1257300"/>
                    <a:pt x="0" y="1291590"/>
                    <a:pt x="0" y="1335405"/>
                  </a:cubicBezTo>
                  <a:close/>
                  <a:moveTo>
                    <a:pt x="266700" y="2159318"/>
                  </a:moveTo>
                  <a:cubicBezTo>
                    <a:pt x="266700" y="2176463"/>
                    <a:pt x="280988" y="2190750"/>
                    <a:pt x="298133" y="2190750"/>
                  </a:cubicBezTo>
                  <a:cubicBezTo>
                    <a:pt x="315278" y="2190750"/>
                    <a:pt x="329565" y="2176463"/>
                    <a:pt x="329565" y="2159318"/>
                  </a:cubicBezTo>
                  <a:cubicBezTo>
                    <a:pt x="329565" y="2142173"/>
                    <a:pt x="315278" y="2127885"/>
                    <a:pt x="298133" y="2127885"/>
                  </a:cubicBezTo>
                  <a:cubicBezTo>
                    <a:pt x="280988" y="2127885"/>
                    <a:pt x="266700" y="2142173"/>
                    <a:pt x="266700" y="2159318"/>
                  </a:cubicBezTo>
                  <a:close/>
                  <a:moveTo>
                    <a:pt x="262890" y="1918335"/>
                  </a:moveTo>
                  <a:cubicBezTo>
                    <a:pt x="262890" y="1937385"/>
                    <a:pt x="279083" y="1953578"/>
                    <a:pt x="298133" y="1953578"/>
                  </a:cubicBezTo>
                  <a:cubicBezTo>
                    <a:pt x="317183" y="1953578"/>
                    <a:pt x="333375" y="1937385"/>
                    <a:pt x="333375" y="1918335"/>
                  </a:cubicBezTo>
                  <a:cubicBezTo>
                    <a:pt x="333375" y="1899285"/>
                    <a:pt x="317183" y="1883093"/>
                    <a:pt x="298133" y="1883093"/>
                  </a:cubicBezTo>
                  <a:cubicBezTo>
                    <a:pt x="279083" y="1883093"/>
                    <a:pt x="262890" y="1899285"/>
                    <a:pt x="262890" y="1918335"/>
                  </a:cubicBezTo>
                  <a:close/>
                  <a:moveTo>
                    <a:pt x="236220" y="1289685"/>
                  </a:moveTo>
                  <a:cubicBezTo>
                    <a:pt x="236220" y="1323975"/>
                    <a:pt x="263843" y="1351598"/>
                    <a:pt x="298133" y="1351598"/>
                  </a:cubicBezTo>
                  <a:cubicBezTo>
                    <a:pt x="332423" y="1351598"/>
                    <a:pt x="360045" y="1323975"/>
                    <a:pt x="360045" y="1289685"/>
                  </a:cubicBezTo>
                  <a:cubicBezTo>
                    <a:pt x="360045" y="1255395"/>
                    <a:pt x="332423" y="1227773"/>
                    <a:pt x="298133" y="1227773"/>
                  </a:cubicBezTo>
                  <a:cubicBezTo>
                    <a:pt x="263843" y="1227773"/>
                    <a:pt x="236220" y="1255395"/>
                    <a:pt x="236220" y="1289685"/>
                  </a:cubicBezTo>
                  <a:close/>
                  <a:moveTo>
                    <a:pt x="236220" y="869633"/>
                  </a:moveTo>
                  <a:cubicBezTo>
                    <a:pt x="236220" y="903923"/>
                    <a:pt x="263843" y="931545"/>
                    <a:pt x="298133" y="931545"/>
                  </a:cubicBezTo>
                  <a:cubicBezTo>
                    <a:pt x="332423" y="931545"/>
                    <a:pt x="360045" y="903923"/>
                    <a:pt x="360045" y="869633"/>
                  </a:cubicBezTo>
                  <a:cubicBezTo>
                    <a:pt x="360045" y="835343"/>
                    <a:pt x="332423" y="807720"/>
                    <a:pt x="298133" y="807720"/>
                  </a:cubicBezTo>
                  <a:cubicBezTo>
                    <a:pt x="263843" y="807720"/>
                    <a:pt x="236220" y="836295"/>
                    <a:pt x="236220" y="869633"/>
                  </a:cubicBezTo>
                  <a:close/>
                  <a:moveTo>
                    <a:pt x="244793" y="660083"/>
                  </a:moveTo>
                  <a:cubicBezTo>
                    <a:pt x="244793" y="689610"/>
                    <a:pt x="268605" y="713423"/>
                    <a:pt x="298133" y="713423"/>
                  </a:cubicBezTo>
                  <a:cubicBezTo>
                    <a:pt x="327660" y="713423"/>
                    <a:pt x="351473" y="689610"/>
                    <a:pt x="351473" y="660083"/>
                  </a:cubicBezTo>
                  <a:cubicBezTo>
                    <a:pt x="351473" y="630555"/>
                    <a:pt x="327660" y="606743"/>
                    <a:pt x="298133" y="606743"/>
                  </a:cubicBezTo>
                  <a:cubicBezTo>
                    <a:pt x="268605" y="606743"/>
                    <a:pt x="244793" y="631508"/>
                    <a:pt x="244793" y="660083"/>
                  </a:cubicBezTo>
                  <a:close/>
                  <a:moveTo>
                    <a:pt x="253365" y="1708785"/>
                  </a:moveTo>
                  <a:cubicBezTo>
                    <a:pt x="253365" y="1733550"/>
                    <a:pt x="273368" y="1752600"/>
                    <a:pt x="297180" y="1752600"/>
                  </a:cubicBezTo>
                  <a:cubicBezTo>
                    <a:pt x="320993" y="1752600"/>
                    <a:pt x="340995" y="1732598"/>
                    <a:pt x="340995" y="1708785"/>
                  </a:cubicBezTo>
                  <a:cubicBezTo>
                    <a:pt x="340995" y="1684020"/>
                    <a:pt x="320993" y="1664970"/>
                    <a:pt x="297180" y="1664970"/>
                  </a:cubicBezTo>
                  <a:cubicBezTo>
                    <a:pt x="273368" y="1664970"/>
                    <a:pt x="253365" y="1684973"/>
                    <a:pt x="253365" y="1708785"/>
                  </a:cubicBezTo>
                  <a:close/>
                  <a:moveTo>
                    <a:pt x="244793" y="1499235"/>
                  </a:moveTo>
                  <a:cubicBezTo>
                    <a:pt x="244793" y="1528763"/>
                    <a:pt x="268605" y="1552575"/>
                    <a:pt x="298133" y="1552575"/>
                  </a:cubicBezTo>
                  <a:cubicBezTo>
                    <a:pt x="327660" y="1552575"/>
                    <a:pt x="351473" y="1528763"/>
                    <a:pt x="351473" y="1499235"/>
                  </a:cubicBezTo>
                  <a:cubicBezTo>
                    <a:pt x="351473" y="1469708"/>
                    <a:pt x="327660" y="1445895"/>
                    <a:pt x="298133" y="1445895"/>
                  </a:cubicBezTo>
                  <a:cubicBezTo>
                    <a:pt x="268605" y="1445895"/>
                    <a:pt x="244793" y="1469708"/>
                    <a:pt x="244793" y="1499235"/>
                  </a:cubicBezTo>
                  <a:close/>
                  <a:moveTo>
                    <a:pt x="262890" y="240983"/>
                  </a:moveTo>
                  <a:cubicBezTo>
                    <a:pt x="262890" y="260033"/>
                    <a:pt x="279083" y="276225"/>
                    <a:pt x="298133" y="276225"/>
                  </a:cubicBezTo>
                  <a:cubicBezTo>
                    <a:pt x="317183" y="276225"/>
                    <a:pt x="333375" y="260033"/>
                    <a:pt x="333375" y="240983"/>
                  </a:cubicBezTo>
                  <a:cubicBezTo>
                    <a:pt x="333375" y="221933"/>
                    <a:pt x="317183" y="205740"/>
                    <a:pt x="298133" y="205740"/>
                  </a:cubicBezTo>
                  <a:cubicBezTo>
                    <a:pt x="279083" y="205740"/>
                    <a:pt x="262890" y="220980"/>
                    <a:pt x="262890" y="240983"/>
                  </a:cubicBezTo>
                  <a:close/>
                  <a:moveTo>
                    <a:pt x="266700" y="31433"/>
                  </a:moveTo>
                  <a:cubicBezTo>
                    <a:pt x="266700" y="48578"/>
                    <a:pt x="280988" y="62865"/>
                    <a:pt x="298133" y="62865"/>
                  </a:cubicBezTo>
                  <a:cubicBezTo>
                    <a:pt x="315278" y="62865"/>
                    <a:pt x="329565" y="48578"/>
                    <a:pt x="329565" y="31433"/>
                  </a:cubicBezTo>
                  <a:cubicBezTo>
                    <a:pt x="329565" y="14288"/>
                    <a:pt x="315278" y="0"/>
                    <a:pt x="298133" y="0"/>
                  </a:cubicBezTo>
                  <a:cubicBezTo>
                    <a:pt x="280988" y="0"/>
                    <a:pt x="266700" y="14288"/>
                    <a:pt x="266700" y="31433"/>
                  </a:cubicBezTo>
                  <a:close/>
                  <a:moveTo>
                    <a:pt x="253365" y="450533"/>
                  </a:moveTo>
                  <a:cubicBezTo>
                    <a:pt x="253365" y="475298"/>
                    <a:pt x="273368" y="494348"/>
                    <a:pt x="297180" y="494348"/>
                  </a:cubicBezTo>
                  <a:cubicBezTo>
                    <a:pt x="320993" y="494348"/>
                    <a:pt x="340995" y="474345"/>
                    <a:pt x="340995" y="450533"/>
                  </a:cubicBezTo>
                  <a:cubicBezTo>
                    <a:pt x="340995" y="426720"/>
                    <a:pt x="320993" y="406718"/>
                    <a:pt x="297180" y="406718"/>
                  </a:cubicBezTo>
                  <a:cubicBezTo>
                    <a:pt x="273368" y="406718"/>
                    <a:pt x="253365" y="426720"/>
                    <a:pt x="253365" y="450533"/>
                  </a:cubicBezTo>
                  <a:close/>
                  <a:moveTo>
                    <a:pt x="220028" y="1080135"/>
                  </a:moveTo>
                  <a:cubicBezTo>
                    <a:pt x="220028" y="1122998"/>
                    <a:pt x="255270" y="1158240"/>
                    <a:pt x="298133" y="1158240"/>
                  </a:cubicBezTo>
                  <a:cubicBezTo>
                    <a:pt x="340995" y="1158240"/>
                    <a:pt x="376238" y="1122998"/>
                    <a:pt x="376238" y="1080135"/>
                  </a:cubicBezTo>
                  <a:cubicBezTo>
                    <a:pt x="376238" y="1037273"/>
                    <a:pt x="340995" y="1002030"/>
                    <a:pt x="298133" y="1002030"/>
                  </a:cubicBezTo>
                  <a:cubicBezTo>
                    <a:pt x="255270" y="1002030"/>
                    <a:pt x="220028" y="1036320"/>
                    <a:pt x="220028" y="1080135"/>
                  </a:cubicBezTo>
                  <a:close/>
                  <a:moveTo>
                    <a:pt x="473393" y="2159318"/>
                  </a:moveTo>
                  <a:cubicBezTo>
                    <a:pt x="473393" y="2184083"/>
                    <a:pt x="493395" y="2203133"/>
                    <a:pt x="517208" y="2203133"/>
                  </a:cubicBezTo>
                  <a:cubicBezTo>
                    <a:pt x="541973" y="2203133"/>
                    <a:pt x="561023" y="2183130"/>
                    <a:pt x="561023" y="2159318"/>
                  </a:cubicBezTo>
                  <a:cubicBezTo>
                    <a:pt x="561023" y="2135505"/>
                    <a:pt x="541020" y="2115503"/>
                    <a:pt x="517208" y="2115503"/>
                  </a:cubicBezTo>
                  <a:cubicBezTo>
                    <a:pt x="493395" y="2115503"/>
                    <a:pt x="473393" y="2135505"/>
                    <a:pt x="473393" y="2159318"/>
                  </a:cubicBezTo>
                  <a:close/>
                  <a:moveTo>
                    <a:pt x="464820" y="1946910"/>
                  </a:moveTo>
                  <a:cubicBezTo>
                    <a:pt x="464820" y="1976438"/>
                    <a:pt x="488633" y="2000250"/>
                    <a:pt x="518160" y="2000250"/>
                  </a:cubicBezTo>
                  <a:cubicBezTo>
                    <a:pt x="547688" y="2000250"/>
                    <a:pt x="571500" y="1976438"/>
                    <a:pt x="571500" y="1946910"/>
                  </a:cubicBezTo>
                  <a:cubicBezTo>
                    <a:pt x="571500" y="1917383"/>
                    <a:pt x="547688" y="1893570"/>
                    <a:pt x="518160" y="1893570"/>
                  </a:cubicBezTo>
                  <a:cubicBezTo>
                    <a:pt x="488633" y="1893570"/>
                    <a:pt x="464820" y="1917383"/>
                    <a:pt x="464820" y="1946910"/>
                  </a:cubicBezTo>
                  <a:close/>
                  <a:moveTo>
                    <a:pt x="456248" y="1309688"/>
                  </a:moveTo>
                  <a:cubicBezTo>
                    <a:pt x="456248" y="1343978"/>
                    <a:pt x="483870" y="1371600"/>
                    <a:pt x="518160" y="1371600"/>
                  </a:cubicBezTo>
                  <a:cubicBezTo>
                    <a:pt x="552450" y="1371600"/>
                    <a:pt x="580073" y="1343978"/>
                    <a:pt x="580073" y="1309688"/>
                  </a:cubicBezTo>
                  <a:cubicBezTo>
                    <a:pt x="580073" y="1275398"/>
                    <a:pt x="552450" y="1247775"/>
                    <a:pt x="518160" y="1247775"/>
                  </a:cubicBezTo>
                  <a:cubicBezTo>
                    <a:pt x="483870" y="1247775"/>
                    <a:pt x="456248" y="1275398"/>
                    <a:pt x="456248" y="1309688"/>
                  </a:cubicBezTo>
                  <a:close/>
                  <a:moveTo>
                    <a:pt x="473393" y="883920"/>
                  </a:moveTo>
                  <a:cubicBezTo>
                    <a:pt x="473393" y="908685"/>
                    <a:pt x="493395" y="927735"/>
                    <a:pt x="517208" y="927735"/>
                  </a:cubicBezTo>
                  <a:cubicBezTo>
                    <a:pt x="541973" y="927735"/>
                    <a:pt x="561023" y="907733"/>
                    <a:pt x="561023" y="883920"/>
                  </a:cubicBezTo>
                  <a:cubicBezTo>
                    <a:pt x="561023" y="859155"/>
                    <a:pt x="541020" y="840105"/>
                    <a:pt x="517208" y="840105"/>
                  </a:cubicBezTo>
                  <a:cubicBezTo>
                    <a:pt x="493395" y="840105"/>
                    <a:pt x="473393" y="859155"/>
                    <a:pt x="473393" y="883920"/>
                  </a:cubicBezTo>
                  <a:close/>
                  <a:moveTo>
                    <a:pt x="481965" y="671513"/>
                  </a:moveTo>
                  <a:cubicBezTo>
                    <a:pt x="481965" y="690563"/>
                    <a:pt x="498158" y="706755"/>
                    <a:pt x="517208" y="706755"/>
                  </a:cubicBezTo>
                  <a:cubicBezTo>
                    <a:pt x="536258" y="706755"/>
                    <a:pt x="552450" y="690563"/>
                    <a:pt x="552450" y="671513"/>
                  </a:cubicBezTo>
                  <a:cubicBezTo>
                    <a:pt x="552450" y="652463"/>
                    <a:pt x="536258" y="636270"/>
                    <a:pt x="517208" y="636270"/>
                  </a:cubicBezTo>
                  <a:cubicBezTo>
                    <a:pt x="498158" y="636270"/>
                    <a:pt x="481965" y="651510"/>
                    <a:pt x="481965" y="671513"/>
                  </a:cubicBezTo>
                  <a:close/>
                  <a:moveTo>
                    <a:pt x="456248" y="1734503"/>
                  </a:moveTo>
                  <a:cubicBezTo>
                    <a:pt x="456248" y="1768793"/>
                    <a:pt x="483870" y="1796415"/>
                    <a:pt x="518160" y="1796415"/>
                  </a:cubicBezTo>
                  <a:cubicBezTo>
                    <a:pt x="552450" y="1796415"/>
                    <a:pt x="580073" y="1768793"/>
                    <a:pt x="580073" y="1734503"/>
                  </a:cubicBezTo>
                  <a:cubicBezTo>
                    <a:pt x="580073" y="1700213"/>
                    <a:pt x="552450" y="1672590"/>
                    <a:pt x="518160" y="1672590"/>
                  </a:cubicBezTo>
                  <a:cubicBezTo>
                    <a:pt x="483870" y="1672590"/>
                    <a:pt x="456248" y="1700213"/>
                    <a:pt x="456248" y="1734503"/>
                  </a:cubicBezTo>
                  <a:close/>
                  <a:moveTo>
                    <a:pt x="464820" y="1096328"/>
                  </a:moveTo>
                  <a:cubicBezTo>
                    <a:pt x="464820" y="1125855"/>
                    <a:pt x="488633" y="1149668"/>
                    <a:pt x="518160" y="1149668"/>
                  </a:cubicBezTo>
                  <a:cubicBezTo>
                    <a:pt x="547688" y="1149668"/>
                    <a:pt x="571500" y="1125855"/>
                    <a:pt x="571500" y="1096328"/>
                  </a:cubicBezTo>
                  <a:cubicBezTo>
                    <a:pt x="571500" y="1066800"/>
                    <a:pt x="547688" y="1042988"/>
                    <a:pt x="518160" y="1042988"/>
                  </a:cubicBezTo>
                  <a:cubicBezTo>
                    <a:pt x="488633" y="1042988"/>
                    <a:pt x="464820" y="1067753"/>
                    <a:pt x="464820" y="1096328"/>
                  </a:cubicBezTo>
                  <a:close/>
                  <a:moveTo>
                    <a:pt x="486728" y="246698"/>
                  </a:moveTo>
                  <a:cubicBezTo>
                    <a:pt x="486728" y="263843"/>
                    <a:pt x="501015" y="278130"/>
                    <a:pt x="518160" y="278130"/>
                  </a:cubicBezTo>
                  <a:cubicBezTo>
                    <a:pt x="535305" y="278130"/>
                    <a:pt x="549593" y="263843"/>
                    <a:pt x="549593" y="246698"/>
                  </a:cubicBezTo>
                  <a:cubicBezTo>
                    <a:pt x="549593" y="229553"/>
                    <a:pt x="535305" y="215265"/>
                    <a:pt x="518160" y="215265"/>
                  </a:cubicBezTo>
                  <a:cubicBezTo>
                    <a:pt x="500063" y="215265"/>
                    <a:pt x="486728" y="228600"/>
                    <a:pt x="486728" y="246698"/>
                  </a:cubicBezTo>
                  <a:close/>
                  <a:moveTo>
                    <a:pt x="486728" y="33338"/>
                  </a:moveTo>
                  <a:cubicBezTo>
                    <a:pt x="486728" y="50483"/>
                    <a:pt x="501015" y="64770"/>
                    <a:pt x="518160" y="64770"/>
                  </a:cubicBezTo>
                  <a:cubicBezTo>
                    <a:pt x="535305" y="64770"/>
                    <a:pt x="549593" y="50483"/>
                    <a:pt x="549593" y="33338"/>
                  </a:cubicBezTo>
                  <a:cubicBezTo>
                    <a:pt x="549593" y="16193"/>
                    <a:pt x="535305" y="1905"/>
                    <a:pt x="518160" y="1905"/>
                  </a:cubicBezTo>
                  <a:cubicBezTo>
                    <a:pt x="500063" y="2858"/>
                    <a:pt x="486728" y="16193"/>
                    <a:pt x="486728" y="33338"/>
                  </a:cubicBezTo>
                  <a:close/>
                  <a:moveTo>
                    <a:pt x="486728" y="459105"/>
                  </a:moveTo>
                  <a:cubicBezTo>
                    <a:pt x="486728" y="476250"/>
                    <a:pt x="501015" y="490538"/>
                    <a:pt x="518160" y="490538"/>
                  </a:cubicBezTo>
                  <a:cubicBezTo>
                    <a:pt x="535305" y="490538"/>
                    <a:pt x="549593" y="476250"/>
                    <a:pt x="549593" y="459105"/>
                  </a:cubicBezTo>
                  <a:cubicBezTo>
                    <a:pt x="549593" y="441960"/>
                    <a:pt x="535305" y="427673"/>
                    <a:pt x="518160" y="427673"/>
                  </a:cubicBezTo>
                  <a:cubicBezTo>
                    <a:pt x="500063" y="427673"/>
                    <a:pt x="486728" y="441960"/>
                    <a:pt x="486728" y="459105"/>
                  </a:cubicBezTo>
                  <a:close/>
                  <a:moveTo>
                    <a:pt x="440055" y="1522095"/>
                  </a:moveTo>
                  <a:cubicBezTo>
                    <a:pt x="440055" y="1564958"/>
                    <a:pt x="475298" y="1600200"/>
                    <a:pt x="518160" y="1600200"/>
                  </a:cubicBezTo>
                  <a:cubicBezTo>
                    <a:pt x="561023" y="1600200"/>
                    <a:pt x="596265" y="1564958"/>
                    <a:pt x="596265" y="1522095"/>
                  </a:cubicBezTo>
                  <a:cubicBezTo>
                    <a:pt x="596265" y="1479233"/>
                    <a:pt x="561023" y="1443990"/>
                    <a:pt x="518160" y="1443990"/>
                  </a:cubicBezTo>
                  <a:cubicBezTo>
                    <a:pt x="475298" y="1443990"/>
                    <a:pt x="440055" y="1478280"/>
                    <a:pt x="440055" y="1522095"/>
                  </a:cubicBezTo>
                  <a:close/>
                  <a:moveTo>
                    <a:pt x="659130" y="1128713"/>
                  </a:moveTo>
                  <a:cubicBezTo>
                    <a:pt x="659130" y="1171575"/>
                    <a:pt x="694373" y="1206818"/>
                    <a:pt x="737235" y="1206818"/>
                  </a:cubicBezTo>
                  <a:cubicBezTo>
                    <a:pt x="780098" y="1206818"/>
                    <a:pt x="815340" y="1171575"/>
                    <a:pt x="815340" y="1128713"/>
                  </a:cubicBezTo>
                  <a:cubicBezTo>
                    <a:pt x="815340" y="1085850"/>
                    <a:pt x="780098" y="1050608"/>
                    <a:pt x="737235" y="1050608"/>
                  </a:cubicBezTo>
                  <a:cubicBezTo>
                    <a:pt x="694373" y="1050608"/>
                    <a:pt x="659130" y="1085850"/>
                    <a:pt x="659130" y="1128713"/>
                  </a:cubicBezTo>
                  <a:close/>
                  <a:moveTo>
                    <a:pt x="701993" y="2162175"/>
                  </a:moveTo>
                  <a:cubicBezTo>
                    <a:pt x="703898" y="2181225"/>
                    <a:pt x="721043" y="2196465"/>
                    <a:pt x="740093" y="2194560"/>
                  </a:cubicBezTo>
                  <a:cubicBezTo>
                    <a:pt x="759143" y="2192655"/>
                    <a:pt x="774383" y="2175510"/>
                    <a:pt x="772478" y="2156460"/>
                  </a:cubicBezTo>
                  <a:cubicBezTo>
                    <a:pt x="770573" y="2137410"/>
                    <a:pt x="753428" y="2122170"/>
                    <a:pt x="734378" y="2124075"/>
                  </a:cubicBezTo>
                  <a:cubicBezTo>
                    <a:pt x="715328" y="2125980"/>
                    <a:pt x="701040" y="2143125"/>
                    <a:pt x="701993" y="2162175"/>
                  </a:cubicBezTo>
                  <a:close/>
                  <a:moveTo>
                    <a:pt x="693420" y="1953578"/>
                  </a:moveTo>
                  <a:cubicBezTo>
                    <a:pt x="693420" y="1978343"/>
                    <a:pt x="713423" y="1997393"/>
                    <a:pt x="737235" y="1997393"/>
                  </a:cubicBezTo>
                  <a:cubicBezTo>
                    <a:pt x="761048" y="1997393"/>
                    <a:pt x="781050" y="1977390"/>
                    <a:pt x="781050" y="1953578"/>
                  </a:cubicBezTo>
                  <a:cubicBezTo>
                    <a:pt x="781050" y="1929765"/>
                    <a:pt x="761048" y="1909763"/>
                    <a:pt x="737235" y="1909763"/>
                  </a:cubicBezTo>
                  <a:cubicBezTo>
                    <a:pt x="713423" y="1909763"/>
                    <a:pt x="693420" y="1928813"/>
                    <a:pt x="693420" y="1953578"/>
                  </a:cubicBezTo>
                  <a:close/>
                  <a:moveTo>
                    <a:pt x="675323" y="1541145"/>
                  </a:moveTo>
                  <a:cubicBezTo>
                    <a:pt x="675323" y="1575435"/>
                    <a:pt x="702945" y="1603058"/>
                    <a:pt x="737235" y="1603058"/>
                  </a:cubicBezTo>
                  <a:cubicBezTo>
                    <a:pt x="771525" y="1603058"/>
                    <a:pt x="799148" y="1575435"/>
                    <a:pt x="799148" y="1541145"/>
                  </a:cubicBezTo>
                  <a:cubicBezTo>
                    <a:pt x="799148" y="1506855"/>
                    <a:pt x="771525" y="1479233"/>
                    <a:pt x="737235" y="1479233"/>
                  </a:cubicBezTo>
                  <a:cubicBezTo>
                    <a:pt x="702945" y="1479233"/>
                    <a:pt x="675323" y="1506855"/>
                    <a:pt x="675323" y="1541145"/>
                  </a:cubicBezTo>
                  <a:close/>
                  <a:moveTo>
                    <a:pt x="684848" y="716280"/>
                  </a:moveTo>
                  <a:cubicBezTo>
                    <a:pt x="684848" y="745808"/>
                    <a:pt x="708660" y="769620"/>
                    <a:pt x="738188" y="769620"/>
                  </a:cubicBezTo>
                  <a:cubicBezTo>
                    <a:pt x="767715" y="769620"/>
                    <a:pt x="791528" y="745808"/>
                    <a:pt x="791528" y="716280"/>
                  </a:cubicBezTo>
                  <a:cubicBezTo>
                    <a:pt x="791528" y="686753"/>
                    <a:pt x="767715" y="662940"/>
                    <a:pt x="738188" y="662940"/>
                  </a:cubicBezTo>
                  <a:cubicBezTo>
                    <a:pt x="708660" y="663893"/>
                    <a:pt x="684848" y="687705"/>
                    <a:pt x="684848" y="716280"/>
                  </a:cubicBezTo>
                  <a:close/>
                  <a:moveTo>
                    <a:pt x="693420" y="510540"/>
                  </a:moveTo>
                  <a:cubicBezTo>
                    <a:pt x="693420" y="535305"/>
                    <a:pt x="713423" y="554355"/>
                    <a:pt x="737235" y="554355"/>
                  </a:cubicBezTo>
                  <a:cubicBezTo>
                    <a:pt x="761048" y="554355"/>
                    <a:pt x="781050" y="534353"/>
                    <a:pt x="781050" y="510540"/>
                  </a:cubicBezTo>
                  <a:cubicBezTo>
                    <a:pt x="781050" y="485775"/>
                    <a:pt x="761048" y="466725"/>
                    <a:pt x="737235" y="466725"/>
                  </a:cubicBezTo>
                  <a:cubicBezTo>
                    <a:pt x="713423" y="466725"/>
                    <a:pt x="693420" y="485775"/>
                    <a:pt x="693420" y="510540"/>
                  </a:cubicBezTo>
                  <a:close/>
                  <a:moveTo>
                    <a:pt x="684848" y="1746885"/>
                  </a:moveTo>
                  <a:cubicBezTo>
                    <a:pt x="684848" y="1776413"/>
                    <a:pt x="708660" y="1800225"/>
                    <a:pt x="738188" y="1800225"/>
                  </a:cubicBezTo>
                  <a:cubicBezTo>
                    <a:pt x="767715" y="1800225"/>
                    <a:pt x="791528" y="1776413"/>
                    <a:pt x="791528" y="1746885"/>
                  </a:cubicBezTo>
                  <a:cubicBezTo>
                    <a:pt x="791528" y="1717358"/>
                    <a:pt x="767715" y="1693545"/>
                    <a:pt x="738188" y="1693545"/>
                  </a:cubicBezTo>
                  <a:cubicBezTo>
                    <a:pt x="708660" y="1694498"/>
                    <a:pt x="684848" y="1718310"/>
                    <a:pt x="684848" y="1746885"/>
                  </a:cubicBezTo>
                  <a:close/>
                  <a:moveTo>
                    <a:pt x="675323" y="922973"/>
                  </a:moveTo>
                  <a:cubicBezTo>
                    <a:pt x="675323" y="957263"/>
                    <a:pt x="702945" y="984885"/>
                    <a:pt x="737235" y="984885"/>
                  </a:cubicBezTo>
                  <a:cubicBezTo>
                    <a:pt x="771525" y="984885"/>
                    <a:pt x="799148" y="957263"/>
                    <a:pt x="799148" y="922973"/>
                  </a:cubicBezTo>
                  <a:cubicBezTo>
                    <a:pt x="799148" y="888683"/>
                    <a:pt x="771525" y="861060"/>
                    <a:pt x="737235" y="861060"/>
                  </a:cubicBezTo>
                  <a:cubicBezTo>
                    <a:pt x="702945" y="861060"/>
                    <a:pt x="675323" y="888683"/>
                    <a:pt x="675323" y="922973"/>
                  </a:cubicBezTo>
                  <a:close/>
                  <a:moveTo>
                    <a:pt x="706755" y="98108"/>
                  </a:moveTo>
                  <a:cubicBezTo>
                    <a:pt x="706755" y="115253"/>
                    <a:pt x="721043" y="129540"/>
                    <a:pt x="738188" y="129540"/>
                  </a:cubicBezTo>
                  <a:cubicBezTo>
                    <a:pt x="755333" y="129540"/>
                    <a:pt x="769620" y="115253"/>
                    <a:pt x="769620" y="98108"/>
                  </a:cubicBezTo>
                  <a:cubicBezTo>
                    <a:pt x="769620" y="80963"/>
                    <a:pt x="754380" y="66675"/>
                    <a:pt x="737235" y="66675"/>
                  </a:cubicBezTo>
                  <a:cubicBezTo>
                    <a:pt x="720090" y="66675"/>
                    <a:pt x="706755" y="80963"/>
                    <a:pt x="706755" y="98108"/>
                  </a:cubicBezTo>
                  <a:close/>
                  <a:moveTo>
                    <a:pt x="701993" y="303848"/>
                  </a:moveTo>
                  <a:cubicBezTo>
                    <a:pt x="701993" y="322898"/>
                    <a:pt x="718185" y="339090"/>
                    <a:pt x="737235" y="339090"/>
                  </a:cubicBezTo>
                  <a:cubicBezTo>
                    <a:pt x="756285" y="339090"/>
                    <a:pt x="772478" y="322898"/>
                    <a:pt x="772478" y="303848"/>
                  </a:cubicBezTo>
                  <a:cubicBezTo>
                    <a:pt x="772478" y="284798"/>
                    <a:pt x="756285" y="268605"/>
                    <a:pt x="737235" y="268605"/>
                  </a:cubicBezTo>
                  <a:cubicBezTo>
                    <a:pt x="718185" y="268605"/>
                    <a:pt x="701993" y="284798"/>
                    <a:pt x="701993" y="303848"/>
                  </a:cubicBezTo>
                  <a:close/>
                  <a:moveTo>
                    <a:pt x="659130" y="1335405"/>
                  </a:moveTo>
                  <a:cubicBezTo>
                    <a:pt x="659130" y="1378268"/>
                    <a:pt x="694373" y="1413510"/>
                    <a:pt x="737235" y="1413510"/>
                  </a:cubicBezTo>
                  <a:cubicBezTo>
                    <a:pt x="780098" y="1413510"/>
                    <a:pt x="815340" y="1378268"/>
                    <a:pt x="815340" y="1335405"/>
                  </a:cubicBezTo>
                  <a:cubicBezTo>
                    <a:pt x="815340" y="1292543"/>
                    <a:pt x="781050" y="1257300"/>
                    <a:pt x="737235" y="1257300"/>
                  </a:cubicBezTo>
                  <a:cubicBezTo>
                    <a:pt x="693420" y="1257300"/>
                    <a:pt x="659130" y="1291590"/>
                    <a:pt x="659130" y="1335405"/>
                  </a:cubicBezTo>
                  <a:close/>
                  <a:moveTo>
                    <a:pt x="925830" y="2159318"/>
                  </a:moveTo>
                  <a:cubicBezTo>
                    <a:pt x="925830" y="2176463"/>
                    <a:pt x="940118" y="2190750"/>
                    <a:pt x="957263" y="2190750"/>
                  </a:cubicBezTo>
                  <a:cubicBezTo>
                    <a:pt x="974408" y="2190750"/>
                    <a:pt x="988695" y="2176463"/>
                    <a:pt x="988695" y="2159318"/>
                  </a:cubicBezTo>
                  <a:cubicBezTo>
                    <a:pt x="988695" y="2142173"/>
                    <a:pt x="974408" y="2127885"/>
                    <a:pt x="957263" y="2127885"/>
                  </a:cubicBezTo>
                  <a:cubicBezTo>
                    <a:pt x="940118" y="2127885"/>
                    <a:pt x="925830" y="2142173"/>
                    <a:pt x="925830" y="2159318"/>
                  </a:cubicBezTo>
                  <a:close/>
                  <a:moveTo>
                    <a:pt x="922020" y="1918335"/>
                  </a:moveTo>
                  <a:cubicBezTo>
                    <a:pt x="922020" y="1937385"/>
                    <a:pt x="938213" y="1953578"/>
                    <a:pt x="957263" y="1953578"/>
                  </a:cubicBezTo>
                  <a:cubicBezTo>
                    <a:pt x="976313" y="1953578"/>
                    <a:pt x="992505" y="1937385"/>
                    <a:pt x="992505" y="1918335"/>
                  </a:cubicBezTo>
                  <a:cubicBezTo>
                    <a:pt x="992505" y="1899285"/>
                    <a:pt x="976313" y="1883093"/>
                    <a:pt x="957263" y="1883093"/>
                  </a:cubicBezTo>
                  <a:cubicBezTo>
                    <a:pt x="938213" y="1883093"/>
                    <a:pt x="922020" y="1899285"/>
                    <a:pt x="922020" y="1918335"/>
                  </a:cubicBezTo>
                  <a:close/>
                  <a:moveTo>
                    <a:pt x="895350" y="1289685"/>
                  </a:moveTo>
                  <a:cubicBezTo>
                    <a:pt x="895350" y="1323975"/>
                    <a:pt x="922973" y="1351598"/>
                    <a:pt x="957263" y="1351598"/>
                  </a:cubicBezTo>
                  <a:cubicBezTo>
                    <a:pt x="991553" y="1351598"/>
                    <a:pt x="1019175" y="1323975"/>
                    <a:pt x="1019175" y="1289685"/>
                  </a:cubicBezTo>
                  <a:cubicBezTo>
                    <a:pt x="1019175" y="1255395"/>
                    <a:pt x="991553" y="1227773"/>
                    <a:pt x="957263" y="1227773"/>
                  </a:cubicBezTo>
                  <a:cubicBezTo>
                    <a:pt x="922973" y="1227773"/>
                    <a:pt x="895350" y="1255395"/>
                    <a:pt x="895350" y="1289685"/>
                  </a:cubicBezTo>
                  <a:close/>
                  <a:moveTo>
                    <a:pt x="895350" y="869633"/>
                  </a:moveTo>
                  <a:cubicBezTo>
                    <a:pt x="895350" y="903923"/>
                    <a:pt x="922973" y="931545"/>
                    <a:pt x="957263" y="931545"/>
                  </a:cubicBezTo>
                  <a:cubicBezTo>
                    <a:pt x="991553" y="931545"/>
                    <a:pt x="1019175" y="903923"/>
                    <a:pt x="1019175" y="869633"/>
                  </a:cubicBezTo>
                  <a:cubicBezTo>
                    <a:pt x="1019175" y="835343"/>
                    <a:pt x="991553" y="807720"/>
                    <a:pt x="957263" y="807720"/>
                  </a:cubicBezTo>
                  <a:cubicBezTo>
                    <a:pt x="922973" y="808673"/>
                    <a:pt x="895350" y="836295"/>
                    <a:pt x="895350" y="869633"/>
                  </a:cubicBezTo>
                  <a:close/>
                  <a:moveTo>
                    <a:pt x="903923" y="660083"/>
                  </a:moveTo>
                  <a:cubicBezTo>
                    <a:pt x="903923" y="689610"/>
                    <a:pt x="927735" y="713423"/>
                    <a:pt x="957263" y="713423"/>
                  </a:cubicBezTo>
                  <a:cubicBezTo>
                    <a:pt x="986790" y="713423"/>
                    <a:pt x="1010603" y="689610"/>
                    <a:pt x="1010603" y="660083"/>
                  </a:cubicBezTo>
                  <a:cubicBezTo>
                    <a:pt x="1010603" y="630555"/>
                    <a:pt x="986790" y="606743"/>
                    <a:pt x="957263" y="606743"/>
                  </a:cubicBezTo>
                  <a:cubicBezTo>
                    <a:pt x="927735" y="607695"/>
                    <a:pt x="903923" y="631508"/>
                    <a:pt x="903923" y="660083"/>
                  </a:cubicBezTo>
                  <a:close/>
                  <a:moveTo>
                    <a:pt x="913448" y="1708785"/>
                  </a:moveTo>
                  <a:cubicBezTo>
                    <a:pt x="913448" y="1733550"/>
                    <a:pt x="933450" y="1752600"/>
                    <a:pt x="957263" y="1752600"/>
                  </a:cubicBezTo>
                  <a:cubicBezTo>
                    <a:pt x="982028" y="1752600"/>
                    <a:pt x="1001078" y="1732598"/>
                    <a:pt x="1001078" y="1708785"/>
                  </a:cubicBezTo>
                  <a:cubicBezTo>
                    <a:pt x="1001078" y="1684020"/>
                    <a:pt x="981075" y="1664970"/>
                    <a:pt x="957263" y="1664970"/>
                  </a:cubicBezTo>
                  <a:cubicBezTo>
                    <a:pt x="933450" y="1664970"/>
                    <a:pt x="913448" y="1684973"/>
                    <a:pt x="913448" y="1708785"/>
                  </a:cubicBezTo>
                  <a:close/>
                  <a:moveTo>
                    <a:pt x="903923" y="1499235"/>
                  </a:moveTo>
                  <a:cubicBezTo>
                    <a:pt x="903923" y="1528763"/>
                    <a:pt x="927735" y="1552575"/>
                    <a:pt x="957263" y="1552575"/>
                  </a:cubicBezTo>
                  <a:cubicBezTo>
                    <a:pt x="986790" y="1552575"/>
                    <a:pt x="1010603" y="1528763"/>
                    <a:pt x="1010603" y="1499235"/>
                  </a:cubicBezTo>
                  <a:cubicBezTo>
                    <a:pt x="1010603" y="1469708"/>
                    <a:pt x="986790" y="1445895"/>
                    <a:pt x="957263" y="1445895"/>
                  </a:cubicBezTo>
                  <a:cubicBezTo>
                    <a:pt x="927735" y="1445895"/>
                    <a:pt x="903923" y="1469708"/>
                    <a:pt x="903923" y="1499235"/>
                  </a:cubicBezTo>
                  <a:close/>
                  <a:moveTo>
                    <a:pt x="922020" y="240983"/>
                  </a:moveTo>
                  <a:cubicBezTo>
                    <a:pt x="922020" y="260033"/>
                    <a:pt x="938213" y="276225"/>
                    <a:pt x="957263" y="276225"/>
                  </a:cubicBezTo>
                  <a:cubicBezTo>
                    <a:pt x="976313" y="276225"/>
                    <a:pt x="992505" y="260033"/>
                    <a:pt x="992505" y="240983"/>
                  </a:cubicBezTo>
                  <a:cubicBezTo>
                    <a:pt x="992505" y="221933"/>
                    <a:pt x="976313" y="205740"/>
                    <a:pt x="957263" y="205740"/>
                  </a:cubicBezTo>
                  <a:cubicBezTo>
                    <a:pt x="938213" y="205740"/>
                    <a:pt x="922020" y="220980"/>
                    <a:pt x="922020" y="240983"/>
                  </a:cubicBezTo>
                  <a:close/>
                  <a:moveTo>
                    <a:pt x="925830" y="31433"/>
                  </a:moveTo>
                  <a:cubicBezTo>
                    <a:pt x="925830" y="48578"/>
                    <a:pt x="940118" y="62865"/>
                    <a:pt x="957263" y="62865"/>
                  </a:cubicBezTo>
                  <a:cubicBezTo>
                    <a:pt x="974408" y="62865"/>
                    <a:pt x="988695" y="48578"/>
                    <a:pt x="988695" y="31433"/>
                  </a:cubicBezTo>
                  <a:cubicBezTo>
                    <a:pt x="988695" y="14288"/>
                    <a:pt x="974408" y="0"/>
                    <a:pt x="957263" y="0"/>
                  </a:cubicBezTo>
                  <a:cubicBezTo>
                    <a:pt x="940118" y="0"/>
                    <a:pt x="925830" y="14288"/>
                    <a:pt x="925830" y="31433"/>
                  </a:cubicBezTo>
                  <a:close/>
                  <a:moveTo>
                    <a:pt x="913448" y="450533"/>
                  </a:moveTo>
                  <a:cubicBezTo>
                    <a:pt x="913448" y="475298"/>
                    <a:pt x="933450" y="494348"/>
                    <a:pt x="957263" y="494348"/>
                  </a:cubicBezTo>
                  <a:cubicBezTo>
                    <a:pt x="982028" y="494348"/>
                    <a:pt x="1001078" y="474345"/>
                    <a:pt x="1001078" y="450533"/>
                  </a:cubicBezTo>
                  <a:cubicBezTo>
                    <a:pt x="1001078" y="426720"/>
                    <a:pt x="981075" y="406718"/>
                    <a:pt x="957263" y="406718"/>
                  </a:cubicBezTo>
                  <a:cubicBezTo>
                    <a:pt x="933450" y="406718"/>
                    <a:pt x="913448" y="426720"/>
                    <a:pt x="913448" y="450533"/>
                  </a:cubicBezTo>
                  <a:close/>
                  <a:moveTo>
                    <a:pt x="879158" y="1080135"/>
                  </a:moveTo>
                  <a:cubicBezTo>
                    <a:pt x="879158" y="1122998"/>
                    <a:pt x="914400" y="1158240"/>
                    <a:pt x="957263" y="1158240"/>
                  </a:cubicBezTo>
                  <a:cubicBezTo>
                    <a:pt x="1000125" y="1158240"/>
                    <a:pt x="1035368" y="1122998"/>
                    <a:pt x="1035368" y="1080135"/>
                  </a:cubicBezTo>
                  <a:cubicBezTo>
                    <a:pt x="1035368" y="1037273"/>
                    <a:pt x="1000125" y="1002030"/>
                    <a:pt x="957263" y="1002030"/>
                  </a:cubicBezTo>
                  <a:cubicBezTo>
                    <a:pt x="914400" y="1002030"/>
                    <a:pt x="879158" y="1036320"/>
                    <a:pt x="879158" y="1080135"/>
                  </a:cubicBezTo>
                  <a:close/>
                  <a:moveTo>
                    <a:pt x="244793" y="6789420"/>
                  </a:moveTo>
                  <a:cubicBezTo>
                    <a:pt x="244793" y="6818948"/>
                    <a:pt x="268605" y="6842760"/>
                    <a:pt x="298133" y="6842760"/>
                  </a:cubicBezTo>
                  <a:cubicBezTo>
                    <a:pt x="327660" y="6842760"/>
                    <a:pt x="351473" y="6818948"/>
                    <a:pt x="351473" y="6789420"/>
                  </a:cubicBezTo>
                  <a:cubicBezTo>
                    <a:pt x="351473" y="6759893"/>
                    <a:pt x="327660" y="6736080"/>
                    <a:pt x="298133" y="6736080"/>
                  </a:cubicBezTo>
                  <a:cubicBezTo>
                    <a:pt x="268605" y="6736080"/>
                    <a:pt x="244793" y="6759893"/>
                    <a:pt x="244793" y="6789420"/>
                  </a:cubicBezTo>
                  <a:close/>
                  <a:moveTo>
                    <a:pt x="236220" y="6548438"/>
                  </a:moveTo>
                  <a:cubicBezTo>
                    <a:pt x="236220" y="6582728"/>
                    <a:pt x="263843" y="6610350"/>
                    <a:pt x="298133" y="6610350"/>
                  </a:cubicBezTo>
                  <a:cubicBezTo>
                    <a:pt x="332423" y="6610350"/>
                    <a:pt x="360045" y="6582728"/>
                    <a:pt x="360045" y="6548438"/>
                  </a:cubicBezTo>
                  <a:cubicBezTo>
                    <a:pt x="360045" y="6514148"/>
                    <a:pt x="332423" y="6486525"/>
                    <a:pt x="298133" y="6486525"/>
                  </a:cubicBezTo>
                  <a:cubicBezTo>
                    <a:pt x="263843" y="6486525"/>
                    <a:pt x="236220" y="6514148"/>
                    <a:pt x="236220" y="6548438"/>
                  </a:cubicBezTo>
                  <a:close/>
                  <a:moveTo>
                    <a:pt x="244793" y="5918835"/>
                  </a:moveTo>
                  <a:cubicBezTo>
                    <a:pt x="244793" y="5948363"/>
                    <a:pt x="268605" y="5972175"/>
                    <a:pt x="298133" y="5972175"/>
                  </a:cubicBezTo>
                  <a:cubicBezTo>
                    <a:pt x="327660" y="5972175"/>
                    <a:pt x="351473" y="5948363"/>
                    <a:pt x="351473" y="5918835"/>
                  </a:cubicBezTo>
                  <a:cubicBezTo>
                    <a:pt x="351473" y="5889308"/>
                    <a:pt x="327660" y="5865495"/>
                    <a:pt x="298133" y="5865495"/>
                  </a:cubicBezTo>
                  <a:cubicBezTo>
                    <a:pt x="268605" y="5865495"/>
                    <a:pt x="244793" y="5890260"/>
                    <a:pt x="244793" y="5918835"/>
                  </a:cubicBezTo>
                  <a:close/>
                  <a:moveTo>
                    <a:pt x="262890" y="5499735"/>
                  </a:moveTo>
                  <a:cubicBezTo>
                    <a:pt x="262890" y="5518785"/>
                    <a:pt x="279083" y="5534978"/>
                    <a:pt x="298133" y="5534978"/>
                  </a:cubicBezTo>
                  <a:cubicBezTo>
                    <a:pt x="317183" y="5534978"/>
                    <a:pt x="333375" y="5518785"/>
                    <a:pt x="333375" y="5499735"/>
                  </a:cubicBezTo>
                  <a:cubicBezTo>
                    <a:pt x="333375" y="5480685"/>
                    <a:pt x="317183" y="5464493"/>
                    <a:pt x="298133" y="5464493"/>
                  </a:cubicBezTo>
                  <a:cubicBezTo>
                    <a:pt x="279083" y="5464493"/>
                    <a:pt x="262890" y="5480685"/>
                    <a:pt x="262890" y="5499735"/>
                  </a:cubicBezTo>
                  <a:close/>
                  <a:moveTo>
                    <a:pt x="266700" y="5290185"/>
                  </a:moveTo>
                  <a:cubicBezTo>
                    <a:pt x="266700" y="5307330"/>
                    <a:pt x="280988" y="5321618"/>
                    <a:pt x="298133" y="5321618"/>
                  </a:cubicBezTo>
                  <a:cubicBezTo>
                    <a:pt x="315278" y="5321618"/>
                    <a:pt x="329565" y="5307330"/>
                    <a:pt x="329565" y="5290185"/>
                  </a:cubicBezTo>
                  <a:cubicBezTo>
                    <a:pt x="329565" y="5273040"/>
                    <a:pt x="315278" y="5258753"/>
                    <a:pt x="298133" y="5258753"/>
                  </a:cubicBezTo>
                  <a:cubicBezTo>
                    <a:pt x="280988" y="5258753"/>
                    <a:pt x="266700" y="5273040"/>
                    <a:pt x="266700" y="5290185"/>
                  </a:cubicBezTo>
                  <a:close/>
                  <a:moveTo>
                    <a:pt x="236220" y="6129338"/>
                  </a:moveTo>
                  <a:cubicBezTo>
                    <a:pt x="236220" y="6163628"/>
                    <a:pt x="263843" y="6191250"/>
                    <a:pt x="298133" y="6191250"/>
                  </a:cubicBezTo>
                  <a:cubicBezTo>
                    <a:pt x="332423" y="6191250"/>
                    <a:pt x="360045" y="6163628"/>
                    <a:pt x="360045" y="6129338"/>
                  </a:cubicBezTo>
                  <a:cubicBezTo>
                    <a:pt x="360045" y="6095048"/>
                    <a:pt x="332423" y="6067425"/>
                    <a:pt x="298133" y="6067425"/>
                  </a:cubicBezTo>
                  <a:cubicBezTo>
                    <a:pt x="263843" y="6067425"/>
                    <a:pt x="236220" y="6095048"/>
                    <a:pt x="236220" y="6129338"/>
                  </a:cubicBezTo>
                  <a:close/>
                  <a:moveTo>
                    <a:pt x="253365" y="5709285"/>
                  </a:moveTo>
                  <a:cubicBezTo>
                    <a:pt x="253365" y="5734050"/>
                    <a:pt x="273368" y="5753100"/>
                    <a:pt x="297180" y="5753100"/>
                  </a:cubicBezTo>
                  <a:cubicBezTo>
                    <a:pt x="320993" y="5753100"/>
                    <a:pt x="340995" y="5733098"/>
                    <a:pt x="340995" y="5709285"/>
                  </a:cubicBezTo>
                  <a:cubicBezTo>
                    <a:pt x="340995" y="5684520"/>
                    <a:pt x="320993" y="5665470"/>
                    <a:pt x="297180" y="5665470"/>
                  </a:cubicBezTo>
                  <a:cubicBezTo>
                    <a:pt x="273368" y="5665470"/>
                    <a:pt x="253365" y="5685473"/>
                    <a:pt x="253365" y="5709285"/>
                  </a:cubicBezTo>
                  <a:close/>
                  <a:moveTo>
                    <a:pt x="266700" y="4871085"/>
                  </a:moveTo>
                  <a:cubicBezTo>
                    <a:pt x="266700" y="4888230"/>
                    <a:pt x="280988" y="4902518"/>
                    <a:pt x="298133" y="4902518"/>
                  </a:cubicBezTo>
                  <a:cubicBezTo>
                    <a:pt x="315278" y="4902518"/>
                    <a:pt x="329565" y="4888230"/>
                    <a:pt x="329565" y="4871085"/>
                  </a:cubicBezTo>
                  <a:cubicBezTo>
                    <a:pt x="329565" y="4853940"/>
                    <a:pt x="315278" y="4839653"/>
                    <a:pt x="298133" y="4839653"/>
                  </a:cubicBezTo>
                  <a:cubicBezTo>
                    <a:pt x="280988" y="4839653"/>
                    <a:pt x="266700" y="4852988"/>
                    <a:pt x="266700" y="4871085"/>
                  </a:cubicBezTo>
                  <a:close/>
                  <a:moveTo>
                    <a:pt x="266700" y="4660583"/>
                  </a:moveTo>
                  <a:cubicBezTo>
                    <a:pt x="266700" y="4677728"/>
                    <a:pt x="280988" y="4692015"/>
                    <a:pt x="298133" y="4692015"/>
                  </a:cubicBezTo>
                  <a:cubicBezTo>
                    <a:pt x="315278" y="4692015"/>
                    <a:pt x="329565" y="4677728"/>
                    <a:pt x="329565" y="4660583"/>
                  </a:cubicBezTo>
                  <a:cubicBezTo>
                    <a:pt x="329565" y="4643438"/>
                    <a:pt x="315278" y="4629150"/>
                    <a:pt x="298133" y="4629150"/>
                  </a:cubicBezTo>
                  <a:cubicBezTo>
                    <a:pt x="280988" y="4630103"/>
                    <a:pt x="266700" y="4643438"/>
                    <a:pt x="266700" y="4660583"/>
                  </a:cubicBezTo>
                  <a:close/>
                  <a:moveTo>
                    <a:pt x="266700" y="5080635"/>
                  </a:moveTo>
                  <a:cubicBezTo>
                    <a:pt x="266700" y="5097780"/>
                    <a:pt x="280988" y="5112068"/>
                    <a:pt x="298133" y="5112068"/>
                  </a:cubicBezTo>
                  <a:cubicBezTo>
                    <a:pt x="315278" y="5112068"/>
                    <a:pt x="329565" y="5097780"/>
                    <a:pt x="329565" y="5080635"/>
                  </a:cubicBezTo>
                  <a:cubicBezTo>
                    <a:pt x="329565" y="5063490"/>
                    <a:pt x="315278" y="5049203"/>
                    <a:pt x="298133" y="5049203"/>
                  </a:cubicBezTo>
                  <a:cubicBezTo>
                    <a:pt x="280988" y="5049203"/>
                    <a:pt x="266700" y="5063490"/>
                    <a:pt x="266700" y="5080635"/>
                  </a:cubicBezTo>
                  <a:close/>
                  <a:moveTo>
                    <a:pt x="220028" y="6338888"/>
                  </a:moveTo>
                  <a:cubicBezTo>
                    <a:pt x="220028" y="6381750"/>
                    <a:pt x="255270" y="6416993"/>
                    <a:pt x="298133" y="6416993"/>
                  </a:cubicBezTo>
                  <a:cubicBezTo>
                    <a:pt x="340995" y="6416993"/>
                    <a:pt x="376238" y="6381750"/>
                    <a:pt x="376238" y="6338888"/>
                  </a:cubicBezTo>
                  <a:cubicBezTo>
                    <a:pt x="376238" y="6296025"/>
                    <a:pt x="340995" y="6260783"/>
                    <a:pt x="298133" y="6260783"/>
                  </a:cubicBezTo>
                  <a:cubicBezTo>
                    <a:pt x="255270" y="6260783"/>
                    <a:pt x="220028" y="6295073"/>
                    <a:pt x="220028" y="6338888"/>
                  </a:cubicBezTo>
                  <a:close/>
                  <a:moveTo>
                    <a:pt x="46673" y="4428173"/>
                  </a:moveTo>
                  <a:cubicBezTo>
                    <a:pt x="46673" y="4445318"/>
                    <a:pt x="60960" y="4459605"/>
                    <a:pt x="78105" y="4459605"/>
                  </a:cubicBezTo>
                  <a:cubicBezTo>
                    <a:pt x="95250" y="4459605"/>
                    <a:pt x="109538" y="4445318"/>
                    <a:pt x="109538" y="4428173"/>
                  </a:cubicBezTo>
                  <a:cubicBezTo>
                    <a:pt x="109538" y="4411028"/>
                    <a:pt x="95250" y="4396740"/>
                    <a:pt x="78105" y="4396740"/>
                  </a:cubicBezTo>
                  <a:cubicBezTo>
                    <a:pt x="60960" y="4396740"/>
                    <a:pt x="46673" y="4411028"/>
                    <a:pt x="46673" y="4428173"/>
                  </a:cubicBezTo>
                  <a:close/>
                  <a:moveTo>
                    <a:pt x="46673" y="4222433"/>
                  </a:moveTo>
                  <a:cubicBezTo>
                    <a:pt x="46673" y="4239578"/>
                    <a:pt x="60960" y="4253865"/>
                    <a:pt x="78105" y="4253865"/>
                  </a:cubicBezTo>
                  <a:cubicBezTo>
                    <a:pt x="95250" y="4253865"/>
                    <a:pt x="109538" y="4239578"/>
                    <a:pt x="109538" y="4222433"/>
                  </a:cubicBezTo>
                  <a:cubicBezTo>
                    <a:pt x="109538" y="4205288"/>
                    <a:pt x="95250" y="4191000"/>
                    <a:pt x="78105" y="4191000"/>
                  </a:cubicBezTo>
                  <a:cubicBezTo>
                    <a:pt x="60960" y="4191000"/>
                    <a:pt x="46673" y="4205288"/>
                    <a:pt x="46673" y="4222433"/>
                  </a:cubicBezTo>
                  <a:close/>
                  <a:moveTo>
                    <a:pt x="34290" y="3604260"/>
                  </a:moveTo>
                  <a:cubicBezTo>
                    <a:pt x="34290" y="3629025"/>
                    <a:pt x="54293" y="3648075"/>
                    <a:pt x="78105" y="3648075"/>
                  </a:cubicBezTo>
                  <a:cubicBezTo>
                    <a:pt x="101918" y="3648075"/>
                    <a:pt x="121920" y="3628073"/>
                    <a:pt x="121920" y="3604260"/>
                  </a:cubicBezTo>
                  <a:cubicBezTo>
                    <a:pt x="121920" y="3580448"/>
                    <a:pt x="101918" y="3560445"/>
                    <a:pt x="78105" y="3560445"/>
                  </a:cubicBezTo>
                  <a:cubicBezTo>
                    <a:pt x="54293" y="3560445"/>
                    <a:pt x="34290" y="3579495"/>
                    <a:pt x="34290" y="3604260"/>
                  </a:cubicBezTo>
                  <a:close/>
                  <a:moveTo>
                    <a:pt x="24765" y="3397568"/>
                  </a:moveTo>
                  <a:cubicBezTo>
                    <a:pt x="24765" y="3427095"/>
                    <a:pt x="48578" y="3450908"/>
                    <a:pt x="78105" y="3450908"/>
                  </a:cubicBezTo>
                  <a:cubicBezTo>
                    <a:pt x="107633" y="3450908"/>
                    <a:pt x="131445" y="3427095"/>
                    <a:pt x="131445" y="3397568"/>
                  </a:cubicBezTo>
                  <a:cubicBezTo>
                    <a:pt x="131445" y="3368040"/>
                    <a:pt x="107633" y="3344228"/>
                    <a:pt x="78105" y="3344228"/>
                  </a:cubicBezTo>
                  <a:cubicBezTo>
                    <a:pt x="48578" y="3344228"/>
                    <a:pt x="24765" y="3368040"/>
                    <a:pt x="24765" y="3397568"/>
                  </a:cubicBezTo>
                  <a:close/>
                  <a:moveTo>
                    <a:pt x="16193" y="3191828"/>
                  </a:moveTo>
                  <a:cubicBezTo>
                    <a:pt x="16193" y="3226118"/>
                    <a:pt x="43815" y="3253740"/>
                    <a:pt x="78105" y="3253740"/>
                  </a:cubicBezTo>
                  <a:cubicBezTo>
                    <a:pt x="112395" y="3253740"/>
                    <a:pt x="140018" y="3226118"/>
                    <a:pt x="140018" y="3191828"/>
                  </a:cubicBezTo>
                  <a:cubicBezTo>
                    <a:pt x="140018" y="3157538"/>
                    <a:pt x="112395" y="3129915"/>
                    <a:pt x="78105" y="3129915"/>
                  </a:cubicBezTo>
                  <a:cubicBezTo>
                    <a:pt x="43815" y="3129915"/>
                    <a:pt x="16193" y="3157538"/>
                    <a:pt x="16193" y="3191828"/>
                  </a:cubicBezTo>
                  <a:close/>
                  <a:moveTo>
                    <a:pt x="46673" y="4016693"/>
                  </a:moveTo>
                  <a:cubicBezTo>
                    <a:pt x="46673" y="4033838"/>
                    <a:pt x="60960" y="4048125"/>
                    <a:pt x="78105" y="4048125"/>
                  </a:cubicBezTo>
                  <a:cubicBezTo>
                    <a:pt x="95250" y="4048125"/>
                    <a:pt x="109538" y="4033838"/>
                    <a:pt x="109538" y="4016693"/>
                  </a:cubicBezTo>
                  <a:cubicBezTo>
                    <a:pt x="109538" y="3999548"/>
                    <a:pt x="95250" y="3985260"/>
                    <a:pt x="78105" y="3985260"/>
                  </a:cubicBezTo>
                  <a:cubicBezTo>
                    <a:pt x="60960" y="3985260"/>
                    <a:pt x="46673" y="3998595"/>
                    <a:pt x="46673" y="4016693"/>
                  </a:cubicBezTo>
                  <a:close/>
                  <a:moveTo>
                    <a:pt x="42863" y="3810000"/>
                  </a:moveTo>
                  <a:cubicBezTo>
                    <a:pt x="42863" y="3829050"/>
                    <a:pt x="59055" y="3845243"/>
                    <a:pt x="78105" y="3845243"/>
                  </a:cubicBezTo>
                  <a:cubicBezTo>
                    <a:pt x="97155" y="3845243"/>
                    <a:pt x="113348" y="3829050"/>
                    <a:pt x="113348" y="3810000"/>
                  </a:cubicBezTo>
                  <a:cubicBezTo>
                    <a:pt x="113348" y="3790950"/>
                    <a:pt x="97155" y="3774758"/>
                    <a:pt x="78105" y="3774758"/>
                  </a:cubicBezTo>
                  <a:cubicBezTo>
                    <a:pt x="59055" y="3774758"/>
                    <a:pt x="42863" y="3790950"/>
                    <a:pt x="42863" y="3810000"/>
                  </a:cubicBezTo>
                  <a:close/>
                  <a:moveTo>
                    <a:pt x="24765" y="2573655"/>
                  </a:moveTo>
                  <a:cubicBezTo>
                    <a:pt x="24765" y="2603183"/>
                    <a:pt x="48578" y="2626995"/>
                    <a:pt x="78105" y="2626995"/>
                  </a:cubicBezTo>
                  <a:cubicBezTo>
                    <a:pt x="107633" y="2626995"/>
                    <a:pt x="131445" y="2603183"/>
                    <a:pt x="131445" y="2573655"/>
                  </a:cubicBezTo>
                  <a:cubicBezTo>
                    <a:pt x="131445" y="2544128"/>
                    <a:pt x="107633" y="2520315"/>
                    <a:pt x="78105" y="2520315"/>
                  </a:cubicBezTo>
                  <a:cubicBezTo>
                    <a:pt x="48578" y="2520315"/>
                    <a:pt x="24765" y="2544128"/>
                    <a:pt x="24765" y="2573655"/>
                  </a:cubicBezTo>
                  <a:close/>
                  <a:moveTo>
                    <a:pt x="34290" y="2366963"/>
                  </a:moveTo>
                  <a:cubicBezTo>
                    <a:pt x="34290" y="2391728"/>
                    <a:pt x="54293" y="2410778"/>
                    <a:pt x="78105" y="2410778"/>
                  </a:cubicBezTo>
                  <a:cubicBezTo>
                    <a:pt x="101918" y="2410778"/>
                    <a:pt x="121920" y="2390775"/>
                    <a:pt x="121920" y="2366963"/>
                  </a:cubicBezTo>
                  <a:cubicBezTo>
                    <a:pt x="121920" y="2343150"/>
                    <a:pt x="101918" y="2323148"/>
                    <a:pt x="78105" y="2323148"/>
                  </a:cubicBezTo>
                  <a:cubicBezTo>
                    <a:pt x="54293" y="2323148"/>
                    <a:pt x="34290" y="2342198"/>
                    <a:pt x="34290" y="2366963"/>
                  </a:cubicBezTo>
                  <a:close/>
                  <a:moveTo>
                    <a:pt x="16193" y="2779395"/>
                  </a:moveTo>
                  <a:cubicBezTo>
                    <a:pt x="16193" y="2813685"/>
                    <a:pt x="43815" y="2841308"/>
                    <a:pt x="78105" y="2841308"/>
                  </a:cubicBezTo>
                  <a:cubicBezTo>
                    <a:pt x="112395" y="2841308"/>
                    <a:pt x="140018" y="2813685"/>
                    <a:pt x="140018" y="2779395"/>
                  </a:cubicBezTo>
                  <a:cubicBezTo>
                    <a:pt x="140018" y="2745105"/>
                    <a:pt x="112395" y="2717483"/>
                    <a:pt x="78105" y="2717483"/>
                  </a:cubicBezTo>
                  <a:cubicBezTo>
                    <a:pt x="43815" y="2717483"/>
                    <a:pt x="16193" y="2745105"/>
                    <a:pt x="16193" y="2779395"/>
                  </a:cubicBezTo>
                  <a:close/>
                  <a:moveTo>
                    <a:pt x="0" y="2985135"/>
                  </a:moveTo>
                  <a:cubicBezTo>
                    <a:pt x="0" y="3027998"/>
                    <a:pt x="35243" y="3063240"/>
                    <a:pt x="78105" y="3063240"/>
                  </a:cubicBezTo>
                  <a:cubicBezTo>
                    <a:pt x="120968" y="3063240"/>
                    <a:pt x="156210" y="3027998"/>
                    <a:pt x="156210" y="2985135"/>
                  </a:cubicBezTo>
                  <a:cubicBezTo>
                    <a:pt x="156210" y="2942273"/>
                    <a:pt x="120968" y="2907030"/>
                    <a:pt x="78105" y="2907030"/>
                  </a:cubicBezTo>
                  <a:cubicBezTo>
                    <a:pt x="35243" y="2907030"/>
                    <a:pt x="0" y="2942273"/>
                    <a:pt x="0" y="2985135"/>
                  </a:cubicBezTo>
                  <a:close/>
                  <a:moveTo>
                    <a:pt x="266700" y="4495800"/>
                  </a:moveTo>
                  <a:cubicBezTo>
                    <a:pt x="266700" y="4512945"/>
                    <a:pt x="280988" y="4527233"/>
                    <a:pt x="298133" y="4527233"/>
                  </a:cubicBezTo>
                  <a:cubicBezTo>
                    <a:pt x="315278" y="4527233"/>
                    <a:pt x="329565" y="4512945"/>
                    <a:pt x="329565" y="4495800"/>
                  </a:cubicBezTo>
                  <a:cubicBezTo>
                    <a:pt x="329565" y="4478655"/>
                    <a:pt x="315278" y="4464368"/>
                    <a:pt x="298133" y="4464368"/>
                  </a:cubicBezTo>
                  <a:cubicBezTo>
                    <a:pt x="280988" y="4464368"/>
                    <a:pt x="266700" y="4477703"/>
                    <a:pt x="266700" y="4495800"/>
                  </a:cubicBezTo>
                  <a:close/>
                  <a:moveTo>
                    <a:pt x="266700" y="4254818"/>
                  </a:moveTo>
                  <a:cubicBezTo>
                    <a:pt x="266700" y="4271963"/>
                    <a:pt x="280988" y="4286250"/>
                    <a:pt x="298133" y="4286250"/>
                  </a:cubicBezTo>
                  <a:cubicBezTo>
                    <a:pt x="315278" y="4286250"/>
                    <a:pt x="329565" y="4271963"/>
                    <a:pt x="329565" y="4254818"/>
                  </a:cubicBezTo>
                  <a:cubicBezTo>
                    <a:pt x="329565" y="4237673"/>
                    <a:pt x="315278" y="4223385"/>
                    <a:pt x="298133" y="4223385"/>
                  </a:cubicBezTo>
                  <a:cubicBezTo>
                    <a:pt x="280988" y="4223385"/>
                    <a:pt x="266700" y="4236720"/>
                    <a:pt x="266700" y="4254818"/>
                  </a:cubicBezTo>
                  <a:close/>
                  <a:moveTo>
                    <a:pt x="262890" y="3625215"/>
                  </a:moveTo>
                  <a:cubicBezTo>
                    <a:pt x="262890" y="3644265"/>
                    <a:pt x="279083" y="3660458"/>
                    <a:pt x="298133" y="3660458"/>
                  </a:cubicBezTo>
                  <a:cubicBezTo>
                    <a:pt x="317183" y="3660458"/>
                    <a:pt x="333375" y="3644265"/>
                    <a:pt x="333375" y="3625215"/>
                  </a:cubicBezTo>
                  <a:cubicBezTo>
                    <a:pt x="333375" y="3606165"/>
                    <a:pt x="317183" y="3589973"/>
                    <a:pt x="298133" y="3589973"/>
                  </a:cubicBezTo>
                  <a:cubicBezTo>
                    <a:pt x="279083" y="3589973"/>
                    <a:pt x="262890" y="3606165"/>
                    <a:pt x="262890" y="3625215"/>
                  </a:cubicBezTo>
                  <a:close/>
                  <a:moveTo>
                    <a:pt x="253365" y="3415665"/>
                  </a:moveTo>
                  <a:cubicBezTo>
                    <a:pt x="253365" y="3440430"/>
                    <a:pt x="273368" y="3459480"/>
                    <a:pt x="297180" y="3459480"/>
                  </a:cubicBezTo>
                  <a:cubicBezTo>
                    <a:pt x="320993" y="3459480"/>
                    <a:pt x="340995" y="3439478"/>
                    <a:pt x="340995" y="3415665"/>
                  </a:cubicBezTo>
                  <a:cubicBezTo>
                    <a:pt x="340995" y="3391853"/>
                    <a:pt x="320993" y="3371850"/>
                    <a:pt x="297180" y="3371850"/>
                  </a:cubicBezTo>
                  <a:cubicBezTo>
                    <a:pt x="273368" y="3371850"/>
                    <a:pt x="253365" y="3390900"/>
                    <a:pt x="253365" y="3415665"/>
                  </a:cubicBezTo>
                  <a:close/>
                  <a:moveTo>
                    <a:pt x="244793" y="3206115"/>
                  </a:moveTo>
                  <a:cubicBezTo>
                    <a:pt x="244793" y="3235643"/>
                    <a:pt x="268605" y="3259455"/>
                    <a:pt x="298133" y="3259455"/>
                  </a:cubicBezTo>
                  <a:cubicBezTo>
                    <a:pt x="327660" y="3259455"/>
                    <a:pt x="351473" y="3235643"/>
                    <a:pt x="351473" y="3206115"/>
                  </a:cubicBezTo>
                  <a:cubicBezTo>
                    <a:pt x="351473" y="3176588"/>
                    <a:pt x="327660" y="3152775"/>
                    <a:pt x="298133" y="3152775"/>
                  </a:cubicBezTo>
                  <a:cubicBezTo>
                    <a:pt x="268605" y="3152775"/>
                    <a:pt x="244793" y="3176588"/>
                    <a:pt x="244793" y="3206115"/>
                  </a:cubicBezTo>
                  <a:close/>
                  <a:moveTo>
                    <a:pt x="266700" y="4044315"/>
                  </a:moveTo>
                  <a:cubicBezTo>
                    <a:pt x="266700" y="4061460"/>
                    <a:pt x="280988" y="4075748"/>
                    <a:pt x="298133" y="4075748"/>
                  </a:cubicBezTo>
                  <a:cubicBezTo>
                    <a:pt x="315278" y="4075748"/>
                    <a:pt x="329565" y="4061460"/>
                    <a:pt x="329565" y="4044315"/>
                  </a:cubicBezTo>
                  <a:cubicBezTo>
                    <a:pt x="329565" y="4027170"/>
                    <a:pt x="315278" y="4012883"/>
                    <a:pt x="298133" y="4012883"/>
                  </a:cubicBezTo>
                  <a:cubicBezTo>
                    <a:pt x="280988" y="4013835"/>
                    <a:pt x="266700" y="4027170"/>
                    <a:pt x="266700" y="4044315"/>
                  </a:cubicBezTo>
                  <a:close/>
                  <a:moveTo>
                    <a:pt x="266700" y="3834765"/>
                  </a:moveTo>
                  <a:cubicBezTo>
                    <a:pt x="266700" y="3851910"/>
                    <a:pt x="280988" y="3866198"/>
                    <a:pt x="298133" y="3866198"/>
                  </a:cubicBezTo>
                  <a:cubicBezTo>
                    <a:pt x="315278" y="3866198"/>
                    <a:pt x="329565" y="3851910"/>
                    <a:pt x="329565" y="3834765"/>
                  </a:cubicBezTo>
                  <a:cubicBezTo>
                    <a:pt x="329565" y="3817620"/>
                    <a:pt x="315278" y="3803333"/>
                    <a:pt x="298133" y="3803333"/>
                  </a:cubicBezTo>
                  <a:cubicBezTo>
                    <a:pt x="280988" y="3803333"/>
                    <a:pt x="266700" y="3817620"/>
                    <a:pt x="266700" y="3834765"/>
                  </a:cubicBezTo>
                  <a:close/>
                  <a:moveTo>
                    <a:pt x="236220" y="2576513"/>
                  </a:moveTo>
                  <a:cubicBezTo>
                    <a:pt x="236220" y="2610803"/>
                    <a:pt x="263843" y="2638425"/>
                    <a:pt x="298133" y="2638425"/>
                  </a:cubicBezTo>
                  <a:cubicBezTo>
                    <a:pt x="332423" y="2638425"/>
                    <a:pt x="360045" y="2610803"/>
                    <a:pt x="360045" y="2576513"/>
                  </a:cubicBezTo>
                  <a:cubicBezTo>
                    <a:pt x="360045" y="2542223"/>
                    <a:pt x="332423" y="2514600"/>
                    <a:pt x="298133" y="2514600"/>
                  </a:cubicBezTo>
                  <a:cubicBezTo>
                    <a:pt x="263843" y="2514600"/>
                    <a:pt x="236220" y="2542223"/>
                    <a:pt x="236220" y="2576513"/>
                  </a:cubicBezTo>
                  <a:close/>
                  <a:moveTo>
                    <a:pt x="244793" y="2366963"/>
                  </a:moveTo>
                  <a:cubicBezTo>
                    <a:pt x="244793" y="2396490"/>
                    <a:pt x="268605" y="2420303"/>
                    <a:pt x="298133" y="2420303"/>
                  </a:cubicBezTo>
                  <a:cubicBezTo>
                    <a:pt x="327660" y="2420303"/>
                    <a:pt x="351473" y="2396490"/>
                    <a:pt x="351473" y="2366963"/>
                  </a:cubicBezTo>
                  <a:cubicBezTo>
                    <a:pt x="351473" y="2337435"/>
                    <a:pt x="327660" y="2313623"/>
                    <a:pt x="298133" y="2313623"/>
                  </a:cubicBezTo>
                  <a:cubicBezTo>
                    <a:pt x="268605" y="2313623"/>
                    <a:pt x="244793" y="2337435"/>
                    <a:pt x="244793" y="2366963"/>
                  </a:cubicBezTo>
                  <a:close/>
                  <a:moveTo>
                    <a:pt x="236220" y="2996565"/>
                  </a:moveTo>
                  <a:cubicBezTo>
                    <a:pt x="236220" y="3030855"/>
                    <a:pt x="263843" y="3058478"/>
                    <a:pt x="298133" y="3058478"/>
                  </a:cubicBezTo>
                  <a:cubicBezTo>
                    <a:pt x="332423" y="3058478"/>
                    <a:pt x="360045" y="3030855"/>
                    <a:pt x="360045" y="2996565"/>
                  </a:cubicBezTo>
                  <a:cubicBezTo>
                    <a:pt x="360045" y="2962275"/>
                    <a:pt x="332423" y="2934653"/>
                    <a:pt x="298133" y="2934653"/>
                  </a:cubicBezTo>
                  <a:cubicBezTo>
                    <a:pt x="263843" y="2934653"/>
                    <a:pt x="236220" y="2962275"/>
                    <a:pt x="236220" y="2996565"/>
                  </a:cubicBezTo>
                  <a:close/>
                  <a:moveTo>
                    <a:pt x="220028" y="2786063"/>
                  </a:moveTo>
                  <a:cubicBezTo>
                    <a:pt x="220028" y="2828925"/>
                    <a:pt x="255270" y="2864168"/>
                    <a:pt x="298133" y="2864168"/>
                  </a:cubicBezTo>
                  <a:cubicBezTo>
                    <a:pt x="340995" y="2864168"/>
                    <a:pt x="376238" y="2828925"/>
                    <a:pt x="376238" y="2786063"/>
                  </a:cubicBezTo>
                  <a:cubicBezTo>
                    <a:pt x="376238" y="2743200"/>
                    <a:pt x="340995" y="2707958"/>
                    <a:pt x="298133" y="2707958"/>
                  </a:cubicBezTo>
                  <a:cubicBezTo>
                    <a:pt x="255270" y="2707958"/>
                    <a:pt x="220028" y="2743200"/>
                    <a:pt x="220028" y="2786063"/>
                  </a:cubicBezTo>
                  <a:close/>
                  <a:moveTo>
                    <a:pt x="464820" y="6406515"/>
                  </a:moveTo>
                  <a:cubicBezTo>
                    <a:pt x="464820" y="6436043"/>
                    <a:pt x="488633" y="6459855"/>
                    <a:pt x="518160" y="6459855"/>
                  </a:cubicBezTo>
                  <a:cubicBezTo>
                    <a:pt x="547688" y="6459855"/>
                    <a:pt x="571500" y="6436043"/>
                    <a:pt x="571500" y="6406515"/>
                  </a:cubicBezTo>
                  <a:cubicBezTo>
                    <a:pt x="571500" y="6376988"/>
                    <a:pt x="547688" y="6353175"/>
                    <a:pt x="518160" y="6353175"/>
                  </a:cubicBezTo>
                  <a:cubicBezTo>
                    <a:pt x="488633" y="6353175"/>
                    <a:pt x="464820" y="6376988"/>
                    <a:pt x="464820" y="6406515"/>
                  </a:cubicBezTo>
                  <a:close/>
                  <a:moveTo>
                    <a:pt x="481965" y="5980748"/>
                  </a:moveTo>
                  <a:cubicBezTo>
                    <a:pt x="481965" y="5999798"/>
                    <a:pt x="498158" y="6015990"/>
                    <a:pt x="517208" y="6015990"/>
                  </a:cubicBezTo>
                  <a:cubicBezTo>
                    <a:pt x="536258" y="6015990"/>
                    <a:pt x="552450" y="5999798"/>
                    <a:pt x="552450" y="5980748"/>
                  </a:cubicBezTo>
                  <a:cubicBezTo>
                    <a:pt x="552450" y="5961698"/>
                    <a:pt x="536258" y="5945505"/>
                    <a:pt x="517208" y="5945505"/>
                  </a:cubicBezTo>
                  <a:cubicBezTo>
                    <a:pt x="498158" y="5945505"/>
                    <a:pt x="481965" y="5961698"/>
                    <a:pt x="481965" y="5980748"/>
                  </a:cubicBezTo>
                  <a:close/>
                  <a:moveTo>
                    <a:pt x="486728" y="5555933"/>
                  </a:moveTo>
                  <a:cubicBezTo>
                    <a:pt x="486728" y="5573078"/>
                    <a:pt x="501015" y="5587365"/>
                    <a:pt x="518160" y="5587365"/>
                  </a:cubicBezTo>
                  <a:cubicBezTo>
                    <a:pt x="535305" y="5587365"/>
                    <a:pt x="549593" y="5573078"/>
                    <a:pt x="549593" y="5555933"/>
                  </a:cubicBezTo>
                  <a:cubicBezTo>
                    <a:pt x="549593" y="5538788"/>
                    <a:pt x="535305" y="5524500"/>
                    <a:pt x="518160" y="5524500"/>
                  </a:cubicBezTo>
                  <a:cubicBezTo>
                    <a:pt x="500063" y="5524500"/>
                    <a:pt x="486728" y="5538788"/>
                    <a:pt x="486728" y="5555933"/>
                  </a:cubicBezTo>
                  <a:close/>
                  <a:moveTo>
                    <a:pt x="486728" y="5343525"/>
                  </a:moveTo>
                  <a:cubicBezTo>
                    <a:pt x="486728" y="5360670"/>
                    <a:pt x="501015" y="5374958"/>
                    <a:pt x="518160" y="5374958"/>
                  </a:cubicBezTo>
                  <a:cubicBezTo>
                    <a:pt x="535305" y="5374958"/>
                    <a:pt x="549593" y="5360670"/>
                    <a:pt x="549593" y="5343525"/>
                  </a:cubicBezTo>
                  <a:cubicBezTo>
                    <a:pt x="549593" y="5326380"/>
                    <a:pt x="535305" y="5312093"/>
                    <a:pt x="518160" y="5312093"/>
                  </a:cubicBezTo>
                  <a:cubicBezTo>
                    <a:pt x="500063" y="5312093"/>
                    <a:pt x="486728" y="5326380"/>
                    <a:pt x="486728" y="5343525"/>
                  </a:cubicBezTo>
                  <a:close/>
                  <a:moveTo>
                    <a:pt x="473393" y="6194108"/>
                  </a:moveTo>
                  <a:cubicBezTo>
                    <a:pt x="473393" y="6218873"/>
                    <a:pt x="493395" y="6237923"/>
                    <a:pt x="517208" y="6237923"/>
                  </a:cubicBezTo>
                  <a:cubicBezTo>
                    <a:pt x="541973" y="6237923"/>
                    <a:pt x="561023" y="6217920"/>
                    <a:pt x="561023" y="6194108"/>
                  </a:cubicBezTo>
                  <a:cubicBezTo>
                    <a:pt x="561023" y="6169343"/>
                    <a:pt x="541020" y="6150293"/>
                    <a:pt x="517208" y="6150293"/>
                  </a:cubicBezTo>
                  <a:cubicBezTo>
                    <a:pt x="493395" y="6149340"/>
                    <a:pt x="473393" y="6169343"/>
                    <a:pt x="473393" y="6194108"/>
                  </a:cubicBezTo>
                  <a:close/>
                  <a:moveTo>
                    <a:pt x="486728" y="5768340"/>
                  </a:moveTo>
                  <a:cubicBezTo>
                    <a:pt x="486728" y="5785485"/>
                    <a:pt x="501015" y="5799773"/>
                    <a:pt x="518160" y="5799773"/>
                  </a:cubicBezTo>
                  <a:cubicBezTo>
                    <a:pt x="535305" y="5799773"/>
                    <a:pt x="549593" y="5785485"/>
                    <a:pt x="549593" y="5768340"/>
                  </a:cubicBezTo>
                  <a:cubicBezTo>
                    <a:pt x="549593" y="5751195"/>
                    <a:pt x="535305" y="5736908"/>
                    <a:pt x="518160" y="5736908"/>
                  </a:cubicBezTo>
                  <a:cubicBezTo>
                    <a:pt x="500063" y="5736908"/>
                    <a:pt x="486728" y="5751195"/>
                    <a:pt x="486728" y="5768340"/>
                  </a:cubicBezTo>
                  <a:close/>
                  <a:moveTo>
                    <a:pt x="486728" y="4917758"/>
                  </a:moveTo>
                  <a:cubicBezTo>
                    <a:pt x="486728" y="4934903"/>
                    <a:pt x="501015" y="4949190"/>
                    <a:pt x="518160" y="4949190"/>
                  </a:cubicBezTo>
                  <a:cubicBezTo>
                    <a:pt x="535305" y="4949190"/>
                    <a:pt x="549593" y="4934903"/>
                    <a:pt x="549593" y="4917758"/>
                  </a:cubicBezTo>
                  <a:cubicBezTo>
                    <a:pt x="549593" y="4900613"/>
                    <a:pt x="535305" y="4886325"/>
                    <a:pt x="518160" y="4886325"/>
                  </a:cubicBezTo>
                  <a:cubicBezTo>
                    <a:pt x="500063" y="4887278"/>
                    <a:pt x="486728" y="4900613"/>
                    <a:pt x="486728" y="4917758"/>
                  </a:cubicBezTo>
                  <a:close/>
                  <a:moveTo>
                    <a:pt x="486728" y="4705350"/>
                  </a:moveTo>
                  <a:cubicBezTo>
                    <a:pt x="486728" y="4722495"/>
                    <a:pt x="501015" y="4736783"/>
                    <a:pt x="518160" y="4736783"/>
                  </a:cubicBezTo>
                  <a:cubicBezTo>
                    <a:pt x="535305" y="4736783"/>
                    <a:pt x="549593" y="4722495"/>
                    <a:pt x="549593" y="4705350"/>
                  </a:cubicBezTo>
                  <a:cubicBezTo>
                    <a:pt x="549593" y="4688205"/>
                    <a:pt x="535305" y="4673918"/>
                    <a:pt x="518160" y="4673918"/>
                  </a:cubicBezTo>
                  <a:cubicBezTo>
                    <a:pt x="500063" y="4673918"/>
                    <a:pt x="486728" y="4688205"/>
                    <a:pt x="486728" y="4705350"/>
                  </a:cubicBezTo>
                  <a:close/>
                  <a:moveTo>
                    <a:pt x="486728" y="5131118"/>
                  </a:moveTo>
                  <a:cubicBezTo>
                    <a:pt x="486728" y="5148263"/>
                    <a:pt x="501015" y="5162550"/>
                    <a:pt x="518160" y="5162550"/>
                  </a:cubicBezTo>
                  <a:cubicBezTo>
                    <a:pt x="535305" y="5162550"/>
                    <a:pt x="549593" y="5148263"/>
                    <a:pt x="549593" y="5131118"/>
                  </a:cubicBezTo>
                  <a:cubicBezTo>
                    <a:pt x="549593" y="5113973"/>
                    <a:pt x="535305" y="5099685"/>
                    <a:pt x="518160" y="5099685"/>
                  </a:cubicBezTo>
                  <a:cubicBezTo>
                    <a:pt x="500063" y="5099685"/>
                    <a:pt x="486728" y="5113020"/>
                    <a:pt x="486728" y="5131118"/>
                  </a:cubicBezTo>
                  <a:close/>
                  <a:moveTo>
                    <a:pt x="706755" y="5253038"/>
                  </a:moveTo>
                  <a:cubicBezTo>
                    <a:pt x="706755" y="5270183"/>
                    <a:pt x="721043" y="5284470"/>
                    <a:pt x="738188" y="5284470"/>
                  </a:cubicBezTo>
                  <a:cubicBezTo>
                    <a:pt x="755333" y="5284470"/>
                    <a:pt x="769620" y="5270183"/>
                    <a:pt x="769620" y="5253038"/>
                  </a:cubicBezTo>
                  <a:cubicBezTo>
                    <a:pt x="769620" y="5235893"/>
                    <a:pt x="755333" y="5221605"/>
                    <a:pt x="738188" y="5221605"/>
                  </a:cubicBezTo>
                  <a:cubicBezTo>
                    <a:pt x="721043" y="5221605"/>
                    <a:pt x="706755" y="5235893"/>
                    <a:pt x="706755" y="5253038"/>
                  </a:cubicBezTo>
                  <a:close/>
                  <a:moveTo>
                    <a:pt x="706755" y="4840605"/>
                  </a:moveTo>
                  <a:cubicBezTo>
                    <a:pt x="706755" y="4857750"/>
                    <a:pt x="721043" y="4872038"/>
                    <a:pt x="738188" y="4872038"/>
                  </a:cubicBezTo>
                  <a:cubicBezTo>
                    <a:pt x="755333" y="4872038"/>
                    <a:pt x="769620" y="4857750"/>
                    <a:pt x="769620" y="4840605"/>
                  </a:cubicBezTo>
                  <a:cubicBezTo>
                    <a:pt x="769620" y="4823460"/>
                    <a:pt x="755333" y="4809173"/>
                    <a:pt x="738188" y="4809173"/>
                  </a:cubicBezTo>
                  <a:cubicBezTo>
                    <a:pt x="721043" y="4809173"/>
                    <a:pt x="706755" y="4823460"/>
                    <a:pt x="706755" y="4840605"/>
                  </a:cubicBezTo>
                  <a:close/>
                  <a:moveTo>
                    <a:pt x="706755" y="4634865"/>
                  </a:moveTo>
                  <a:cubicBezTo>
                    <a:pt x="706755" y="4652010"/>
                    <a:pt x="721043" y="4666298"/>
                    <a:pt x="738188" y="4666298"/>
                  </a:cubicBezTo>
                  <a:cubicBezTo>
                    <a:pt x="755333" y="4666298"/>
                    <a:pt x="769620" y="4652010"/>
                    <a:pt x="769620" y="4634865"/>
                  </a:cubicBezTo>
                  <a:cubicBezTo>
                    <a:pt x="769620" y="4617720"/>
                    <a:pt x="755333" y="4603433"/>
                    <a:pt x="738188" y="4603433"/>
                  </a:cubicBezTo>
                  <a:cubicBezTo>
                    <a:pt x="721043" y="4603433"/>
                    <a:pt x="706755" y="4617720"/>
                    <a:pt x="706755" y="4634865"/>
                  </a:cubicBezTo>
                  <a:close/>
                  <a:moveTo>
                    <a:pt x="706755" y="5047298"/>
                  </a:moveTo>
                  <a:cubicBezTo>
                    <a:pt x="706755" y="5064443"/>
                    <a:pt x="721043" y="5078730"/>
                    <a:pt x="738188" y="5078730"/>
                  </a:cubicBezTo>
                  <a:cubicBezTo>
                    <a:pt x="755333" y="5078730"/>
                    <a:pt x="769620" y="5064443"/>
                    <a:pt x="769620" y="5047298"/>
                  </a:cubicBezTo>
                  <a:cubicBezTo>
                    <a:pt x="769620" y="5030153"/>
                    <a:pt x="755333" y="5015865"/>
                    <a:pt x="738188" y="5015865"/>
                  </a:cubicBezTo>
                  <a:cubicBezTo>
                    <a:pt x="721043" y="5015865"/>
                    <a:pt x="706755" y="5030153"/>
                    <a:pt x="706755" y="5047298"/>
                  </a:cubicBezTo>
                  <a:close/>
                  <a:moveTo>
                    <a:pt x="486728" y="4492943"/>
                  </a:moveTo>
                  <a:cubicBezTo>
                    <a:pt x="486728" y="4510088"/>
                    <a:pt x="501015" y="4524375"/>
                    <a:pt x="518160" y="4524375"/>
                  </a:cubicBezTo>
                  <a:cubicBezTo>
                    <a:pt x="535305" y="4524375"/>
                    <a:pt x="549593" y="4510088"/>
                    <a:pt x="549593" y="4492943"/>
                  </a:cubicBezTo>
                  <a:cubicBezTo>
                    <a:pt x="549593" y="4475798"/>
                    <a:pt x="535305" y="4461510"/>
                    <a:pt x="518160" y="4461510"/>
                  </a:cubicBezTo>
                  <a:cubicBezTo>
                    <a:pt x="500063" y="4461510"/>
                    <a:pt x="486728" y="4475798"/>
                    <a:pt x="486728" y="4492943"/>
                  </a:cubicBezTo>
                  <a:close/>
                  <a:moveTo>
                    <a:pt x="486728" y="4280535"/>
                  </a:moveTo>
                  <a:cubicBezTo>
                    <a:pt x="486728" y="4297680"/>
                    <a:pt x="501015" y="4311968"/>
                    <a:pt x="518160" y="4311968"/>
                  </a:cubicBezTo>
                  <a:cubicBezTo>
                    <a:pt x="535305" y="4311968"/>
                    <a:pt x="549593" y="4297680"/>
                    <a:pt x="549593" y="4280535"/>
                  </a:cubicBezTo>
                  <a:cubicBezTo>
                    <a:pt x="549593" y="4263390"/>
                    <a:pt x="535305" y="4249103"/>
                    <a:pt x="518160" y="4249103"/>
                  </a:cubicBezTo>
                  <a:cubicBezTo>
                    <a:pt x="500063" y="4249103"/>
                    <a:pt x="486728" y="4263390"/>
                    <a:pt x="486728" y="4280535"/>
                  </a:cubicBezTo>
                  <a:close/>
                  <a:moveTo>
                    <a:pt x="464820" y="3642360"/>
                  </a:moveTo>
                  <a:cubicBezTo>
                    <a:pt x="464820" y="3671888"/>
                    <a:pt x="488633" y="3695700"/>
                    <a:pt x="518160" y="3695700"/>
                  </a:cubicBezTo>
                  <a:cubicBezTo>
                    <a:pt x="547688" y="3695700"/>
                    <a:pt x="571500" y="3671888"/>
                    <a:pt x="571500" y="3642360"/>
                  </a:cubicBezTo>
                  <a:cubicBezTo>
                    <a:pt x="571500" y="3612833"/>
                    <a:pt x="547688" y="3589020"/>
                    <a:pt x="518160" y="3589020"/>
                  </a:cubicBezTo>
                  <a:cubicBezTo>
                    <a:pt x="488633" y="3589020"/>
                    <a:pt x="464820" y="3613785"/>
                    <a:pt x="464820" y="3642360"/>
                  </a:cubicBezTo>
                  <a:close/>
                  <a:moveTo>
                    <a:pt x="456248" y="3429953"/>
                  </a:moveTo>
                  <a:cubicBezTo>
                    <a:pt x="456248" y="3464243"/>
                    <a:pt x="483870" y="3491865"/>
                    <a:pt x="518160" y="3491865"/>
                  </a:cubicBezTo>
                  <a:cubicBezTo>
                    <a:pt x="552450" y="3491865"/>
                    <a:pt x="580073" y="3464243"/>
                    <a:pt x="580073" y="3429953"/>
                  </a:cubicBezTo>
                  <a:cubicBezTo>
                    <a:pt x="580073" y="3395663"/>
                    <a:pt x="552450" y="3368040"/>
                    <a:pt x="518160" y="3368040"/>
                  </a:cubicBezTo>
                  <a:cubicBezTo>
                    <a:pt x="483870" y="3368040"/>
                    <a:pt x="456248" y="3395663"/>
                    <a:pt x="456248" y="3429953"/>
                  </a:cubicBezTo>
                  <a:close/>
                  <a:moveTo>
                    <a:pt x="456248" y="3005138"/>
                  </a:moveTo>
                  <a:cubicBezTo>
                    <a:pt x="456248" y="3039428"/>
                    <a:pt x="483870" y="3067050"/>
                    <a:pt x="518160" y="3067050"/>
                  </a:cubicBezTo>
                  <a:cubicBezTo>
                    <a:pt x="552450" y="3067050"/>
                    <a:pt x="580073" y="3039428"/>
                    <a:pt x="580073" y="3005138"/>
                  </a:cubicBezTo>
                  <a:cubicBezTo>
                    <a:pt x="580073" y="2970848"/>
                    <a:pt x="552450" y="2943225"/>
                    <a:pt x="518160" y="2943225"/>
                  </a:cubicBezTo>
                  <a:cubicBezTo>
                    <a:pt x="483870" y="2943225"/>
                    <a:pt x="456248" y="2970848"/>
                    <a:pt x="456248" y="3005138"/>
                  </a:cubicBezTo>
                  <a:close/>
                  <a:moveTo>
                    <a:pt x="481965" y="4068128"/>
                  </a:moveTo>
                  <a:cubicBezTo>
                    <a:pt x="481965" y="4087178"/>
                    <a:pt x="498158" y="4103370"/>
                    <a:pt x="517208" y="4103370"/>
                  </a:cubicBezTo>
                  <a:cubicBezTo>
                    <a:pt x="536258" y="4103370"/>
                    <a:pt x="552450" y="4087178"/>
                    <a:pt x="552450" y="4068128"/>
                  </a:cubicBezTo>
                  <a:cubicBezTo>
                    <a:pt x="552450" y="4049078"/>
                    <a:pt x="536258" y="4032885"/>
                    <a:pt x="517208" y="4032885"/>
                  </a:cubicBezTo>
                  <a:cubicBezTo>
                    <a:pt x="498158" y="4032885"/>
                    <a:pt x="481965" y="4048125"/>
                    <a:pt x="481965" y="4068128"/>
                  </a:cubicBezTo>
                  <a:close/>
                  <a:moveTo>
                    <a:pt x="473393" y="3854768"/>
                  </a:moveTo>
                  <a:cubicBezTo>
                    <a:pt x="473393" y="3879533"/>
                    <a:pt x="493395" y="3898583"/>
                    <a:pt x="517208" y="3898583"/>
                  </a:cubicBezTo>
                  <a:cubicBezTo>
                    <a:pt x="541973" y="3898583"/>
                    <a:pt x="561023" y="3878580"/>
                    <a:pt x="561023" y="3854768"/>
                  </a:cubicBezTo>
                  <a:cubicBezTo>
                    <a:pt x="561023" y="3830003"/>
                    <a:pt x="541020" y="3810953"/>
                    <a:pt x="517208" y="3810953"/>
                  </a:cubicBezTo>
                  <a:cubicBezTo>
                    <a:pt x="493395" y="3810953"/>
                    <a:pt x="473393" y="3830955"/>
                    <a:pt x="473393" y="3854768"/>
                  </a:cubicBezTo>
                  <a:close/>
                  <a:moveTo>
                    <a:pt x="473393" y="2579370"/>
                  </a:moveTo>
                  <a:cubicBezTo>
                    <a:pt x="473393" y="2604135"/>
                    <a:pt x="493395" y="2623185"/>
                    <a:pt x="517208" y="2623185"/>
                  </a:cubicBezTo>
                  <a:cubicBezTo>
                    <a:pt x="541973" y="2623185"/>
                    <a:pt x="561023" y="2603183"/>
                    <a:pt x="561023" y="2579370"/>
                  </a:cubicBezTo>
                  <a:cubicBezTo>
                    <a:pt x="561023" y="2555558"/>
                    <a:pt x="541020" y="2535555"/>
                    <a:pt x="517208" y="2535555"/>
                  </a:cubicBezTo>
                  <a:cubicBezTo>
                    <a:pt x="493395" y="2535555"/>
                    <a:pt x="473393" y="2555558"/>
                    <a:pt x="473393" y="2579370"/>
                  </a:cubicBezTo>
                  <a:close/>
                  <a:moveTo>
                    <a:pt x="481965" y="2366963"/>
                  </a:moveTo>
                  <a:cubicBezTo>
                    <a:pt x="481965" y="2386013"/>
                    <a:pt x="498158" y="2402205"/>
                    <a:pt x="517208" y="2402205"/>
                  </a:cubicBezTo>
                  <a:cubicBezTo>
                    <a:pt x="536258" y="2402205"/>
                    <a:pt x="552450" y="2386013"/>
                    <a:pt x="552450" y="2366963"/>
                  </a:cubicBezTo>
                  <a:cubicBezTo>
                    <a:pt x="552450" y="2347913"/>
                    <a:pt x="536258" y="2331720"/>
                    <a:pt x="517208" y="2331720"/>
                  </a:cubicBezTo>
                  <a:cubicBezTo>
                    <a:pt x="498158" y="2331720"/>
                    <a:pt x="481965" y="2347913"/>
                    <a:pt x="481965" y="2366963"/>
                  </a:cubicBezTo>
                  <a:close/>
                  <a:moveTo>
                    <a:pt x="464820" y="2791778"/>
                  </a:moveTo>
                  <a:cubicBezTo>
                    <a:pt x="464820" y="2821305"/>
                    <a:pt x="488633" y="2845118"/>
                    <a:pt x="518160" y="2845118"/>
                  </a:cubicBezTo>
                  <a:cubicBezTo>
                    <a:pt x="547688" y="2845118"/>
                    <a:pt x="571500" y="2821305"/>
                    <a:pt x="571500" y="2791778"/>
                  </a:cubicBezTo>
                  <a:cubicBezTo>
                    <a:pt x="571500" y="2762250"/>
                    <a:pt x="547688" y="2738438"/>
                    <a:pt x="518160" y="2738438"/>
                  </a:cubicBezTo>
                  <a:cubicBezTo>
                    <a:pt x="488633" y="2738438"/>
                    <a:pt x="464820" y="2763203"/>
                    <a:pt x="464820" y="2791778"/>
                  </a:cubicBezTo>
                  <a:close/>
                  <a:moveTo>
                    <a:pt x="440055" y="3217545"/>
                  </a:moveTo>
                  <a:cubicBezTo>
                    <a:pt x="440055" y="3260408"/>
                    <a:pt x="475298" y="3295650"/>
                    <a:pt x="518160" y="3295650"/>
                  </a:cubicBezTo>
                  <a:cubicBezTo>
                    <a:pt x="561023" y="3295650"/>
                    <a:pt x="596265" y="3260408"/>
                    <a:pt x="596265" y="3217545"/>
                  </a:cubicBezTo>
                  <a:cubicBezTo>
                    <a:pt x="596265" y="3174683"/>
                    <a:pt x="561023" y="3139440"/>
                    <a:pt x="518160" y="3139440"/>
                  </a:cubicBezTo>
                  <a:cubicBezTo>
                    <a:pt x="475298" y="3139440"/>
                    <a:pt x="440055" y="3174683"/>
                    <a:pt x="440055" y="3217545"/>
                  </a:cubicBezTo>
                  <a:close/>
                  <a:moveTo>
                    <a:pt x="706755" y="4428173"/>
                  </a:moveTo>
                  <a:cubicBezTo>
                    <a:pt x="706755" y="4445318"/>
                    <a:pt x="721043" y="4459605"/>
                    <a:pt x="738188" y="4459605"/>
                  </a:cubicBezTo>
                  <a:cubicBezTo>
                    <a:pt x="755333" y="4459605"/>
                    <a:pt x="769620" y="4445318"/>
                    <a:pt x="769620" y="4428173"/>
                  </a:cubicBezTo>
                  <a:cubicBezTo>
                    <a:pt x="769620" y="4411028"/>
                    <a:pt x="755333" y="4396740"/>
                    <a:pt x="738188" y="4396740"/>
                  </a:cubicBezTo>
                  <a:cubicBezTo>
                    <a:pt x="721043" y="4396740"/>
                    <a:pt x="706755" y="4411028"/>
                    <a:pt x="706755" y="4428173"/>
                  </a:cubicBezTo>
                  <a:close/>
                  <a:moveTo>
                    <a:pt x="706755" y="4222433"/>
                  </a:moveTo>
                  <a:cubicBezTo>
                    <a:pt x="706755" y="4239578"/>
                    <a:pt x="721043" y="4253865"/>
                    <a:pt x="738188" y="4253865"/>
                  </a:cubicBezTo>
                  <a:cubicBezTo>
                    <a:pt x="755333" y="4253865"/>
                    <a:pt x="769620" y="4239578"/>
                    <a:pt x="769620" y="4222433"/>
                  </a:cubicBezTo>
                  <a:cubicBezTo>
                    <a:pt x="769620" y="4205288"/>
                    <a:pt x="755333" y="4191000"/>
                    <a:pt x="738188" y="4191000"/>
                  </a:cubicBezTo>
                  <a:cubicBezTo>
                    <a:pt x="721043" y="4191000"/>
                    <a:pt x="706755" y="4205288"/>
                    <a:pt x="706755" y="4222433"/>
                  </a:cubicBezTo>
                  <a:close/>
                  <a:moveTo>
                    <a:pt x="693420" y="3604260"/>
                  </a:moveTo>
                  <a:cubicBezTo>
                    <a:pt x="693420" y="3629025"/>
                    <a:pt x="713423" y="3648075"/>
                    <a:pt x="737235" y="3648075"/>
                  </a:cubicBezTo>
                  <a:cubicBezTo>
                    <a:pt x="761048" y="3648075"/>
                    <a:pt x="781050" y="3628073"/>
                    <a:pt x="781050" y="3604260"/>
                  </a:cubicBezTo>
                  <a:cubicBezTo>
                    <a:pt x="781050" y="3580448"/>
                    <a:pt x="761048" y="3560445"/>
                    <a:pt x="737235" y="3560445"/>
                  </a:cubicBezTo>
                  <a:cubicBezTo>
                    <a:pt x="713423" y="3560445"/>
                    <a:pt x="693420" y="3579495"/>
                    <a:pt x="693420" y="3604260"/>
                  </a:cubicBezTo>
                  <a:close/>
                  <a:moveTo>
                    <a:pt x="684848" y="3397568"/>
                  </a:moveTo>
                  <a:cubicBezTo>
                    <a:pt x="684848" y="3427095"/>
                    <a:pt x="708660" y="3450908"/>
                    <a:pt x="738188" y="3450908"/>
                  </a:cubicBezTo>
                  <a:cubicBezTo>
                    <a:pt x="767715" y="3450908"/>
                    <a:pt x="791528" y="3427095"/>
                    <a:pt x="791528" y="3397568"/>
                  </a:cubicBezTo>
                  <a:cubicBezTo>
                    <a:pt x="791528" y="3368040"/>
                    <a:pt x="767715" y="3344228"/>
                    <a:pt x="738188" y="3344228"/>
                  </a:cubicBezTo>
                  <a:cubicBezTo>
                    <a:pt x="708660" y="3345180"/>
                    <a:pt x="684848" y="3368040"/>
                    <a:pt x="684848" y="3397568"/>
                  </a:cubicBezTo>
                  <a:close/>
                  <a:moveTo>
                    <a:pt x="675323" y="3191828"/>
                  </a:moveTo>
                  <a:cubicBezTo>
                    <a:pt x="675323" y="3226118"/>
                    <a:pt x="702945" y="3253740"/>
                    <a:pt x="737235" y="3253740"/>
                  </a:cubicBezTo>
                  <a:cubicBezTo>
                    <a:pt x="771525" y="3253740"/>
                    <a:pt x="799148" y="3226118"/>
                    <a:pt x="799148" y="3191828"/>
                  </a:cubicBezTo>
                  <a:cubicBezTo>
                    <a:pt x="799148" y="3157538"/>
                    <a:pt x="771525" y="3129915"/>
                    <a:pt x="737235" y="3129915"/>
                  </a:cubicBezTo>
                  <a:cubicBezTo>
                    <a:pt x="702945" y="3129915"/>
                    <a:pt x="675323" y="3157538"/>
                    <a:pt x="675323" y="3191828"/>
                  </a:cubicBezTo>
                  <a:close/>
                  <a:moveTo>
                    <a:pt x="706755" y="4016693"/>
                  </a:moveTo>
                  <a:cubicBezTo>
                    <a:pt x="706755" y="4033838"/>
                    <a:pt x="721043" y="4048125"/>
                    <a:pt x="738188" y="4048125"/>
                  </a:cubicBezTo>
                  <a:cubicBezTo>
                    <a:pt x="755333" y="4048125"/>
                    <a:pt x="769620" y="4033838"/>
                    <a:pt x="769620" y="4016693"/>
                  </a:cubicBezTo>
                  <a:cubicBezTo>
                    <a:pt x="769620" y="3999548"/>
                    <a:pt x="755333" y="3985260"/>
                    <a:pt x="738188" y="3985260"/>
                  </a:cubicBezTo>
                  <a:cubicBezTo>
                    <a:pt x="721043" y="3985260"/>
                    <a:pt x="706755" y="3998595"/>
                    <a:pt x="706755" y="4016693"/>
                  </a:cubicBezTo>
                  <a:close/>
                  <a:moveTo>
                    <a:pt x="701993" y="3810000"/>
                  </a:moveTo>
                  <a:cubicBezTo>
                    <a:pt x="701993" y="3829050"/>
                    <a:pt x="718185" y="3845243"/>
                    <a:pt x="737235" y="3845243"/>
                  </a:cubicBezTo>
                  <a:cubicBezTo>
                    <a:pt x="756285" y="3845243"/>
                    <a:pt x="772478" y="3829050"/>
                    <a:pt x="772478" y="3810000"/>
                  </a:cubicBezTo>
                  <a:cubicBezTo>
                    <a:pt x="772478" y="3790950"/>
                    <a:pt x="756285" y="3774758"/>
                    <a:pt x="737235" y="3774758"/>
                  </a:cubicBezTo>
                  <a:cubicBezTo>
                    <a:pt x="718185" y="3774758"/>
                    <a:pt x="701993" y="3790950"/>
                    <a:pt x="701993" y="3810000"/>
                  </a:cubicBezTo>
                  <a:close/>
                  <a:moveTo>
                    <a:pt x="684848" y="2573655"/>
                  </a:moveTo>
                  <a:cubicBezTo>
                    <a:pt x="684848" y="2603183"/>
                    <a:pt x="708660" y="2626995"/>
                    <a:pt x="738188" y="2626995"/>
                  </a:cubicBezTo>
                  <a:cubicBezTo>
                    <a:pt x="767715" y="2626995"/>
                    <a:pt x="791528" y="2603183"/>
                    <a:pt x="791528" y="2573655"/>
                  </a:cubicBezTo>
                  <a:cubicBezTo>
                    <a:pt x="791528" y="2544128"/>
                    <a:pt x="767715" y="2520315"/>
                    <a:pt x="738188" y="2520315"/>
                  </a:cubicBezTo>
                  <a:cubicBezTo>
                    <a:pt x="708660" y="2520315"/>
                    <a:pt x="684848" y="2544128"/>
                    <a:pt x="684848" y="2573655"/>
                  </a:cubicBezTo>
                  <a:close/>
                  <a:moveTo>
                    <a:pt x="693420" y="2366963"/>
                  </a:moveTo>
                  <a:cubicBezTo>
                    <a:pt x="693420" y="2391728"/>
                    <a:pt x="713423" y="2410778"/>
                    <a:pt x="737235" y="2410778"/>
                  </a:cubicBezTo>
                  <a:cubicBezTo>
                    <a:pt x="761048" y="2410778"/>
                    <a:pt x="781050" y="2390775"/>
                    <a:pt x="781050" y="2366963"/>
                  </a:cubicBezTo>
                  <a:cubicBezTo>
                    <a:pt x="781050" y="2343150"/>
                    <a:pt x="761048" y="2323148"/>
                    <a:pt x="737235" y="2323148"/>
                  </a:cubicBezTo>
                  <a:cubicBezTo>
                    <a:pt x="713423" y="2323148"/>
                    <a:pt x="693420" y="2342198"/>
                    <a:pt x="693420" y="2366963"/>
                  </a:cubicBezTo>
                  <a:close/>
                  <a:moveTo>
                    <a:pt x="675323" y="2779395"/>
                  </a:moveTo>
                  <a:cubicBezTo>
                    <a:pt x="675323" y="2813685"/>
                    <a:pt x="702945" y="2841308"/>
                    <a:pt x="737235" y="2841308"/>
                  </a:cubicBezTo>
                  <a:cubicBezTo>
                    <a:pt x="771525" y="2841308"/>
                    <a:pt x="799148" y="2813685"/>
                    <a:pt x="799148" y="2779395"/>
                  </a:cubicBezTo>
                  <a:cubicBezTo>
                    <a:pt x="799148" y="2745105"/>
                    <a:pt x="771525" y="2717483"/>
                    <a:pt x="737235" y="2717483"/>
                  </a:cubicBezTo>
                  <a:cubicBezTo>
                    <a:pt x="702945" y="2717483"/>
                    <a:pt x="675323" y="2745105"/>
                    <a:pt x="675323" y="2779395"/>
                  </a:cubicBezTo>
                  <a:close/>
                  <a:moveTo>
                    <a:pt x="659130" y="2985135"/>
                  </a:moveTo>
                  <a:cubicBezTo>
                    <a:pt x="659130" y="3027998"/>
                    <a:pt x="694373" y="3063240"/>
                    <a:pt x="737235" y="3063240"/>
                  </a:cubicBezTo>
                  <a:cubicBezTo>
                    <a:pt x="780098" y="3063240"/>
                    <a:pt x="815340" y="3027998"/>
                    <a:pt x="815340" y="2985135"/>
                  </a:cubicBezTo>
                  <a:cubicBezTo>
                    <a:pt x="815340" y="2942273"/>
                    <a:pt x="780098" y="2907030"/>
                    <a:pt x="737235" y="2907030"/>
                  </a:cubicBezTo>
                  <a:cubicBezTo>
                    <a:pt x="694373" y="2907030"/>
                    <a:pt x="659130" y="2942273"/>
                    <a:pt x="659130" y="2985135"/>
                  </a:cubicBezTo>
                  <a:close/>
                  <a:moveTo>
                    <a:pt x="922020" y="3625215"/>
                  </a:moveTo>
                  <a:cubicBezTo>
                    <a:pt x="922020" y="3644265"/>
                    <a:pt x="938213" y="3660458"/>
                    <a:pt x="957263" y="3660458"/>
                  </a:cubicBezTo>
                  <a:cubicBezTo>
                    <a:pt x="976313" y="3660458"/>
                    <a:pt x="992505" y="3644265"/>
                    <a:pt x="992505" y="3625215"/>
                  </a:cubicBezTo>
                  <a:cubicBezTo>
                    <a:pt x="992505" y="3606165"/>
                    <a:pt x="976313" y="3589973"/>
                    <a:pt x="957263" y="3589973"/>
                  </a:cubicBezTo>
                  <a:cubicBezTo>
                    <a:pt x="938213" y="3589973"/>
                    <a:pt x="922020" y="3606165"/>
                    <a:pt x="922020" y="3625215"/>
                  </a:cubicBezTo>
                  <a:close/>
                  <a:moveTo>
                    <a:pt x="913448" y="3415665"/>
                  </a:moveTo>
                  <a:cubicBezTo>
                    <a:pt x="913448" y="3440430"/>
                    <a:pt x="933450" y="3459480"/>
                    <a:pt x="957263" y="3459480"/>
                  </a:cubicBezTo>
                  <a:cubicBezTo>
                    <a:pt x="982028" y="3459480"/>
                    <a:pt x="1001078" y="3439478"/>
                    <a:pt x="1001078" y="3415665"/>
                  </a:cubicBezTo>
                  <a:cubicBezTo>
                    <a:pt x="1001078" y="3391853"/>
                    <a:pt x="981075" y="3371850"/>
                    <a:pt x="957263" y="3371850"/>
                  </a:cubicBezTo>
                  <a:cubicBezTo>
                    <a:pt x="933450" y="3371850"/>
                    <a:pt x="913448" y="3390900"/>
                    <a:pt x="913448" y="3415665"/>
                  </a:cubicBezTo>
                  <a:close/>
                  <a:moveTo>
                    <a:pt x="903923" y="3206115"/>
                  </a:moveTo>
                  <a:cubicBezTo>
                    <a:pt x="903923" y="3235643"/>
                    <a:pt x="927735" y="3259455"/>
                    <a:pt x="957263" y="3259455"/>
                  </a:cubicBezTo>
                  <a:cubicBezTo>
                    <a:pt x="986790" y="3259455"/>
                    <a:pt x="1010603" y="3235643"/>
                    <a:pt x="1010603" y="3206115"/>
                  </a:cubicBezTo>
                  <a:cubicBezTo>
                    <a:pt x="1010603" y="3176588"/>
                    <a:pt x="986790" y="3152775"/>
                    <a:pt x="957263" y="3152775"/>
                  </a:cubicBezTo>
                  <a:cubicBezTo>
                    <a:pt x="927735" y="3152775"/>
                    <a:pt x="903923" y="3176588"/>
                    <a:pt x="903923" y="3206115"/>
                  </a:cubicBezTo>
                  <a:close/>
                  <a:moveTo>
                    <a:pt x="895350" y="2576513"/>
                  </a:moveTo>
                  <a:cubicBezTo>
                    <a:pt x="895350" y="2610803"/>
                    <a:pt x="922973" y="2638425"/>
                    <a:pt x="957263" y="2638425"/>
                  </a:cubicBezTo>
                  <a:cubicBezTo>
                    <a:pt x="991553" y="2638425"/>
                    <a:pt x="1019175" y="2610803"/>
                    <a:pt x="1019175" y="2576513"/>
                  </a:cubicBezTo>
                  <a:cubicBezTo>
                    <a:pt x="1019175" y="2542223"/>
                    <a:pt x="991553" y="2514600"/>
                    <a:pt x="957263" y="2514600"/>
                  </a:cubicBezTo>
                  <a:cubicBezTo>
                    <a:pt x="922973" y="2514600"/>
                    <a:pt x="895350" y="2542223"/>
                    <a:pt x="895350" y="2576513"/>
                  </a:cubicBezTo>
                  <a:close/>
                  <a:moveTo>
                    <a:pt x="903923" y="2366963"/>
                  </a:moveTo>
                  <a:cubicBezTo>
                    <a:pt x="903923" y="2396490"/>
                    <a:pt x="927735" y="2420303"/>
                    <a:pt x="957263" y="2420303"/>
                  </a:cubicBezTo>
                  <a:cubicBezTo>
                    <a:pt x="986790" y="2420303"/>
                    <a:pt x="1010603" y="2396490"/>
                    <a:pt x="1010603" y="2366963"/>
                  </a:cubicBezTo>
                  <a:cubicBezTo>
                    <a:pt x="1010603" y="2337435"/>
                    <a:pt x="986790" y="2313623"/>
                    <a:pt x="957263" y="2313623"/>
                  </a:cubicBezTo>
                  <a:cubicBezTo>
                    <a:pt x="927735" y="2313623"/>
                    <a:pt x="903923" y="2337435"/>
                    <a:pt x="903923" y="2366963"/>
                  </a:cubicBezTo>
                  <a:close/>
                  <a:moveTo>
                    <a:pt x="895350" y="2996565"/>
                  </a:moveTo>
                  <a:cubicBezTo>
                    <a:pt x="895350" y="3030855"/>
                    <a:pt x="922973" y="3058478"/>
                    <a:pt x="957263" y="3058478"/>
                  </a:cubicBezTo>
                  <a:cubicBezTo>
                    <a:pt x="991553" y="3058478"/>
                    <a:pt x="1019175" y="3030855"/>
                    <a:pt x="1019175" y="2996565"/>
                  </a:cubicBezTo>
                  <a:cubicBezTo>
                    <a:pt x="1019175" y="2962275"/>
                    <a:pt x="991553" y="2934653"/>
                    <a:pt x="957263" y="2934653"/>
                  </a:cubicBezTo>
                  <a:cubicBezTo>
                    <a:pt x="922973" y="2934653"/>
                    <a:pt x="895350" y="2962275"/>
                    <a:pt x="895350" y="2996565"/>
                  </a:cubicBezTo>
                  <a:close/>
                  <a:moveTo>
                    <a:pt x="879158" y="2786063"/>
                  </a:moveTo>
                  <a:cubicBezTo>
                    <a:pt x="879158" y="2828925"/>
                    <a:pt x="914400" y="2864168"/>
                    <a:pt x="957263" y="2864168"/>
                  </a:cubicBezTo>
                  <a:cubicBezTo>
                    <a:pt x="1000125" y="2864168"/>
                    <a:pt x="1035368" y="2828925"/>
                    <a:pt x="1035368" y="2786063"/>
                  </a:cubicBezTo>
                  <a:cubicBezTo>
                    <a:pt x="1035368" y="2743200"/>
                    <a:pt x="1000125" y="2707958"/>
                    <a:pt x="957263" y="2707958"/>
                  </a:cubicBezTo>
                  <a:cubicBezTo>
                    <a:pt x="914400" y="2707958"/>
                    <a:pt x="879158" y="2743200"/>
                    <a:pt x="879158" y="2786063"/>
                  </a:cubicBezTo>
                  <a:close/>
                </a:path>
              </a:pathLst>
            </a:custGeom>
            <a:solidFill>
              <a:srgbClr val="E8E8E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5" name="Corner blue">
              <a:extLst>
                <a:ext uri="{FF2B5EF4-FFF2-40B4-BE49-F238E27FC236}">
                  <a16:creationId xmlns:a16="http://schemas.microsoft.com/office/drawing/2014/main" id="{23FC612E-AC55-4B48-8B16-CC0549CC2300}"/>
                </a:ext>
              </a:extLst>
            </p:cNvPr>
            <p:cNvSpPr/>
            <p:nvPr/>
          </p:nvSpPr>
          <p:spPr>
            <a:xfrm>
              <a:off x="4077651" y="476250"/>
              <a:ext cx="790574" cy="6376035"/>
            </a:xfrm>
            <a:custGeom>
              <a:avLst/>
              <a:gdLst>
                <a:gd name="connsiteX0" fmla="*/ 634365 w 790574"/>
                <a:gd name="connsiteY0" fmla="*/ 661988 h 6376035"/>
                <a:gd name="connsiteX1" fmla="*/ 712470 w 790574"/>
                <a:gd name="connsiteY1" fmla="*/ 740093 h 6376035"/>
                <a:gd name="connsiteX2" fmla="*/ 790575 w 790574"/>
                <a:gd name="connsiteY2" fmla="*/ 661988 h 6376035"/>
                <a:gd name="connsiteX3" fmla="*/ 712470 w 790574"/>
                <a:gd name="connsiteY3" fmla="*/ 583883 h 6376035"/>
                <a:gd name="connsiteX4" fmla="*/ 634365 w 790574"/>
                <a:gd name="connsiteY4" fmla="*/ 661988 h 6376035"/>
                <a:gd name="connsiteX5" fmla="*/ 677228 w 790574"/>
                <a:gd name="connsiteY5" fmla="*/ 1695450 h 6376035"/>
                <a:gd name="connsiteX6" fmla="*/ 715328 w 790574"/>
                <a:gd name="connsiteY6" fmla="*/ 1727835 h 6376035"/>
                <a:gd name="connsiteX7" fmla="*/ 747713 w 790574"/>
                <a:gd name="connsiteY7" fmla="*/ 1689735 h 6376035"/>
                <a:gd name="connsiteX8" fmla="*/ 709613 w 790574"/>
                <a:gd name="connsiteY8" fmla="*/ 1657350 h 6376035"/>
                <a:gd name="connsiteX9" fmla="*/ 677228 w 790574"/>
                <a:gd name="connsiteY9" fmla="*/ 1695450 h 6376035"/>
                <a:gd name="connsiteX10" fmla="*/ 668655 w 790574"/>
                <a:gd name="connsiteY10" fmla="*/ 1486853 h 6376035"/>
                <a:gd name="connsiteX11" fmla="*/ 712470 w 790574"/>
                <a:gd name="connsiteY11" fmla="*/ 1530668 h 6376035"/>
                <a:gd name="connsiteX12" fmla="*/ 756285 w 790574"/>
                <a:gd name="connsiteY12" fmla="*/ 1486853 h 6376035"/>
                <a:gd name="connsiteX13" fmla="*/ 712470 w 790574"/>
                <a:gd name="connsiteY13" fmla="*/ 1443038 h 6376035"/>
                <a:gd name="connsiteX14" fmla="*/ 668655 w 790574"/>
                <a:gd name="connsiteY14" fmla="*/ 1486853 h 6376035"/>
                <a:gd name="connsiteX15" fmla="*/ 650558 w 790574"/>
                <a:gd name="connsiteY15" fmla="*/ 1074420 h 6376035"/>
                <a:gd name="connsiteX16" fmla="*/ 712470 w 790574"/>
                <a:gd name="connsiteY16" fmla="*/ 1136333 h 6376035"/>
                <a:gd name="connsiteX17" fmla="*/ 774383 w 790574"/>
                <a:gd name="connsiteY17" fmla="*/ 1074420 h 6376035"/>
                <a:gd name="connsiteX18" fmla="*/ 712470 w 790574"/>
                <a:gd name="connsiteY18" fmla="*/ 1012508 h 6376035"/>
                <a:gd name="connsiteX19" fmla="*/ 650558 w 790574"/>
                <a:gd name="connsiteY19" fmla="*/ 1074420 h 6376035"/>
                <a:gd name="connsiteX20" fmla="*/ 660083 w 790574"/>
                <a:gd name="connsiteY20" fmla="*/ 249555 h 6376035"/>
                <a:gd name="connsiteX21" fmla="*/ 713423 w 790574"/>
                <a:gd name="connsiteY21" fmla="*/ 302895 h 6376035"/>
                <a:gd name="connsiteX22" fmla="*/ 766763 w 790574"/>
                <a:gd name="connsiteY22" fmla="*/ 249555 h 6376035"/>
                <a:gd name="connsiteX23" fmla="*/ 713423 w 790574"/>
                <a:gd name="connsiteY23" fmla="*/ 196215 h 6376035"/>
                <a:gd name="connsiteX24" fmla="*/ 660083 w 790574"/>
                <a:gd name="connsiteY24" fmla="*/ 249555 h 6376035"/>
                <a:gd name="connsiteX25" fmla="*/ 668655 w 790574"/>
                <a:gd name="connsiteY25" fmla="*/ 43815 h 6376035"/>
                <a:gd name="connsiteX26" fmla="*/ 712470 w 790574"/>
                <a:gd name="connsiteY26" fmla="*/ 87630 h 6376035"/>
                <a:gd name="connsiteX27" fmla="*/ 756285 w 790574"/>
                <a:gd name="connsiteY27" fmla="*/ 43815 h 6376035"/>
                <a:gd name="connsiteX28" fmla="*/ 712470 w 790574"/>
                <a:gd name="connsiteY28" fmla="*/ 0 h 6376035"/>
                <a:gd name="connsiteX29" fmla="*/ 668655 w 790574"/>
                <a:gd name="connsiteY29" fmla="*/ 43815 h 6376035"/>
                <a:gd name="connsiteX30" fmla="*/ 660083 w 790574"/>
                <a:gd name="connsiteY30" fmla="*/ 1280160 h 6376035"/>
                <a:gd name="connsiteX31" fmla="*/ 713423 w 790574"/>
                <a:gd name="connsiteY31" fmla="*/ 1333500 h 6376035"/>
                <a:gd name="connsiteX32" fmla="*/ 766763 w 790574"/>
                <a:gd name="connsiteY32" fmla="*/ 1280160 h 6376035"/>
                <a:gd name="connsiteX33" fmla="*/ 713423 w 790574"/>
                <a:gd name="connsiteY33" fmla="*/ 1226820 h 6376035"/>
                <a:gd name="connsiteX34" fmla="*/ 660083 w 790574"/>
                <a:gd name="connsiteY34" fmla="*/ 1280160 h 6376035"/>
                <a:gd name="connsiteX35" fmla="*/ 650558 w 790574"/>
                <a:gd name="connsiteY35" fmla="*/ 456248 h 6376035"/>
                <a:gd name="connsiteX36" fmla="*/ 712470 w 790574"/>
                <a:gd name="connsiteY36" fmla="*/ 518160 h 6376035"/>
                <a:gd name="connsiteX37" fmla="*/ 774383 w 790574"/>
                <a:gd name="connsiteY37" fmla="*/ 456248 h 6376035"/>
                <a:gd name="connsiteX38" fmla="*/ 712470 w 790574"/>
                <a:gd name="connsiteY38" fmla="*/ 394335 h 6376035"/>
                <a:gd name="connsiteX39" fmla="*/ 650558 w 790574"/>
                <a:gd name="connsiteY39" fmla="*/ 456248 h 6376035"/>
                <a:gd name="connsiteX40" fmla="*/ 634365 w 790574"/>
                <a:gd name="connsiteY40" fmla="*/ 868680 h 6376035"/>
                <a:gd name="connsiteX41" fmla="*/ 712470 w 790574"/>
                <a:gd name="connsiteY41" fmla="*/ 946785 h 6376035"/>
                <a:gd name="connsiteX42" fmla="*/ 790575 w 790574"/>
                <a:gd name="connsiteY42" fmla="*/ 868680 h 6376035"/>
                <a:gd name="connsiteX43" fmla="*/ 712470 w 790574"/>
                <a:gd name="connsiteY43" fmla="*/ 790575 h 6376035"/>
                <a:gd name="connsiteX44" fmla="*/ 634365 w 790574"/>
                <a:gd name="connsiteY44" fmla="*/ 868680 h 6376035"/>
                <a:gd name="connsiteX45" fmla="*/ 18098 w 790574"/>
                <a:gd name="connsiteY45" fmla="*/ 1695450 h 6376035"/>
                <a:gd name="connsiteX46" fmla="*/ 56198 w 790574"/>
                <a:gd name="connsiteY46" fmla="*/ 1727835 h 6376035"/>
                <a:gd name="connsiteX47" fmla="*/ 88583 w 790574"/>
                <a:gd name="connsiteY47" fmla="*/ 1689735 h 6376035"/>
                <a:gd name="connsiteX48" fmla="*/ 50483 w 790574"/>
                <a:gd name="connsiteY48" fmla="*/ 1657350 h 6376035"/>
                <a:gd name="connsiteX49" fmla="*/ 18098 w 790574"/>
                <a:gd name="connsiteY49" fmla="*/ 1695450 h 6376035"/>
                <a:gd name="connsiteX50" fmla="*/ 9525 w 790574"/>
                <a:gd name="connsiteY50" fmla="*/ 1486853 h 6376035"/>
                <a:gd name="connsiteX51" fmla="*/ 53340 w 790574"/>
                <a:gd name="connsiteY51" fmla="*/ 1530668 h 6376035"/>
                <a:gd name="connsiteX52" fmla="*/ 97155 w 790574"/>
                <a:gd name="connsiteY52" fmla="*/ 1486853 h 6376035"/>
                <a:gd name="connsiteX53" fmla="*/ 53340 w 790574"/>
                <a:gd name="connsiteY53" fmla="*/ 1443038 h 6376035"/>
                <a:gd name="connsiteX54" fmla="*/ 9525 w 790574"/>
                <a:gd name="connsiteY54" fmla="*/ 1486853 h 6376035"/>
                <a:gd name="connsiteX55" fmla="*/ 0 w 790574"/>
                <a:gd name="connsiteY55" fmla="*/ 1280160 h 6376035"/>
                <a:gd name="connsiteX56" fmla="*/ 53340 w 790574"/>
                <a:gd name="connsiteY56" fmla="*/ 1333500 h 6376035"/>
                <a:gd name="connsiteX57" fmla="*/ 106680 w 790574"/>
                <a:gd name="connsiteY57" fmla="*/ 1280160 h 6376035"/>
                <a:gd name="connsiteX58" fmla="*/ 53340 w 790574"/>
                <a:gd name="connsiteY58" fmla="*/ 1226820 h 6376035"/>
                <a:gd name="connsiteX59" fmla="*/ 0 w 790574"/>
                <a:gd name="connsiteY59" fmla="*/ 1280160 h 6376035"/>
                <a:gd name="connsiteX60" fmla="*/ 0 w 790574"/>
                <a:gd name="connsiteY60" fmla="*/ 2106930 h 6376035"/>
                <a:gd name="connsiteX61" fmla="*/ 53340 w 790574"/>
                <a:gd name="connsiteY61" fmla="*/ 2160270 h 6376035"/>
                <a:gd name="connsiteX62" fmla="*/ 106680 w 790574"/>
                <a:gd name="connsiteY62" fmla="*/ 2106930 h 6376035"/>
                <a:gd name="connsiteX63" fmla="*/ 53340 w 790574"/>
                <a:gd name="connsiteY63" fmla="*/ 2053590 h 6376035"/>
                <a:gd name="connsiteX64" fmla="*/ 0 w 790574"/>
                <a:gd name="connsiteY64" fmla="*/ 2106930 h 6376035"/>
                <a:gd name="connsiteX65" fmla="*/ 9525 w 790574"/>
                <a:gd name="connsiteY65" fmla="*/ 1900238 h 6376035"/>
                <a:gd name="connsiteX66" fmla="*/ 53340 w 790574"/>
                <a:gd name="connsiteY66" fmla="*/ 1944053 h 6376035"/>
                <a:gd name="connsiteX67" fmla="*/ 97155 w 790574"/>
                <a:gd name="connsiteY67" fmla="*/ 1900238 h 6376035"/>
                <a:gd name="connsiteX68" fmla="*/ 53340 w 790574"/>
                <a:gd name="connsiteY68" fmla="*/ 1856423 h 6376035"/>
                <a:gd name="connsiteX69" fmla="*/ 9525 w 790574"/>
                <a:gd name="connsiteY69" fmla="*/ 1900238 h 6376035"/>
                <a:gd name="connsiteX70" fmla="*/ 220028 w 790574"/>
                <a:gd name="connsiteY70" fmla="*/ 6322695 h 6376035"/>
                <a:gd name="connsiteX71" fmla="*/ 273368 w 790574"/>
                <a:gd name="connsiteY71" fmla="*/ 6376035 h 6376035"/>
                <a:gd name="connsiteX72" fmla="*/ 326708 w 790574"/>
                <a:gd name="connsiteY72" fmla="*/ 6322695 h 6376035"/>
                <a:gd name="connsiteX73" fmla="*/ 273368 w 790574"/>
                <a:gd name="connsiteY73" fmla="*/ 6269355 h 6376035"/>
                <a:gd name="connsiteX74" fmla="*/ 220028 w 790574"/>
                <a:gd name="connsiteY74" fmla="*/ 6322695 h 6376035"/>
                <a:gd name="connsiteX75" fmla="*/ 211455 w 790574"/>
                <a:gd name="connsiteY75" fmla="*/ 6081713 h 6376035"/>
                <a:gd name="connsiteX76" fmla="*/ 273368 w 790574"/>
                <a:gd name="connsiteY76" fmla="*/ 6143625 h 6376035"/>
                <a:gd name="connsiteX77" fmla="*/ 335280 w 790574"/>
                <a:gd name="connsiteY77" fmla="*/ 6081713 h 6376035"/>
                <a:gd name="connsiteX78" fmla="*/ 273368 w 790574"/>
                <a:gd name="connsiteY78" fmla="*/ 6019800 h 6376035"/>
                <a:gd name="connsiteX79" fmla="*/ 211455 w 790574"/>
                <a:gd name="connsiteY79" fmla="*/ 6081713 h 6376035"/>
                <a:gd name="connsiteX80" fmla="*/ 220028 w 790574"/>
                <a:gd name="connsiteY80" fmla="*/ 5452110 h 6376035"/>
                <a:gd name="connsiteX81" fmla="*/ 273368 w 790574"/>
                <a:gd name="connsiteY81" fmla="*/ 5505450 h 6376035"/>
                <a:gd name="connsiteX82" fmla="*/ 326708 w 790574"/>
                <a:gd name="connsiteY82" fmla="*/ 5452110 h 6376035"/>
                <a:gd name="connsiteX83" fmla="*/ 273368 w 790574"/>
                <a:gd name="connsiteY83" fmla="*/ 5398770 h 6376035"/>
                <a:gd name="connsiteX84" fmla="*/ 220028 w 790574"/>
                <a:gd name="connsiteY84" fmla="*/ 5452110 h 6376035"/>
                <a:gd name="connsiteX85" fmla="*/ 238125 w 790574"/>
                <a:gd name="connsiteY85" fmla="*/ 5033010 h 6376035"/>
                <a:gd name="connsiteX86" fmla="*/ 273368 w 790574"/>
                <a:gd name="connsiteY86" fmla="*/ 5068253 h 6376035"/>
                <a:gd name="connsiteX87" fmla="*/ 308610 w 790574"/>
                <a:gd name="connsiteY87" fmla="*/ 5033010 h 6376035"/>
                <a:gd name="connsiteX88" fmla="*/ 273368 w 790574"/>
                <a:gd name="connsiteY88" fmla="*/ 4997768 h 6376035"/>
                <a:gd name="connsiteX89" fmla="*/ 238125 w 790574"/>
                <a:gd name="connsiteY89" fmla="*/ 5033010 h 6376035"/>
                <a:gd name="connsiteX90" fmla="*/ 241935 w 790574"/>
                <a:gd name="connsiteY90" fmla="*/ 4823460 h 6376035"/>
                <a:gd name="connsiteX91" fmla="*/ 273368 w 790574"/>
                <a:gd name="connsiteY91" fmla="*/ 4854893 h 6376035"/>
                <a:gd name="connsiteX92" fmla="*/ 304800 w 790574"/>
                <a:gd name="connsiteY92" fmla="*/ 4823460 h 6376035"/>
                <a:gd name="connsiteX93" fmla="*/ 273368 w 790574"/>
                <a:gd name="connsiteY93" fmla="*/ 4792028 h 6376035"/>
                <a:gd name="connsiteX94" fmla="*/ 241935 w 790574"/>
                <a:gd name="connsiteY94" fmla="*/ 4823460 h 6376035"/>
                <a:gd name="connsiteX95" fmla="*/ 211455 w 790574"/>
                <a:gd name="connsiteY95" fmla="*/ 5662613 h 6376035"/>
                <a:gd name="connsiteX96" fmla="*/ 273368 w 790574"/>
                <a:gd name="connsiteY96" fmla="*/ 5724525 h 6376035"/>
                <a:gd name="connsiteX97" fmla="*/ 335280 w 790574"/>
                <a:gd name="connsiteY97" fmla="*/ 5662613 h 6376035"/>
                <a:gd name="connsiteX98" fmla="*/ 273368 w 790574"/>
                <a:gd name="connsiteY98" fmla="*/ 5600700 h 6376035"/>
                <a:gd name="connsiteX99" fmla="*/ 211455 w 790574"/>
                <a:gd name="connsiteY99" fmla="*/ 5662613 h 6376035"/>
                <a:gd name="connsiteX100" fmla="*/ 228600 w 790574"/>
                <a:gd name="connsiteY100" fmla="*/ 5242560 h 6376035"/>
                <a:gd name="connsiteX101" fmla="*/ 272415 w 790574"/>
                <a:gd name="connsiteY101" fmla="*/ 5286375 h 6376035"/>
                <a:gd name="connsiteX102" fmla="*/ 316230 w 790574"/>
                <a:gd name="connsiteY102" fmla="*/ 5242560 h 6376035"/>
                <a:gd name="connsiteX103" fmla="*/ 272415 w 790574"/>
                <a:gd name="connsiteY103" fmla="*/ 5198745 h 6376035"/>
                <a:gd name="connsiteX104" fmla="*/ 228600 w 790574"/>
                <a:gd name="connsiteY104" fmla="*/ 5242560 h 6376035"/>
                <a:gd name="connsiteX105" fmla="*/ 241935 w 790574"/>
                <a:gd name="connsiteY105" fmla="*/ 4404360 h 6376035"/>
                <a:gd name="connsiteX106" fmla="*/ 273368 w 790574"/>
                <a:gd name="connsiteY106" fmla="*/ 4435793 h 6376035"/>
                <a:gd name="connsiteX107" fmla="*/ 304800 w 790574"/>
                <a:gd name="connsiteY107" fmla="*/ 4404360 h 6376035"/>
                <a:gd name="connsiteX108" fmla="*/ 273368 w 790574"/>
                <a:gd name="connsiteY108" fmla="*/ 4372928 h 6376035"/>
                <a:gd name="connsiteX109" fmla="*/ 241935 w 790574"/>
                <a:gd name="connsiteY109" fmla="*/ 4404360 h 6376035"/>
                <a:gd name="connsiteX110" fmla="*/ 241935 w 790574"/>
                <a:gd name="connsiteY110" fmla="*/ 4193858 h 6376035"/>
                <a:gd name="connsiteX111" fmla="*/ 273368 w 790574"/>
                <a:gd name="connsiteY111" fmla="*/ 4225290 h 6376035"/>
                <a:gd name="connsiteX112" fmla="*/ 304800 w 790574"/>
                <a:gd name="connsiteY112" fmla="*/ 4193858 h 6376035"/>
                <a:gd name="connsiteX113" fmla="*/ 273368 w 790574"/>
                <a:gd name="connsiteY113" fmla="*/ 4162425 h 6376035"/>
                <a:gd name="connsiteX114" fmla="*/ 241935 w 790574"/>
                <a:gd name="connsiteY114" fmla="*/ 4193858 h 6376035"/>
                <a:gd name="connsiteX115" fmla="*/ 241935 w 790574"/>
                <a:gd name="connsiteY115" fmla="*/ 4613910 h 6376035"/>
                <a:gd name="connsiteX116" fmla="*/ 273368 w 790574"/>
                <a:gd name="connsiteY116" fmla="*/ 4645343 h 6376035"/>
                <a:gd name="connsiteX117" fmla="*/ 304800 w 790574"/>
                <a:gd name="connsiteY117" fmla="*/ 4613910 h 6376035"/>
                <a:gd name="connsiteX118" fmla="*/ 273368 w 790574"/>
                <a:gd name="connsiteY118" fmla="*/ 4582478 h 6376035"/>
                <a:gd name="connsiteX119" fmla="*/ 241935 w 790574"/>
                <a:gd name="connsiteY119" fmla="*/ 4613910 h 6376035"/>
                <a:gd name="connsiteX120" fmla="*/ 195263 w 790574"/>
                <a:gd name="connsiteY120" fmla="*/ 5872163 h 6376035"/>
                <a:gd name="connsiteX121" fmla="*/ 273368 w 790574"/>
                <a:gd name="connsiteY121" fmla="*/ 5950268 h 6376035"/>
                <a:gd name="connsiteX122" fmla="*/ 351473 w 790574"/>
                <a:gd name="connsiteY122" fmla="*/ 5872163 h 6376035"/>
                <a:gd name="connsiteX123" fmla="*/ 273368 w 790574"/>
                <a:gd name="connsiteY123" fmla="*/ 5794058 h 6376035"/>
                <a:gd name="connsiteX124" fmla="*/ 195263 w 790574"/>
                <a:gd name="connsiteY124" fmla="*/ 5872163 h 6376035"/>
                <a:gd name="connsiteX125" fmla="*/ 241935 w 790574"/>
                <a:gd name="connsiteY125" fmla="*/ 4029075 h 6376035"/>
                <a:gd name="connsiteX126" fmla="*/ 273368 w 790574"/>
                <a:gd name="connsiteY126" fmla="*/ 4060508 h 6376035"/>
                <a:gd name="connsiteX127" fmla="*/ 304800 w 790574"/>
                <a:gd name="connsiteY127" fmla="*/ 4029075 h 6376035"/>
                <a:gd name="connsiteX128" fmla="*/ 273368 w 790574"/>
                <a:gd name="connsiteY128" fmla="*/ 3997643 h 6376035"/>
                <a:gd name="connsiteX129" fmla="*/ 241935 w 790574"/>
                <a:gd name="connsiteY129" fmla="*/ 4029075 h 6376035"/>
                <a:gd name="connsiteX130" fmla="*/ 241935 w 790574"/>
                <a:gd name="connsiteY130" fmla="*/ 3788093 h 6376035"/>
                <a:gd name="connsiteX131" fmla="*/ 273368 w 790574"/>
                <a:gd name="connsiteY131" fmla="*/ 3819525 h 6376035"/>
                <a:gd name="connsiteX132" fmla="*/ 304800 w 790574"/>
                <a:gd name="connsiteY132" fmla="*/ 3788093 h 6376035"/>
                <a:gd name="connsiteX133" fmla="*/ 273368 w 790574"/>
                <a:gd name="connsiteY133" fmla="*/ 3756660 h 6376035"/>
                <a:gd name="connsiteX134" fmla="*/ 241935 w 790574"/>
                <a:gd name="connsiteY134" fmla="*/ 3788093 h 6376035"/>
                <a:gd name="connsiteX135" fmla="*/ 241935 w 790574"/>
                <a:gd name="connsiteY135" fmla="*/ 3577590 h 6376035"/>
                <a:gd name="connsiteX136" fmla="*/ 273368 w 790574"/>
                <a:gd name="connsiteY136" fmla="*/ 3609023 h 6376035"/>
                <a:gd name="connsiteX137" fmla="*/ 304800 w 790574"/>
                <a:gd name="connsiteY137" fmla="*/ 3577590 h 6376035"/>
                <a:gd name="connsiteX138" fmla="*/ 273368 w 790574"/>
                <a:gd name="connsiteY138" fmla="*/ 3546158 h 6376035"/>
                <a:gd name="connsiteX139" fmla="*/ 241935 w 790574"/>
                <a:gd name="connsiteY139" fmla="*/ 3577590 h 6376035"/>
                <a:gd name="connsiteX140" fmla="*/ 241935 w 790574"/>
                <a:gd name="connsiteY140" fmla="*/ 3368040 h 6376035"/>
                <a:gd name="connsiteX141" fmla="*/ 273368 w 790574"/>
                <a:gd name="connsiteY141" fmla="*/ 3399473 h 6376035"/>
                <a:gd name="connsiteX142" fmla="*/ 304800 w 790574"/>
                <a:gd name="connsiteY142" fmla="*/ 3368040 h 6376035"/>
                <a:gd name="connsiteX143" fmla="*/ 273368 w 790574"/>
                <a:gd name="connsiteY143" fmla="*/ 3336608 h 6376035"/>
                <a:gd name="connsiteX144" fmla="*/ 241935 w 790574"/>
                <a:gd name="connsiteY144" fmla="*/ 3368040 h 6376035"/>
                <a:gd name="connsiteX145" fmla="*/ 461963 w 790574"/>
                <a:gd name="connsiteY145" fmla="*/ 4026218 h 6376035"/>
                <a:gd name="connsiteX146" fmla="*/ 493395 w 790574"/>
                <a:gd name="connsiteY146" fmla="*/ 4057650 h 6376035"/>
                <a:gd name="connsiteX147" fmla="*/ 524828 w 790574"/>
                <a:gd name="connsiteY147" fmla="*/ 4026218 h 6376035"/>
                <a:gd name="connsiteX148" fmla="*/ 493395 w 790574"/>
                <a:gd name="connsiteY148" fmla="*/ 3994785 h 6376035"/>
                <a:gd name="connsiteX149" fmla="*/ 461963 w 790574"/>
                <a:gd name="connsiteY149" fmla="*/ 4026218 h 6376035"/>
                <a:gd name="connsiteX150" fmla="*/ 461963 w 790574"/>
                <a:gd name="connsiteY150" fmla="*/ 3813810 h 6376035"/>
                <a:gd name="connsiteX151" fmla="*/ 493395 w 790574"/>
                <a:gd name="connsiteY151" fmla="*/ 3845243 h 6376035"/>
                <a:gd name="connsiteX152" fmla="*/ 524828 w 790574"/>
                <a:gd name="connsiteY152" fmla="*/ 3813810 h 6376035"/>
                <a:gd name="connsiteX153" fmla="*/ 493395 w 790574"/>
                <a:gd name="connsiteY153" fmla="*/ 3782378 h 6376035"/>
                <a:gd name="connsiteX154" fmla="*/ 461963 w 790574"/>
                <a:gd name="connsiteY154" fmla="*/ 3813810 h 6376035"/>
                <a:gd name="connsiteX155" fmla="*/ 440055 w 790574"/>
                <a:gd name="connsiteY155" fmla="*/ 3175635 h 6376035"/>
                <a:gd name="connsiteX156" fmla="*/ 493395 w 790574"/>
                <a:gd name="connsiteY156" fmla="*/ 3228975 h 6376035"/>
                <a:gd name="connsiteX157" fmla="*/ 546735 w 790574"/>
                <a:gd name="connsiteY157" fmla="*/ 3175635 h 6376035"/>
                <a:gd name="connsiteX158" fmla="*/ 493395 w 790574"/>
                <a:gd name="connsiteY158" fmla="*/ 3122295 h 6376035"/>
                <a:gd name="connsiteX159" fmla="*/ 440055 w 790574"/>
                <a:gd name="connsiteY159" fmla="*/ 3175635 h 6376035"/>
                <a:gd name="connsiteX160" fmla="*/ 431483 w 790574"/>
                <a:gd name="connsiteY160" fmla="*/ 2963228 h 6376035"/>
                <a:gd name="connsiteX161" fmla="*/ 493395 w 790574"/>
                <a:gd name="connsiteY161" fmla="*/ 3025140 h 6376035"/>
                <a:gd name="connsiteX162" fmla="*/ 555308 w 790574"/>
                <a:gd name="connsiteY162" fmla="*/ 2963228 h 6376035"/>
                <a:gd name="connsiteX163" fmla="*/ 493395 w 790574"/>
                <a:gd name="connsiteY163" fmla="*/ 2901315 h 6376035"/>
                <a:gd name="connsiteX164" fmla="*/ 431483 w 790574"/>
                <a:gd name="connsiteY164" fmla="*/ 2963228 h 6376035"/>
                <a:gd name="connsiteX165" fmla="*/ 431483 w 790574"/>
                <a:gd name="connsiteY165" fmla="*/ 2538413 h 6376035"/>
                <a:gd name="connsiteX166" fmla="*/ 493395 w 790574"/>
                <a:gd name="connsiteY166" fmla="*/ 2600325 h 6376035"/>
                <a:gd name="connsiteX167" fmla="*/ 555308 w 790574"/>
                <a:gd name="connsiteY167" fmla="*/ 2538413 h 6376035"/>
                <a:gd name="connsiteX168" fmla="*/ 493395 w 790574"/>
                <a:gd name="connsiteY168" fmla="*/ 2476500 h 6376035"/>
                <a:gd name="connsiteX169" fmla="*/ 431483 w 790574"/>
                <a:gd name="connsiteY169" fmla="*/ 2538413 h 6376035"/>
                <a:gd name="connsiteX170" fmla="*/ 457200 w 790574"/>
                <a:gd name="connsiteY170" fmla="*/ 3601403 h 6376035"/>
                <a:gd name="connsiteX171" fmla="*/ 492443 w 790574"/>
                <a:gd name="connsiteY171" fmla="*/ 3636645 h 6376035"/>
                <a:gd name="connsiteX172" fmla="*/ 527685 w 790574"/>
                <a:gd name="connsiteY172" fmla="*/ 3601403 h 6376035"/>
                <a:gd name="connsiteX173" fmla="*/ 492443 w 790574"/>
                <a:gd name="connsiteY173" fmla="*/ 3566160 h 6376035"/>
                <a:gd name="connsiteX174" fmla="*/ 457200 w 790574"/>
                <a:gd name="connsiteY174" fmla="*/ 3601403 h 6376035"/>
                <a:gd name="connsiteX175" fmla="*/ 448628 w 790574"/>
                <a:gd name="connsiteY175" fmla="*/ 3388043 h 6376035"/>
                <a:gd name="connsiteX176" fmla="*/ 492443 w 790574"/>
                <a:gd name="connsiteY176" fmla="*/ 3431858 h 6376035"/>
                <a:gd name="connsiteX177" fmla="*/ 536258 w 790574"/>
                <a:gd name="connsiteY177" fmla="*/ 3388043 h 6376035"/>
                <a:gd name="connsiteX178" fmla="*/ 492443 w 790574"/>
                <a:gd name="connsiteY178" fmla="*/ 3344228 h 6376035"/>
                <a:gd name="connsiteX179" fmla="*/ 448628 w 790574"/>
                <a:gd name="connsiteY179" fmla="*/ 3388043 h 6376035"/>
                <a:gd name="connsiteX180" fmla="*/ 448628 w 790574"/>
                <a:gd name="connsiteY180" fmla="*/ 2112645 h 6376035"/>
                <a:gd name="connsiteX181" fmla="*/ 492443 w 790574"/>
                <a:gd name="connsiteY181" fmla="*/ 2156460 h 6376035"/>
                <a:gd name="connsiteX182" fmla="*/ 536258 w 790574"/>
                <a:gd name="connsiteY182" fmla="*/ 2112645 h 6376035"/>
                <a:gd name="connsiteX183" fmla="*/ 492443 w 790574"/>
                <a:gd name="connsiteY183" fmla="*/ 2068830 h 6376035"/>
                <a:gd name="connsiteX184" fmla="*/ 448628 w 790574"/>
                <a:gd name="connsiteY184" fmla="*/ 2112645 h 6376035"/>
                <a:gd name="connsiteX185" fmla="*/ 457200 w 790574"/>
                <a:gd name="connsiteY185" fmla="*/ 1900238 h 6376035"/>
                <a:gd name="connsiteX186" fmla="*/ 492443 w 790574"/>
                <a:gd name="connsiteY186" fmla="*/ 1935480 h 6376035"/>
                <a:gd name="connsiteX187" fmla="*/ 527685 w 790574"/>
                <a:gd name="connsiteY187" fmla="*/ 1900238 h 6376035"/>
                <a:gd name="connsiteX188" fmla="*/ 492443 w 790574"/>
                <a:gd name="connsiteY188" fmla="*/ 1864995 h 6376035"/>
                <a:gd name="connsiteX189" fmla="*/ 457200 w 790574"/>
                <a:gd name="connsiteY189" fmla="*/ 1900238 h 6376035"/>
                <a:gd name="connsiteX190" fmla="*/ 440055 w 790574"/>
                <a:gd name="connsiteY190" fmla="*/ 2325053 h 6376035"/>
                <a:gd name="connsiteX191" fmla="*/ 493395 w 790574"/>
                <a:gd name="connsiteY191" fmla="*/ 2378393 h 6376035"/>
                <a:gd name="connsiteX192" fmla="*/ 546735 w 790574"/>
                <a:gd name="connsiteY192" fmla="*/ 2325053 h 6376035"/>
                <a:gd name="connsiteX193" fmla="*/ 493395 w 790574"/>
                <a:gd name="connsiteY193" fmla="*/ 2271713 h 6376035"/>
                <a:gd name="connsiteX194" fmla="*/ 440055 w 790574"/>
                <a:gd name="connsiteY194" fmla="*/ 2325053 h 6376035"/>
                <a:gd name="connsiteX195" fmla="*/ 415290 w 790574"/>
                <a:gd name="connsiteY195" fmla="*/ 2750820 h 6376035"/>
                <a:gd name="connsiteX196" fmla="*/ 493395 w 790574"/>
                <a:gd name="connsiteY196" fmla="*/ 2828925 h 6376035"/>
                <a:gd name="connsiteX197" fmla="*/ 571500 w 790574"/>
                <a:gd name="connsiteY197" fmla="*/ 2750820 h 6376035"/>
                <a:gd name="connsiteX198" fmla="*/ 493395 w 790574"/>
                <a:gd name="connsiteY198" fmla="*/ 2672715 h 6376035"/>
                <a:gd name="connsiteX199" fmla="*/ 415290 w 790574"/>
                <a:gd name="connsiteY199" fmla="*/ 2750820 h 6376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790574" h="6376035">
                  <a:moveTo>
                    <a:pt x="634365" y="661988"/>
                  </a:moveTo>
                  <a:cubicBezTo>
                    <a:pt x="634365" y="704850"/>
                    <a:pt x="669608" y="740093"/>
                    <a:pt x="712470" y="740093"/>
                  </a:cubicBezTo>
                  <a:cubicBezTo>
                    <a:pt x="755333" y="740093"/>
                    <a:pt x="790575" y="704850"/>
                    <a:pt x="790575" y="661988"/>
                  </a:cubicBezTo>
                  <a:cubicBezTo>
                    <a:pt x="790575" y="619125"/>
                    <a:pt x="755333" y="583883"/>
                    <a:pt x="712470" y="583883"/>
                  </a:cubicBezTo>
                  <a:cubicBezTo>
                    <a:pt x="669608" y="583883"/>
                    <a:pt x="634365" y="619125"/>
                    <a:pt x="634365" y="661988"/>
                  </a:cubicBezTo>
                  <a:close/>
                  <a:moveTo>
                    <a:pt x="677228" y="1695450"/>
                  </a:moveTo>
                  <a:cubicBezTo>
                    <a:pt x="679133" y="1714500"/>
                    <a:pt x="696278" y="1729740"/>
                    <a:pt x="715328" y="1727835"/>
                  </a:cubicBezTo>
                  <a:cubicBezTo>
                    <a:pt x="734378" y="1725930"/>
                    <a:pt x="749618" y="1708785"/>
                    <a:pt x="747713" y="1689735"/>
                  </a:cubicBezTo>
                  <a:cubicBezTo>
                    <a:pt x="745808" y="1670685"/>
                    <a:pt x="728663" y="1655445"/>
                    <a:pt x="709613" y="1657350"/>
                  </a:cubicBezTo>
                  <a:cubicBezTo>
                    <a:pt x="690563" y="1659255"/>
                    <a:pt x="676275" y="1676400"/>
                    <a:pt x="677228" y="1695450"/>
                  </a:cubicBezTo>
                  <a:close/>
                  <a:moveTo>
                    <a:pt x="668655" y="1486853"/>
                  </a:moveTo>
                  <a:cubicBezTo>
                    <a:pt x="668655" y="1511618"/>
                    <a:pt x="688658" y="1530668"/>
                    <a:pt x="712470" y="1530668"/>
                  </a:cubicBezTo>
                  <a:cubicBezTo>
                    <a:pt x="736283" y="1530668"/>
                    <a:pt x="756285" y="1510665"/>
                    <a:pt x="756285" y="1486853"/>
                  </a:cubicBezTo>
                  <a:cubicBezTo>
                    <a:pt x="756285" y="1463040"/>
                    <a:pt x="736283" y="1443038"/>
                    <a:pt x="712470" y="1443038"/>
                  </a:cubicBezTo>
                  <a:cubicBezTo>
                    <a:pt x="688658" y="1443038"/>
                    <a:pt x="668655" y="1462088"/>
                    <a:pt x="668655" y="1486853"/>
                  </a:cubicBezTo>
                  <a:close/>
                  <a:moveTo>
                    <a:pt x="650558" y="1074420"/>
                  </a:moveTo>
                  <a:cubicBezTo>
                    <a:pt x="650558" y="1108710"/>
                    <a:pt x="678180" y="1136333"/>
                    <a:pt x="712470" y="1136333"/>
                  </a:cubicBezTo>
                  <a:cubicBezTo>
                    <a:pt x="746760" y="1136333"/>
                    <a:pt x="774383" y="1108710"/>
                    <a:pt x="774383" y="1074420"/>
                  </a:cubicBezTo>
                  <a:cubicBezTo>
                    <a:pt x="774383" y="1040130"/>
                    <a:pt x="746760" y="1012508"/>
                    <a:pt x="712470" y="1012508"/>
                  </a:cubicBezTo>
                  <a:cubicBezTo>
                    <a:pt x="678180" y="1012508"/>
                    <a:pt x="650558" y="1040130"/>
                    <a:pt x="650558" y="1074420"/>
                  </a:cubicBezTo>
                  <a:close/>
                  <a:moveTo>
                    <a:pt x="660083" y="249555"/>
                  </a:moveTo>
                  <a:cubicBezTo>
                    <a:pt x="660083" y="279083"/>
                    <a:pt x="683895" y="302895"/>
                    <a:pt x="713423" y="302895"/>
                  </a:cubicBezTo>
                  <a:cubicBezTo>
                    <a:pt x="742950" y="302895"/>
                    <a:pt x="766763" y="279083"/>
                    <a:pt x="766763" y="249555"/>
                  </a:cubicBezTo>
                  <a:cubicBezTo>
                    <a:pt x="766763" y="220027"/>
                    <a:pt x="742950" y="196215"/>
                    <a:pt x="713423" y="196215"/>
                  </a:cubicBezTo>
                  <a:cubicBezTo>
                    <a:pt x="683895" y="197167"/>
                    <a:pt x="660083" y="220980"/>
                    <a:pt x="660083" y="249555"/>
                  </a:cubicBezTo>
                  <a:close/>
                  <a:moveTo>
                    <a:pt x="668655" y="43815"/>
                  </a:moveTo>
                  <a:cubicBezTo>
                    <a:pt x="668655" y="68580"/>
                    <a:pt x="688658" y="87630"/>
                    <a:pt x="712470" y="87630"/>
                  </a:cubicBezTo>
                  <a:cubicBezTo>
                    <a:pt x="736283" y="87630"/>
                    <a:pt x="756285" y="67627"/>
                    <a:pt x="756285" y="43815"/>
                  </a:cubicBezTo>
                  <a:cubicBezTo>
                    <a:pt x="756285" y="19050"/>
                    <a:pt x="736283" y="0"/>
                    <a:pt x="712470" y="0"/>
                  </a:cubicBezTo>
                  <a:cubicBezTo>
                    <a:pt x="688658" y="0"/>
                    <a:pt x="668655" y="19050"/>
                    <a:pt x="668655" y="43815"/>
                  </a:cubicBezTo>
                  <a:close/>
                  <a:moveTo>
                    <a:pt x="660083" y="1280160"/>
                  </a:moveTo>
                  <a:cubicBezTo>
                    <a:pt x="660083" y="1309688"/>
                    <a:pt x="683895" y="1333500"/>
                    <a:pt x="713423" y="1333500"/>
                  </a:cubicBezTo>
                  <a:cubicBezTo>
                    <a:pt x="742950" y="1333500"/>
                    <a:pt x="766763" y="1309688"/>
                    <a:pt x="766763" y="1280160"/>
                  </a:cubicBezTo>
                  <a:cubicBezTo>
                    <a:pt x="766763" y="1250633"/>
                    <a:pt x="742950" y="1226820"/>
                    <a:pt x="713423" y="1226820"/>
                  </a:cubicBezTo>
                  <a:cubicBezTo>
                    <a:pt x="683895" y="1227773"/>
                    <a:pt x="660083" y="1251585"/>
                    <a:pt x="660083" y="1280160"/>
                  </a:cubicBezTo>
                  <a:close/>
                  <a:moveTo>
                    <a:pt x="650558" y="456248"/>
                  </a:moveTo>
                  <a:cubicBezTo>
                    <a:pt x="650558" y="490538"/>
                    <a:pt x="678180" y="518160"/>
                    <a:pt x="712470" y="518160"/>
                  </a:cubicBezTo>
                  <a:cubicBezTo>
                    <a:pt x="746760" y="518160"/>
                    <a:pt x="774383" y="490538"/>
                    <a:pt x="774383" y="456248"/>
                  </a:cubicBezTo>
                  <a:cubicBezTo>
                    <a:pt x="774383" y="421958"/>
                    <a:pt x="746760" y="394335"/>
                    <a:pt x="712470" y="394335"/>
                  </a:cubicBezTo>
                  <a:cubicBezTo>
                    <a:pt x="678180" y="394335"/>
                    <a:pt x="650558" y="421958"/>
                    <a:pt x="650558" y="456248"/>
                  </a:cubicBezTo>
                  <a:close/>
                  <a:moveTo>
                    <a:pt x="634365" y="868680"/>
                  </a:moveTo>
                  <a:cubicBezTo>
                    <a:pt x="634365" y="911543"/>
                    <a:pt x="669608" y="946785"/>
                    <a:pt x="712470" y="946785"/>
                  </a:cubicBezTo>
                  <a:cubicBezTo>
                    <a:pt x="755333" y="946785"/>
                    <a:pt x="790575" y="911543"/>
                    <a:pt x="790575" y="868680"/>
                  </a:cubicBezTo>
                  <a:cubicBezTo>
                    <a:pt x="790575" y="825818"/>
                    <a:pt x="756285" y="790575"/>
                    <a:pt x="712470" y="790575"/>
                  </a:cubicBezTo>
                  <a:cubicBezTo>
                    <a:pt x="668655" y="790575"/>
                    <a:pt x="634365" y="824865"/>
                    <a:pt x="634365" y="868680"/>
                  </a:cubicBezTo>
                  <a:close/>
                  <a:moveTo>
                    <a:pt x="18098" y="1695450"/>
                  </a:moveTo>
                  <a:cubicBezTo>
                    <a:pt x="20003" y="1714500"/>
                    <a:pt x="37148" y="1729740"/>
                    <a:pt x="56198" y="1727835"/>
                  </a:cubicBezTo>
                  <a:cubicBezTo>
                    <a:pt x="75248" y="1725930"/>
                    <a:pt x="90488" y="1708785"/>
                    <a:pt x="88583" y="1689735"/>
                  </a:cubicBezTo>
                  <a:cubicBezTo>
                    <a:pt x="86678" y="1670685"/>
                    <a:pt x="69533" y="1655445"/>
                    <a:pt x="50483" y="1657350"/>
                  </a:cubicBezTo>
                  <a:cubicBezTo>
                    <a:pt x="30480" y="1659255"/>
                    <a:pt x="16193" y="1676400"/>
                    <a:pt x="18098" y="1695450"/>
                  </a:cubicBezTo>
                  <a:close/>
                  <a:moveTo>
                    <a:pt x="9525" y="1486853"/>
                  </a:moveTo>
                  <a:cubicBezTo>
                    <a:pt x="9525" y="1511618"/>
                    <a:pt x="29528" y="1530668"/>
                    <a:pt x="53340" y="1530668"/>
                  </a:cubicBezTo>
                  <a:cubicBezTo>
                    <a:pt x="77153" y="1530668"/>
                    <a:pt x="97155" y="1510665"/>
                    <a:pt x="97155" y="1486853"/>
                  </a:cubicBezTo>
                  <a:cubicBezTo>
                    <a:pt x="97155" y="1463040"/>
                    <a:pt x="77153" y="1443038"/>
                    <a:pt x="53340" y="1443038"/>
                  </a:cubicBezTo>
                  <a:cubicBezTo>
                    <a:pt x="29528" y="1443038"/>
                    <a:pt x="9525" y="1462088"/>
                    <a:pt x="9525" y="1486853"/>
                  </a:cubicBezTo>
                  <a:close/>
                  <a:moveTo>
                    <a:pt x="0" y="1280160"/>
                  </a:moveTo>
                  <a:cubicBezTo>
                    <a:pt x="0" y="1309688"/>
                    <a:pt x="23813" y="1333500"/>
                    <a:pt x="53340" y="1333500"/>
                  </a:cubicBezTo>
                  <a:cubicBezTo>
                    <a:pt x="82868" y="1333500"/>
                    <a:pt x="106680" y="1309688"/>
                    <a:pt x="106680" y="1280160"/>
                  </a:cubicBezTo>
                  <a:cubicBezTo>
                    <a:pt x="106680" y="1250633"/>
                    <a:pt x="82868" y="1226820"/>
                    <a:pt x="53340" y="1226820"/>
                  </a:cubicBezTo>
                  <a:cubicBezTo>
                    <a:pt x="23813" y="1226820"/>
                    <a:pt x="0" y="1251585"/>
                    <a:pt x="0" y="1280160"/>
                  </a:cubicBezTo>
                  <a:close/>
                  <a:moveTo>
                    <a:pt x="0" y="2106930"/>
                  </a:moveTo>
                  <a:cubicBezTo>
                    <a:pt x="0" y="2136458"/>
                    <a:pt x="23813" y="2160270"/>
                    <a:pt x="53340" y="2160270"/>
                  </a:cubicBezTo>
                  <a:cubicBezTo>
                    <a:pt x="82868" y="2160270"/>
                    <a:pt x="106680" y="2136458"/>
                    <a:pt x="106680" y="2106930"/>
                  </a:cubicBezTo>
                  <a:cubicBezTo>
                    <a:pt x="106680" y="2077403"/>
                    <a:pt x="82868" y="2053590"/>
                    <a:pt x="53340" y="2053590"/>
                  </a:cubicBezTo>
                  <a:cubicBezTo>
                    <a:pt x="23813" y="2053590"/>
                    <a:pt x="0" y="2077403"/>
                    <a:pt x="0" y="2106930"/>
                  </a:cubicBezTo>
                  <a:close/>
                  <a:moveTo>
                    <a:pt x="9525" y="1900238"/>
                  </a:moveTo>
                  <a:cubicBezTo>
                    <a:pt x="9525" y="1925003"/>
                    <a:pt x="29528" y="1944053"/>
                    <a:pt x="53340" y="1944053"/>
                  </a:cubicBezTo>
                  <a:cubicBezTo>
                    <a:pt x="77153" y="1944053"/>
                    <a:pt x="97155" y="1924050"/>
                    <a:pt x="97155" y="1900238"/>
                  </a:cubicBezTo>
                  <a:cubicBezTo>
                    <a:pt x="97155" y="1876425"/>
                    <a:pt x="77153" y="1856423"/>
                    <a:pt x="53340" y="1856423"/>
                  </a:cubicBezTo>
                  <a:cubicBezTo>
                    <a:pt x="29528" y="1856423"/>
                    <a:pt x="9525" y="1875473"/>
                    <a:pt x="9525" y="1900238"/>
                  </a:cubicBezTo>
                  <a:close/>
                  <a:moveTo>
                    <a:pt x="220028" y="6322695"/>
                  </a:moveTo>
                  <a:cubicBezTo>
                    <a:pt x="220028" y="6352223"/>
                    <a:pt x="243840" y="6376035"/>
                    <a:pt x="273368" y="6376035"/>
                  </a:cubicBezTo>
                  <a:cubicBezTo>
                    <a:pt x="302895" y="6376035"/>
                    <a:pt x="326708" y="6352223"/>
                    <a:pt x="326708" y="6322695"/>
                  </a:cubicBezTo>
                  <a:cubicBezTo>
                    <a:pt x="326708" y="6293168"/>
                    <a:pt x="302895" y="6269355"/>
                    <a:pt x="273368" y="6269355"/>
                  </a:cubicBezTo>
                  <a:cubicBezTo>
                    <a:pt x="243840" y="6269355"/>
                    <a:pt x="220028" y="6293168"/>
                    <a:pt x="220028" y="6322695"/>
                  </a:cubicBezTo>
                  <a:close/>
                  <a:moveTo>
                    <a:pt x="211455" y="6081713"/>
                  </a:moveTo>
                  <a:cubicBezTo>
                    <a:pt x="211455" y="6116003"/>
                    <a:pt x="239078" y="6143625"/>
                    <a:pt x="273368" y="6143625"/>
                  </a:cubicBezTo>
                  <a:cubicBezTo>
                    <a:pt x="307658" y="6143625"/>
                    <a:pt x="335280" y="6116003"/>
                    <a:pt x="335280" y="6081713"/>
                  </a:cubicBezTo>
                  <a:cubicBezTo>
                    <a:pt x="335280" y="6047423"/>
                    <a:pt x="307658" y="6019800"/>
                    <a:pt x="273368" y="6019800"/>
                  </a:cubicBezTo>
                  <a:cubicBezTo>
                    <a:pt x="239078" y="6019800"/>
                    <a:pt x="211455" y="6047423"/>
                    <a:pt x="211455" y="6081713"/>
                  </a:cubicBezTo>
                  <a:close/>
                  <a:moveTo>
                    <a:pt x="220028" y="5452110"/>
                  </a:moveTo>
                  <a:cubicBezTo>
                    <a:pt x="220028" y="5481638"/>
                    <a:pt x="243840" y="5505450"/>
                    <a:pt x="273368" y="5505450"/>
                  </a:cubicBezTo>
                  <a:cubicBezTo>
                    <a:pt x="302895" y="5505450"/>
                    <a:pt x="326708" y="5481638"/>
                    <a:pt x="326708" y="5452110"/>
                  </a:cubicBezTo>
                  <a:cubicBezTo>
                    <a:pt x="326708" y="5422583"/>
                    <a:pt x="302895" y="5398770"/>
                    <a:pt x="273368" y="5398770"/>
                  </a:cubicBezTo>
                  <a:cubicBezTo>
                    <a:pt x="243840" y="5398770"/>
                    <a:pt x="220028" y="5423535"/>
                    <a:pt x="220028" y="5452110"/>
                  </a:cubicBezTo>
                  <a:close/>
                  <a:moveTo>
                    <a:pt x="238125" y="5033010"/>
                  </a:moveTo>
                  <a:cubicBezTo>
                    <a:pt x="238125" y="5052060"/>
                    <a:pt x="254318" y="5068253"/>
                    <a:pt x="273368" y="5068253"/>
                  </a:cubicBezTo>
                  <a:cubicBezTo>
                    <a:pt x="292418" y="5068253"/>
                    <a:pt x="308610" y="5052060"/>
                    <a:pt x="308610" y="5033010"/>
                  </a:cubicBezTo>
                  <a:cubicBezTo>
                    <a:pt x="308610" y="5013960"/>
                    <a:pt x="292418" y="4997768"/>
                    <a:pt x="273368" y="4997768"/>
                  </a:cubicBezTo>
                  <a:cubicBezTo>
                    <a:pt x="254318" y="4997768"/>
                    <a:pt x="238125" y="5013960"/>
                    <a:pt x="238125" y="5033010"/>
                  </a:cubicBezTo>
                  <a:close/>
                  <a:moveTo>
                    <a:pt x="241935" y="4823460"/>
                  </a:moveTo>
                  <a:cubicBezTo>
                    <a:pt x="241935" y="4840605"/>
                    <a:pt x="256223" y="4854893"/>
                    <a:pt x="273368" y="4854893"/>
                  </a:cubicBezTo>
                  <a:cubicBezTo>
                    <a:pt x="290513" y="4854893"/>
                    <a:pt x="304800" y="4840605"/>
                    <a:pt x="304800" y="4823460"/>
                  </a:cubicBezTo>
                  <a:cubicBezTo>
                    <a:pt x="304800" y="4806315"/>
                    <a:pt x="290513" y="4792028"/>
                    <a:pt x="273368" y="4792028"/>
                  </a:cubicBezTo>
                  <a:cubicBezTo>
                    <a:pt x="256223" y="4792028"/>
                    <a:pt x="241935" y="4806315"/>
                    <a:pt x="241935" y="4823460"/>
                  </a:cubicBezTo>
                  <a:close/>
                  <a:moveTo>
                    <a:pt x="211455" y="5662613"/>
                  </a:moveTo>
                  <a:cubicBezTo>
                    <a:pt x="211455" y="5696903"/>
                    <a:pt x="239078" y="5724525"/>
                    <a:pt x="273368" y="5724525"/>
                  </a:cubicBezTo>
                  <a:cubicBezTo>
                    <a:pt x="307658" y="5724525"/>
                    <a:pt x="335280" y="5696903"/>
                    <a:pt x="335280" y="5662613"/>
                  </a:cubicBezTo>
                  <a:cubicBezTo>
                    <a:pt x="335280" y="5628323"/>
                    <a:pt x="307658" y="5600700"/>
                    <a:pt x="273368" y="5600700"/>
                  </a:cubicBezTo>
                  <a:cubicBezTo>
                    <a:pt x="239078" y="5600700"/>
                    <a:pt x="211455" y="5628323"/>
                    <a:pt x="211455" y="5662613"/>
                  </a:cubicBezTo>
                  <a:close/>
                  <a:moveTo>
                    <a:pt x="228600" y="5242560"/>
                  </a:moveTo>
                  <a:cubicBezTo>
                    <a:pt x="228600" y="5267325"/>
                    <a:pt x="248603" y="5286375"/>
                    <a:pt x="272415" y="5286375"/>
                  </a:cubicBezTo>
                  <a:cubicBezTo>
                    <a:pt x="296228" y="5286375"/>
                    <a:pt x="316230" y="5266373"/>
                    <a:pt x="316230" y="5242560"/>
                  </a:cubicBezTo>
                  <a:cubicBezTo>
                    <a:pt x="316230" y="5217795"/>
                    <a:pt x="296228" y="5198745"/>
                    <a:pt x="272415" y="5198745"/>
                  </a:cubicBezTo>
                  <a:cubicBezTo>
                    <a:pt x="248603" y="5198745"/>
                    <a:pt x="228600" y="5218748"/>
                    <a:pt x="228600" y="5242560"/>
                  </a:cubicBezTo>
                  <a:close/>
                  <a:moveTo>
                    <a:pt x="241935" y="4404360"/>
                  </a:moveTo>
                  <a:cubicBezTo>
                    <a:pt x="241935" y="4421505"/>
                    <a:pt x="256223" y="4435793"/>
                    <a:pt x="273368" y="4435793"/>
                  </a:cubicBezTo>
                  <a:cubicBezTo>
                    <a:pt x="290513" y="4435793"/>
                    <a:pt x="304800" y="4421505"/>
                    <a:pt x="304800" y="4404360"/>
                  </a:cubicBezTo>
                  <a:cubicBezTo>
                    <a:pt x="304800" y="4387215"/>
                    <a:pt x="290513" y="4372928"/>
                    <a:pt x="273368" y="4372928"/>
                  </a:cubicBezTo>
                  <a:cubicBezTo>
                    <a:pt x="256223" y="4372928"/>
                    <a:pt x="241935" y="4386263"/>
                    <a:pt x="241935" y="4404360"/>
                  </a:cubicBezTo>
                  <a:close/>
                  <a:moveTo>
                    <a:pt x="241935" y="4193858"/>
                  </a:moveTo>
                  <a:cubicBezTo>
                    <a:pt x="241935" y="4211003"/>
                    <a:pt x="256223" y="4225290"/>
                    <a:pt x="273368" y="4225290"/>
                  </a:cubicBezTo>
                  <a:cubicBezTo>
                    <a:pt x="290513" y="4225290"/>
                    <a:pt x="304800" y="4211003"/>
                    <a:pt x="304800" y="4193858"/>
                  </a:cubicBezTo>
                  <a:cubicBezTo>
                    <a:pt x="304800" y="4176713"/>
                    <a:pt x="290513" y="4162425"/>
                    <a:pt x="273368" y="4162425"/>
                  </a:cubicBezTo>
                  <a:cubicBezTo>
                    <a:pt x="256223" y="4163378"/>
                    <a:pt x="241935" y="4176713"/>
                    <a:pt x="241935" y="4193858"/>
                  </a:cubicBezTo>
                  <a:close/>
                  <a:moveTo>
                    <a:pt x="241935" y="4613910"/>
                  </a:moveTo>
                  <a:cubicBezTo>
                    <a:pt x="241935" y="4631055"/>
                    <a:pt x="256223" y="4645343"/>
                    <a:pt x="273368" y="4645343"/>
                  </a:cubicBezTo>
                  <a:cubicBezTo>
                    <a:pt x="290513" y="4645343"/>
                    <a:pt x="304800" y="4631055"/>
                    <a:pt x="304800" y="4613910"/>
                  </a:cubicBezTo>
                  <a:cubicBezTo>
                    <a:pt x="304800" y="4596765"/>
                    <a:pt x="290513" y="4582478"/>
                    <a:pt x="273368" y="4582478"/>
                  </a:cubicBezTo>
                  <a:cubicBezTo>
                    <a:pt x="256223" y="4582478"/>
                    <a:pt x="241935" y="4596765"/>
                    <a:pt x="241935" y="4613910"/>
                  </a:cubicBezTo>
                  <a:close/>
                  <a:moveTo>
                    <a:pt x="195263" y="5872163"/>
                  </a:moveTo>
                  <a:cubicBezTo>
                    <a:pt x="195263" y="5915025"/>
                    <a:pt x="230505" y="5950268"/>
                    <a:pt x="273368" y="5950268"/>
                  </a:cubicBezTo>
                  <a:cubicBezTo>
                    <a:pt x="316230" y="5950268"/>
                    <a:pt x="351473" y="5915025"/>
                    <a:pt x="351473" y="5872163"/>
                  </a:cubicBezTo>
                  <a:cubicBezTo>
                    <a:pt x="351473" y="5829300"/>
                    <a:pt x="316230" y="5794058"/>
                    <a:pt x="273368" y="5794058"/>
                  </a:cubicBezTo>
                  <a:cubicBezTo>
                    <a:pt x="230505" y="5794058"/>
                    <a:pt x="195263" y="5828348"/>
                    <a:pt x="195263" y="5872163"/>
                  </a:cubicBezTo>
                  <a:close/>
                  <a:moveTo>
                    <a:pt x="241935" y="4029075"/>
                  </a:moveTo>
                  <a:cubicBezTo>
                    <a:pt x="241935" y="4046220"/>
                    <a:pt x="256223" y="4060508"/>
                    <a:pt x="273368" y="4060508"/>
                  </a:cubicBezTo>
                  <a:cubicBezTo>
                    <a:pt x="290513" y="4060508"/>
                    <a:pt x="304800" y="4046220"/>
                    <a:pt x="304800" y="4029075"/>
                  </a:cubicBezTo>
                  <a:cubicBezTo>
                    <a:pt x="304800" y="4011930"/>
                    <a:pt x="290513" y="3997643"/>
                    <a:pt x="273368" y="3997643"/>
                  </a:cubicBezTo>
                  <a:cubicBezTo>
                    <a:pt x="256223" y="3997643"/>
                    <a:pt x="241935" y="4010978"/>
                    <a:pt x="241935" y="4029075"/>
                  </a:cubicBezTo>
                  <a:close/>
                  <a:moveTo>
                    <a:pt x="241935" y="3788093"/>
                  </a:moveTo>
                  <a:cubicBezTo>
                    <a:pt x="241935" y="3805238"/>
                    <a:pt x="256223" y="3819525"/>
                    <a:pt x="273368" y="3819525"/>
                  </a:cubicBezTo>
                  <a:cubicBezTo>
                    <a:pt x="290513" y="3819525"/>
                    <a:pt x="304800" y="3805238"/>
                    <a:pt x="304800" y="3788093"/>
                  </a:cubicBezTo>
                  <a:cubicBezTo>
                    <a:pt x="304800" y="3770948"/>
                    <a:pt x="290513" y="3756660"/>
                    <a:pt x="273368" y="3756660"/>
                  </a:cubicBezTo>
                  <a:cubicBezTo>
                    <a:pt x="256223" y="3756660"/>
                    <a:pt x="241935" y="3769995"/>
                    <a:pt x="241935" y="3788093"/>
                  </a:cubicBezTo>
                  <a:close/>
                  <a:moveTo>
                    <a:pt x="241935" y="3577590"/>
                  </a:moveTo>
                  <a:cubicBezTo>
                    <a:pt x="241935" y="3594735"/>
                    <a:pt x="256223" y="3609023"/>
                    <a:pt x="273368" y="3609023"/>
                  </a:cubicBezTo>
                  <a:cubicBezTo>
                    <a:pt x="290513" y="3609023"/>
                    <a:pt x="304800" y="3594735"/>
                    <a:pt x="304800" y="3577590"/>
                  </a:cubicBezTo>
                  <a:cubicBezTo>
                    <a:pt x="304800" y="3560445"/>
                    <a:pt x="290513" y="3546158"/>
                    <a:pt x="273368" y="3546158"/>
                  </a:cubicBezTo>
                  <a:cubicBezTo>
                    <a:pt x="256223" y="3547110"/>
                    <a:pt x="241935" y="3560445"/>
                    <a:pt x="241935" y="3577590"/>
                  </a:cubicBezTo>
                  <a:close/>
                  <a:moveTo>
                    <a:pt x="241935" y="3368040"/>
                  </a:moveTo>
                  <a:cubicBezTo>
                    <a:pt x="241935" y="3385185"/>
                    <a:pt x="256223" y="3399473"/>
                    <a:pt x="273368" y="3399473"/>
                  </a:cubicBezTo>
                  <a:cubicBezTo>
                    <a:pt x="290513" y="3399473"/>
                    <a:pt x="304800" y="3385185"/>
                    <a:pt x="304800" y="3368040"/>
                  </a:cubicBezTo>
                  <a:cubicBezTo>
                    <a:pt x="304800" y="3350895"/>
                    <a:pt x="290513" y="3336608"/>
                    <a:pt x="273368" y="3336608"/>
                  </a:cubicBezTo>
                  <a:cubicBezTo>
                    <a:pt x="256223" y="3336608"/>
                    <a:pt x="241935" y="3350895"/>
                    <a:pt x="241935" y="3368040"/>
                  </a:cubicBezTo>
                  <a:close/>
                  <a:moveTo>
                    <a:pt x="461963" y="4026218"/>
                  </a:moveTo>
                  <a:cubicBezTo>
                    <a:pt x="461963" y="4043363"/>
                    <a:pt x="476250" y="4057650"/>
                    <a:pt x="493395" y="4057650"/>
                  </a:cubicBezTo>
                  <a:cubicBezTo>
                    <a:pt x="510540" y="4057650"/>
                    <a:pt x="524828" y="4043363"/>
                    <a:pt x="524828" y="4026218"/>
                  </a:cubicBezTo>
                  <a:cubicBezTo>
                    <a:pt x="524828" y="4009073"/>
                    <a:pt x="510540" y="3994785"/>
                    <a:pt x="493395" y="3994785"/>
                  </a:cubicBezTo>
                  <a:cubicBezTo>
                    <a:pt x="475298" y="3994785"/>
                    <a:pt x="461963" y="4009073"/>
                    <a:pt x="461963" y="4026218"/>
                  </a:cubicBezTo>
                  <a:close/>
                  <a:moveTo>
                    <a:pt x="461963" y="3813810"/>
                  </a:moveTo>
                  <a:cubicBezTo>
                    <a:pt x="461963" y="3830955"/>
                    <a:pt x="476250" y="3845243"/>
                    <a:pt x="493395" y="3845243"/>
                  </a:cubicBezTo>
                  <a:cubicBezTo>
                    <a:pt x="510540" y="3845243"/>
                    <a:pt x="524828" y="3830955"/>
                    <a:pt x="524828" y="3813810"/>
                  </a:cubicBezTo>
                  <a:cubicBezTo>
                    <a:pt x="524828" y="3796665"/>
                    <a:pt x="510540" y="3782378"/>
                    <a:pt x="493395" y="3782378"/>
                  </a:cubicBezTo>
                  <a:cubicBezTo>
                    <a:pt x="475298" y="3782378"/>
                    <a:pt x="461963" y="3796665"/>
                    <a:pt x="461963" y="3813810"/>
                  </a:cubicBezTo>
                  <a:close/>
                  <a:moveTo>
                    <a:pt x="440055" y="3175635"/>
                  </a:moveTo>
                  <a:cubicBezTo>
                    <a:pt x="440055" y="3205163"/>
                    <a:pt x="463868" y="3228975"/>
                    <a:pt x="493395" y="3228975"/>
                  </a:cubicBezTo>
                  <a:cubicBezTo>
                    <a:pt x="522923" y="3228975"/>
                    <a:pt x="546735" y="3205163"/>
                    <a:pt x="546735" y="3175635"/>
                  </a:cubicBezTo>
                  <a:cubicBezTo>
                    <a:pt x="546735" y="3146108"/>
                    <a:pt x="522923" y="3122295"/>
                    <a:pt x="493395" y="3122295"/>
                  </a:cubicBezTo>
                  <a:cubicBezTo>
                    <a:pt x="463868" y="3122295"/>
                    <a:pt x="440055" y="3147060"/>
                    <a:pt x="440055" y="3175635"/>
                  </a:cubicBezTo>
                  <a:close/>
                  <a:moveTo>
                    <a:pt x="431483" y="2963228"/>
                  </a:moveTo>
                  <a:cubicBezTo>
                    <a:pt x="431483" y="2997518"/>
                    <a:pt x="459105" y="3025140"/>
                    <a:pt x="493395" y="3025140"/>
                  </a:cubicBezTo>
                  <a:cubicBezTo>
                    <a:pt x="527685" y="3025140"/>
                    <a:pt x="555308" y="2997518"/>
                    <a:pt x="555308" y="2963228"/>
                  </a:cubicBezTo>
                  <a:cubicBezTo>
                    <a:pt x="555308" y="2928938"/>
                    <a:pt x="527685" y="2901315"/>
                    <a:pt x="493395" y="2901315"/>
                  </a:cubicBezTo>
                  <a:cubicBezTo>
                    <a:pt x="459105" y="2901315"/>
                    <a:pt x="431483" y="2928938"/>
                    <a:pt x="431483" y="2963228"/>
                  </a:cubicBezTo>
                  <a:moveTo>
                    <a:pt x="431483" y="2538413"/>
                  </a:moveTo>
                  <a:cubicBezTo>
                    <a:pt x="431483" y="2572703"/>
                    <a:pt x="459105" y="2600325"/>
                    <a:pt x="493395" y="2600325"/>
                  </a:cubicBezTo>
                  <a:cubicBezTo>
                    <a:pt x="527685" y="2600325"/>
                    <a:pt x="555308" y="2572703"/>
                    <a:pt x="555308" y="2538413"/>
                  </a:cubicBezTo>
                  <a:cubicBezTo>
                    <a:pt x="555308" y="2504123"/>
                    <a:pt x="527685" y="2476500"/>
                    <a:pt x="493395" y="2476500"/>
                  </a:cubicBezTo>
                  <a:cubicBezTo>
                    <a:pt x="459105" y="2476500"/>
                    <a:pt x="431483" y="2504123"/>
                    <a:pt x="431483" y="2538413"/>
                  </a:cubicBezTo>
                  <a:moveTo>
                    <a:pt x="457200" y="3601403"/>
                  </a:moveTo>
                  <a:cubicBezTo>
                    <a:pt x="457200" y="3620453"/>
                    <a:pt x="473393" y="3636645"/>
                    <a:pt x="492443" y="3636645"/>
                  </a:cubicBezTo>
                  <a:cubicBezTo>
                    <a:pt x="511493" y="3636645"/>
                    <a:pt x="527685" y="3620453"/>
                    <a:pt x="527685" y="3601403"/>
                  </a:cubicBezTo>
                  <a:cubicBezTo>
                    <a:pt x="527685" y="3582353"/>
                    <a:pt x="511493" y="3566160"/>
                    <a:pt x="492443" y="3566160"/>
                  </a:cubicBezTo>
                  <a:cubicBezTo>
                    <a:pt x="473393" y="3566160"/>
                    <a:pt x="457200" y="3581400"/>
                    <a:pt x="457200" y="3601403"/>
                  </a:cubicBezTo>
                  <a:close/>
                  <a:moveTo>
                    <a:pt x="448628" y="3388043"/>
                  </a:moveTo>
                  <a:cubicBezTo>
                    <a:pt x="448628" y="3412808"/>
                    <a:pt x="468630" y="3431858"/>
                    <a:pt x="492443" y="3431858"/>
                  </a:cubicBezTo>
                  <a:cubicBezTo>
                    <a:pt x="517208" y="3431858"/>
                    <a:pt x="536258" y="3411855"/>
                    <a:pt x="536258" y="3388043"/>
                  </a:cubicBezTo>
                  <a:cubicBezTo>
                    <a:pt x="536258" y="3363278"/>
                    <a:pt x="516255" y="3344228"/>
                    <a:pt x="492443" y="3344228"/>
                  </a:cubicBezTo>
                  <a:cubicBezTo>
                    <a:pt x="468630" y="3344228"/>
                    <a:pt x="448628" y="3364230"/>
                    <a:pt x="448628" y="3388043"/>
                  </a:cubicBezTo>
                  <a:close/>
                  <a:moveTo>
                    <a:pt x="448628" y="2112645"/>
                  </a:moveTo>
                  <a:cubicBezTo>
                    <a:pt x="448628" y="2137410"/>
                    <a:pt x="468630" y="2156460"/>
                    <a:pt x="492443" y="2156460"/>
                  </a:cubicBezTo>
                  <a:cubicBezTo>
                    <a:pt x="517208" y="2156460"/>
                    <a:pt x="536258" y="2136458"/>
                    <a:pt x="536258" y="2112645"/>
                  </a:cubicBezTo>
                  <a:cubicBezTo>
                    <a:pt x="536258" y="2088832"/>
                    <a:pt x="516255" y="2068830"/>
                    <a:pt x="492443" y="2068830"/>
                  </a:cubicBezTo>
                  <a:cubicBezTo>
                    <a:pt x="468630" y="2068830"/>
                    <a:pt x="448628" y="2088832"/>
                    <a:pt x="448628" y="2112645"/>
                  </a:cubicBezTo>
                  <a:close/>
                  <a:moveTo>
                    <a:pt x="457200" y="1900238"/>
                  </a:moveTo>
                  <a:cubicBezTo>
                    <a:pt x="457200" y="1919288"/>
                    <a:pt x="473393" y="1935480"/>
                    <a:pt x="492443" y="1935480"/>
                  </a:cubicBezTo>
                  <a:cubicBezTo>
                    <a:pt x="511493" y="1935480"/>
                    <a:pt x="527685" y="1919288"/>
                    <a:pt x="527685" y="1900238"/>
                  </a:cubicBezTo>
                  <a:cubicBezTo>
                    <a:pt x="527685" y="1881188"/>
                    <a:pt x="511493" y="1864995"/>
                    <a:pt x="492443" y="1864995"/>
                  </a:cubicBezTo>
                  <a:cubicBezTo>
                    <a:pt x="473393" y="1864995"/>
                    <a:pt x="457200" y="1881188"/>
                    <a:pt x="457200" y="1900238"/>
                  </a:cubicBezTo>
                  <a:close/>
                  <a:moveTo>
                    <a:pt x="440055" y="2325053"/>
                  </a:moveTo>
                  <a:cubicBezTo>
                    <a:pt x="440055" y="2354580"/>
                    <a:pt x="463868" y="2378393"/>
                    <a:pt x="493395" y="2378393"/>
                  </a:cubicBezTo>
                  <a:cubicBezTo>
                    <a:pt x="522923" y="2378393"/>
                    <a:pt x="546735" y="2354580"/>
                    <a:pt x="546735" y="2325053"/>
                  </a:cubicBezTo>
                  <a:cubicBezTo>
                    <a:pt x="546735" y="2295525"/>
                    <a:pt x="522923" y="2271713"/>
                    <a:pt x="493395" y="2271713"/>
                  </a:cubicBezTo>
                  <a:cubicBezTo>
                    <a:pt x="463868" y="2271713"/>
                    <a:pt x="440055" y="2296478"/>
                    <a:pt x="440055" y="2325053"/>
                  </a:cubicBezTo>
                  <a:close/>
                  <a:moveTo>
                    <a:pt x="415290" y="2750820"/>
                  </a:moveTo>
                  <a:cubicBezTo>
                    <a:pt x="415290" y="2793683"/>
                    <a:pt x="450533" y="2828925"/>
                    <a:pt x="493395" y="2828925"/>
                  </a:cubicBezTo>
                  <a:cubicBezTo>
                    <a:pt x="536258" y="2828925"/>
                    <a:pt x="571500" y="2793683"/>
                    <a:pt x="571500" y="2750820"/>
                  </a:cubicBezTo>
                  <a:cubicBezTo>
                    <a:pt x="571500" y="2707958"/>
                    <a:pt x="536258" y="2672715"/>
                    <a:pt x="493395" y="2672715"/>
                  </a:cubicBezTo>
                  <a:cubicBezTo>
                    <a:pt x="450533" y="2672715"/>
                    <a:pt x="415290" y="2707958"/>
                    <a:pt x="415290" y="2750820"/>
                  </a:cubicBezTo>
                </a:path>
              </a:pathLst>
            </a:custGeom>
            <a:solidFill>
              <a:srgbClr val="00A3D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84860DA-96D0-4A02-83A7-10A8879DD7EC}"/>
              </a:ext>
            </a:extLst>
          </p:cNvPr>
          <p:cNvGrpSpPr/>
          <p:nvPr userDrawn="1"/>
        </p:nvGrpSpPr>
        <p:grpSpPr>
          <a:xfrm>
            <a:off x="722501" y="6477000"/>
            <a:ext cx="2202990" cy="381000"/>
            <a:chOff x="549275" y="6477000"/>
            <a:chExt cx="2202416" cy="381000"/>
          </a:xfrm>
        </p:grpSpPr>
        <p:sp>
          <p:nvSpPr>
            <p:cNvPr id="27" name="BR Logo">
              <a:extLst>
                <a:ext uri="{FF2B5EF4-FFF2-40B4-BE49-F238E27FC236}">
                  <a16:creationId xmlns:a16="http://schemas.microsoft.com/office/drawing/2014/main" id="{D48FC46D-4CD2-40B5-8352-CAD6CFEFA1DC}"/>
                </a:ext>
              </a:extLst>
            </p:cNvPr>
            <p:cNvSpPr/>
            <p:nvPr userDrawn="1"/>
          </p:nvSpPr>
          <p:spPr>
            <a:xfrm>
              <a:off x="549275" y="6568107"/>
              <a:ext cx="943806" cy="191218"/>
            </a:xfrm>
            <a:custGeom>
              <a:avLst/>
              <a:gdLst>
                <a:gd name="connsiteX0" fmla="*/ 1803083 w 6365557"/>
                <a:gd name="connsiteY0" fmla="*/ 1002983 h 1289684"/>
                <a:gd name="connsiteX1" fmla="*/ 1579245 w 6365557"/>
                <a:gd name="connsiteY1" fmla="*/ 1002983 h 1289684"/>
                <a:gd name="connsiteX2" fmla="*/ 1579245 w 6365557"/>
                <a:gd name="connsiteY2" fmla="*/ 322898 h 1289684"/>
                <a:gd name="connsiteX3" fmla="*/ 1805940 w 6365557"/>
                <a:gd name="connsiteY3" fmla="*/ 322898 h 1289684"/>
                <a:gd name="connsiteX4" fmla="*/ 2041208 w 6365557"/>
                <a:gd name="connsiteY4" fmla="*/ 492443 h 1289684"/>
                <a:gd name="connsiteX5" fmla="*/ 1920240 w 6365557"/>
                <a:gd name="connsiteY5" fmla="*/ 648653 h 1289684"/>
                <a:gd name="connsiteX6" fmla="*/ 1920240 w 6365557"/>
                <a:gd name="connsiteY6" fmla="*/ 650558 h 1289684"/>
                <a:gd name="connsiteX7" fmla="*/ 2069783 w 6365557"/>
                <a:gd name="connsiteY7" fmla="*/ 814388 h 1289684"/>
                <a:gd name="connsiteX8" fmla="*/ 1803083 w 6365557"/>
                <a:gd name="connsiteY8" fmla="*/ 1002983 h 1289684"/>
                <a:gd name="connsiteX9" fmla="*/ 1790700 w 6365557"/>
                <a:gd name="connsiteY9" fmla="*/ 433388 h 1289684"/>
                <a:gd name="connsiteX10" fmla="*/ 1707833 w 6365557"/>
                <a:gd name="connsiteY10" fmla="*/ 433388 h 1289684"/>
                <a:gd name="connsiteX11" fmla="*/ 1707833 w 6365557"/>
                <a:gd name="connsiteY11" fmla="*/ 602933 h 1289684"/>
                <a:gd name="connsiteX12" fmla="*/ 1787843 w 6365557"/>
                <a:gd name="connsiteY12" fmla="*/ 602933 h 1289684"/>
                <a:gd name="connsiteX13" fmla="*/ 1899285 w 6365557"/>
                <a:gd name="connsiteY13" fmla="*/ 515303 h 1289684"/>
                <a:gd name="connsiteX14" fmla="*/ 1790700 w 6365557"/>
                <a:gd name="connsiteY14" fmla="*/ 433388 h 1289684"/>
                <a:gd name="connsiteX15" fmla="*/ 1789748 w 6365557"/>
                <a:gd name="connsiteY15" fmla="*/ 705803 h 1289684"/>
                <a:gd name="connsiteX16" fmla="*/ 1707833 w 6365557"/>
                <a:gd name="connsiteY16" fmla="*/ 705803 h 1289684"/>
                <a:gd name="connsiteX17" fmla="*/ 1707833 w 6365557"/>
                <a:gd name="connsiteY17" fmla="*/ 892493 h 1289684"/>
                <a:gd name="connsiteX18" fmla="*/ 1783080 w 6365557"/>
                <a:gd name="connsiteY18" fmla="*/ 892493 h 1289684"/>
                <a:gd name="connsiteX19" fmla="*/ 1909763 w 6365557"/>
                <a:gd name="connsiteY19" fmla="*/ 801053 h 1289684"/>
                <a:gd name="connsiteX20" fmla="*/ 1789748 w 6365557"/>
                <a:gd name="connsiteY20" fmla="*/ 705803 h 1289684"/>
                <a:gd name="connsiteX21" fmla="*/ 2473643 w 6365557"/>
                <a:gd name="connsiteY21" fmla="*/ 506730 h 1289684"/>
                <a:gd name="connsiteX22" fmla="*/ 2406015 w 6365557"/>
                <a:gd name="connsiteY22" fmla="*/ 493395 h 1289684"/>
                <a:gd name="connsiteX23" fmla="*/ 2280285 w 6365557"/>
                <a:gd name="connsiteY23" fmla="*/ 573405 h 1289684"/>
                <a:gd name="connsiteX24" fmla="*/ 2280285 w 6365557"/>
                <a:gd name="connsiteY24" fmla="*/ 505778 h 1289684"/>
                <a:gd name="connsiteX25" fmla="*/ 2144078 w 6365557"/>
                <a:gd name="connsiteY25" fmla="*/ 505778 h 1289684"/>
                <a:gd name="connsiteX26" fmla="*/ 2144078 w 6365557"/>
                <a:gd name="connsiteY26" fmla="*/ 1002983 h 1289684"/>
                <a:gd name="connsiteX27" fmla="*/ 2280285 w 6365557"/>
                <a:gd name="connsiteY27" fmla="*/ 1002983 h 1289684"/>
                <a:gd name="connsiteX28" fmla="*/ 2280285 w 6365557"/>
                <a:gd name="connsiteY28" fmla="*/ 689610 h 1289684"/>
                <a:gd name="connsiteX29" fmla="*/ 2388870 w 6365557"/>
                <a:gd name="connsiteY29" fmla="*/ 614363 h 1289684"/>
                <a:gd name="connsiteX30" fmla="*/ 2441258 w 6365557"/>
                <a:gd name="connsiteY30" fmla="*/ 625793 h 1289684"/>
                <a:gd name="connsiteX31" fmla="*/ 2473643 w 6365557"/>
                <a:gd name="connsiteY31" fmla="*/ 506730 h 1289684"/>
                <a:gd name="connsiteX32" fmla="*/ 2715578 w 6365557"/>
                <a:gd name="connsiteY32" fmla="*/ 1015365 h 1289684"/>
                <a:gd name="connsiteX33" fmla="*/ 2466023 w 6365557"/>
                <a:gd name="connsiteY33" fmla="*/ 756285 h 1289684"/>
                <a:gd name="connsiteX34" fmla="*/ 2714625 w 6365557"/>
                <a:gd name="connsiteY34" fmla="*/ 493395 h 1289684"/>
                <a:gd name="connsiteX35" fmla="*/ 2967038 w 6365557"/>
                <a:gd name="connsiteY35" fmla="*/ 751523 h 1289684"/>
                <a:gd name="connsiteX36" fmla="*/ 2715578 w 6365557"/>
                <a:gd name="connsiteY36" fmla="*/ 1015365 h 1289684"/>
                <a:gd name="connsiteX37" fmla="*/ 2712720 w 6365557"/>
                <a:gd name="connsiteY37" fmla="*/ 594360 h 1289684"/>
                <a:gd name="connsiteX38" fmla="*/ 2610803 w 6365557"/>
                <a:gd name="connsiteY38" fmla="*/ 751523 h 1289684"/>
                <a:gd name="connsiteX39" fmla="*/ 2718435 w 6365557"/>
                <a:gd name="connsiteY39" fmla="*/ 911543 h 1289684"/>
                <a:gd name="connsiteX40" fmla="*/ 2824163 w 6365557"/>
                <a:gd name="connsiteY40" fmla="*/ 755333 h 1289684"/>
                <a:gd name="connsiteX41" fmla="*/ 2712720 w 6365557"/>
                <a:gd name="connsiteY41" fmla="*/ 594360 h 1289684"/>
                <a:gd name="connsiteX42" fmla="*/ 3301365 w 6365557"/>
                <a:gd name="connsiteY42" fmla="*/ 1002983 h 1289684"/>
                <a:gd name="connsiteX43" fmla="*/ 3292793 w 6365557"/>
                <a:gd name="connsiteY43" fmla="*/ 949643 h 1289684"/>
                <a:gd name="connsiteX44" fmla="*/ 3152775 w 6365557"/>
                <a:gd name="connsiteY44" fmla="*/ 1015365 h 1289684"/>
                <a:gd name="connsiteX45" fmla="*/ 3002280 w 6365557"/>
                <a:gd name="connsiteY45" fmla="*/ 875348 h 1289684"/>
                <a:gd name="connsiteX46" fmla="*/ 3268028 w 6365557"/>
                <a:gd name="connsiteY46" fmla="*/ 698183 h 1289684"/>
                <a:gd name="connsiteX47" fmla="*/ 3285173 w 6365557"/>
                <a:gd name="connsiteY47" fmla="*/ 698183 h 1289684"/>
                <a:gd name="connsiteX48" fmla="*/ 3285173 w 6365557"/>
                <a:gd name="connsiteY48" fmla="*/ 669608 h 1289684"/>
                <a:gd name="connsiteX49" fmla="*/ 3204210 w 6365557"/>
                <a:gd name="connsiteY49" fmla="*/ 600075 h 1289684"/>
                <a:gd name="connsiteX50" fmla="*/ 3077528 w 6365557"/>
                <a:gd name="connsiteY50" fmla="*/ 646748 h 1289684"/>
                <a:gd name="connsiteX51" fmla="*/ 3018473 w 6365557"/>
                <a:gd name="connsiteY51" fmla="*/ 563880 h 1289684"/>
                <a:gd name="connsiteX52" fmla="*/ 3219450 w 6365557"/>
                <a:gd name="connsiteY52" fmla="*/ 492443 h 1289684"/>
                <a:gd name="connsiteX53" fmla="*/ 3419475 w 6365557"/>
                <a:gd name="connsiteY53" fmla="*/ 676275 h 1289684"/>
                <a:gd name="connsiteX54" fmla="*/ 3419475 w 6365557"/>
                <a:gd name="connsiteY54" fmla="*/ 855345 h 1289684"/>
                <a:gd name="connsiteX55" fmla="*/ 3433763 w 6365557"/>
                <a:gd name="connsiteY55" fmla="*/ 1002030 h 1289684"/>
                <a:gd name="connsiteX56" fmla="*/ 3301365 w 6365557"/>
                <a:gd name="connsiteY56" fmla="*/ 1002030 h 1289684"/>
                <a:gd name="connsiteX57" fmla="*/ 3271838 w 6365557"/>
                <a:gd name="connsiteY57" fmla="*/ 782955 h 1289684"/>
                <a:gd name="connsiteX58" fmla="*/ 3254693 w 6365557"/>
                <a:gd name="connsiteY58" fmla="*/ 782955 h 1289684"/>
                <a:gd name="connsiteX59" fmla="*/ 3119438 w 6365557"/>
                <a:gd name="connsiteY59" fmla="*/ 864870 h 1289684"/>
                <a:gd name="connsiteX60" fmla="*/ 3179445 w 6365557"/>
                <a:gd name="connsiteY60" fmla="*/ 917258 h 1289684"/>
                <a:gd name="connsiteX61" fmla="*/ 3271838 w 6365557"/>
                <a:gd name="connsiteY61" fmla="*/ 873443 h 1289684"/>
                <a:gd name="connsiteX62" fmla="*/ 3271838 w 6365557"/>
                <a:gd name="connsiteY62" fmla="*/ 782955 h 1289684"/>
                <a:gd name="connsiteX63" fmla="*/ 3713798 w 6365557"/>
                <a:gd name="connsiteY63" fmla="*/ 493395 h 1289684"/>
                <a:gd name="connsiteX64" fmla="*/ 3829050 w 6365557"/>
                <a:gd name="connsiteY64" fmla="*/ 527685 h 1289684"/>
                <a:gd name="connsiteX65" fmla="*/ 3829050 w 6365557"/>
                <a:gd name="connsiteY65" fmla="*/ 270510 h 1289684"/>
                <a:gd name="connsiteX66" fmla="*/ 3965258 w 6365557"/>
                <a:gd name="connsiteY66" fmla="*/ 270510 h 1289684"/>
                <a:gd name="connsiteX67" fmla="*/ 3965258 w 6365557"/>
                <a:gd name="connsiteY67" fmla="*/ 861060 h 1289684"/>
                <a:gd name="connsiteX68" fmla="*/ 3979545 w 6365557"/>
                <a:gd name="connsiteY68" fmla="*/ 1002983 h 1289684"/>
                <a:gd name="connsiteX69" fmla="*/ 3845243 w 6365557"/>
                <a:gd name="connsiteY69" fmla="*/ 1002983 h 1289684"/>
                <a:gd name="connsiteX70" fmla="*/ 3834765 w 6365557"/>
                <a:gd name="connsiteY70" fmla="*/ 948690 h 1289684"/>
                <a:gd name="connsiteX71" fmla="*/ 3694748 w 6365557"/>
                <a:gd name="connsiteY71" fmla="*/ 1016318 h 1289684"/>
                <a:gd name="connsiteX72" fmla="*/ 3489960 w 6365557"/>
                <a:gd name="connsiteY72" fmla="*/ 755333 h 1289684"/>
                <a:gd name="connsiteX73" fmla="*/ 3713798 w 6365557"/>
                <a:gd name="connsiteY73" fmla="*/ 493395 h 1289684"/>
                <a:gd name="connsiteX74" fmla="*/ 3736658 w 6365557"/>
                <a:gd name="connsiteY74" fmla="*/ 906780 h 1289684"/>
                <a:gd name="connsiteX75" fmla="*/ 3830003 w 6365557"/>
                <a:gd name="connsiteY75" fmla="*/ 856298 h 1289684"/>
                <a:gd name="connsiteX76" fmla="*/ 3830003 w 6365557"/>
                <a:gd name="connsiteY76" fmla="*/ 632460 h 1289684"/>
                <a:gd name="connsiteX77" fmla="*/ 3743325 w 6365557"/>
                <a:gd name="connsiteY77" fmla="*/ 600075 h 1289684"/>
                <a:gd name="connsiteX78" fmla="*/ 3635693 w 6365557"/>
                <a:gd name="connsiteY78" fmla="*/ 756285 h 1289684"/>
                <a:gd name="connsiteX79" fmla="*/ 3736658 w 6365557"/>
                <a:gd name="connsiteY79" fmla="*/ 906780 h 1289684"/>
                <a:gd name="connsiteX80" fmla="*/ 4397693 w 6365557"/>
                <a:gd name="connsiteY80" fmla="*/ 506730 h 1289684"/>
                <a:gd name="connsiteX81" fmla="*/ 4330065 w 6365557"/>
                <a:gd name="connsiteY81" fmla="*/ 493395 h 1289684"/>
                <a:gd name="connsiteX82" fmla="*/ 4204335 w 6365557"/>
                <a:gd name="connsiteY82" fmla="*/ 573405 h 1289684"/>
                <a:gd name="connsiteX83" fmla="*/ 4204335 w 6365557"/>
                <a:gd name="connsiteY83" fmla="*/ 505778 h 1289684"/>
                <a:gd name="connsiteX84" fmla="*/ 4068128 w 6365557"/>
                <a:gd name="connsiteY84" fmla="*/ 505778 h 1289684"/>
                <a:gd name="connsiteX85" fmla="*/ 4068128 w 6365557"/>
                <a:gd name="connsiteY85" fmla="*/ 1002983 h 1289684"/>
                <a:gd name="connsiteX86" fmla="*/ 4204335 w 6365557"/>
                <a:gd name="connsiteY86" fmla="*/ 1002983 h 1289684"/>
                <a:gd name="connsiteX87" fmla="*/ 4204335 w 6365557"/>
                <a:gd name="connsiteY87" fmla="*/ 689610 h 1289684"/>
                <a:gd name="connsiteX88" fmla="*/ 4312920 w 6365557"/>
                <a:gd name="connsiteY88" fmla="*/ 614363 h 1289684"/>
                <a:gd name="connsiteX89" fmla="*/ 4365308 w 6365557"/>
                <a:gd name="connsiteY89" fmla="*/ 625793 h 1289684"/>
                <a:gd name="connsiteX90" fmla="*/ 4397693 w 6365557"/>
                <a:gd name="connsiteY90" fmla="*/ 506730 h 1289684"/>
                <a:gd name="connsiteX91" fmla="*/ 4517708 w 6365557"/>
                <a:gd name="connsiteY91" fmla="*/ 441008 h 1289684"/>
                <a:gd name="connsiteX92" fmla="*/ 4595813 w 6365557"/>
                <a:gd name="connsiteY92" fmla="*/ 364808 h 1289684"/>
                <a:gd name="connsiteX93" fmla="*/ 4517708 w 6365557"/>
                <a:gd name="connsiteY93" fmla="*/ 290513 h 1289684"/>
                <a:gd name="connsiteX94" fmla="*/ 4440555 w 6365557"/>
                <a:gd name="connsiteY94" fmla="*/ 364808 h 1289684"/>
                <a:gd name="connsiteX95" fmla="*/ 4517708 w 6365557"/>
                <a:gd name="connsiteY95" fmla="*/ 441008 h 1289684"/>
                <a:gd name="connsiteX96" fmla="*/ 4450080 w 6365557"/>
                <a:gd name="connsiteY96" fmla="*/ 1002983 h 1289684"/>
                <a:gd name="connsiteX97" fmla="*/ 4587240 w 6365557"/>
                <a:gd name="connsiteY97" fmla="*/ 1002983 h 1289684"/>
                <a:gd name="connsiteX98" fmla="*/ 4587240 w 6365557"/>
                <a:gd name="connsiteY98" fmla="*/ 505778 h 1289684"/>
                <a:gd name="connsiteX99" fmla="*/ 4450080 w 6365557"/>
                <a:gd name="connsiteY99" fmla="*/ 505778 h 1289684"/>
                <a:gd name="connsiteX100" fmla="*/ 4450080 w 6365557"/>
                <a:gd name="connsiteY100" fmla="*/ 1002983 h 1289684"/>
                <a:gd name="connsiteX101" fmla="*/ 4884420 w 6365557"/>
                <a:gd name="connsiteY101" fmla="*/ 493395 h 1289684"/>
                <a:gd name="connsiteX102" fmla="*/ 4999673 w 6365557"/>
                <a:gd name="connsiteY102" fmla="*/ 527685 h 1289684"/>
                <a:gd name="connsiteX103" fmla="*/ 4999673 w 6365557"/>
                <a:gd name="connsiteY103" fmla="*/ 270510 h 1289684"/>
                <a:gd name="connsiteX104" fmla="*/ 5135880 w 6365557"/>
                <a:gd name="connsiteY104" fmla="*/ 270510 h 1289684"/>
                <a:gd name="connsiteX105" fmla="*/ 5135880 w 6365557"/>
                <a:gd name="connsiteY105" fmla="*/ 861060 h 1289684"/>
                <a:gd name="connsiteX106" fmla="*/ 5150168 w 6365557"/>
                <a:gd name="connsiteY106" fmla="*/ 1002983 h 1289684"/>
                <a:gd name="connsiteX107" fmla="*/ 5015865 w 6365557"/>
                <a:gd name="connsiteY107" fmla="*/ 1002983 h 1289684"/>
                <a:gd name="connsiteX108" fmla="*/ 5005388 w 6365557"/>
                <a:gd name="connsiteY108" fmla="*/ 948690 h 1289684"/>
                <a:gd name="connsiteX109" fmla="*/ 4865370 w 6365557"/>
                <a:gd name="connsiteY109" fmla="*/ 1016318 h 1289684"/>
                <a:gd name="connsiteX110" fmla="*/ 4660583 w 6365557"/>
                <a:gd name="connsiteY110" fmla="*/ 755333 h 1289684"/>
                <a:gd name="connsiteX111" fmla="*/ 4884420 w 6365557"/>
                <a:gd name="connsiteY111" fmla="*/ 493395 h 1289684"/>
                <a:gd name="connsiteX112" fmla="*/ 4907280 w 6365557"/>
                <a:gd name="connsiteY112" fmla="*/ 906780 h 1289684"/>
                <a:gd name="connsiteX113" fmla="*/ 5000625 w 6365557"/>
                <a:gd name="connsiteY113" fmla="*/ 856298 h 1289684"/>
                <a:gd name="connsiteX114" fmla="*/ 5000625 w 6365557"/>
                <a:gd name="connsiteY114" fmla="*/ 632460 h 1289684"/>
                <a:gd name="connsiteX115" fmla="*/ 4913948 w 6365557"/>
                <a:gd name="connsiteY115" fmla="*/ 600075 h 1289684"/>
                <a:gd name="connsiteX116" fmla="*/ 4806315 w 6365557"/>
                <a:gd name="connsiteY116" fmla="*/ 756285 h 1289684"/>
                <a:gd name="connsiteX117" fmla="*/ 4907280 w 6365557"/>
                <a:gd name="connsiteY117" fmla="*/ 906780 h 1289684"/>
                <a:gd name="connsiteX118" fmla="*/ 5695950 w 6365557"/>
                <a:gd name="connsiteY118" fmla="*/ 493395 h 1289684"/>
                <a:gd name="connsiteX119" fmla="*/ 5695950 w 6365557"/>
                <a:gd name="connsiteY119" fmla="*/ 594360 h 1289684"/>
                <a:gd name="connsiteX120" fmla="*/ 5629275 w 6365557"/>
                <a:gd name="connsiteY120" fmla="*/ 594360 h 1289684"/>
                <a:gd name="connsiteX121" fmla="*/ 5647373 w 6365557"/>
                <a:gd name="connsiteY121" fmla="*/ 674370 h 1289684"/>
                <a:gd name="connsiteX122" fmla="*/ 5433060 w 6365557"/>
                <a:gd name="connsiteY122" fmla="*/ 854393 h 1289684"/>
                <a:gd name="connsiteX123" fmla="*/ 5374005 w 6365557"/>
                <a:gd name="connsiteY123" fmla="*/ 849630 h 1289684"/>
                <a:gd name="connsiteX124" fmla="*/ 5355908 w 6365557"/>
                <a:gd name="connsiteY124" fmla="*/ 879158 h 1289684"/>
                <a:gd name="connsiteX125" fmla="*/ 5455920 w 6365557"/>
                <a:gd name="connsiteY125" fmla="*/ 914400 h 1289684"/>
                <a:gd name="connsiteX126" fmla="*/ 5690235 w 6365557"/>
                <a:gd name="connsiteY126" fmla="*/ 1067753 h 1289684"/>
                <a:gd name="connsiteX127" fmla="*/ 5417820 w 6365557"/>
                <a:gd name="connsiteY127" fmla="*/ 1247775 h 1289684"/>
                <a:gd name="connsiteX128" fmla="*/ 5198745 w 6365557"/>
                <a:gd name="connsiteY128" fmla="*/ 1115378 h 1289684"/>
                <a:gd name="connsiteX129" fmla="*/ 5282565 w 6365557"/>
                <a:gd name="connsiteY129" fmla="*/ 993458 h 1289684"/>
                <a:gd name="connsiteX130" fmla="*/ 5238750 w 6365557"/>
                <a:gd name="connsiteY130" fmla="*/ 918210 h 1289684"/>
                <a:gd name="connsiteX131" fmla="*/ 5294948 w 6365557"/>
                <a:gd name="connsiteY131" fmla="*/ 823913 h 1289684"/>
                <a:gd name="connsiteX132" fmla="*/ 5206365 w 6365557"/>
                <a:gd name="connsiteY132" fmla="*/ 674370 h 1289684"/>
                <a:gd name="connsiteX133" fmla="*/ 5427345 w 6365557"/>
                <a:gd name="connsiteY133" fmla="*/ 493395 h 1289684"/>
                <a:gd name="connsiteX134" fmla="*/ 5695950 w 6365557"/>
                <a:gd name="connsiteY134" fmla="*/ 493395 h 1289684"/>
                <a:gd name="connsiteX135" fmla="*/ 5314950 w 6365557"/>
                <a:gd name="connsiteY135" fmla="*/ 1088708 h 1289684"/>
                <a:gd name="connsiteX136" fmla="*/ 5412105 w 6365557"/>
                <a:gd name="connsiteY136" fmla="*/ 1156335 h 1289684"/>
                <a:gd name="connsiteX137" fmla="*/ 5541645 w 6365557"/>
                <a:gd name="connsiteY137" fmla="*/ 1082993 h 1289684"/>
                <a:gd name="connsiteX138" fmla="*/ 5422583 w 6365557"/>
                <a:gd name="connsiteY138" fmla="*/ 1026795 h 1289684"/>
                <a:gd name="connsiteX139" fmla="*/ 5354955 w 6365557"/>
                <a:gd name="connsiteY139" fmla="*/ 1020128 h 1289684"/>
                <a:gd name="connsiteX140" fmla="*/ 5314950 w 6365557"/>
                <a:gd name="connsiteY140" fmla="*/ 1088708 h 1289684"/>
                <a:gd name="connsiteX141" fmla="*/ 5517833 w 6365557"/>
                <a:gd name="connsiteY141" fmla="*/ 674370 h 1289684"/>
                <a:gd name="connsiteX142" fmla="*/ 5428298 w 6365557"/>
                <a:gd name="connsiteY142" fmla="*/ 581978 h 1289684"/>
                <a:gd name="connsiteX143" fmla="*/ 5338763 w 6365557"/>
                <a:gd name="connsiteY143" fmla="*/ 674370 h 1289684"/>
                <a:gd name="connsiteX144" fmla="*/ 5428298 w 6365557"/>
                <a:gd name="connsiteY144" fmla="*/ 766763 h 1289684"/>
                <a:gd name="connsiteX145" fmla="*/ 5517833 w 6365557"/>
                <a:gd name="connsiteY145" fmla="*/ 674370 h 1289684"/>
                <a:gd name="connsiteX146" fmla="*/ 5992178 w 6365557"/>
                <a:gd name="connsiteY146" fmla="*/ 914400 h 1289684"/>
                <a:gd name="connsiteX147" fmla="*/ 6121718 w 6365557"/>
                <a:gd name="connsiteY147" fmla="*/ 880110 h 1289684"/>
                <a:gd name="connsiteX148" fmla="*/ 6165533 w 6365557"/>
                <a:gd name="connsiteY148" fmla="*/ 967740 h 1289684"/>
                <a:gd name="connsiteX149" fmla="*/ 5979795 w 6365557"/>
                <a:gd name="connsiteY149" fmla="*/ 1015365 h 1289684"/>
                <a:gd name="connsiteX150" fmla="*/ 5719763 w 6365557"/>
                <a:gd name="connsiteY150" fmla="*/ 751523 h 1289684"/>
                <a:gd name="connsiteX151" fmla="*/ 5965508 w 6365557"/>
                <a:gd name="connsiteY151" fmla="*/ 492443 h 1289684"/>
                <a:gd name="connsiteX152" fmla="*/ 6179820 w 6365557"/>
                <a:gd name="connsiteY152" fmla="*/ 784860 h 1289684"/>
                <a:gd name="connsiteX153" fmla="*/ 5863590 w 6365557"/>
                <a:gd name="connsiteY153" fmla="*/ 784860 h 1289684"/>
                <a:gd name="connsiteX154" fmla="*/ 5992178 w 6365557"/>
                <a:gd name="connsiteY154" fmla="*/ 914400 h 1289684"/>
                <a:gd name="connsiteX155" fmla="*/ 6049328 w 6365557"/>
                <a:gd name="connsiteY155" fmla="*/ 693420 h 1289684"/>
                <a:gd name="connsiteX156" fmla="*/ 5963603 w 6365557"/>
                <a:gd name="connsiteY156" fmla="*/ 591503 h 1289684"/>
                <a:gd name="connsiteX157" fmla="*/ 5864543 w 6365557"/>
                <a:gd name="connsiteY157" fmla="*/ 693420 h 1289684"/>
                <a:gd name="connsiteX158" fmla="*/ 6049328 w 6365557"/>
                <a:gd name="connsiteY158" fmla="*/ 693420 h 1289684"/>
                <a:gd name="connsiteX159" fmla="*/ 6296025 w 6365557"/>
                <a:gd name="connsiteY159" fmla="*/ 634365 h 1289684"/>
                <a:gd name="connsiteX160" fmla="*/ 6226493 w 6365557"/>
                <a:gd name="connsiteY160" fmla="*/ 564833 h 1289684"/>
                <a:gd name="connsiteX161" fmla="*/ 6296025 w 6365557"/>
                <a:gd name="connsiteY161" fmla="*/ 495300 h 1289684"/>
                <a:gd name="connsiteX162" fmla="*/ 6365558 w 6365557"/>
                <a:gd name="connsiteY162" fmla="*/ 564833 h 1289684"/>
                <a:gd name="connsiteX163" fmla="*/ 6296025 w 6365557"/>
                <a:gd name="connsiteY163" fmla="*/ 634365 h 1289684"/>
                <a:gd name="connsiteX164" fmla="*/ 6296025 w 6365557"/>
                <a:gd name="connsiteY164" fmla="*/ 505778 h 1289684"/>
                <a:gd name="connsiteX165" fmla="*/ 6237923 w 6365557"/>
                <a:gd name="connsiteY165" fmla="*/ 564833 h 1289684"/>
                <a:gd name="connsiteX166" fmla="*/ 6296025 w 6365557"/>
                <a:gd name="connsiteY166" fmla="*/ 623888 h 1289684"/>
                <a:gd name="connsiteX167" fmla="*/ 6354128 w 6365557"/>
                <a:gd name="connsiteY167" fmla="*/ 564833 h 1289684"/>
                <a:gd name="connsiteX168" fmla="*/ 6296025 w 6365557"/>
                <a:gd name="connsiteY168" fmla="*/ 505778 h 1289684"/>
                <a:gd name="connsiteX169" fmla="*/ 6316028 w 6365557"/>
                <a:gd name="connsiteY169" fmla="*/ 605790 h 1289684"/>
                <a:gd name="connsiteX170" fmla="*/ 6296978 w 6365557"/>
                <a:gd name="connsiteY170" fmla="*/ 577215 h 1289684"/>
                <a:gd name="connsiteX171" fmla="*/ 6284595 w 6365557"/>
                <a:gd name="connsiteY171" fmla="*/ 569595 h 1289684"/>
                <a:gd name="connsiteX172" fmla="*/ 6284595 w 6365557"/>
                <a:gd name="connsiteY172" fmla="*/ 606743 h 1289684"/>
                <a:gd name="connsiteX173" fmla="*/ 6271260 w 6365557"/>
                <a:gd name="connsiteY173" fmla="*/ 606743 h 1289684"/>
                <a:gd name="connsiteX174" fmla="*/ 6271260 w 6365557"/>
                <a:gd name="connsiteY174" fmla="*/ 522923 h 1289684"/>
                <a:gd name="connsiteX175" fmla="*/ 6298883 w 6365557"/>
                <a:gd name="connsiteY175" fmla="*/ 522923 h 1289684"/>
                <a:gd name="connsiteX176" fmla="*/ 6325553 w 6365557"/>
                <a:gd name="connsiteY176" fmla="*/ 546735 h 1289684"/>
                <a:gd name="connsiteX177" fmla="*/ 6303645 w 6365557"/>
                <a:gd name="connsiteY177" fmla="*/ 568643 h 1289684"/>
                <a:gd name="connsiteX178" fmla="*/ 6313170 w 6365557"/>
                <a:gd name="connsiteY178" fmla="*/ 580073 h 1289684"/>
                <a:gd name="connsiteX179" fmla="*/ 6331268 w 6365557"/>
                <a:gd name="connsiteY179" fmla="*/ 606743 h 1289684"/>
                <a:gd name="connsiteX180" fmla="*/ 6316028 w 6365557"/>
                <a:gd name="connsiteY180" fmla="*/ 606743 h 1289684"/>
                <a:gd name="connsiteX181" fmla="*/ 6296025 w 6365557"/>
                <a:gd name="connsiteY181" fmla="*/ 533400 h 1289684"/>
                <a:gd name="connsiteX182" fmla="*/ 6284595 w 6365557"/>
                <a:gd name="connsiteY182" fmla="*/ 533400 h 1289684"/>
                <a:gd name="connsiteX183" fmla="*/ 6284595 w 6365557"/>
                <a:gd name="connsiteY183" fmla="*/ 559118 h 1289684"/>
                <a:gd name="connsiteX184" fmla="*/ 6293168 w 6365557"/>
                <a:gd name="connsiteY184" fmla="*/ 559118 h 1289684"/>
                <a:gd name="connsiteX185" fmla="*/ 6311265 w 6365557"/>
                <a:gd name="connsiteY185" fmla="*/ 546735 h 1289684"/>
                <a:gd name="connsiteX186" fmla="*/ 6296025 w 6365557"/>
                <a:gd name="connsiteY186" fmla="*/ 533400 h 1289684"/>
                <a:gd name="connsiteX187" fmla="*/ 1146810 w 6365557"/>
                <a:gd name="connsiteY187" fmla="*/ 1905 h 1289684"/>
                <a:gd name="connsiteX188" fmla="*/ 1146810 w 6365557"/>
                <a:gd name="connsiteY188" fmla="*/ 0 h 1289684"/>
                <a:gd name="connsiteX189" fmla="*/ 0 w 6365557"/>
                <a:gd name="connsiteY189" fmla="*/ 0 h 1289684"/>
                <a:gd name="connsiteX190" fmla="*/ 0 w 6365557"/>
                <a:gd name="connsiteY190" fmla="*/ 1905 h 1289684"/>
                <a:gd name="connsiteX191" fmla="*/ 0 w 6365557"/>
                <a:gd name="connsiteY191" fmla="*/ 1289685 h 1289684"/>
                <a:gd name="connsiteX192" fmla="*/ 1146810 w 6365557"/>
                <a:gd name="connsiteY192" fmla="*/ 1289685 h 1289684"/>
                <a:gd name="connsiteX193" fmla="*/ 1146810 w 6365557"/>
                <a:gd name="connsiteY193" fmla="*/ 1905 h 1289684"/>
                <a:gd name="connsiteX194" fmla="*/ 897255 w 6365557"/>
                <a:gd name="connsiteY194" fmla="*/ 880110 h 1289684"/>
                <a:gd name="connsiteX195" fmla="*/ 897255 w 6365557"/>
                <a:gd name="connsiteY195" fmla="*/ 934403 h 1289684"/>
                <a:gd name="connsiteX196" fmla="*/ 642938 w 6365557"/>
                <a:gd name="connsiteY196" fmla="*/ 843915 h 1289684"/>
                <a:gd name="connsiteX197" fmla="*/ 672465 w 6365557"/>
                <a:gd name="connsiteY197" fmla="*/ 915353 h 1289684"/>
                <a:gd name="connsiteX198" fmla="*/ 1126808 w 6365557"/>
                <a:gd name="connsiteY198" fmla="*/ 1173480 h 1289684"/>
                <a:gd name="connsiteX199" fmla="*/ 1126808 w 6365557"/>
                <a:gd name="connsiteY199" fmla="*/ 1243965 h 1289684"/>
                <a:gd name="connsiteX200" fmla="*/ 608648 w 6365557"/>
                <a:gd name="connsiteY200" fmla="*/ 944880 h 1289684"/>
                <a:gd name="connsiteX201" fmla="*/ 572453 w 6365557"/>
                <a:gd name="connsiteY201" fmla="*/ 857250 h 1289684"/>
                <a:gd name="connsiteX202" fmla="*/ 189548 w 6365557"/>
                <a:gd name="connsiteY202" fmla="*/ 1110615 h 1289684"/>
                <a:gd name="connsiteX203" fmla="*/ 189548 w 6365557"/>
                <a:gd name="connsiteY203" fmla="*/ 1032510 h 1289684"/>
                <a:gd name="connsiteX204" fmla="*/ 531495 w 6365557"/>
                <a:gd name="connsiteY204" fmla="*/ 644843 h 1289684"/>
                <a:gd name="connsiteX205" fmla="*/ 615315 w 6365557"/>
                <a:gd name="connsiteY205" fmla="*/ 644843 h 1289684"/>
                <a:gd name="connsiteX206" fmla="*/ 957263 w 6365557"/>
                <a:gd name="connsiteY206" fmla="*/ 265748 h 1289684"/>
                <a:gd name="connsiteX207" fmla="*/ 957263 w 6365557"/>
                <a:gd name="connsiteY207" fmla="*/ 187643 h 1289684"/>
                <a:gd name="connsiteX208" fmla="*/ 574358 w 6365557"/>
                <a:gd name="connsiteY208" fmla="*/ 441008 h 1289684"/>
                <a:gd name="connsiteX209" fmla="*/ 538163 w 6365557"/>
                <a:gd name="connsiteY209" fmla="*/ 353378 h 1289684"/>
                <a:gd name="connsiteX210" fmla="*/ 19050 w 6365557"/>
                <a:gd name="connsiteY210" fmla="*/ 54293 h 1289684"/>
                <a:gd name="connsiteX211" fmla="*/ 19050 w 6365557"/>
                <a:gd name="connsiteY211" fmla="*/ 19050 h 1289684"/>
                <a:gd name="connsiteX212" fmla="*/ 1127760 w 6365557"/>
                <a:gd name="connsiteY212" fmla="*/ 19050 h 1289684"/>
                <a:gd name="connsiteX213" fmla="*/ 1127760 w 6365557"/>
                <a:gd name="connsiteY213" fmla="*/ 644843 h 1289684"/>
                <a:gd name="connsiteX214" fmla="*/ 615315 w 6365557"/>
                <a:gd name="connsiteY214" fmla="*/ 644843 h 1289684"/>
                <a:gd name="connsiteX215" fmla="*/ 897255 w 6365557"/>
                <a:gd name="connsiteY215" fmla="*/ 880110 h 1289684"/>
                <a:gd name="connsiteX216" fmla="*/ 19050 w 6365557"/>
                <a:gd name="connsiteY216" fmla="*/ 124778 h 1289684"/>
                <a:gd name="connsiteX217" fmla="*/ 473393 w 6365557"/>
                <a:gd name="connsiteY217" fmla="*/ 382905 h 1289684"/>
                <a:gd name="connsiteX218" fmla="*/ 502920 w 6365557"/>
                <a:gd name="connsiteY218" fmla="*/ 453390 h 1289684"/>
                <a:gd name="connsiteX219" fmla="*/ 248603 w 6365557"/>
                <a:gd name="connsiteY219" fmla="*/ 362903 h 1289684"/>
                <a:gd name="connsiteX220" fmla="*/ 248603 w 6365557"/>
                <a:gd name="connsiteY220" fmla="*/ 418148 h 1289684"/>
                <a:gd name="connsiteX221" fmla="*/ 530543 w 6365557"/>
                <a:gd name="connsiteY221" fmla="*/ 644843 h 1289684"/>
                <a:gd name="connsiteX222" fmla="*/ 19050 w 6365557"/>
                <a:gd name="connsiteY222" fmla="*/ 644843 h 1289684"/>
                <a:gd name="connsiteX223" fmla="*/ 19050 w 6365557"/>
                <a:gd name="connsiteY223" fmla="*/ 124778 h 1289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6365557" h="1289684">
                  <a:moveTo>
                    <a:pt x="1803083" y="1002983"/>
                  </a:moveTo>
                  <a:lnTo>
                    <a:pt x="1579245" y="1002983"/>
                  </a:lnTo>
                  <a:lnTo>
                    <a:pt x="1579245" y="322898"/>
                  </a:lnTo>
                  <a:lnTo>
                    <a:pt x="1805940" y="322898"/>
                  </a:lnTo>
                  <a:cubicBezTo>
                    <a:pt x="1931670" y="322898"/>
                    <a:pt x="2041208" y="363855"/>
                    <a:pt x="2041208" y="492443"/>
                  </a:cubicBezTo>
                  <a:cubicBezTo>
                    <a:pt x="2041208" y="580073"/>
                    <a:pt x="1994535" y="629603"/>
                    <a:pt x="1920240" y="648653"/>
                  </a:cubicBezTo>
                  <a:lnTo>
                    <a:pt x="1920240" y="650558"/>
                  </a:lnTo>
                  <a:cubicBezTo>
                    <a:pt x="2001203" y="662940"/>
                    <a:pt x="2069783" y="717233"/>
                    <a:pt x="2069783" y="814388"/>
                  </a:cubicBezTo>
                  <a:cubicBezTo>
                    <a:pt x="2069783" y="953453"/>
                    <a:pt x="1958340" y="1002983"/>
                    <a:pt x="1803083" y="1002983"/>
                  </a:cubicBezTo>
                  <a:moveTo>
                    <a:pt x="1790700" y="433388"/>
                  </a:moveTo>
                  <a:lnTo>
                    <a:pt x="1707833" y="433388"/>
                  </a:lnTo>
                  <a:lnTo>
                    <a:pt x="1707833" y="602933"/>
                  </a:lnTo>
                  <a:lnTo>
                    <a:pt x="1787843" y="602933"/>
                  </a:lnTo>
                  <a:cubicBezTo>
                    <a:pt x="1865948" y="602933"/>
                    <a:pt x="1899285" y="575310"/>
                    <a:pt x="1899285" y="515303"/>
                  </a:cubicBezTo>
                  <a:cubicBezTo>
                    <a:pt x="1899285" y="459105"/>
                    <a:pt x="1862138" y="433388"/>
                    <a:pt x="1790700" y="433388"/>
                  </a:cubicBezTo>
                  <a:moveTo>
                    <a:pt x="1789748" y="705803"/>
                  </a:moveTo>
                  <a:lnTo>
                    <a:pt x="1707833" y="705803"/>
                  </a:lnTo>
                  <a:lnTo>
                    <a:pt x="1707833" y="892493"/>
                  </a:lnTo>
                  <a:lnTo>
                    <a:pt x="1783080" y="892493"/>
                  </a:lnTo>
                  <a:cubicBezTo>
                    <a:pt x="1865948" y="892493"/>
                    <a:pt x="1909763" y="866775"/>
                    <a:pt x="1909763" y="801053"/>
                  </a:cubicBezTo>
                  <a:cubicBezTo>
                    <a:pt x="1909763" y="738188"/>
                    <a:pt x="1873568" y="705803"/>
                    <a:pt x="1789748" y="705803"/>
                  </a:cubicBezTo>
                  <a:moveTo>
                    <a:pt x="2473643" y="506730"/>
                  </a:moveTo>
                  <a:cubicBezTo>
                    <a:pt x="2462213" y="501015"/>
                    <a:pt x="2443163" y="493395"/>
                    <a:pt x="2406015" y="493395"/>
                  </a:cubicBezTo>
                  <a:cubicBezTo>
                    <a:pt x="2343150" y="493395"/>
                    <a:pt x="2302193" y="536258"/>
                    <a:pt x="2280285" y="573405"/>
                  </a:cubicBezTo>
                  <a:lnTo>
                    <a:pt x="2280285" y="505778"/>
                  </a:lnTo>
                  <a:lnTo>
                    <a:pt x="2144078" y="505778"/>
                  </a:lnTo>
                  <a:lnTo>
                    <a:pt x="2144078" y="1002983"/>
                  </a:lnTo>
                  <a:lnTo>
                    <a:pt x="2280285" y="1002983"/>
                  </a:lnTo>
                  <a:lnTo>
                    <a:pt x="2280285" y="689610"/>
                  </a:lnTo>
                  <a:cubicBezTo>
                    <a:pt x="2292668" y="666750"/>
                    <a:pt x="2327910" y="614363"/>
                    <a:pt x="2388870" y="614363"/>
                  </a:cubicBezTo>
                  <a:cubicBezTo>
                    <a:pt x="2417445" y="614363"/>
                    <a:pt x="2432685" y="620078"/>
                    <a:pt x="2441258" y="625793"/>
                  </a:cubicBezTo>
                  <a:lnTo>
                    <a:pt x="2473643" y="506730"/>
                  </a:lnTo>
                  <a:close/>
                  <a:moveTo>
                    <a:pt x="2715578" y="1015365"/>
                  </a:moveTo>
                  <a:cubicBezTo>
                    <a:pt x="2542223" y="1015365"/>
                    <a:pt x="2466023" y="883920"/>
                    <a:pt x="2466023" y="756285"/>
                  </a:cubicBezTo>
                  <a:cubicBezTo>
                    <a:pt x="2466023" y="628650"/>
                    <a:pt x="2540318" y="493395"/>
                    <a:pt x="2714625" y="493395"/>
                  </a:cubicBezTo>
                  <a:cubicBezTo>
                    <a:pt x="2887980" y="493395"/>
                    <a:pt x="2967038" y="623888"/>
                    <a:pt x="2967038" y="751523"/>
                  </a:cubicBezTo>
                  <a:cubicBezTo>
                    <a:pt x="2967038" y="877253"/>
                    <a:pt x="2890838" y="1015365"/>
                    <a:pt x="2715578" y="1015365"/>
                  </a:cubicBezTo>
                  <a:moveTo>
                    <a:pt x="2712720" y="594360"/>
                  </a:moveTo>
                  <a:cubicBezTo>
                    <a:pt x="2636520" y="594360"/>
                    <a:pt x="2610803" y="659130"/>
                    <a:pt x="2610803" y="751523"/>
                  </a:cubicBezTo>
                  <a:cubicBezTo>
                    <a:pt x="2610803" y="843915"/>
                    <a:pt x="2641283" y="911543"/>
                    <a:pt x="2718435" y="911543"/>
                  </a:cubicBezTo>
                  <a:cubicBezTo>
                    <a:pt x="2796540" y="911543"/>
                    <a:pt x="2824163" y="847725"/>
                    <a:pt x="2824163" y="755333"/>
                  </a:cubicBezTo>
                  <a:cubicBezTo>
                    <a:pt x="2823210" y="662940"/>
                    <a:pt x="2789873" y="594360"/>
                    <a:pt x="2712720" y="594360"/>
                  </a:cubicBezTo>
                  <a:moveTo>
                    <a:pt x="3301365" y="1002983"/>
                  </a:moveTo>
                  <a:cubicBezTo>
                    <a:pt x="3297555" y="990600"/>
                    <a:pt x="3293745" y="964883"/>
                    <a:pt x="3292793" y="949643"/>
                  </a:cubicBezTo>
                  <a:cubicBezTo>
                    <a:pt x="3269933" y="976313"/>
                    <a:pt x="3223260" y="1015365"/>
                    <a:pt x="3152775" y="1015365"/>
                  </a:cubicBezTo>
                  <a:cubicBezTo>
                    <a:pt x="3068003" y="1015365"/>
                    <a:pt x="3002280" y="963930"/>
                    <a:pt x="3002280" y="875348"/>
                  </a:cubicBezTo>
                  <a:cubicBezTo>
                    <a:pt x="3002280" y="745808"/>
                    <a:pt x="3135630" y="698183"/>
                    <a:pt x="3268028" y="698183"/>
                  </a:cubicBezTo>
                  <a:lnTo>
                    <a:pt x="3285173" y="698183"/>
                  </a:lnTo>
                  <a:lnTo>
                    <a:pt x="3285173" y="669608"/>
                  </a:lnTo>
                  <a:cubicBezTo>
                    <a:pt x="3285173" y="626745"/>
                    <a:pt x="3268028" y="600075"/>
                    <a:pt x="3204210" y="600075"/>
                  </a:cubicBezTo>
                  <a:cubicBezTo>
                    <a:pt x="3139440" y="600075"/>
                    <a:pt x="3095625" y="633413"/>
                    <a:pt x="3077528" y="646748"/>
                  </a:cubicBezTo>
                  <a:lnTo>
                    <a:pt x="3018473" y="563880"/>
                  </a:lnTo>
                  <a:cubicBezTo>
                    <a:pt x="3048000" y="537210"/>
                    <a:pt x="3113723" y="492443"/>
                    <a:pt x="3219450" y="492443"/>
                  </a:cubicBezTo>
                  <a:cubicBezTo>
                    <a:pt x="3355658" y="492443"/>
                    <a:pt x="3419475" y="544830"/>
                    <a:pt x="3419475" y="676275"/>
                  </a:cubicBezTo>
                  <a:lnTo>
                    <a:pt x="3419475" y="855345"/>
                  </a:lnTo>
                  <a:cubicBezTo>
                    <a:pt x="3419475" y="922973"/>
                    <a:pt x="3426143" y="970598"/>
                    <a:pt x="3433763" y="1002030"/>
                  </a:cubicBezTo>
                  <a:lnTo>
                    <a:pt x="3301365" y="1002030"/>
                  </a:lnTo>
                  <a:close/>
                  <a:moveTo>
                    <a:pt x="3271838" y="782955"/>
                  </a:moveTo>
                  <a:lnTo>
                    <a:pt x="3254693" y="782955"/>
                  </a:lnTo>
                  <a:cubicBezTo>
                    <a:pt x="3174683" y="782955"/>
                    <a:pt x="3119438" y="806768"/>
                    <a:pt x="3119438" y="864870"/>
                  </a:cubicBezTo>
                  <a:cubicBezTo>
                    <a:pt x="3119438" y="902018"/>
                    <a:pt x="3148965" y="917258"/>
                    <a:pt x="3179445" y="917258"/>
                  </a:cubicBezTo>
                  <a:cubicBezTo>
                    <a:pt x="3228023" y="917258"/>
                    <a:pt x="3257550" y="888683"/>
                    <a:pt x="3271838" y="873443"/>
                  </a:cubicBezTo>
                  <a:lnTo>
                    <a:pt x="3271838" y="782955"/>
                  </a:lnTo>
                  <a:close/>
                  <a:moveTo>
                    <a:pt x="3713798" y="493395"/>
                  </a:moveTo>
                  <a:cubicBezTo>
                    <a:pt x="3774758" y="493395"/>
                    <a:pt x="3810953" y="515303"/>
                    <a:pt x="3829050" y="527685"/>
                  </a:cubicBezTo>
                  <a:lnTo>
                    <a:pt x="3829050" y="270510"/>
                  </a:lnTo>
                  <a:lnTo>
                    <a:pt x="3965258" y="270510"/>
                  </a:lnTo>
                  <a:lnTo>
                    <a:pt x="3965258" y="861060"/>
                  </a:lnTo>
                  <a:cubicBezTo>
                    <a:pt x="3965258" y="925830"/>
                    <a:pt x="3973830" y="975360"/>
                    <a:pt x="3979545" y="1002983"/>
                  </a:cubicBezTo>
                  <a:lnTo>
                    <a:pt x="3845243" y="1002983"/>
                  </a:lnTo>
                  <a:cubicBezTo>
                    <a:pt x="3841433" y="990600"/>
                    <a:pt x="3835718" y="963930"/>
                    <a:pt x="3834765" y="948690"/>
                  </a:cubicBezTo>
                  <a:cubicBezTo>
                    <a:pt x="3804285" y="984885"/>
                    <a:pt x="3761423" y="1016318"/>
                    <a:pt x="3694748" y="1016318"/>
                  </a:cubicBezTo>
                  <a:cubicBezTo>
                    <a:pt x="3569970" y="1016318"/>
                    <a:pt x="3489960" y="922020"/>
                    <a:pt x="3489960" y="755333"/>
                  </a:cubicBezTo>
                  <a:cubicBezTo>
                    <a:pt x="3490913" y="596265"/>
                    <a:pt x="3586163" y="493395"/>
                    <a:pt x="3713798" y="493395"/>
                  </a:cubicBezTo>
                  <a:moveTo>
                    <a:pt x="3736658" y="906780"/>
                  </a:moveTo>
                  <a:cubicBezTo>
                    <a:pt x="3786188" y="906780"/>
                    <a:pt x="3818573" y="871538"/>
                    <a:pt x="3830003" y="856298"/>
                  </a:cubicBezTo>
                  <a:lnTo>
                    <a:pt x="3830003" y="632460"/>
                  </a:lnTo>
                  <a:cubicBezTo>
                    <a:pt x="3812858" y="617220"/>
                    <a:pt x="3787140" y="600075"/>
                    <a:pt x="3743325" y="600075"/>
                  </a:cubicBezTo>
                  <a:cubicBezTo>
                    <a:pt x="3673793" y="600075"/>
                    <a:pt x="3635693" y="658178"/>
                    <a:pt x="3635693" y="756285"/>
                  </a:cubicBezTo>
                  <a:cubicBezTo>
                    <a:pt x="3635693" y="850583"/>
                    <a:pt x="3667125" y="906780"/>
                    <a:pt x="3736658" y="906780"/>
                  </a:cubicBezTo>
                  <a:moveTo>
                    <a:pt x="4397693" y="506730"/>
                  </a:moveTo>
                  <a:cubicBezTo>
                    <a:pt x="4386263" y="501015"/>
                    <a:pt x="4367213" y="493395"/>
                    <a:pt x="4330065" y="493395"/>
                  </a:cubicBezTo>
                  <a:cubicBezTo>
                    <a:pt x="4267200" y="493395"/>
                    <a:pt x="4226243" y="536258"/>
                    <a:pt x="4204335" y="573405"/>
                  </a:cubicBezTo>
                  <a:lnTo>
                    <a:pt x="4204335" y="505778"/>
                  </a:lnTo>
                  <a:lnTo>
                    <a:pt x="4068128" y="505778"/>
                  </a:lnTo>
                  <a:lnTo>
                    <a:pt x="4068128" y="1002983"/>
                  </a:lnTo>
                  <a:lnTo>
                    <a:pt x="4204335" y="1002983"/>
                  </a:lnTo>
                  <a:lnTo>
                    <a:pt x="4204335" y="689610"/>
                  </a:lnTo>
                  <a:cubicBezTo>
                    <a:pt x="4216718" y="666750"/>
                    <a:pt x="4251960" y="614363"/>
                    <a:pt x="4312920" y="614363"/>
                  </a:cubicBezTo>
                  <a:cubicBezTo>
                    <a:pt x="4341495" y="614363"/>
                    <a:pt x="4356735" y="620078"/>
                    <a:pt x="4365308" y="625793"/>
                  </a:cubicBezTo>
                  <a:lnTo>
                    <a:pt x="4397693" y="506730"/>
                  </a:lnTo>
                  <a:close/>
                  <a:moveTo>
                    <a:pt x="4517708" y="441008"/>
                  </a:moveTo>
                  <a:cubicBezTo>
                    <a:pt x="4562475" y="441008"/>
                    <a:pt x="4595813" y="405765"/>
                    <a:pt x="4595813" y="364808"/>
                  </a:cubicBezTo>
                  <a:cubicBezTo>
                    <a:pt x="4595813" y="324803"/>
                    <a:pt x="4562475" y="290513"/>
                    <a:pt x="4517708" y="290513"/>
                  </a:cubicBezTo>
                  <a:cubicBezTo>
                    <a:pt x="4472940" y="290513"/>
                    <a:pt x="4440555" y="324803"/>
                    <a:pt x="4440555" y="364808"/>
                  </a:cubicBezTo>
                  <a:cubicBezTo>
                    <a:pt x="4441508" y="406718"/>
                    <a:pt x="4473893" y="441008"/>
                    <a:pt x="4517708" y="441008"/>
                  </a:cubicBezTo>
                  <a:moveTo>
                    <a:pt x="4450080" y="1002983"/>
                  </a:moveTo>
                  <a:lnTo>
                    <a:pt x="4587240" y="1002983"/>
                  </a:lnTo>
                  <a:lnTo>
                    <a:pt x="4587240" y="505778"/>
                  </a:lnTo>
                  <a:lnTo>
                    <a:pt x="4450080" y="505778"/>
                  </a:lnTo>
                  <a:lnTo>
                    <a:pt x="4450080" y="1002983"/>
                  </a:lnTo>
                  <a:close/>
                  <a:moveTo>
                    <a:pt x="4884420" y="493395"/>
                  </a:moveTo>
                  <a:cubicBezTo>
                    <a:pt x="4945380" y="493395"/>
                    <a:pt x="4981575" y="515303"/>
                    <a:pt x="4999673" y="527685"/>
                  </a:cubicBezTo>
                  <a:lnTo>
                    <a:pt x="4999673" y="270510"/>
                  </a:lnTo>
                  <a:lnTo>
                    <a:pt x="5135880" y="270510"/>
                  </a:lnTo>
                  <a:lnTo>
                    <a:pt x="5135880" y="861060"/>
                  </a:lnTo>
                  <a:cubicBezTo>
                    <a:pt x="5135880" y="925830"/>
                    <a:pt x="5144453" y="975360"/>
                    <a:pt x="5150168" y="1002983"/>
                  </a:cubicBezTo>
                  <a:lnTo>
                    <a:pt x="5015865" y="1002983"/>
                  </a:lnTo>
                  <a:cubicBezTo>
                    <a:pt x="5012055" y="990600"/>
                    <a:pt x="5006340" y="963930"/>
                    <a:pt x="5005388" y="948690"/>
                  </a:cubicBezTo>
                  <a:cubicBezTo>
                    <a:pt x="4974908" y="984885"/>
                    <a:pt x="4932045" y="1016318"/>
                    <a:pt x="4865370" y="1016318"/>
                  </a:cubicBezTo>
                  <a:cubicBezTo>
                    <a:pt x="4740593" y="1016318"/>
                    <a:pt x="4660583" y="922020"/>
                    <a:pt x="4660583" y="755333"/>
                  </a:cubicBezTo>
                  <a:cubicBezTo>
                    <a:pt x="4662488" y="596265"/>
                    <a:pt x="4756785" y="493395"/>
                    <a:pt x="4884420" y="493395"/>
                  </a:cubicBezTo>
                  <a:moveTo>
                    <a:pt x="4907280" y="906780"/>
                  </a:moveTo>
                  <a:cubicBezTo>
                    <a:pt x="4955858" y="906780"/>
                    <a:pt x="4989195" y="871538"/>
                    <a:pt x="5000625" y="856298"/>
                  </a:cubicBezTo>
                  <a:lnTo>
                    <a:pt x="5000625" y="632460"/>
                  </a:lnTo>
                  <a:cubicBezTo>
                    <a:pt x="4983480" y="617220"/>
                    <a:pt x="4957763" y="600075"/>
                    <a:pt x="4913948" y="600075"/>
                  </a:cubicBezTo>
                  <a:cubicBezTo>
                    <a:pt x="4844415" y="600075"/>
                    <a:pt x="4806315" y="658178"/>
                    <a:pt x="4806315" y="756285"/>
                  </a:cubicBezTo>
                  <a:cubicBezTo>
                    <a:pt x="4806315" y="850583"/>
                    <a:pt x="4837748" y="906780"/>
                    <a:pt x="4907280" y="906780"/>
                  </a:cubicBezTo>
                  <a:moveTo>
                    <a:pt x="5695950" y="493395"/>
                  </a:moveTo>
                  <a:lnTo>
                    <a:pt x="5695950" y="594360"/>
                  </a:lnTo>
                  <a:lnTo>
                    <a:pt x="5629275" y="594360"/>
                  </a:lnTo>
                  <a:cubicBezTo>
                    <a:pt x="5641658" y="618173"/>
                    <a:pt x="5647373" y="645795"/>
                    <a:pt x="5647373" y="674370"/>
                  </a:cubicBezTo>
                  <a:cubicBezTo>
                    <a:pt x="5647373" y="781050"/>
                    <a:pt x="5572125" y="854393"/>
                    <a:pt x="5433060" y="854393"/>
                  </a:cubicBezTo>
                  <a:cubicBezTo>
                    <a:pt x="5411153" y="854393"/>
                    <a:pt x="5392103" y="852488"/>
                    <a:pt x="5374005" y="849630"/>
                  </a:cubicBezTo>
                  <a:cubicBezTo>
                    <a:pt x="5365433" y="855345"/>
                    <a:pt x="5355908" y="864870"/>
                    <a:pt x="5355908" y="879158"/>
                  </a:cubicBezTo>
                  <a:cubicBezTo>
                    <a:pt x="5355908" y="905828"/>
                    <a:pt x="5384483" y="910590"/>
                    <a:pt x="5455920" y="914400"/>
                  </a:cubicBezTo>
                  <a:cubicBezTo>
                    <a:pt x="5558790" y="919163"/>
                    <a:pt x="5690235" y="920115"/>
                    <a:pt x="5690235" y="1067753"/>
                  </a:cubicBezTo>
                  <a:cubicBezTo>
                    <a:pt x="5690235" y="1172528"/>
                    <a:pt x="5580698" y="1247775"/>
                    <a:pt x="5417820" y="1247775"/>
                  </a:cubicBezTo>
                  <a:cubicBezTo>
                    <a:pt x="5280660" y="1247775"/>
                    <a:pt x="5198745" y="1204913"/>
                    <a:pt x="5198745" y="1115378"/>
                  </a:cubicBezTo>
                  <a:cubicBezTo>
                    <a:pt x="5198745" y="1060133"/>
                    <a:pt x="5232083" y="1020128"/>
                    <a:pt x="5282565" y="993458"/>
                  </a:cubicBezTo>
                  <a:cubicBezTo>
                    <a:pt x="5254943" y="977265"/>
                    <a:pt x="5238750" y="953453"/>
                    <a:pt x="5238750" y="918210"/>
                  </a:cubicBezTo>
                  <a:cubicBezTo>
                    <a:pt x="5238750" y="871538"/>
                    <a:pt x="5265420" y="842010"/>
                    <a:pt x="5294948" y="823913"/>
                  </a:cubicBezTo>
                  <a:cubicBezTo>
                    <a:pt x="5238750" y="792480"/>
                    <a:pt x="5206365" y="740093"/>
                    <a:pt x="5206365" y="674370"/>
                  </a:cubicBezTo>
                  <a:cubicBezTo>
                    <a:pt x="5206365" y="566738"/>
                    <a:pt x="5289233" y="493395"/>
                    <a:pt x="5427345" y="493395"/>
                  </a:cubicBezTo>
                  <a:cubicBezTo>
                    <a:pt x="5459730" y="493395"/>
                    <a:pt x="5695950" y="493395"/>
                    <a:pt x="5695950" y="493395"/>
                  </a:cubicBezTo>
                  <a:moveTo>
                    <a:pt x="5314950" y="1088708"/>
                  </a:moveTo>
                  <a:cubicBezTo>
                    <a:pt x="5314950" y="1128713"/>
                    <a:pt x="5342573" y="1156335"/>
                    <a:pt x="5412105" y="1156335"/>
                  </a:cubicBezTo>
                  <a:cubicBezTo>
                    <a:pt x="5494973" y="1156335"/>
                    <a:pt x="5541645" y="1124903"/>
                    <a:pt x="5541645" y="1082993"/>
                  </a:cubicBezTo>
                  <a:cubicBezTo>
                    <a:pt x="5541645" y="1029653"/>
                    <a:pt x="5494973" y="1031558"/>
                    <a:pt x="5422583" y="1026795"/>
                  </a:cubicBezTo>
                  <a:cubicBezTo>
                    <a:pt x="5398770" y="1024890"/>
                    <a:pt x="5376863" y="1022985"/>
                    <a:pt x="5354955" y="1020128"/>
                  </a:cubicBezTo>
                  <a:cubicBezTo>
                    <a:pt x="5329238" y="1037273"/>
                    <a:pt x="5314950" y="1059180"/>
                    <a:pt x="5314950" y="1088708"/>
                  </a:cubicBezTo>
                  <a:moveTo>
                    <a:pt x="5517833" y="674370"/>
                  </a:moveTo>
                  <a:cubicBezTo>
                    <a:pt x="5517833" y="616268"/>
                    <a:pt x="5484495" y="581978"/>
                    <a:pt x="5428298" y="581978"/>
                  </a:cubicBezTo>
                  <a:cubicBezTo>
                    <a:pt x="5372100" y="581978"/>
                    <a:pt x="5338763" y="615315"/>
                    <a:pt x="5338763" y="674370"/>
                  </a:cubicBezTo>
                  <a:cubicBezTo>
                    <a:pt x="5338763" y="731520"/>
                    <a:pt x="5372100" y="766763"/>
                    <a:pt x="5428298" y="766763"/>
                  </a:cubicBezTo>
                  <a:cubicBezTo>
                    <a:pt x="5483543" y="765810"/>
                    <a:pt x="5517833" y="731520"/>
                    <a:pt x="5517833" y="674370"/>
                  </a:cubicBezTo>
                  <a:moveTo>
                    <a:pt x="5992178" y="914400"/>
                  </a:moveTo>
                  <a:cubicBezTo>
                    <a:pt x="6059805" y="914400"/>
                    <a:pt x="6096953" y="891540"/>
                    <a:pt x="6121718" y="880110"/>
                  </a:cubicBezTo>
                  <a:lnTo>
                    <a:pt x="6165533" y="967740"/>
                  </a:lnTo>
                  <a:cubicBezTo>
                    <a:pt x="6133148" y="985838"/>
                    <a:pt x="6081713" y="1015365"/>
                    <a:pt x="5979795" y="1015365"/>
                  </a:cubicBezTo>
                  <a:cubicBezTo>
                    <a:pt x="5813108" y="1015365"/>
                    <a:pt x="5719763" y="910590"/>
                    <a:pt x="5719763" y="751523"/>
                  </a:cubicBezTo>
                  <a:cubicBezTo>
                    <a:pt x="5719763" y="594360"/>
                    <a:pt x="5828348" y="492443"/>
                    <a:pt x="5965508" y="492443"/>
                  </a:cubicBezTo>
                  <a:cubicBezTo>
                    <a:pt x="6120765" y="492443"/>
                    <a:pt x="6196965" y="601028"/>
                    <a:pt x="6179820" y="784860"/>
                  </a:cubicBezTo>
                  <a:lnTo>
                    <a:pt x="5863590" y="784860"/>
                  </a:lnTo>
                  <a:cubicBezTo>
                    <a:pt x="5871210" y="862013"/>
                    <a:pt x="5909310" y="914400"/>
                    <a:pt x="5992178" y="914400"/>
                  </a:cubicBezTo>
                  <a:moveTo>
                    <a:pt x="6049328" y="693420"/>
                  </a:moveTo>
                  <a:cubicBezTo>
                    <a:pt x="6048375" y="637223"/>
                    <a:pt x="6025515" y="591503"/>
                    <a:pt x="5963603" y="591503"/>
                  </a:cubicBezTo>
                  <a:cubicBezTo>
                    <a:pt x="5906453" y="591503"/>
                    <a:pt x="5874068" y="628650"/>
                    <a:pt x="5864543" y="693420"/>
                  </a:cubicBezTo>
                  <a:lnTo>
                    <a:pt x="6049328" y="693420"/>
                  </a:lnTo>
                  <a:close/>
                  <a:moveTo>
                    <a:pt x="6296025" y="634365"/>
                  </a:moveTo>
                  <a:cubicBezTo>
                    <a:pt x="6257925" y="634365"/>
                    <a:pt x="6226493" y="602933"/>
                    <a:pt x="6226493" y="564833"/>
                  </a:cubicBezTo>
                  <a:cubicBezTo>
                    <a:pt x="6226493" y="526733"/>
                    <a:pt x="6257925" y="495300"/>
                    <a:pt x="6296025" y="495300"/>
                  </a:cubicBezTo>
                  <a:cubicBezTo>
                    <a:pt x="6334125" y="495300"/>
                    <a:pt x="6365558" y="526733"/>
                    <a:pt x="6365558" y="564833"/>
                  </a:cubicBezTo>
                  <a:cubicBezTo>
                    <a:pt x="6365558" y="602933"/>
                    <a:pt x="6335078" y="634365"/>
                    <a:pt x="6296025" y="634365"/>
                  </a:cubicBezTo>
                  <a:moveTo>
                    <a:pt x="6296025" y="505778"/>
                  </a:moveTo>
                  <a:cubicBezTo>
                    <a:pt x="6262688" y="505778"/>
                    <a:pt x="6237923" y="530543"/>
                    <a:pt x="6237923" y="564833"/>
                  </a:cubicBezTo>
                  <a:cubicBezTo>
                    <a:pt x="6237923" y="599123"/>
                    <a:pt x="6262688" y="623888"/>
                    <a:pt x="6296025" y="623888"/>
                  </a:cubicBezTo>
                  <a:cubicBezTo>
                    <a:pt x="6329363" y="623888"/>
                    <a:pt x="6354128" y="599123"/>
                    <a:pt x="6354128" y="564833"/>
                  </a:cubicBezTo>
                  <a:cubicBezTo>
                    <a:pt x="6355080" y="530543"/>
                    <a:pt x="6329363" y="505778"/>
                    <a:pt x="6296025" y="505778"/>
                  </a:cubicBezTo>
                  <a:moveTo>
                    <a:pt x="6316028" y="605790"/>
                  </a:moveTo>
                  <a:lnTo>
                    <a:pt x="6296978" y="577215"/>
                  </a:lnTo>
                  <a:cubicBezTo>
                    <a:pt x="6293168" y="571500"/>
                    <a:pt x="6290310" y="569595"/>
                    <a:pt x="6284595" y="569595"/>
                  </a:cubicBezTo>
                  <a:lnTo>
                    <a:pt x="6284595" y="606743"/>
                  </a:lnTo>
                  <a:lnTo>
                    <a:pt x="6271260" y="606743"/>
                  </a:lnTo>
                  <a:lnTo>
                    <a:pt x="6271260" y="522923"/>
                  </a:lnTo>
                  <a:lnTo>
                    <a:pt x="6298883" y="522923"/>
                  </a:lnTo>
                  <a:cubicBezTo>
                    <a:pt x="6316028" y="522923"/>
                    <a:pt x="6325553" y="533400"/>
                    <a:pt x="6325553" y="546735"/>
                  </a:cubicBezTo>
                  <a:cubicBezTo>
                    <a:pt x="6325553" y="559118"/>
                    <a:pt x="6316980" y="566738"/>
                    <a:pt x="6303645" y="568643"/>
                  </a:cubicBezTo>
                  <a:cubicBezTo>
                    <a:pt x="6307455" y="571500"/>
                    <a:pt x="6310313" y="574358"/>
                    <a:pt x="6313170" y="580073"/>
                  </a:cubicBezTo>
                  <a:lnTo>
                    <a:pt x="6331268" y="606743"/>
                  </a:lnTo>
                  <a:lnTo>
                    <a:pt x="6316028" y="606743"/>
                  </a:lnTo>
                  <a:close/>
                  <a:moveTo>
                    <a:pt x="6296025" y="533400"/>
                  </a:moveTo>
                  <a:lnTo>
                    <a:pt x="6284595" y="533400"/>
                  </a:lnTo>
                  <a:lnTo>
                    <a:pt x="6284595" y="559118"/>
                  </a:lnTo>
                  <a:lnTo>
                    <a:pt x="6293168" y="559118"/>
                  </a:lnTo>
                  <a:cubicBezTo>
                    <a:pt x="6302693" y="559118"/>
                    <a:pt x="6311265" y="558165"/>
                    <a:pt x="6311265" y="546735"/>
                  </a:cubicBezTo>
                  <a:cubicBezTo>
                    <a:pt x="6310313" y="539115"/>
                    <a:pt x="6306503" y="533400"/>
                    <a:pt x="6296025" y="533400"/>
                  </a:cubicBezTo>
                  <a:moveTo>
                    <a:pt x="1146810" y="1905"/>
                  </a:moveTo>
                  <a:lnTo>
                    <a:pt x="1146810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0" y="1289685"/>
                  </a:lnTo>
                  <a:lnTo>
                    <a:pt x="1146810" y="1289685"/>
                  </a:lnTo>
                  <a:lnTo>
                    <a:pt x="1146810" y="1905"/>
                  </a:lnTo>
                  <a:close/>
                  <a:moveTo>
                    <a:pt x="897255" y="880110"/>
                  </a:moveTo>
                  <a:lnTo>
                    <a:pt x="897255" y="934403"/>
                  </a:lnTo>
                  <a:cubicBezTo>
                    <a:pt x="771525" y="934403"/>
                    <a:pt x="692468" y="894398"/>
                    <a:pt x="642938" y="843915"/>
                  </a:cubicBezTo>
                  <a:cubicBezTo>
                    <a:pt x="651510" y="866775"/>
                    <a:pt x="661035" y="890588"/>
                    <a:pt x="672465" y="915353"/>
                  </a:cubicBezTo>
                  <a:cubicBezTo>
                    <a:pt x="758190" y="1083945"/>
                    <a:pt x="908685" y="1170623"/>
                    <a:pt x="1126808" y="1173480"/>
                  </a:cubicBezTo>
                  <a:lnTo>
                    <a:pt x="1126808" y="1243965"/>
                  </a:lnTo>
                  <a:cubicBezTo>
                    <a:pt x="819150" y="1241108"/>
                    <a:pt x="675323" y="1080135"/>
                    <a:pt x="608648" y="944880"/>
                  </a:cubicBezTo>
                  <a:cubicBezTo>
                    <a:pt x="593408" y="915353"/>
                    <a:pt x="581978" y="885825"/>
                    <a:pt x="572453" y="857250"/>
                  </a:cubicBezTo>
                  <a:cubicBezTo>
                    <a:pt x="470535" y="1106805"/>
                    <a:pt x="192405" y="1110615"/>
                    <a:pt x="189548" y="1110615"/>
                  </a:cubicBezTo>
                  <a:lnTo>
                    <a:pt x="189548" y="1032510"/>
                  </a:lnTo>
                  <a:cubicBezTo>
                    <a:pt x="203835" y="1032510"/>
                    <a:pt x="531495" y="1022033"/>
                    <a:pt x="531495" y="644843"/>
                  </a:cubicBezTo>
                  <a:lnTo>
                    <a:pt x="615315" y="644843"/>
                  </a:lnTo>
                  <a:cubicBezTo>
                    <a:pt x="615315" y="267653"/>
                    <a:pt x="942975" y="265748"/>
                    <a:pt x="957263" y="265748"/>
                  </a:cubicBezTo>
                  <a:lnTo>
                    <a:pt x="957263" y="187643"/>
                  </a:lnTo>
                  <a:cubicBezTo>
                    <a:pt x="953453" y="187643"/>
                    <a:pt x="676275" y="191453"/>
                    <a:pt x="574358" y="441008"/>
                  </a:cubicBezTo>
                  <a:cubicBezTo>
                    <a:pt x="564833" y="412433"/>
                    <a:pt x="553403" y="382905"/>
                    <a:pt x="538163" y="353378"/>
                  </a:cubicBezTo>
                  <a:cubicBezTo>
                    <a:pt x="470535" y="218123"/>
                    <a:pt x="326708" y="58103"/>
                    <a:pt x="19050" y="54293"/>
                  </a:cubicBezTo>
                  <a:lnTo>
                    <a:pt x="19050" y="19050"/>
                  </a:lnTo>
                  <a:lnTo>
                    <a:pt x="1127760" y="19050"/>
                  </a:lnTo>
                  <a:lnTo>
                    <a:pt x="1127760" y="644843"/>
                  </a:lnTo>
                  <a:lnTo>
                    <a:pt x="615315" y="644843"/>
                  </a:lnTo>
                  <a:cubicBezTo>
                    <a:pt x="615315" y="654368"/>
                    <a:pt x="620078" y="880110"/>
                    <a:pt x="897255" y="880110"/>
                  </a:cubicBezTo>
                  <a:close/>
                  <a:moveTo>
                    <a:pt x="19050" y="124778"/>
                  </a:moveTo>
                  <a:cubicBezTo>
                    <a:pt x="237173" y="127635"/>
                    <a:pt x="388620" y="214313"/>
                    <a:pt x="473393" y="382905"/>
                  </a:cubicBezTo>
                  <a:cubicBezTo>
                    <a:pt x="485775" y="406718"/>
                    <a:pt x="495300" y="430530"/>
                    <a:pt x="502920" y="453390"/>
                  </a:cubicBezTo>
                  <a:cubicBezTo>
                    <a:pt x="453390" y="402908"/>
                    <a:pt x="374333" y="362903"/>
                    <a:pt x="248603" y="362903"/>
                  </a:cubicBezTo>
                  <a:lnTo>
                    <a:pt x="248603" y="418148"/>
                  </a:lnTo>
                  <a:cubicBezTo>
                    <a:pt x="526733" y="418148"/>
                    <a:pt x="530543" y="635318"/>
                    <a:pt x="530543" y="644843"/>
                  </a:cubicBezTo>
                  <a:lnTo>
                    <a:pt x="19050" y="644843"/>
                  </a:lnTo>
                  <a:lnTo>
                    <a:pt x="19050" y="124778"/>
                  </a:lnTo>
                  <a:close/>
                </a:path>
              </a:pathLst>
            </a:custGeom>
            <a:solidFill>
              <a:srgbClr val="00578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3F4034B-B125-4A28-B222-B139A7E1A3A8}"/>
                </a:ext>
              </a:extLst>
            </p:cNvPr>
            <p:cNvSpPr txBox="1"/>
            <p:nvPr userDrawn="1"/>
          </p:nvSpPr>
          <p:spPr>
            <a:xfrm>
              <a:off x="1490237" y="6477000"/>
              <a:ext cx="492735" cy="381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kern="1200">
                  <a:solidFill>
                    <a:schemeClr val="bg2">
                      <a:lumMod val="75000"/>
                    </a:schemeClr>
                  </a:solidFill>
                  <a:latin typeface="+mn-lt"/>
                  <a:ea typeface="+mn-ea"/>
                  <a:cs typeface="+mn-cs"/>
                </a:rPr>
                <a:t>| </a:t>
              </a:r>
              <a:endParaRPr lang="en-US" sz="900" kern="1200" cap="all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29" name="Picture 28" descr="A close up of a sign&#10;&#10;Description automatically generated">
              <a:extLst>
                <a:ext uri="{FF2B5EF4-FFF2-40B4-BE49-F238E27FC236}">
                  <a16:creationId xmlns:a16="http://schemas.microsoft.com/office/drawing/2014/main" id="{AB5C7CDE-5EEF-45A8-AD28-4D1541937C7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69317" y="6592132"/>
              <a:ext cx="782374" cy="182880"/>
            </a:xfrm>
            <a:prstGeom prst="rect">
              <a:avLst/>
            </a:prstGeom>
          </p:spPr>
        </p:pic>
      </p:grpSp>
    </p:spTree>
    <p:custDataLst>
      <p:tags r:id="rId6"/>
    </p:custDataLst>
    <p:extLst>
      <p:ext uri="{BB962C8B-B14F-4D97-AF65-F5344CB8AC3E}">
        <p14:creationId xmlns:p14="http://schemas.microsoft.com/office/powerpoint/2010/main" val="3832648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ransition spd="med">
    <p:wipe dir="r"/>
  </p:transition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Font typeface="Arial"/>
        <a:buNone/>
        <a:defRPr sz="1500" b="0" kern="1200" cap="all" baseline="0">
          <a:solidFill>
            <a:schemeClr val="accent4"/>
          </a:solidFill>
          <a:latin typeface="+mj-lt"/>
          <a:ea typeface="+mn-ea"/>
          <a:cs typeface="Calibri Light" panose="020F0302020204030204" pitchFamily="34" charset="0"/>
        </a:defRPr>
      </a:lvl1pPr>
      <a:lvl2pPr marL="173038" marR="0" indent="-173038" algn="l" defTabSz="457200" rtl="0" eaLnBrk="1" fontAlgn="auto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marR="0" indent="-228600" algn="l" defTabSz="457200" rtl="0" eaLnBrk="1" fontAlgn="auto" latinLnBrk="0" hangingPunct="1">
        <a:lnSpc>
          <a:spcPct val="95000"/>
        </a:lnSpc>
        <a:spcBef>
          <a:spcPts val="400"/>
        </a:spcBef>
        <a:spcAft>
          <a:spcPts val="400"/>
        </a:spcAft>
        <a:buClr>
          <a:schemeClr val="tx1"/>
        </a:buClr>
        <a:buSzPct val="100000"/>
        <a:buFont typeface="Calibri" panose="020F0502020204030204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Arial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73138" indent="-22860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Calibri" panose="020F05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80">
          <p15:clr>
            <a:srgbClr val="F26B43"/>
          </p15:clr>
        </p15:guide>
        <p15:guide id="3" pos="7219">
          <p15:clr>
            <a:srgbClr val="F26B43"/>
          </p15:clr>
        </p15:guide>
        <p15:guide id="4" orient="horz" pos="776">
          <p15:clr>
            <a:srgbClr val="F26B43"/>
          </p15:clr>
        </p15:guide>
        <p15:guide id="5" orient="horz" pos="468">
          <p15:clr>
            <a:srgbClr val="F26B43"/>
          </p15:clr>
        </p15:guide>
        <p15:guide id="8" pos="7523">
          <p15:clr>
            <a:srgbClr val="F26B43"/>
          </p15:clr>
        </p15:guide>
        <p15:guide id="9" pos="461">
          <p15:clr>
            <a:srgbClr val="F26B43"/>
          </p15:clr>
        </p15:guide>
        <p15:guide id="10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711" y="91440"/>
            <a:ext cx="10061020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insert slide title, sentence ca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711" y="1233488"/>
            <a:ext cx="10061020" cy="49377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/>
              <a:t>List Level 1 Optional header (To change format to body copy, Click ”Increase list level” button</a:t>
            </a:r>
            <a:br>
              <a:rPr lang="en-US"/>
            </a:br>
            <a:r>
              <a:rPr lang="en-US"/>
              <a:t>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07E2D-8BE1-47B7-A03A-69D91335FC4A}"/>
              </a:ext>
            </a:extLst>
          </p:cNvPr>
          <p:cNvSpPr/>
          <p:nvPr userDrawn="1"/>
        </p:nvSpPr>
        <p:spPr bwMode="white">
          <a:xfrm>
            <a:off x="0" y="819176"/>
            <a:ext cx="751418" cy="21558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2" name="Rectangle 5" hidden="1">
            <a:extLst>
              <a:ext uri="{FF2B5EF4-FFF2-40B4-BE49-F238E27FC236}">
                <a16:creationId xmlns:a16="http://schemas.microsoft.com/office/drawing/2014/main" id="{BAF48043-DC06-40C3-A241-77283C777A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27263" y="6477000"/>
            <a:ext cx="376335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 algn="r"/>
            <a:fld id="{2C78AFB4-C6FC-46C2-866E-1D035D18C516}" type="slidenum">
              <a:rPr lang="en-US" sz="900" noProof="0" smtClean="0">
                <a:solidFill>
                  <a:schemeClr val="accent1"/>
                </a:solidFill>
              </a:rPr>
              <a:pPr lvl="0" algn="r"/>
              <a:t>‹#›</a:t>
            </a:fld>
            <a:endParaRPr lang="en-US" sz="900" noProof="0">
              <a:solidFill>
                <a:schemeClr val="accent1"/>
              </a:solidFill>
            </a:endParaRP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05B5CD4A-08B3-4D99-BDFF-ADC26F7B3C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2242" y="6477000"/>
            <a:ext cx="365220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 algn="r"/>
            <a:fld id="{2C78AFB4-C6FC-46C2-866E-1D035D18C516}" type="slidenum">
              <a:rPr lang="en-US" sz="900" noProof="0" smtClean="0">
                <a:solidFill>
                  <a:schemeClr val="accent1"/>
                </a:solidFill>
              </a:rPr>
              <a:pPr lvl="0" algn="r"/>
              <a:t>‹#›</a:t>
            </a:fld>
            <a:endParaRPr lang="en-US" sz="900" noProof="0">
              <a:solidFill>
                <a:schemeClr val="accent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9C20B61-77D4-4570-A619-6D54243B0C69}"/>
              </a:ext>
            </a:extLst>
          </p:cNvPr>
          <p:cNvCxnSpPr>
            <a:cxnSpLocks/>
          </p:cNvCxnSpPr>
          <p:nvPr userDrawn="1"/>
        </p:nvCxnSpPr>
        <p:spPr>
          <a:xfrm>
            <a:off x="1" y="6477000"/>
            <a:ext cx="12192000" cy="0"/>
          </a:xfrm>
          <a:prstGeom prst="line">
            <a:avLst/>
          </a:prstGeom>
          <a:ln w="6350" cmpd="sng">
            <a:solidFill>
              <a:schemeClr val="bg2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7D0DB19B-41D4-4052-9F0E-8C2AE4EC0A90}"/>
              </a:ext>
            </a:extLst>
          </p:cNvPr>
          <p:cNvSpPr txBox="1"/>
          <p:nvPr userDrawn="1"/>
        </p:nvSpPr>
        <p:spPr>
          <a:xfrm>
            <a:off x="11012181" y="6482454"/>
            <a:ext cx="457319" cy="3755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© 2022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BFE07E3-EB96-4886-8051-AD6AC7656527}"/>
              </a:ext>
            </a:extLst>
          </p:cNvPr>
          <p:cNvSpPr txBox="1"/>
          <p:nvPr userDrawn="1"/>
        </p:nvSpPr>
        <p:spPr>
          <a:xfrm>
            <a:off x="8120591" y="6477000"/>
            <a:ext cx="2835378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nfidential information</a:t>
            </a:r>
            <a:r>
              <a:rPr lang="en-US" sz="9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      |</a:t>
            </a:r>
            <a:endParaRPr lang="en-US" sz="900" kern="1200" cap="all" baseline="0">
              <a:solidFill>
                <a:schemeClr val="bg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8" name="Corner graphic">
            <a:extLst>
              <a:ext uri="{FF2B5EF4-FFF2-40B4-BE49-F238E27FC236}">
                <a16:creationId xmlns:a16="http://schemas.microsoft.com/office/drawing/2014/main" id="{164E828E-238C-4849-A45C-4F7772AE41FF}"/>
              </a:ext>
            </a:extLst>
          </p:cNvPr>
          <p:cNvGrpSpPr/>
          <p:nvPr userDrawn="1"/>
        </p:nvGrpSpPr>
        <p:grpSpPr>
          <a:xfrm>
            <a:off x="83474" y="15903"/>
            <a:ext cx="345041" cy="2279788"/>
            <a:chOff x="4052887" y="9525"/>
            <a:chExt cx="1035367" cy="6842760"/>
          </a:xfrm>
        </p:grpSpPr>
        <p:sp>
          <p:nvSpPr>
            <p:cNvPr id="29" name="Corner gray">
              <a:extLst>
                <a:ext uri="{FF2B5EF4-FFF2-40B4-BE49-F238E27FC236}">
                  <a16:creationId xmlns:a16="http://schemas.microsoft.com/office/drawing/2014/main" id="{060055EF-C91C-4585-A170-C1C62F2F4EC2}"/>
                </a:ext>
              </a:extLst>
            </p:cNvPr>
            <p:cNvSpPr/>
            <p:nvPr/>
          </p:nvSpPr>
          <p:spPr>
            <a:xfrm>
              <a:off x="4052887" y="9525"/>
              <a:ext cx="1035367" cy="6842760"/>
            </a:xfrm>
            <a:custGeom>
              <a:avLst/>
              <a:gdLst>
                <a:gd name="connsiteX0" fmla="*/ 0 w 1035367"/>
                <a:gd name="connsiteY0" fmla="*/ 1128713 h 6842760"/>
                <a:gd name="connsiteX1" fmla="*/ 78105 w 1035367"/>
                <a:gd name="connsiteY1" fmla="*/ 1206818 h 6842760"/>
                <a:gd name="connsiteX2" fmla="*/ 156210 w 1035367"/>
                <a:gd name="connsiteY2" fmla="*/ 1128713 h 6842760"/>
                <a:gd name="connsiteX3" fmla="*/ 78105 w 1035367"/>
                <a:gd name="connsiteY3" fmla="*/ 1050608 h 6842760"/>
                <a:gd name="connsiteX4" fmla="*/ 0 w 1035367"/>
                <a:gd name="connsiteY4" fmla="*/ 1128713 h 6842760"/>
                <a:gd name="connsiteX5" fmla="*/ 42863 w 1035367"/>
                <a:gd name="connsiteY5" fmla="*/ 2162175 h 6842760"/>
                <a:gd name="connsiteX6" fmla="*/ 80963 w 1035367"/>
                <a:gd name="connsiteY6" fmla="*/ 2194560 h 6842760"/>
                <a:gd name="connsiteX7" fmla="*/ 113348 w 1035367"/>
                <a:gd name="connsiteY7" fmla="*/ 2156460 h 6842760"/>
                <a:gd name="connsiteX8" fmla="*/ 75248 w 1035367"/>
                <a:gd name="connsiteY8" fmla="*/ 2124075 h 6842760"/>
                <a:gd name="connsiteX9" fmla="*/ 42863 w 1035367"/>
                <a:gd name="connsiteY9" fmla="*/ 2162175 h 6842760"/>
                <a:gd name="connsiteX10" fmla="*/ 34290 w 1035367"/>
                <a:gd name="connsiteY10" fmla="*/ 1953578 h 6842760"/>
                <a:gd name="connsiteX11" fmla="*/ 78105 w 1035367"/>
                <a:gd name="connsiteY11" fmla="*/ 1997393 h 6842760"/>
                <a:gd name="connsiteX12" fmla="*/ 121920 w 1035367"/>
                <a:gd name="connsiteY12" fmla="*/ 1953578 h 6842760"/>
                <a:gd name="connsiteX13" fmla="*/ 78105 w 1035367"/>
                <a:gd name="connsiteY13" fmla="*/ 1909763 h 6842760"/>
                <a:gd name="connsiteX14" fmla="*/ 34290 w 1035367"/>
                <a:gd name="connsiteY14" fmla="*/ 1953578 h 6842760"/>
                <a:gd name="connsiteX15" fmla="*/ 16193 w 1035367"/>
                <a:gd name="connsiteY15" fmla="*/ 1541145 h 6842760"/>
                <a:gd name="connsiteX16" fmla="*/ 78105 w 1035367"/>
                <a:gd name="connsiteY16" fmla="*/ 1603058 h 6842760"/>
                <a:gd name="connsiteX17" fmla="*/ 140018 w 1035367"/>
                <a:gd name="connsiteY17" fmla="*/ 1541145 h 6842760"/>
                <a:gd name="connsiteX18" fmla="*/ 78105 w 1035367"/>
                <a:gd name="connsiteY18" fmla="*/ 1479233 h 6842760"/>
                <a:gd name="connsiteX19" fmla="*/ 16193 w 1035367"/>
                <a:gd name="connsiteY19" fmla="*/ 1541145 h 6842760"/>
                <a:gd name="connsiteX20" fmla="*/ 24765 w 1035367"/>
                <a:gd name="connsiteY20" fmla="*/ 716280 h 6842760"/>
                <a:gd name="connsiteX21" fmla="*/ 78105 w 1035367"/>
                <a:gd name="connsiteY21" fmla="*/ 769620 h 6842760"/>
                <a:gd name="connsiteX22" fmla="*/ 131445 w 1035367"/>
                <a:gd name="connsiteY22" fmla="*/ 716280 h 6842760"/>
                <a:gd name="connsiteX23" fmla="*/ 78105 w 1035367"/>
                <a:gd name="connsiteY23" fmla="*/ 662940 h 6842760"/>
                <a:gd name="connsiteX24" fmla="*/ 24765 w 1035367"/>
                <a:gd name="connsiteY24" fmla="*/ 716280 h 6842760"/>
                <a:gd name="connsiteX25" fmla="*/ 34290 w 1035367"/>
                <a:gd name="connsiteY25" fmla="*/ 510540 h 6842760"/>
                <a:gd name="connsiteX26" fmla="*/ 78105 w 1035367"/>
                <a:gd name="connsiteY26" fmla="*/ 554355 h 6842760"/>
                <a:gd name="connsiteX27" fmla="*/ 121920 w 1035367"/>
                <a:gd name="connsiteY27" fmla="*/ 510540 h 6842760"/>
                <a:gd name="connsiteX28" fmla="*/ 78105 w 1035367"/>
                <a:gd name="connsiteY28" fmla="*/ 466725 h 6842760"/>
                <a:gd name="connsiteX29" fmla="*/ 34290 w 1035367"/>
                <a:gd name="connsiteY29" fmla="*/ 510540 h 6842760"/>
                <a:gd name="connsiteX30" fmla="*/ 24765 w 1035367"/>
                <a:gd name="connsiteY30" fmla="*/ 1746885 h 6842760"/>
                <a:gd name="connsiteX31" fmla="*/ 78105 w 1035367"/>
                <a:gd name="connsiteY31" fmla="*/ 1800225 h 6842760"/>
                <a:gd name="connsiteX32" fmla="*/ 131445 w 1035367"/>
                <a:gd name="connsiteY32" fmla="*/ 1746885 h 6842760"/>
                <a:gd name="connsiteX33" fmla="*/ 78105 w 1035367"/>
                <a:gd name="connsiteY33" fmla="*/ 1693545 h 6842760"/>
                <a:gd name="connsiteX34" fmla="*/ 24765 w 1035367"/>
                <a:gd name="connsiteY34" fmla="*/ 1746885 h 6842760"/>
                <a:gd name="connsiteX35" fmla="*/ 16193 w 1035367"/>
                <a:gd name="connsiteY35" fmla="*/ 922973 h 6842760"/>
                <a:gd name="connsiteX36" fmla="*/ 78105 w 1035367"/>
                <a:gd name="connsiteY36" fmla="*/ 984885 h 6842760"/>
                <a:gd name="connsiteX37" fmla="*/ 140018 w 1035367"/>
                <a:gd name="connsiteY37" fmla="*/ 922973 h 6842760"/>
                <a:gd name="connsiteX38" fmla="*/ 78105 w 1035367"/>
                <a:gd name="connsiteY38" fmla="*/ 861060 h 6842760"/>
                <a:gd name="connsiteX39" fmla="*/ 16193 w 1035367"/>
                <a:gd name="connsiteY39" fmla="*/ 922973 h 6842760"/>
                <a:gd name="connsiteX40" fmla="*/ 46673 w 1035367"/>
                <a:gd name="connsiteY40" fmla="*/ 98108 h 6842760"/>
                <a:gd name="connsiteX41" fmla="*/ 78105 w 1035367"/>
                <a:gd name="connsiteY41" fmla="*/ 129540 h 6842760"/>
                <a:gd name="connsiteX42" fmla="*/ 109538 w 1035367"/>
                <a:gd name="connsiteY42" fmla="*/ 98108 h 6842760"/>
                <a:gd name="connsiteX43" fmla="*/ 78105 w 1035367"/>
                <a:gd name="connsiteY43" fmla="*/ 66675 h 6842760"/>
                <a:gd name="connsiteX44" fmla="*/ 46673 w 1035367"/>
                <a:gd name="connsiteY44" fmla="*/ 98108 h 6842760"/>
                <a:gd name="connsiteX45" fmla="*/ 42863 w 1035367"/>
                <a:gd name="connsiteY45" fmla="*/ 303848 h 6842760"/>
                <a:gd name="connsiteX46" fmla="*/ 78105 w 1035367"/>
                <a:gd name="connsiteY46" fmla="*/ 339090 h 6842760"/>
                <a:gd name="connsiteX47" fmla="*/ 113348 w 1035367"/>
                <a:gd name="connsiteY47" fmla="*/ 303848 h 6842760"/>
                <a:gd name="connsiteX48" fmla="*/ 78105 w 1035367"/>
                <a:gd name="connsiteY48" fmla="*/ 268605 h 6842760"/>
                <a:gd name="connsiteX49" fmla="*/ 42863 w 1035367"/>
                <a:gd name="connsiteY49" fmla="*/ 303848 h 6842760"/>
                <a:gd name="connsiteX50" fmla="*/ 0 w 1035367"/>
                <a:gd name="connsiteY50" fmla="*/ 1335405 h 6842760"/>
                <a:gd name="connsiteX51" fmla="*/ 78105 w 1035367"/>
                <a:gd name="connsiteY51" fmla="*/ 1413510 h 6842760"/>
                <a:gd name="connsiteX52" fmla="*/ 156210 w 1035367"/>
                <a:gd name="connsiteY52" fmla="*/ 1335405 h 6842760"/>
                <a:gd name="connsiteX53" fmla="*/ 78105 w 1035367"/>
                <a:gd name="connsiteY53" fmla="*/ 1257300 h 6842760"/>
                <a:gd name="connsiteX54" fmla="*/ 0 w 1035367"/>
                <a:gd name="connsiteY54" fmla="*/ 1335405 h 6842760"/>
                <a:gd name="connsiteX55" fmla="*/ 266700 w 1035367"/>
                <a:gd name="connsiteY55" fmla="*/ 2159318 h 6842760"/>
                <a:gd name="connsiteX56" fmla="*/ 298133 w 1035367"/>
                <a:gd name="connsiteY56" fmla="*/ 2190750 h 6842760"/>
                <a:gd name="connsiteX57" fmla="*/ 329565 w 1035367"/>
                <a:gd name="connsiteY57" fmla="*/ 2159318 h 6842760"/>
                <a:gd name="connsiteX58" fmla="*/ 298133 w 1035367"/>
                <a:gd name="connsiteY58" fmla="*/ 2127885 h 6842760"/>
                <a:gd name="connsiteX59" fmla="*/ 266700 w 1035367"/>
                <a:gd name="connsiteY59" fmla="*/ 2159318 h 6842760"/>
                <a:gd name="connsiteX60" fmla="*/ 262890 w 1035367"/>
                <a:gd name="connsiteY60" fmla="*/ 1918335 h 6842760"/>
                <a:gd name="connsiteX61" fmla="*/ 298133 w 1035367"/>
                <a:gd name="connsiteY61" fmla="*/ 1953578 h 6842760"/>
                <a:gd name="connsiteX62" fmla="*/ 333375 w 1035367"/>
                <a:gd name="connsiteY62" fmla="*/ 1918335 h 6842760"/>
                <a:gd name="connsiteX63" fmla="*/ 298133 w 1035367"/>
                <a:gd name="connsiteY63" fmla="*/ 1883093 h 6842760"/>
                <a:gd name="connsiteX64" fmla="*/ 262890 w 1035367"/>
                <a:gd name="connsiteY64" fmla="*/ 1918335 h 6842760"/>
                <a:gd name="connsiteX65" fmla="*/ 236220 w 1035367"/>
                <a:gd name="connsiteY65" fmla="*/ 1289685 h 6842760"/>
                <a:gd name="connsiteX66" fmla="*/ 298133 w 1035367"/>
                <a:gd name="connsiteY66" fmla="*/ 1351598 h 6842760"/>
                <a:gd name="connsiteX67" fmla="*/ 360045 w 1035367"/>
                <a:gd name="connsiteY67" fmla="*/ 1289685 h 6842760"/>
                <a:gd name="connsiteX68" fmla="*/ 298133 w 1035367"/>
                <a:gd name="connsiteY68" fmla="*/ 1227773 h 6842760"/>
                <a:gd name="connsiteX69" fmla="*/ 236220 w 1035367"/>
                <a:gd name="connsiteY69" fmla="*/ 1289685 h 6842760"/>
                <a:gd name="connsiteX70" fmla="*/ 236220 w 1035367"/>
                <a:gd name="connsiteY70" fmla="*/ 869633 h 6842760"/>
                <a:gd name="connsiteX71" fmla="*/ 298133 w 1035367"/>
                <a:gd name="connsiteY71" fmla="*/ 931545 h 6842760"/>
                <a:gd name="connsiteX72" fmla="*/ 360045 w 1035367"/>
                <a:gd name="connsiteY72" fmla="*/ 869633 h 6842760"/>
                <a:gd name="connsiteX73" fmla="*/ 298133 w 1035367"/>
                <a:gd name="connsiteY73" fmla="*/ 807720 h 6842760"/>
                <a:gd name="connsiteX74" fmla="*/ 236220 w 1035367"/>
                <a:gd name="connsiteY74" fmla="*/ 869633 h 6842760"/>
                <a:gd name="connsiteX75" fmla="*/ 244793 w 1035367"/>
                <a:gd name="connsiteY75" fmla="*/ 660083 h 6842760"/>
                <a:gd name="connsiteX76" fmla="*/ 298133 w 1035367"/>
                <a:gd name="connsiteY76" fmla="*/ 713423 h 6842760"/>
                <a:gd name="connsiteX77" fmla="*/ 351473 w 1035367"/>
                <a:gd name="connsiteY77" fmla="*/ 660083 h 6842760"/>
                <a:gd name="connsiteX78" fmla="*/ 298133 w 1035367"/>
                <a:gd name="connsiteY78" fmla="*/ 606743 h 6842760"/>
                <a:gd name="connsiteX79" fmla="*/ 244793 w 1035367"/>
                <a:gd name="connsiteY79" fmla="*/ 660083 h 6842760"/>
                <a:gd name="connsiteX80" fmla="*/ 253365 w 1035367"/>
                <a:gd name="connsiteY80" fmla="*/ 1708785 h 6842760"/>
                <a:gd name="connsiteX81" fmla="*/ 297180 w 1035367"/>
                <a:gd name="connsiteY81" fmla="*/ 1752600 h 6842760"/>
                <a:gd name="connsiteX82" fmla="*/ 340995 w 1035367"/>
                <a:gd name="connsiteY82" fmla="*/ 1708785 h 6842760"/>
                <a:gd name="connsiteX83" fmla="*/ 297180 w 1035367"/>
                <a:gd name="connsiteY83" fmla="*/ 1664970 h 6842760"/>
                <a:gd name="connsiteX84" fmla="*/ 253365 w 1035367"/>
                <a:gd name="connsiteY84" fmla="*/ 1708785 h 6842760"/>
                <a:gd name="connsiteX85" fmla="*/ 244793 w 1035367"/>
                <a:gd name="connsiteY85" fmla="*/ 1499235 h 6842760"/>
                <a:gd name="connsiteX86" fmla="*/ 298133 w 1035367"/>
                <a:gd name="connsiteY86" fmla="*/ 1552575 h 6842760"/>
                <a:gd name="connsiteX87" fmla="*/ 351473 w 1035367"/>
                <a:gd name="connsiteY87" fmla="*/ 1499235 h 6842760"/>
                <a:gd name="connsiteX88" fmla="*/ 298133 w 1035367"/>
                <a:gd name="connsiteY88" fmla="*/ 1445895 h 6842760"/>
                <a:gd name="connsiteX89" fmla="*/ 244793 w 1035367"/>
                <a:gd name="connsiteY89" fmla="*/ 1499235 h 6842760"/>
                <a:gd name="connsiteX90" fmla="*/ 262890 w 1035367"/>
                <a:gd name="connsiteY90" fmla="*/ 240983 h 6842760"/>
                <a:gd name="connsiteX91" fmla="*/ 298133 w 1035367"/>
                <a:gd name="connsiteY91" fmla="*/ 276225 h 6842760"/>
                <a:gd name="connsiteX92" fmla="*/ 333375 w 1035367"/>
                <a:gd name="connsiteY92" fmla="*/ 240983 h 6842760"/>
                <a:gd name="connsiteX93" fmla="*/ 298133 w 1035367"/>
                <a:gd name="connsiteY93" fmla="*/ 205740 h 6842760"/>
                <a:gd name="connsiteX94" fmla="*/ 262890 w 1035367"/>
                <a:gd name="connsiteY94" fmla="*/ 240983 h 6842760"/>
                <a:gd name="connsiteX95" fmla="*/ 266700 w 1035367"/>
                <a:gd name="connsiteY95" fmla="*/ 31433 h 6842760"/>
                <a:gd name="connsiteX96" fmla="*/ 298133 w 1035367"/>
                <a:gd name="connsiteY96" fmla="*/ 62865 h 6842760"/>
                <a:gd name="connsiteX97" fmla="*/ 329565 w 1035367"/>
                <a:gd name="connsiteY97" fmla="*/ 31433 h 6842760"/>
                <a:gd name="connsiteX98" fmla="*/ 298133 w 1035367"/>
                <a:gd name="connsiteY98" fmla="*/ 0 h 6842760"/>
                <a:gd name="connsiteX99" fmla="*/ 266700 w 1035367"/>
                <a:gd name="connsiteY99" fmla="*/ 31433 h 6842760"/>
                <a:gd name="connsiteX100" fmla="*/ 253365 w 1035367"/>
                <a:gd name="connsiteY100" fmla="*/ 450533 h 6842760"/>
                <a:gd name="connsiteX101" fmla="*/ 297180 w 1035367"/>
                <a:gd name="connsiteY101" fmla="*/ 494348 h 6842760"/>
                <a:gd name="connsiteX102" fmla="*/ 340995 w 1035367"/>
                <a:gd name="connsiteY102" fmla="*/ 450533 h 6842760"/>
                <a:gd name="connsiteX103" fmla="*/ 297180 w 1035367"/>
                <a:gd name="connsiteY103" fmla="*/ 406718 h 6842760"/>
                <a:gd name="connsiteX104" fmla="*/ 253365 w 1035367"/>
                <a:gd name="connsiteY104" fmla="*/ 450533 h 6842760"/>
                <a:gd name="connsiteX105" fmla="*/ 220028 w 1035367"/>
                <a:gd name="connsiteY105" fmla="*/ 1080135 h 6842760"/>
                <a:gd name="connsiteX106" fmla="*/ 298133 w 1035367"/>
                <a:gd name="connsiteY106" fmla="*/ 1158240 h 6842760"/>
                <a:gd name="connsiteX107" fmla="*/ 376238 w 1035367"/>
                <a:gd name="connsiteY107" fmla="*/ 1080135 h 6842760"/>
                <a:gd name="connsiteX108" fmla="*/ 298133 w 1035367"/>
                <a:gd name="connsiteY108" fmla="*/ 1002030 h 6842760"/>
                <a:gd name="connsiteX109" fmla="*/ 220028 w 1035367"/>
                <a:gd name="connsiteY109" fmla="*/ 1080135 h 6842760"/>
                <a:gd name="connsiteX110" fmla="*/ 473393 w 1035367"/>
                <a:gd name="connsiteY110" fmla="*/ 2159318 h 6842760"/>
                <a:gd name="connsiteX111" fmla="*/ 517208 w 1035367"/>
                <a:gd name="connsiteY111" fmla="*/ 2203133 h 6842760"/>
                <a:gd name="connsiteX112" fmla="*/ 561023 w 1035367"/>
                <a:gd name="connsiteY112" fmla="*/ 2159318 h 6842760"/>
                <a:gd name="connsiteX113" fmla="*/ 517208 w 1035367"/>
                <a:gd name="connsiteY113" fmla="*/ 2115503 h 6842760"/>
                <a:gd name="connsiteX114" fmla="*/ 473393 w 1035367"/>
                <a:gd name="connsiteY114" fmla="*/ 2159318 h 6842760"/>
                <a:gd name="connsiteX115" fmla="*/ 464820 w 1035367"/>
                <a:gd name="connsiteY115" fmla="*/ 1946910 h 6842760"/>
                <a:gd name="connsiteX116" fmla="*/ 518160 w 1035367"/>
                <a:gd name="connsiteY116" fmla="*/ 2000250 h 6842760"/>
                <a:gd name="connsiteX117" fmla="*/ 571500 w 1035367"/>
                <a:gd name="connsiteY117" fmla="*/ 1946910 h 6842760"/>
                <a:gd name="connsiteX118" fmla="*/ 518160 w 1035367"/>
                <a:gd name="connsiteY118" fmla="*/ 1893570 h 6842760"/>
                <a:gd name="connsiteX119" fmla="*/ 464820 w 1035367"/>
                <a:gd name="connsiteY119" fmla="*/ 1946910 h 6842760"/>
                <a:gd name="connsiteX120" fmla="*/ 456248 w 1035367"/>
                <a:gd name="connsiteY120" fmla="*/ 1309688 h 6842760"/>
                <a:gd name="connsiteX121" fmla="*/ 518160 w 1035367"/>
                <a:gd name="connsiteY121" fmla="*/ 1371600 h 6842760"/>
                <a:gd name="connsiteX122" fmla="*/ 580073 w 1035367"/>
                <a:gd name="connsiteY122" fmla="*/ 1309688 h 6842760"/>
                <a:gd name="connsiteX123" fmla="*/ 518160 w 1035367"/>
                <a:gd name="connsiteY123" fmla="*/ 1247775 h 6842760"/>
                <a:gd name="connsiteX124" fmla="*/ 456248 w 1035367"/>
                <a:gd name="connsiteY124" fmla="*/ 1309688 h 6842760"/>
                <a:gd name="connsiteX125" fmla="*/ 473393 w 1035367"/>
                <a:gd name="connsiteY125" fmla="*/ 883920 h 6842760"/>
                <a:gd name="connsiteX126" fmla="*/ 517208 w 1035367"/>
                <a:gd name="connsiteY126" fmla="*/ 927735 h 6842760"/>
                <a:gd name="connsiteX127" fmla="*/ 561023 w 1035367"/>
                <a:gd name="connsiteY127" fmla="*/ 883920 h 6842760"/>
                <a:gd name="connsiteX128" fmla="*/ 517208 w 1035367"/>
                <a:gd name="connsiteY128" fmla="*/ 840105 h 6842760"/>
                <a:gd name="connsiteX129" fmla="*/ 473393 w 1035367"/>
                <a:gd name="connsiteY129" fmla="*/ 883920 h 6842760"/>
                <a:gd name="connsiteX130" fmla="*/ 481965 w 1035367"/>
                <a:gd name="connsiteY130" fmla="*/ 671513 h 6842760"/>
                <a:gd name="connsiteX131" fmla="*/ 517208 w 1035367"/>
                <a:gd name="connsiteY131" fmla="*/ 706755 h 6842760"/>
                <a:gd name="connsiteX132" fmla="*/ 552450 w 1035367"/>
                <a:gd name="connsiteY132" fmla="*/ 671513 h 6842760"/>
                <a:gd name="connsiteX133" fmla="*/ 517208 w 1035367"/>
                <a:gd name="connsiteY133" fmla="*/ 636270 h 6842760"/>
                <a:gd name="connsiteX134" fmla="*/ 481965 w 1035367"/>
                <a:gd name="connsiteY134" fmla="*/ 671513 h 6842760"/>
                <a:gd name="connsiteX135" fmla="*/ 456248 w 1035367"/>
                <a:gd name="connsiteY135" fmla="*/ 1734503 h 6842760"/>
                <a:gd name="connsiteX136" fmla="*/ 518160 w 1035367"/>
                <a:gd name="connsiteY136" fmla="*/ 1796415 h 6842760"/>
                <a:gd name="connsiteX137" fmla="*/ 580073 w 1035367"/>
                <a:gd name="connsiteY137" fmla="*/ 1734503 h 6842760"/>
                <a:gd name="connsiteX138" fmla="*/ 518160 w 1035367"/>
                <a:gd name="connsiteY138" fmla="*/ 1672590 h 6842760"/>
                <a:gd name="connsiteX139" fmla="*/ 456248 w 1035367"/>
                <a:gd name="connsiteY139" fmla="*/ 1734503 h 6842760"/>
                <a:gd name="connsiteX140" fmla="*/ 464820 w 1035367"/>
                <a:gd name="connsiteY140" fmla="*/ 1096328 h 6842760"/>
                <a:gd name="connsiteX141" fmla="*/ 518160 w 1035367"/>
                <a:gd name="connsiteY141" fmla="*/ 1149668 h 6842760"/>
                <a:gd name="connsiteX142" fmla="*/ 571500 w 1035367"/>
                <a:gd name="connsiteY142" fmla="*/ 1096328 h 6842760"/>
                <a:gd name="connsiteX143" fmla="*/ 518160 w 1035367"/>
                <a:gd name="connsiteY143" fmla="*/ 1042988 h 6842760"/>
                <a:gd name="connsiteX144" fmla="*/ 464820 w 1035367"/>
                <a:gd name="connsiteY144" fmla="*/ 1096328 h 6842760"/>
                <a:gd name="connsiteX145" fmla="*/ 486728 w 1035367"/>
                <a:gd name="connsiteY145" fmla="*/ 246698 h 6842760"/>
                <a:gd name="connsiteX146" fmla="*/ 518160 w 1035367"/>
                <a:gd name="connsiteY146" fmla="*/ 278130 h 6842760"/>
                <a:gd name="connsiteX147" fmla="*/ 549593 w 1035367"/>
                <a:gd name="connsiteY147" fmla="*/ 246698 h 6842760"/>
                <a:gd name="connsiteX148" fmla="*/ 518160 w 1035367"/>
                <a:gd name="connsiteY148" fmla="*/ 215265 h 6842760"/>
                <a:gd name="connsiteX149" fmla="*/ 486728 w 1035367"/>
                <a:gd name="connsiteY149" fmla="*/ 246698 h 6842760"/>
                <a:gd name="connsiteX150" fmla="*/ 486728 w 1035367"/>
                <a:gd name="connsiteY150" fmla="*/ 33338 h 6842760"/>
                <a:gd name="connsiteX151" fmla="*/ 518160 w 1035367"/>
                <a:gd name="connsiteY151" fmla="*/ 64770 h 6842760"/>
                <a:gd name="connsiteX152" fmla="*/ 549593 w 1035367"/>
                <a:gd name="connsiteY152" fmla="*/ 33338 h 6842760"/>
                <a:gd name="connsiteX153" fmla="*/ 518160 w 1035367"/>
                <a:gd name="connsiteY153" fmla="*/ 1905 h 6842760"/>
                <a:gd name="connsiteX154" fmla="*/ 486728 w 1035367"/>
                <a:gd name="connsiteY154" fmla="*/ 33338 h 6842760"/>
                <a:gd name="connsiteX155" fmla="*/ 486728 w 1035367"/>
                <a:gd name="connsiteY155" fmla="*/ 459105 h 6842760"/>
                <a:gd name="connsiteX156" fmla="*/ 518160 w 1035367"/>
                <a:gd name="connsiteY156" fmla="*/ 490538 h 6842760"/>
                <a:gd name="connsiteX157" fmla="*/ 549593 w 1035367"/>
                <a:gd name="connsiteY157" fmla="*/ 459105 h 6842760"/>
                <a:gd name="connsiteX158" fmla="*/ 518160 w 1035367"/>
                <a:gd name="connsiteY158" fmla="*/ 427673 h 6842760"/>
                <a:gd name="connsiteX159" fmla="*/ 486728 w 1035367"/>
                <a:gd name="connsiteY159" fmla="*/ 459105 h 6842760"/>
                <a:gd name="connsiteX160" fmla="*/ 440055 w 1035367"/>
                <a:gd name="connsiteY160" fmla="*/ 1522095 h 6842760"/>
                <a:gd name="connsiteX161" fmla="*/ 518160 w 1035367"/>
                <a:gd name="connsiteY161" fmla="*/ 1600200 h 6842760"/>
                <a:gd name="connsiteX162" fmla="*/ 596265 w 1035367"/>
                <a:gd name="connsiteY162" fmla="*/ 1522095 h 6842760"/>
                <a:gd name="connsiteX163" fmla="*/ 518160 w 1035367"/>
                <a:gd name="connsiteY163" fmla="*/ 1443990 h 6842760"/>
                <a:gd name="connsiteX164" fmla="*/ 440055 w 1035367"/>
                <a:gd name="connsiteY164" fmla="*/ 1522095 h 6842760"/>
                <a:gd name="connsiteX165" fmla="*/ 659130 w 1035367"/>
                <a:gd name="connsiteY165" fmla="*/ 1128713 h 6842760"/>
                <a:gd name="connsiteX166" fmla="*/ 737235 w 1035367"/>
                <a:gd name="connsiteY166" fmla="*/ 1206818 h 6842760"/>
                <a:gd name="connsiteX167" fmla="*/ 815340 w 1035367"/>
                <a:gd name="connsiteY167" fmla="*/ 1128713 h 6842760"/>
                <a:gd name="connsiteX168" fmla="*/ 737235 w 1035367"/>
                <a:gd name="connsiteY168" fmla="*/ 1050608 h 6842760"/>
                <a:gd name="connsiteX169" fmla="*/ 659130 w 1035367"/>
                <a:gd name="connsiteY169" fmla="*/ 1128713 h 6842760"/>
                <a:gd name="connsiteX170" fmla="*/ 701993 w 1035367"/>
                <a:gd name="connsiteY170" fmla="*/ 2162175 h 6842760"/>
                <a:gd name="connsiteX171" fmla="*/ 740093 w 1035367"/>
                <a:gd name="connsiteY171" fmla="*/ 2194560 h 6842760"/>
                <a:gd name="connsiteX172" fmla="*/ 772478 w 1035367"/>
                <a:gd name="connsiteY172" fmla="*/ 2156460 h 6842760"/>
                <a:gd name="connsiteX173" fmla="*/ 734378 w 1035367"/>
                <a:gd name="connsiteY173" fmla="*/ 2124075 h 6842760"/>
                <a:gd name="connsiteX174" fmla="*/ 701993 w 1035367"/>
                <a:gd name="connsiteY174" fmla="*/ 2162175 h 6842760"/>
                <a:gd name="connsiteX175" fmla="*/ 693420 w 1035367"/>
                <a:gd name="connsiteY175" fmla="*/ 1953578 h 6842760"/>
                <a:gd name="connsiteX176" fmla="*/ 737235 w 1035367"/>
                <a:gd name="connsiteY176" fmla="*/ 1997393 h 6842760"/>
                <a:gd name="connsiteX177" fmla="*/ 781050 w 1035367"/>
                <a:gd name="connsiteY177" fmla="*/ 1953578 h 6842760"/>
                <a:gd name="connsiteX178" fmla="*/ 737235 w 1035367"/>
                <a:gd name="connsiteY178" fmla="*/ 1909763 h 6842760"/>
                <a:gd name="connsiteX179" fmla="*/ 693420 w 1035367"/>
                <a:gd name="connsiteY179" fmla="*/ 1953578 h 6842760"/>
                <a:gd name="connsiteX180" fmla="*/ 675323 w 1035367"/>
                <a:gd name="connsiteY180" fmla="*/ 1541145 h 6842760"/>
                <a:gd name="connsiteX181" fmla="*/ 737235 w 1035367"/>
                <a:gd name="connsiteY181" fmla="*/ 1603058 h 6842760"/>
                <a:gd name="connsiteX182" fmla="*/ 799148 w 1035367"/>
                <a:gd name="connsiteY182" fmla="*/ 1541145 h 6842760"/>
                <a:gd name="connsiteX183" fmla="*/ 737235 w 1035367"/>
                <a:gd name="connsiteY183" fmla="*/ 1479233 h 6842760"/>
                <a:gd name="connsiteX184" fmla="*/ 675323 w 1035367"/>
                <a:gd name="connsiteY184" fmla="*/ 1541145 h 6842760"/>
                <a:gd name="connsiteX185" fmla="*/ 684848 w 1035367"/>
                <a:gd name="connsiteY185" fmla="*/ 716280 h 6842760"/>
                <a:gd name="connsiteX186" fmla="*/ 738188 w 1035367"/>
                <a:gd name="connsiteY186" fmla="*/ 769620 h 6842760"/>
                <a:gd name="connsiteX187" fmla="*/ 791528 w 1035367"/>
                <a:gd name="connsiteY187" fmla="*/ 716280 h 6842760"/>
                <a:gd name="connsiteX188" fmla="*/ 738188 w 1035367"/>
                <a:gd name="connsiteY188" fmla="*/ 662940 h 6842760"/>
                <a:gd name="connsiteX189" fmla="*/ 684848 w 1035367"/>
                <a:gd name="connsiteY189" fmla="*/ 716280 h 6842760"/>
                <a:gd name="connsiteX190" fmla="*/ 693420 w 1035367"/>
                <a:gd name="connsiteY190" fmla="*/ 510540 h 6842760"/>
                <a:gd name="connsiteX191" fmla="*/ 737235 w 1035367"/>
                <a:gd name="connsiteY191" fmla="*/ 554355 h 6842760"/>
                <a:gd name="connsiteX192" fmla="*/ 781050 w 1035367"/>
                <a:gd name="connsiteY192" fmla="*/ 510540 h 6842760"/>
                <a:gd name="connsiteX193" fmla="*/ 737235 w 1035367"/>
                <a:gd name="connsiteY193" fmla="*/ 466725 h 6842760"/>
                <a:gd name="connsiteX194" fmla="*/ 693420 w 1035367"/>
                <a:gd name="connsiteY194" fmla="*/ 510540 h 6842760"/>
                <a:gd name="connsiteX195" fmla="*/ 684848 w 1035367"/>
                <a:gd name="connsiteY195" fmla="*/ 1746885 h 6842760"/>
                <a:gd name="connsiteX196" fmla="*/ 738188 w 1035367"/>
                <a:gd name="connsiteY196" fmla="*/ 1800225 h 6842760"/>
                <a:gd name="connsiteX197" fmla="*/ 791528 w 1035367"/>
                <a:gd name="connsiteY197" fmla="*/ 1746885 h 6842760"/>
                <a:gd name="connsiteX198" fmla="*/ 738188 w 1035367"/>
                <a:gd name="connsiteY198" fmla="*/ 1693545 h 6842760"/>
                <a:gd name="connsiteX199" fmla="*/ 684848 w 1035367"/>
                <a:gd name="connsiteY199" fmla="*/ 1746885 h 6842760"/>
                <a:gd name="connsiteX200" fmla="*/ 675323 w 1035367"/>
                <a:gd name="connsiteY200" fmla="*/ 922973 h 6842760"/>
                <a:gd name="connsiteX201" fmla="*/ 737235 w 1035367"/>
                <a:gd name="connsiteY201" fmla="*/ 984885 h 6842760"/>
                <a:gd name="connsiteX202" fmla="*/ 799148 w 1035367"/>
                <a:gd name="connsiteY202" fmla="*/ 922973 h 6842760"/>
                <a:gd name="connsiteX203" fmla="*/ 737235 w 1035367"/>
                <a:gd name="connsiteY203" fmla="*/ 861060 h 6842760"/>
                <a:gd name="connsiteX204" fmla="*/ 675323 w 1035367"/>
                <a:gd name="connsiteY204" fmla="*/ 922973 h 6842760"/>
                <a:gd name="connsiteX205" fmla="*/ 706755 w 1035367"/>
                <a:gd name="connsiteY205" fmla="*/ 98108 h 6842760"/>
                <a:gd name="connsiteX206" fmla="*/ 738188 w 1035367"/>
                <a:gd name="connsiteY206" fmla="*/ 129540 h 6842760"/>
                <a:gd name="connsiteX207" fmla="*/ 769620 w 1035367"/>
                <a:gd name="connsiteY207" fmla="*/ 98108 h 6842760"/>
                <a:gd name="connsiteX208" fmla="*/ 737235 w 1035367"/>
                <a:gd name="connsiteY208" fmla="*/ 66675 h 6842760"/>
                <a:gd name="connsiteX209" fmla="*/ 706755 w 1035367"/>
                <a:gd name="connsiteY209" fmla="*/ 98108 h 6842760"/>
                <a:gd name="connsiteX210" fmla="*/ 701993 w 1035367"/>
                <a:gd name="connsiteY210" fmla="*/ 303848 h 6842760"/>
                <a:gd name="connsiteX211" fmla="*/ 737235 w 1035367"/>
                <a:gd name="connsiteY211" fmla="*/ 339090 h 6842760"/>
                <a:gd name="connsiteX212" fmla="*/ 772478 w 1035367"/>
                <a:gd name="connsiteY212" fmla="*/ 303848 h 6842760"/>
                <a:gd name="connsiteX213" fmla="*/ 737235 w 1035367"/>
                <a:gd name="connsiteY213" fmla="*/ 268605 h 6842760"/>
                <a:gd name="connsiteX214" fmla="*/ 701993 w 1035367"/>
                <a:gd name="connsiteY214" fmla="*/ 303848 h 6842760"/>
                <a:gd name="connsiteX215" fmla="*/ 659130 w 1035367"/>
                <a:gd name="connsiteY215" fmla="*/ 1335405 h 6842760"/>
                <a:gd name="connsiteX216" fmla="*/ 737235 w 1035367"/>
                <a:gd name="connsiteY216" fmla="*/ 1413510 h 6842760"/>
                <a:gd name="connsiteX217" fmla="*/ 815340 w 1035367"/>
                <a:gd name="connsiteY217" fmla="*/ 1335405 h 6842760"/>
                <a:gd name="connsiteX218" fmla="*/ 737235 w 1035367"/>
                <a:gd name="connsiteY218" fmla="*/ 1257300 h 6842760"/>
                <a:gd name="connsiteX219" fmla="*/ 659130 w 1035367"/>
                <a:gd name="connsiteY219" fmla="*/ 1335405 h 6842760"/>
                <a:gd name="connsiteX220" fmla="*/ 925830 w 1035367"/>
                <a:gd name="connsiteY220" fmla="*/ 2159318 h 6842760"/>
                <a:gd name="connsiteX221" fmla="*/ 957263 w 1035367"/>
                <a:gd name="connsiteY221" fmla="*/ 2190750 h 6842760"/>
                <a:gd name="connsiteX222" fmla="*/ 988695 w 1035367"/>
                <a:gd name="connsiteY222" fmla="*/ 2159318 h 6842760"/>
                <a:gd name="connsiteX223" fmla="*/ 957263 w 1035367"/>
                <a:gd name="connsiteY223" fmla="*/ 2127885 h 6842760"/>
                <a:gd name="connsiteX224" fmla="*/ 925830 w 1035367"/>
                <a:gd name="connsiteY224" fmla="*/ 2159318 h 6842760"/>
                <a:gd name="connsiteX225" fmla="*/ 922020 w 1035367"/>
                <a:gd name="connsiteY225" fmla="*/ 1918335 h 6842760"/>
                <a:gd name="connsiteX226" fmla="*/ 957263 w 1035367"/>
                <a:gd name="connsiteY226" fmla="*/ 1953578 h 6842760"/>
                <a:gd name="connsiteX227" fmla="*/ 992505 w 1035367"/>
                <a:gd name="connsiteY227" fmla="*/ 1918335 h 6842760"/>
                <a:gd name="connsiteX228" fmla="*/ 957263 w 1035367"/>
                <a:gd name="connsiteY228" fmla="*/ 1883093 h 6842760"/>
                <a:gd name="connsiteX229" fmla="*/ 922020 w 1035367"/>
                <a:gd name="connsiteY229" fmla="*/ 1918335 h 6842760"/>
                <a:gd name="connsiteX230" fmla="*/ 895350 w 1035367"/>
                <a:gd name="connsiteY230" fmla="*/ 1289685 h 6842760"/>
                <a:gd name="connsiteX231" fmla="*/ 957263 w 1035367"/>
                <a:gd name="connsiteY231" fmla="*/ 1351598 h 6842760"/>
                <a:gd name="connsiteX232" fmla="*/ 1019175 w 1035367"/>
                <a:gd name="connsiteY232" fmla="*/ 1289685 h 6842760"/>
                <a:gd name="connsiteX233" fmla="*/ 957263 w 1035367"/>
                <a:gd name="connsiteY233" fmla="*/ 1227773 h 6842760"/>
                <a:gd name="connsiteX234" fmla="*/ 895350 w 1035367"/>
                <a:gd name="connsiteY234" fmla="*/ 1289685 h 6842760"/>
                <a:gd name="connsiteX235" fmla="*/ 895350 w 1035367"/>
                <a:gd name="connsiteY235" fmla="*/ 869633 h 6842760"/>
                <a:gd name="connsiteX236" fmla="*/ 957263 w 1035367"/>
                <a:gd name="connsiteY236" fmla="*/ 931545 h 6842760"/>
                <a:gd name="connsiteX237" fmla="*/ 1019175 w 1035367"/>
                <a:gd name="connsiteY237" fmla="*/ 869633 h 6842760"/>
                <a:gd name="connsiteX238" fmla="*/ 957263 w 1035367"/>
                <a:gd name="connsiteY238" fmla="*/ 807720 h 6842760"/>
                <a:gd name="connsiteX239" fmla="*/ 895350 w 1035367"/>
                <a:gd name="connsiteY239" fmla="*/ 869633 h 6842760"/>
                <a:gd name="connsiteX240" fmla="*/ 903923 w 1035367"/>
                <a:gd name="connsiteY240" fmla="*/ 660083 h 6842760"/>
                <a:gd name="connsiteX241" fmla="*/ 957263 w 1035367"/>
                <a:gd name="connsiteY241" fmla="*/ 713423 h 6842760"/>
                <a:gd name="connsiteX242" fmla="*/ 1010603 w 1035367"/>
                <a:gd name="connsiteY242" fmla="*/ 660083 h 6842760"/>
                <a:gd name="connsiteX243" fmla="*/ 957263 w 1035367"/>
                <a:gd name="connsiteY243" fmla="*/ 606743 h 6842760"/>
                <a:gd name="connsiteX244" fmla="*/ 903923 w 1035367"/>
                <a:gd name="connsiteY244" fmla="*/ 660083 h 6842760"/>
                <a:gd name="connsiteX245" fmla="*/ 913448 w 1035367"/>
                <a:gd name="connsiteY245" fmla="*/ 1708785 h 6842760"/>
                <a:gd name="connsiteX246" fmla="*/ 957263 w 1035367"/>
                <a:gd name="connsiteY246" fmla="*/ 1752600 h 6842760"/>
                <a:gd name="connsiteX247" fmla="*/ 1001078 w 1035367"/>
                <a:gd name="connsiteY247" fmla="*/ 1708785 h 6842760"/>
                <a:gd name="connsiteX248" fmla="*/ 957263 w 1035367"/>
                <a:gd name="connsiteY248" fmla="*/ 1664970 h 6842760"/>
                <a:gd name="connsiteX249" fmla="*/ 913448 w 1035367"/>
                <a:gd name="connsiteY249" fmla="*/ 1708785 h 6842760"/>
                <a:gd name="connsiteX250" fmla="*/ 903923 w 1035367"/>
                <a:gd name="connsiteY250" fmla="*/ 1499235 h 6842760"/>
                <a:gd name="connsiteX251" fmla="*/ 957263 w 1035367"/>
                <a:gd name="connsiteY251" fmla="*/ 1552575 h 6842760"/>
                <a:gd name="connsiteX252" fmla="*/ 1010603 w 1035367"/>
                <a:gd name="connsiteY252" fmla="*/ 1499235 h 6842760"/>
                <a:gd name="connsiteX253" fmla="*/ 957263 w 1035367"/>
                <a:gd name="connsiteY253" fmla="*/ 1445895 h 6842760"/>
                <a:gd name="connsiteX254" fmla="*/ 903923 w 1035367"/>
                <a:gd name="connsiteY254" fmla="*/ 1499235 h 6842760"/>
                <a:gd name="connsiteX255" fmla="*/ 922020 w 1035367"/>
                <a:gd name="connsiteY255" fmla="*/ 240983 h 6842760"/>
                <a:gd name="connsiteX256" fmla="*/ 957263 w 1035367"/>
                <a:gd name="connsiteY256" fmla="*/ 276225 h 6842760"/>
                <a:gd name="connsiteX257" fmla="*/ 992505 w 1035367"/>
                <a:gd name="connsiteY257" fmla="*/ 240983 h 6842760"/>
                <a:gd name="connsiteX258" fmla="*/ 957263 w 1035367"/>
                <a:gd name="connsiteY258" fmla="*/ 205740 h 6842760"/>
                <a:gd name="connsiteX259" fmla="*/ 922020 w 1035367"/>
                <a:gd name="connsiteY259" fmla="*/ 240983 h 6842760"/>
                <a:gd name="connsiteX260" fmla="*/ 925830 w 1035367"/>
                <a:gd name="connsiteY260" fmla="*/ 31433 h 6842760"/>
                <a:gd name="connsiteX261" fmla="*/ 957263 w 1035367"/>
                <a:gd name="connsiteY261" fmla="*/ 62865 h 6842760"/>
                <a:gd name="connsiteX262" fmla="*/ 988695 w 1035367"/>
                <a:gd name="connsiteY262" fmla="*/ 31433 h 6842760"/>
                <a:gd name="connsiteX263" fmla="*/ 957263 w 1035367"/>
                <a:gd name="connsiteY263" fmla="*/ 0 h 6842760"/>
                <a:gd name="connsiteX264" fmla="*/ 925830 w 1035367"/>
                <a:gd name="connsiteY264" fmla="*/ 31433 h 6842760"/>
                <a:gd name="connsiteX265" fmla="*/ 913448 w 1035367"/>
                <a:gd name="connsiteY265" fmla="*/ 450533 h 6842760"/>
                <a:gd name="connsiteX266" fmla="*/ 957263 w 1035367"/>
                <a:gd name="connsiteY266" fmla="*/ 494348 h 6842760"/>
                <a:gd name="connsiteX267" fmla="*/ 1001078 w 1035367"/>
                <a:gd name="connsiteY267" fmla="*/ 450533 h 6842760"/>
                <a:gd name="connsiteX268" fmla="*/ 957263 w 1035367"/>
                <a:gd name="connsiteY268" fmla="*/ 406718 h 6842760"/>
                <a:gd name="connsiteX269" fmla="*/ 913448 w 1035367"/>
                <a:gd name="connsiteY269" fmla="*/ 450533 h 6842760"/>
                <a:gd name="connsiteX270" fmla="*/ 879158 w 1035367"/>
                <a:gd name="connsiteY270" fmla="*/ 1080135 h 6842760"/>
                <a:gd name="connsiteX271" fmla="*/ 957263 w 1035367"/>
                <a:gd name="connsiteY271" fmla="*/ 1158240 h 6842760"/>
                <a:gd name="connsiteX272" fmla="*/ 1035368 w 1035367"/>
                <a:gd name="connsiteY272" fmla="*/ 1080135 h 6842760"/>
                <a:gd name="connsiteX273" fmla="*/ 957263 w 1035367"/>
                <a:gd name="connsiteY273" fmla="*/ 1002030 h 6842760"/>
                <a:gd name="connsiteX274" fmla="*/ 879158 w 1035367"/>
                <a:gd name="connsiteY274" fmla="*/ 1080135 h 6842760"/>
                <a:gd name="connsiteX275" fmla="*/ 244793 w 1035367"/>
                <a:gd name="connsiteY275" fmla="*/ 6789420 h 6842760"/>
                <a:gd name="connsiteX276" fmla="*/ 298133 w 1035367"/>
                <a:gd name="connsiteY276" fmla="*/ 6842760 h 6842760"/>
                <a:gd name="connsiteX277" fmla="*/ 351473 w 1035367"/>
                <a:gd name="connsiteY277" fmla="*/ 6789420 h 6842760"/>
                <a:gd name="connsiteX278" fmla="*/ 298133 w 1035367"/>
                <a:gd name="connsiteY278" fmla="*/ 6736080 h 6842760"/>
                <a:gd name="connsiteX279" fmla="*/ 244793 w 1035367"/>
                <a:gd name="connsiteY279" fmla="*/ 6789420 h 6842760"/>
                <a:gd name="connsiteX280" fmla="*/ 236220 w 1035367"/>
                <a:gd name="connsiteY280" fmla="*/ 6548438 h 6842760"/>
                <a:gd name="connsiteX281" fmla="*/ 298133 w 1035367"/>
                <a:gd name="connsiteY281" fmla="*/ 6610350 h 6842760"/>
                <a:gd name="connsiteX282" fmla="*/ 360045 w 1035367"/>
                <a:gd name="connsiteY282" fmla="*/ 6548438 h 6842760"/>
                <a:gd name="connsiteX283" fmla="*/ 298133 w 1035367"/>
                <a:gd name="connsiteY283" fmla="*/ 6486525 h 6842760"/>
                <a:gd name="connsiteX284" fmla="*/ 236220 w 1035367"/>
                <a:gd name="connsiteY284" fmla="*/ 6548438 h 6842760"/>
                <a:gd name="connsiteX285" fmla="*/ 244793 w 1035367"/>
                <a:gd name="connsiteY285" fmla="*/ 5918835 h 6842760"/>
                <a:gd name="connsiteX286" fmla="*/ 298133 w 1035367"/>
                <a:gd name="connsiteY286" fmla="*/ 5972175 h 6842760"/>
                <a:gd name="connsiteX287" fmla="*/ 351473 w 1035367"/>
                <a:gd name="connsiteY287" fmla="*/ 5918835 h 6842760"/>
                <a:gd name="connsiteX288" fmla="*/ 298133 w 1035367"/>
                <a:gd name="connsiteY288" fmla="*/ 5865495 h 6842760"/>
                <a:gd name="connsiteX289" fmla="*/ 244793 w 1035367"/>
                <a:gd name="connsiteY289" fmla="*/ 5918835 h 6842760"/>
                <a:gd name="connsiteX290" fmla="*/ 262890 w 1035367"/>
                <a:gd name="connsiteY290" fmla="*/ 5499735 h 6842760"/>
                <a:gd name="connsiteX291" fmla="*/ 298133 w 1035367"/>
                <a:gd name="connsiteY291" fmla="*/ 5534978 h 6842760"/>
                <a:gd name="connsiteX292" fmla="*/ 333375 w 1035367"/>
                <a:gd name="connsiteY292" fmla="*/ 5499735 h 6842760"/>
                <a:gd name="connsiteX293" fmla="*/ 298133 w 1035367"/>
                <a:gd name="connsiteY293" fmla="*/ 5464493 h 6842760"/>
                <a:gd name="connsiteX294" fmla="*/ 262890 w 1035367"/>
                <a:gd name="connsiteY294" fmla="*/ 5499735 h 6842760"/>
                <a:gd name="connsiteX295" fmla="*/ 266700 w 1035367"/>
                <a:gd name="connsiteY295" fmla="*/ 5290185 h 6842760"/>
                <a:gd name="connsiteX296" fmla="*/ 298133 w 1035367"/>
                <a:gd name="connsiteY296" fmla="*/ 5321618 h 6842760"/>
                <a:gd name="connsiteX297" fmla="*/ 329565 w 1035367"/>
                <a:gd name="connsiteY297" fmla="*/ 5290185 h 6842760"/>
                <a:gd name="connsiteX298" fmla="*/ 298133 w 1035367"/>
                <a:gd name="connsiteY298" fmla="*/ 5258753 h 6842760"/>
                <a:gd name="connsiteX299" fmla="*/ 266700 w 1035367"/>
                <a:gd name="connsiteY299" fmla="*/ 5290185 h 6842760"/>
                <a:gd name="connsiteX300" fmla="*/ 236220 w 1035367"/>
                <a:gd name="connsiteY300" fmla="*/ 6129338 h 6842760"/>
                <a:gd name="connsiteX301" fmla="*/ 298133 w 1035367"/>
                <a:gd name="connsiteY301" fmla="*/ 6191250 h 6842760"/>
                <a:gd name="connsiteX302" fmla="*/ 360045 w 1035367"/>
                <a:gd name="connsiteY302" fmla="*/ 6129338 h 6842760"/>
                <a:gd name="connsiteX303" fmla="*/ 298133 w 1035367"/>
                <a:gd name="connsiteY303" fmla="*/ 6067425 h 6842760"/>
                <a:gd name="connsiteX304" fmla="*/ 236220 w 1035367"/>
                <a:gd name="connsiteY304" fmla="*/ 6129338 h 6842760"/>
                <a:gd name="connsiteX305" fmla="*/ 253365 w 1035367"/>
                <a:gd name="connsiteY305" fmla="*/ 5709285 h 6842760"/>
                <a:gd name="connsiteX306" fmla="*/ 297180 w 1035367"/>
                <a:gd name="connsiteY306" fmla="*/ 5753100 h 6842760"/>
                <a:gd name="connsiteX307" fmla="*/ 340995 w 1035367"/>
                <a:gd name="connsiteY307" fmla="*/ 5709285 h 6842760"/>
                <a:gd name="connsiteX308" fmla="*/ 297180 w 1035367"/>
                <a:gd name="connsiteY308" fmla="*/ 5665470 h 6842760"/>
                <a:gd name="connsiteX309" fmla="*/ 253365 w 1035367"/>
                <a:gd name="connsiteY309" fmla="*/ 5709285 h 6842760"/>
                <a:gd name="connsiteX310" fmla="*/ 266700 w 1035367"/>
                <a:gd name="connsiteY310" fmla="*/ 4871085 h 6842760"/>
                <a:gd name="connsiteX311" fmla="*/ 298133 w 1035367"/>
                <a:gd name="connsiteY311" fmla="*/ 4902518 h 6842760"/>
                <a:gd name="connsiteX312" fmla="*/ 329565 w 1035367"/>
                <a:gd name="connsiteY312" fmla="*/ 4871085 h 6842760"/>
                <a:gd name="connsiteX313" fmla="*/ 298133 w 1035367"/>
                <a:gd name="connsiteY313" fmla="*/ 4839653 h 6842760"/>
                <a:gd name="connsiteX314" fmla="*/ 266700 w 1035367"/>
                <a:gd name="connsiteY314" fmla="*/ 4871085 h 6842760"/>
                <a:gd name="connsiteX315" fmla="*/ 266700 w 1035367"/>
                <a:gd name="connsiteY315" fmla="*/ 4660583 h 6842760"/>
                <a:gd name="connsiteX316" fmla="*/ 298133 w 1035367"/>
                <a:gd name="connsiteY316" fmla="*/ 4692015 h 6842760"/>
                <a:gd name="connsiteX317" fmla="*/ 329565 w 1035367"/>
                <a:gd name="connsiteY317" fmla="*/ 4660583 h 6842760"/>
                <a:gd name="connsiteX318" fmla="*/ 298133 w 1035367"/>
                <a:gd name="connsiteY318" fmla="*/ 4629150 h 6842760"/>
                <a:gd name="connsiteX319" fmla="*/ 266700 w 1035367"/>
                <a:gd name="connsiteY319" fmla="*/ 4660583 h 6842760"/>
                <a:gd name="connsiteX320" fmla="*/ 266700 w 1035367"/>
                <a:gd name="connsiteY320" fmla="*/ 5080635 h 6842760"/>
                <a:gd name="connsiteX321" fmla="*/ 298133 w 1035367"/>
                <a:gd name="connsiteY321" fmla="*/ 5112068 h 6842760"/>
                <a:gd name="connsiteX322" fmla="*/ 329565 w 1035367"/>
                <a:gd name="connsiteY322" fmla="*/ 5080635 h 6842760"/>
                <a:gd name="connsiteX323" fmla="*/ 298133 w 1035367"/>
                <a:gd name="connsiteY323" fmla="*/ 5049203 h 6842760"/>
                <a:gd name="connsiteX324" fmla="*/ 266700 w 1035367"/>
                <a:gd name="connsiteY324" fmla="*/ 5080635 h 6842760"/>
                <a:gd name="connsiteX325" fmla="*/ 220028 w 1035367"/>
                <a:gd name="connsiteY325" fmla="*/ 6338888 h 6842760"/>
                <a:gd name="connsiteX326" fmla="*/ 298133 w 1035367"/>
                <a:gd name="connsiteY326" fmla="*/ 6416993 h 6842760"/>
                <a:gd name="connsiteX327" fmla="*/ 376238 w 1035367"/>
                <a:gd name="connsiteY327" fmla="*/ 6338888 h 6842760"/>
                <a:gd name="connsiteX328" fmla="*/ 298133 w 1035367"/>
                <a:gd name="connsiteY328" fmla="*/ 6260783 h 6842760"/>
                <a:gd name="connsiteX329" fmla="*/ 220028 w 1035367"/>
                <a:gd name="connsiteY329" fmla="*/ 6338888 h 6842760"/>
                <a:gd name="connsiteX330" fmla="*/ 46673 w 1035367"/>
                <a:gd name="connsiteY330" fmla="*/ 4428173 h 6842760"/>
                <a:gd name="connsiteX331" fmla="*/ 78105 w 1035367"/>
                <a:gd name="connsiteY331" fmla="*/ 4459605 h 6842760"/>
                <a:gd name="connsiteX332" fmla="*/ 109538 w 1035367"/>
                <a:gd name="connsiteY332" fmla="*/ 4428173 h 6842760"/>
                <a:gd name="connsiteX333" fmla="*/ 78105 w 1035367"/>
                <a:gd name="connsiteY333" fmla="*/ 4396740 h 6842760"/>
                <a:gd name="connsiteX334" fmla="*/ 46673 w 1035367"/>
                <a:gd name="connsiteY334" fmla="*/ 4428173 h 6842760"/>
                <a:gd name="connsiteX335" fmla="*/ 46673 w 1035367"/>
                <a:gd name="connsiteY335" fmla="*/ 4222433 h 6842760"/>
                <a:gd name="connsiteX336" fmla="*/ 78105 w 1035367"/>
                <a:gd name="connsiteY336" fmla="*/ 4253865 h 6842760"/>
                <a:gd name="connsiteX337" fmla="*/ 109538 w 1035367"/>
                <a:gd name="connsiteY337" fmla="*/ 4222433 h 6842760"/>
                <a:gd name="connsiteX338" fmla="*/ 78105 w 1035367"/>
                <a:gd name="connsiteY338" fmla="*/ 4191000 h 6842760"/>
                <a:gd name="connsiteX339" fmla="*/ 46673 w 1035367"/>
                <a:gd name="connsiteY339" fmla="*/ 4222433 h 6842760"/>
                <a:gd name="connsiteX340" fmla="*/ 34290 w 1035367"/>
                <a:gd name="connsiteY340" fmla="*/ 3604260 h 6842760"/>
                <a:gd name="connsiteX341" fmla="*/ 78105 w 1035367"/>
                <a:gd name="connsiteY341" fmla="*/ 3648075 h 6842760"/>
                <a:gd name="connsiteX342" fmla="*/ 121920 w 1035367"/>
                <a:gd name="connsiteY342" fmla="*/ 3604260 h 6842760"/>
                <a:gd name="connsiteX343" fmla="*/ 78105 w 1035367"/>
                <a:gd name="connsiteY343" fmla="*/ 3560445 h 6842760"/>
                <a:gd name="connsiteX344" fmla="*/ 34290 w 1035367"/>
                <a:gd name="connsiteY344" fmla="*/ 3604260 h 6842760"/>
                <a:gd name="connsiteX345" fmla="*/ 24765 w 1035367"/>
                <a:gd name="connsiteY345" fmla="*/ 3397568 h 6842760"/>
                <a:gd name="connsiteX346" fmla="*/ 78105 w 1035367"/>
                <a:gd name="connsiteY346" fmla="*/ 3450908 h 6842760"/>
                <a:gd name="connsiteX347" fmla="*/ 131445 w 1035367"/>
                <a:gd name="connsiteY347" fmla="*/ 3397568 h 6842760"/>
                <a:gd name="connsiteX348" fmla="*/ 78105 w 1035367"/>
                <a:gd name="connsiteY348" fmla="*/ 3344228 h 6842760"/>
                <a:gd name="connsiteX349" fmla="*/ 24765 w 1035367"/>
                <a:gd name="connsiteY349" fmla="*/ 3397568 h 6842760"/>
                <a:gd name="connsiteX350" fmla="*/ 16193 w 1035367"/>
                <a:gd name="connsiteY350" fmla="*/ 3191828 h 6842760"/>
                <a:gd name="connsiteX351" fmla="*/ 78105 w 1035367"/>
                <a:gd name="connsiteY351" fmla="*/ 3253740 h 6842760"/>
                <a:gd name="connsiteX352" fmla="*/ 140018 w 1035367"/>
                <a:gd name="connsiteY352" fmla="*/ 3191828 h 6842760"/>
                <a:gd name="connsiteX353" fmla="*/ 78105 w 1035367"/>
                <a:gd name="connsiteY353" fmla="*/ 3129915 h 6842760"/>
                <a:gd name="connsiteX354" fmla="*/ 16193 w 1035367"/>
                <a:gd name="connsiteY354" fmla="*/ 3191828 h 6842760"/>
                <a:gd name="connsiteX355" fmla="*/ 46673 w 1035367"/>
                <a:gd name="connsiteY355" fmla="*/ 4016693 h 6842760"/>
                <a:gd name="connsiteX356" fmla="*/ 78105 w 1035367"/>
                <a:gd name="connsiteY356" fmla="*/ 4048125 h 6842760"/>
                <a:gd name="connsiteX357" fmla="*/ 109538 w 1035367"/>
                <a:gd name="connsiteY357" fmla="*/ 4016693 h 6842760"/>
                <a:gd name="connsiteX358" fmla="*/ 78105 w 1035367"/>
                <a:gd name="connsiteY358" fmla="*/ 3985260 h 6842760"/>
                <a:gd name="connsiteX359" fmla="*/ 46673 w 1035367"/>
                <a:gd name="connsiteY359" fmla="*/ 4016693 h 6842760"/>
                <a:gd name="connsiteX360" fmla="*/ 42863 w 1035367"/>
                <a:gd name="connsiteY360" fmla="*/ 3810000 h 6842760"/>
                <a:gd name="connsiteX361" fmla="*/ 78105 w 1035367"/>
                <a:gd name="connsiteY361" fmla="*/ 3845243 h 6842760"/>
                <a:gd name="connsiteX362" fmla="*/ 113348 w 1035367"/>
                <a:gd name="connsiteY362" fmla="*/ 3810000 h 6842760"/>
                <a:gd name="connsiteX363" fmla="*/ 78105 w 1035367"/>
                <a:gd name="connsiteY363" fmla="*/ 3774758 h 6842760"/>
                <a:gd name="connsiteX364" fmla="*/ 42863 w 1035367"/>
                <a:gd name="connsiteY364" fmla="*/ 3810000 h 6842760"/>
                <a:gd name="connsiteX365" fmla="*/ 24765 w 1035367"/>
                <a:gd name="connsiteY365" fmla="*/ 2573655 h 6842760"/>
                <a:gd name="connsiteX366" fmla="*/ 78105 w 1035367"/>
                <a:gd name="connsiteY366" fmla="*/ 2626995 h 6842760"/>
                <a:gd name="connsiteX367" fmla="*/ 131445 w 1035367"/>
                <a:gd name="connsiteY367" fmla="*/ 2573655 h 6842760"/>
                <a:gd name="connsiteX368" fmla="*/ 78105 w 1035367"/>
                <a:gd name="connsiteY368" fmla="*/ 2520315 h 6842760"/>
                <a:gd name="connsiteX369" fmla="*/ 24765 w 1035367"/>
                <a:gd name="connsiteY369" fmla="*/ 2573655 h 6842760"/>
                <a:gd name="connsiteX370" fmla="*/ 34290 w 1035367"/>
                <a:gd name="connsiteY370" fmla="*/ 2366963 h 6842760"/>
                <a:gd name="connsiteX371" fmla="*/ 78105 w 1035367"/>
                <a:gd name="connsiteY371" fmla="*/ 2410778 h 6842760"/>
                <a:gd name="connsiteX372" fmla="*/ 121920 w 1035367"/>
                <a:gd name="connsiteY372" fmla="*/ 2366963 h 6842760"/>
                <a:gd name="connsiteX373" fmla="*/ 78105 w 1035367"/>
                <a:gd name="connsiteY373" fmla="*/ 2323148 h 6842760"/>
                <a:gd name="connsiteX374" fmla="*/ 34290 w 1035367"/>
                <a:gd name="connsiteY374" fmla="*/ 2366963 h 6842760"/>
                <a:gd name="connsiteX375" fmla="*/ 16193 w 1035367"/>
                <a:gd name="connsiteY375" fmla="*/ 2779395 h 6842760"/>
                <a:gd name="connsiteX376" fmla="*/ 78105 w 1035367"/>
                <a:gd name="connsiteY376" fmla="*/ 2841308 h 6842760"/>
                <a:gd name="connsiteX377" fmla="*/ 140018 w 1035367"/>
                <a:gd name="connsiteY377" fmla="*/ 2779395 h 6842760"/>
                <a:gd name="connsiteX378" fmla="*/ 78105 w 1035367"/>
                <a:gd name="connsiteY378" fmla="*/ 2717483 h 6842760"/>
                <a:gd name="connsiteX379" fmla="*/ 16193 w 1035367"/>
                <a:gd name="connsiteY379" fmla="*/ 2779395 h 6842760"/>
                <a:gd name="connsiteX380" fmla="*/ 0 w 1035367"/>
                <a:gd name="connsiteY380" fmla="*/ 2985135 h 6842760"/>
                <a:gd name="connsiteX381" fmla="*/ 78105 w 1035367"/>
                <a:gd name="connsiteY381" fmla="*/ 3063240 h 6842760"/>
                <a:gd name="connsiteX382" fmla="*/ 156210 w 1035367"/>
                <a:gd name="connsiteY382" fmla="*/ 2985135 h 6842760"/>
                <a:gd name="connsiteX383" fmla="*/ 78105 w 1035367"/>
                <a:gd name="connsiteY383" fmla="*/ 2907030 h 6842760"/>
                <a:gd name="connsiteX384" fmla="*/ 0 w 1035367"/>
                <a:gd name="connsiteY384" fmla="*/ 2985135 h 6842760"/>
                <a:gd name="connsiteX385" fmla="*/ 266700 w 1035367"/>
                <a:gd name="connsiteY385" fmla="*/ 4495800 h 6842760"/>
                <a:gd name="connsiteX386" fmla="*/ 298133 w 1035367"/>
                <a:gd name="connsiteY386" fmla="*/ 4527233 h 6842760"/>
                <a:gd name="connsiteX387" fmla="*/ 329565 w 1035367"/>
                <a:gd name="connsiteY387" fmla="*/ 4495800 h 6842760"/>
                <a:gd name="connsiteX388" fmla="*/ 298133 w 1035367"/>
                <a:gd name="connsiteY388" fmla="*/ 4464368 h 6842760"/>
                <a:gd name="connsiteX389" fmla="*/ 266700 w 1035367"/>
                <a:gd name="connsiteY389" fmla="*/ 4495800 h 6842760"/>
                <a:gd name="connsiteX390" fmla="*/ 266700 w 1035367"/>
                <a:gd name="connsiteY390" fmla="*/ 4254818 h 6842760"/>
                <a:gd name="connsiteX391" fmla="*/ 298133 w 1035367"/>
                <a:gd name="connsiteY391" fmla="*/ 4286250 h 6842760"/>
                <a:gd name="connsiteX392" fmla="*/ 329565 w 1035367"/>
                <a:gd name="connsiteY392" fmla="*/ 4254818 h 6842760"/>
                <a:gd name="connsiteX393" fmla="*/ 298133 w 1035367"/>
                <a:gd name="connsiteY393" fmla="*/ 4223385 h 6842760"/>
                <a:gd name="connsiteX394" fmla="*/ 266700 w 1035367"/>
                <a:gd name="connsiteY394" fmla="*/ 4254818 h 6842760"/>
                <a:gd name="connsiteX395" fmla="*/ 262890 w 1035367"/>
                <a:gd name="connsiteY395" fmla="*/ 3625215 h 6842760"/>
                <a:gd name="connsiteX396" fmla="*/ 298133 w 1035367"/>
                <a:gd name="connsiteY396" fmla="*/ 3660458 h 6842760"/>
                <a:gd name="connsiteX397" fmla="*/ 333375 w 1035367"/>
                <a:gd name="connsiteY397" fmla="*/ 3625215 h 6842760"/>
                <a:gd name="connsiteX398" fmla="*/ 298133 w 1035367"/>
                <a:gd name="connsiteY398" fmla="*/ 3589973 h 6842760"/>
                <a:gd name="connsiteX399" fmla="*/ 262890 w 1035367"/>
                <a:gd name="connsiteY399" fmla="*/ 3625215 h 6842760"/>
                <a:gd name="connsiteX400" fmla="*/ 253365 w 1035367"/>
                <a:gd name="connsiteY400" fmla="*/ 3415665 h 6842760"/>
                <a:gd name="connsiteX401" fmla="*/ 297180 w 1035367"/>
                <a:gd name="connsiteY401" fmla="*/ 3459480 h 6842760"/>
                <a:gd name="connsiteX402" fmla="*/ 340995 w 1035367"/>
                <a:gd name="connsiteY402" fmla="*/ 3415665 h 6842760"/>
                <a:gd name="connsiteX403" fmla="*/ 297180 w 1035367"/>
                <a:gd name="connsiteY403" fmla="*/ 3371850 h 6842760"/>
                <a:gd name="connsiteX404" fmla="*/ 253365 w 1035367"/>
                <a:gd name="connsiteY404" fmla="*/ 3415665 h 6842760"/>
                <a:gd name="connsiteX405" fmla="*/ 244793 w 1035367"/>
                <a:gd name="connsiteY405" fmla="*/ 3206115 h 6842760"/>
                <a:gd name="connsiteX406" fmla="*/ 298133 w 1035367"/>
                <a:gd name="connsiteY406" fmla="*/ 3259455 h 6842760"/>
                <a:gd name="connsiteX407" fmla="*/ 351473 w 1035367"/>
                <a:gd name="connsiteY407" fmla="*/ 3206115 h 6842760"/>
                <a:gd name="connsiteX408" fmla="*/ 298133 w 1035367"/>
                <a:gd name="connsiteY408" fmla="*/ 3152775 h 6842760"/>
                <a:gd name="connsiteX409" fmla="*/ 244793 w 1035367"/>
                <a:gd name="connsiteY409" fmla="*/ 3206115 h 6842760"/>
                <a:gd name="connsiteX410" fmla="*/ 266700 w 1035367"/>
                <a:gd name="connsiteY410" fmla="*/ 4044315 h 6842760"/>
                <a:gd name="connsiteX411" fmla="*/ 298133 w 1035367"/>
                <a:gd name="connsiteY411" fmla="*/ 4075748 h 6842760"/>
                <a:gd name="connsiteX412" fmla="*/ 329565 w 1035367"/>
                <a:gd name="connsiteY412" fmla="*/ 4044315 h 6842760"/>
                <a:gd name="connsiteX413" fmla="*/ 298133 w 1035367"/>
                <a:gd name="connsiteY413" fmla="*/ 4012883 h 6842760"/>
                <a:gd name="connsiteX414" fmla="*/ 266700 w 1035367"/>
                <a:gd name="connsiteY414" fmla="*/ 4044315 h 6842760"/>
                <a:gd name="connsiteX415" fmla="*/ 266700 w 1035367"/>
                <a:gd name="connsiteY415" fmla="*/ 3834765 h 6842760"/>
                <a:gd name="connsiteX416" fmla="*/ 298133 w 1035367"/>
                <a:gd name="connsiteY416" fmla="*/ 3866198 h 6842760"/>
                <a:gd name="connsiteX417" fmla="*/ 329565 w 1035367"/>
                <a:gd name="connsiteY417" fmla="*/ 3834765 h 6842760"/>
                <a:gd name="connsiteX418" fmla="*/ 298133 w 1035367"/>
                <a:gd name="connsiteY418" fmla="*/ 3803333 h 6842760"/>
                <a:gd name="connsiteX419" fmla="*/ 266700 w 1035367"/>
                <a:gd name="connsiteY419" fmla="*/ 3834765 h 6842760"/>
                <a:gd name="connsiteX420" fmla="*/ 236220 w 1035367"/>
                <a:gd name="connsiteY420" fmla="*/ 2576513 h 6842760"/>
                <a:gd name="connsiteX421" fmla="*/ 298133 w 1035367"/>
                <a:gd name="connsiteY421" fmla="*/ 2638425 h 6842760"/>
                <a:gd name="connsiteX422" fmla="*/ 360045 w 1035367"/>
                <a:gd name="connsiteY422" fmla="*/ 2576513 h 6842760"/>
                <a:gd name="connsiteX423" fmla="*/ 298133 w 1035367"/>
                <a:gd name="connsiteY423" fmla="*/ 2514600 h 6842760"/>
                <a:gd name="connsiteX424" fmla="*/ 236220 w 1035367"/>
                <a:gd name="connsiteY424" fmla="*/ 2576513 h 6842760"/>
                <a:gd name="connsiteX425" fmla="*/ 244793 w 1035367"/>
                <a:gd name="connsiteY425" fmla="*/ 2366963 h 6842760"/>
                <a:gd name="connsiteX426" fmla="*/ 298133 w 1035367"/>
                <a:gd name="connsiteY426" fmla="*/ 2420303 h 6842760"/>
                <a:gd name="connsiteX427" fmla="*/ 351473 w 1035367"/>
                <a:gd name="connsiteY427" fmla="*/ 2366963 h 6842760"/>
                <a:gd name="connsiteX428" fmla="*/ 298133 w 1035367"/>
                <a:gd name="connsiteY428" fmla="*/ 2313623 h 6842760"/>
                <a:gd name="connsiteX429" fmla="*/ 244793 w 1035367"/>
                <a:gd name="connsiteY429" fmla="*/ 2366963 h 6842760"/>
                <a:gd name="connsiteX430" fmla="*/ 236220 w 1035367"/>
                <a:gd name="connsiteY430" fmla="*/ 2996565 h 6842760"/>
                <a:gd name="connsiteX431" fmla="*/ 298133 w 1035367"/>
                <a:gd name="connsiteY431" fmla="*/ 3058478 h 6842760"/>
                <a:gd name="connsiteX432" fmla="*/ 360045 w 1035367"/>
                <a:gd name="connsiteY432" fmla="*/ 2996565 h 6842760"/>
                <a:gd name="connsiteX433" fmla="*/ 298133 w 1035367"/>
                <a:gd name="connsiteY433" fmla="*/ 2934653 h 6842760"/>
                <a:gd name="connsiteX434" fmla="*/ 236220 w 1035367"/>
                <a:gd name="connsiteY434" fmla="*/ 2996565 h 6842760"/>
                <a:gd name="connsiteX435" fmla="*/ 220028 w 1035367"/>
                <a:gd name="connsiteY435" fmla="*/ 2786063 h 6842760"/>
                <a:gd name="connsiteX436" fmla="*/ 298133 w 1035367"/>
                <a:gd name="connsiteY436" fmla="*/ 2864168 h 6842760"/>
                <a:gd name="connsiteX437" fmla="*/ 376238 w 1035367"/>
                <a:gd name="connsiteY437" fmla="*/ 2786063 h 6842760"/>
                <a:gd name="connsiteX438" fmla="*/ 298133 w 1035367"/>
                <a:gd name="connsiteY438" fmla="*/ 2707958 h 6842760"/>
                <a:gd name="connsiteX439" fmla="*/ 220028 w 1035367"/>
                <a:gd name="connsiteY439" fmla="*/ 2786063 h 6842760"/>
                <a:gd name="connsiteX440" fmla="*/ 464820 w 1035367"/>
                <a:gd name="connsiteY440" fmla="*/ 6406515 h 6842760"/>
                <a:gd name="connsiteX441" fmla="*/ 518160 w 1035367"/>
                <a:gd name="connsiteY441" fmla="*/ 6459855 h 6842760"/>
                <a:gd name="connsiteX442" fmla="*/ 571500 w 1035367"/>
                <a:gd name="connsiteY442" fmla="*/ 6406515 h 6842760"/>
                <a:gd name="connsiteX443" fmla="*/ 518160 w 1035367"/>
                <a:gd name="connsiteY443" fmla="*/ 6353175 h 6842760"/>
                <a:gd name="connsiteX444" fmla="*/ 464820 w 1035367"/>
                <a:gd name="connsiteY444" fmla="*/ 6406515 h 6842760"/>
                <a:gd name="connsiteX445" fmla="*/ 481965 w 1035367"/>
                <a:gd name="connsiteY445" fmla="*/ 5980748 h 6842760"/>
                <a:gd name="connsiteX446" fmla="*/ 517208 w 1035367"/>
                <a:gd name="connsiteY446" fmla="*/ 6015990 h 6842760"/>
                <a:gd name="connsiteX447" fmla="*/ 552450 w 1035367"/>
                <a:gd name="connsiteY447" fmla="*/ 5980748 h 6842760"/>
                <a:gd name="connsiteX448" fmla="*/ 517208 w 1035367"/>
                <a:gd name="connsiteY448" fmla="*/ 5945505 h 6842760"/>
                <a:gd name="connsiteX449" fmla="*/ 481965 w 1035367"/>
                <a:gd name="connsiteY449" fmla="*/ 5980748 h 6842760"/>
                <a:gd name="connsiteX450" fmla="*/ 486728 w 1035367"/>
                <a:gd name="connsiteY450" fmla="*/ 5555933 h 6842760"/>
                <a:gd name="connsiteX451" fmla="*/ 518160 w 1035367"/>
                <a:gd name="connsiteY451" fmla="*/ 5587365 h 6842760"/>
                <a:gd name="connsiteX452" fmla="*/ 549593 w 1035367"/>
                <a:gd name="connsiteY452" fmla="*/ 5555933 h 6842760"/>
                <a:gd name="connsiteX453" fmla="*/ 518160 w 1035367"/>
                <a:gd name="connsiteY453" fmla="*/ 5524500 h 6842760"/>
                <a:gd name="connsiteX454" fmla="*/ 486728 w 1035367"/>
                <a:gd name="connsiteY454" fmla="*/ 5555933 h 6842760"/>
                <a:gd name="connsiteX455" fmla="*/ 486728 w 1035367"/>
                <a:gd name="connsiteY455" fmla="*/ 5343525 h 6842760"/>
                <a:gd name="connsiteX456" fmla="*/ 518160 w 1035367"/>
                <a:gd name="connsiteY456" fmla="*/ 5374958 h 6842760"/>
                <a:gd name="connsiteX457" fmla="*/ 549593 w 1035367"/>
                <a:gd name="connsiteY457" fmla="*/ 5343525 h 6842760"/>
                <a:gd name="connsiteX458" fmla="*/ 518160 w 1035367"/>
                <a:gd name="connsiteY458" fmla="*/ 5312093 h 6842760"/>
                <a:gd name="connsiteX459" fmla="*/ 486728 w 1035367"/>
                <a:gd name="connsiteY459" fmla="*/ 5343525 h 6842760"/>
                <a:gd name="connsiteX460" fmla="*/ 473393 w 1035367"/>
                <a:gd name="connsiteY460" fmla="*/ 6194108 h 6842760"/>
                <a:gd name="connsiteX461" fmla="*/ 517208 w 1035367"/>
                <a:gd name="connsiteY461" fmla="*/ 6237923 h 6842760"/>
                <a:gd name="connsiteX462" fmla="*/ 561023 w 1035367"/>
                <a:gd name="connsiteY462" fmla="*/ 6194108 h 6842760"/>
                <a:gd name="connsiteX463" fmla="*/ 517208 w 1035367"/>
                <a:gd name="connsiteY463" fmla="*/ 6150293 h 6842760"/>
                <a:gd name="connsiteX464" fmla="*/ 473393 w 1035367"/>
                <a:gd name="connsiteY464" fmla="*/ 6194108 h 6842760"/>
                <a:gd name="connsiteX465" fmla="*/ 486728 w 1035367"/>
                <a:gd name="connsiteY465" fmla="*/ 5768340 h 6842760"/>
                <a:gd name="connsiteX466" fmla="*/ 518160 w 1035367"/>
                <a:gd name="connsiteY466" fmla="*/ 5799773 h 6842760"/>
                <a:gd name="connsiteX467" fmla="*/ 549593 w 1035367"/>
                <a:gd name="connsiteY467" fmla="*/ 5768340 h 6842760"/>
                <a:gd name="connsiteX468" fmla="*/ 518160 w 1035367"/>
                <a:gd name="connsiteY468" fmla="*/ 5736908 h 6842760"/>
                <a:gd name="connsiteX469" fmla="*/ 486728 w 1035367"/>
                <a:gd name="connsiteY469" fmla="*/ 5768340 h 6842760"/>
                <a:gd name="connsiteX470" fmla="*/ 486728 w 1035367"/>
                <a:gd name="connsiteY470" fmla="*/ 4917758 h 6842760"/>
                <a:gd name="connsiteX471" fmla="*/ 518160 w 1035367"/>
                <a:gd name="connsiteY471" fmla="*/ 4949190 h 6842760"/>
                <a:gd name="connsiteX472" fmla="*/ 549593 w 1035367"/>
                <a:gd name="connsiteY472" fmla="*/ 4917758 h 6842760"/>
                <a:gd name="connsiteX473" fmla="*/ 518160 w 1035367"/>
                <a:gd name="connsiteY473" fmla="*/ 4886325 h 6842760"/>
                <a:gd name="connsiteX474" fmla="*/ 486728 w 1035367"/>
                <a:gd name="connsiteY474" fmla="*/ 4917758 h 6842760"/>
                <a:gd name="connsiteX475" fmla="*/ 486728 w 1035367"/>
                <a:gd name="connsiteY475" fmla="*/ 4705350 h 6842760"/>
                <a:gd name="connsiteX476" fmla="*/ 518160 w 1035367"/>
                <a:gd name="connsiteY476" fmla="*/ 4736783 h 6842760"/>
                <a:gd name="connsiteX477" fmla="*/ 549593 w 1035367"/>
                <a:gd name="connsiteY477" fmla="*/ 4705350 h 6842760"/>
                <a:gd name="connsiteX478" fmla="*/ 518160 w 1035367"/>
                <a:gd name="connsiteY478" fmla="*/ 4673918 h 6842760"/>
                <a:gd name="connsiteX479" fmla="*/ 486728 w 1035367"/>
                <a:gd name="connsiteY479" fmla="*/ 4705350 h 6842760"/>
                <a:gd name="connsiteX480" fmla="*/ 486728 w 1035367"/>
                <a:gd name="connsiteY480" fmla="*/ 5131118 h 6842760"/>
                <a:gd name="connsiteX481" fmla="*/ 518160 w 1035367"/>
                <a:gd name="connsiteY481" fmla="*/ 5162550 h 6842760"/>
                <a:gd name="connsiteX482" fmla="*/ 549593 w 1035367"/>
                <a:gd name="connsiteY482" fmla="*/ 5131118 h 6842760"/>
                <a:gd name="connsiteX483" fmla="*/ 518160 w 1035367"/>
                <a:gd name="connsiteY483" fmla="*/ 5099685 h 6842760"/>
                <a:gd name="connsiteX484" fmla="*/ 486728 w 1035367"/>
                <a:gd name="connsiteY484" fmla="*/ 5131118 h 6842760"/>
                <a:gd name="connsiteX485" fmla="*/ 706755 w 1035367"/>
                <a:gd name="connsiteY485" fmla="*/ 5253038 h 6842760"/>
                <a:gd name="connsiteX486" fmla="*/ 738188 w 1035367"/>
                <a:gd name="connsiteY486" fmla="*/ 5284470 h 6842760"/>
                <a:gd name="connsiteX487" fmla="*/ 769620 w 1035367"/>
                <a:gd name="connsiteY487" fmla="*/ 5253038 h 6842760"/>
                <a:gd name="connsiteX488" fmla="*/ 738188 w 1035367"/>
                <a:gd name="connsiteY488" fmla="*/ 5221605 h 6842760"/>
                <a:gd name="connsiteX489" fmla="*/ 706755 w 1035367"/>
                <a:gd name="connsiteY489" fmla="*/ 5253038 h 6842760"/>
                <a:gd name="connsiteX490" fmla="*/ 706755 w 1035367"/>
                <a:gd name="connsiteY490" fmla="*/ 4840605 h 6842760"/>
                <a:gd name="connsiteX491" fmla="*/ 738188 w 1035367"/>
                <a:gd name="connsiteY491" fmla="*/ 4872038 h 6842760"/>
                <a:gd name="connsiteX492" fmla="*/ 769620 w 1035367"/>
                <a:gd name="connsiteY492" fmla="*/ 4840605 h 6842760"/>
                <a:gd name="connsiteX493" fmla="*/ 738188 w 1035367"/>
                <a:gd name="connsiteY493" fmla="*/ 4809173 h 6842760"/>
                <a:gd name="connsiteX494" fmla="*/ 706755 w 1035367"/>
                <a:gd name="connsiteY494" fmla="*/ 4840605 h 6842760"/>
                <a:gd name="connsiteX495" fmla="*/ 706755 w 1035367"/>
                <a:gd name="connsiteY495" fmla="*/ 4634865 h 6842760"/>
                <a:gd name="connsiteX496" fmla="*/ 738188 w 1035367"/>
                <a:gd name="connsiteY496" fmla="*/ 4666298 h 6842760"/>
                <a:gd name="connsiteX497" fmla="*/ 769620 w 1035367"/>
                <a:gd name="connsiteY497" fmla="*/ 4634865 h 6842760"/>
                <a:gd name="connsiteX498" fmla="*/ 738188 w 1035367"/>
                <a:gd name="connsiteY498" fmla="*/ 4603433 h 6842760"/>
                <a:gd name="connsiteX499" fmla="*/ 706755 w 1035367"/>
                <a:gd name="connsiteY499" fmla="*/ 4634865 h 6842760"/>
                <a:gd name="connsiteX500" fmla="*/ 706755 w 1035367"/>
                <a:gd name="connsiteY500" fmla="*/ 5047298 h 6842760"/>
                <a:gd name="connsiteX501" fmla="*/ 738188 w 1035367"/>
                <a:gd name="connsiteY501" fmla="*/ 5078730 h 6842760"/>
                <a:gd name="connsiteX502" fmla="*/ 769620 w 1035367"/>
                <a:gd name="connsiteY502" fmla="*/ 5047298 h 6842760"/>
                <a:gd name="connsiteX503" fmla="*/ 738188 w 1035367"/>
                <a:gd name="connsiteY503" fmla="*/ 5015865 h 6842760"/>
                <a:gd name="connsiteX504" fmla="*/ 706755 w 1035367"/>
                <a:gd name="connsiteY504" fmla="*/ 5047298 h 6842760"/>
                <a:gd name="connsiteX505" fmla="*/ 486728 w 1035367"/>
                <a:gd name="connsiteY505" fmla="*/ 4492943 h 6842760"/>
                <a:gd name="connsiteX506" fmla="*/ 518160 w 1035367"/>
                <a:gd name="connsiteY506" fmla="*/ 4524375 h 6842760"/>
                <a:gd name="connsiteX507" fmla="*/ 549593 w 1035367"/>
                <a:gd name="connsiteY507" fmla="*/ 4492943 h 6842760"/>
                <a:gd name="connsiteX508" fmla="*/ 518160 w 1035367"/>
                <a:gd name="connsiteY508" fmla="*/ 4461510 h 6842760"/>
                <a:gd name="connsiteX509" fmla="*/ 486728 w 1035367"/>
                <a:gd name="connsiteY509" fmla="*/ 4492943 h 6842760"/>
                <a:gd name="connsiteX510" fmla="*/ 486728 w 1035367"/>
                <a:gd name="connsiteY510" fmla="*/ 4280535 h 6842760"/>
                <a:gd name="connsiteX511" fmla="*/ 518160 w 1035367"/>
                <a:gd name="connsiteY511" fmla="*/ 4311968 h 6842760"/>
                <a:gd name="connsiteX512" fmla="*/ 549593 w 1035367"/>
                <a:gd name="connsiteY512" fmla="*/ 4280535 h 6842760"/>
                <a:gd name="connsiteX513" fmla="*/ 518160 w 1035367"/>
                <a:gd name="connsiteY513" fmla="*/ 4249103 h 6842760"/>
                <a:gd name="connsiteX514" fmla="*/ 486728 w 1035367"/>
                <a:gd name="connsiteY514" fmla="*/ 4280535 h 6842760"/>
                <a:gd name="connsiteX515" fmla="*/ 464820 w 1035367"/>
                <a:gd name="connsiteY515" fmla="*/ 3642360 h 6842760"/>
                <a:gd name="connsiteX516" fmla="*/ 518160 w 1035367"/>
                <a:gd name="connsiteY516" fmla="*/ 3695700 h 6842760"/>
                <a:gd name="connsiteX517" fmla="*/ 571500 w 1035367"/>
                <a:gd name="connsiteY517" fmla="*/ 3642360 h 6842760"/>
                <a:gd name="connsiteX518" fmla="*/ 518160 w 1035367"/>
                <a:gd name="connsiteY518" fmla="*/ 3589020 h 6842760"/>
                <a:gd name="connsiteX519" fmla="*/ 464820 w 1035367"/>
                <a:gd name="connsiteY519" fmla="*/ 3642360 h 6842760"/>
                <a:gd name="connsiteX520" fmla="*/ 456248 w 1035367"/>
                <a:gd name="connsiteY520" fmla="*/ 3429953 h 6842760"/>
                <a:gd name="connsiteX521" fmla="*/ 518160 w 1035367"/>
                <a:gd name="connsiteY521" fmla="*/ 3491865 h 6842760"/>
                <a:gd name="connsiteX522" fmla="*/ 580073 w 1035367"/>
                <a:gd name="connsiteY522" fmla="*/ 3429953 h 6842760"/>
                <a:gd name="connsiteX523" fmla="*/ 518160 w 1035367"/>
                <a:gd name="connsiteY523" fmla="*/ 3368040 h 6842760"/>
                <a:gd name="connsiteX524" fmla="*/ 456248 w 1035367"/>
                <a:gd name="connsiteY524" fmla="*/ 3429953 h 6842760"/>
                <a:gd name="connsiteX525" fmla="*/ 456248 w 1035367"/>
                <a:gd name="connsiteY525" fmla="*/ 3005138 h 6842760"/>
                <a:gd name="connsiteX526" fmla="*/ 518160 w 1035367"/>
                <a:gd name="connsiteY526" fmla="*/ 3067050 h 6842760"/>
                <a:gd name="connsiteX527" fmla="*/ 580073 w 1035367"/>
                <a:gd name="connsiteY527" fmla="*/ 3005138 h 6842760"/>
                <a:gd name="connsiteX528" fmla="*/ 518160 w 1035367"/>
                <a:gd name="connsiteY528" fmla="*/ 2943225 h 6842760"/>
                <a:gd name="connsiteX529" fmla="*/ 456248 w 1035367"/>
                <a:gd name="connsiteY529" fmla="*/ 3005138 h 6842760"/>
                <a:gd name="connsiteX530" fmla="*/ 481965 w 1035367"/>
                <a:gd name="connsiteY530" fmla="*/ 4068128 h 6842760"/>
                <a:gd name="connsiteX531" fmla="*/ 517208 w 1035367"/>
                <a:gd name="connsiteY531" fmla="*/ 4103370 h 6842760"/>
                <a:gd name="connsiteX532" fmla="*/ 552450 w 1035367"/>
                <a:gd name="connsiteY532" fmla="*/ 4068128 h 6842760"/>
                <a:gd name="connsiteX533" fmla="*/ 517208 w 1035367"/>
                <a:gd name="connsiteY533" fmla="*/ 4032885 h 6842760"/>
                <a:gd name="connsiteX534" fmla="*/ 481965 w 1035367"/>
                <a:gd name="connsiteY534" fmla="*/ 4068128 h 6842760"/>
                <a:gd name="connsiteX535" fmla="*/ 473393 w 1035367"/>
                <a:gd name="connsiteY535" fmla="*/ 3854768 h 6842760"/>
                <a:gd name="connsiteX536" fmla="*/ 517208 w 1035367"/>
                <a:gd name="connsiteY536" fmla="*/ 3898583 h 6842760"/>
                <a:gd name="connsiteX537" fmla="*/ 561023 w 1035367"/>
                <a:gd name="connsiteY537" fmla="*/ 3854768 h 6842760"/>
                <a:gd name="connsiteX538" fmla="*/ 517208 w 1035367"/>
                <a:gd name="connsiteY538" fmla="*/ 3810953 h 6842760"/>
                <a:gd name="connsiteX539" fmla="*/ 473393 w 1035367"/>
                <a:gd name="connsiteY539" fmla="*/ 3854768 h 6842760"/>
                <a:gd name="connsiteX540" fmla="*/ 473393 w 1035367"/>
                <a:gd name="connsiteY540" fmla="*/ 2579370 h 6842760"/>
                <a:gd name="connsiteX541" fmla="*/ 517208 w 1035367"/>
                <a:gd name="connsiteY541" fmla="*/ 2623185 h 6842760"/>
                <a:gd name="connsiteX542" fmla="*/ 561023 w 1035367"/>
                <a:gd name="connsiteY542" fmla="*/ 2579370 h 6842760"/>
                <a:gd name="connsiteX543" fmla="*/ 517208 w 1035367"/>
                <a:gd name="connsiteY543" fmla="*/ 2535555 h 6842760"/>
                <a:gd name="connsiteX544" fmla="*/ 473393 w 1035367"/>
                <a:gd name="connsiteY544" fmla="*/ 2579370 h 6842760"/>
                <a:gd name="connsiteX545" fmla="*/ 481965 w 1035367"/>
                <a:gd name="connsiteY545" fmla="*/ 2366963 h 6842760"/>
                <a:gd name="connsiteX546" fmla="*/ 517208 w 1035367"/>
                <a:gd name="connsiteY546" fmla="*/ 2402205 h 6842760"/>
                <a:gd name="connsiteX547" fmla="*/ 552450 w 1035367"/>
                <a:gd name="connsiteY547" fmla="*/ 2366963 h 6842760"/>
                <a:gd name="connsiteX548" fmla="*/ 517208 w 1035367"/>
                <a:gd name="connsiteY548" fmla="*/ 2331720 h 6842760"/>
                <a:gd name="connsiteX549" fmla="*/ 481965 w 1035367"/>
                <a:gd name="connsiteY549" fmla="*/ 2366963 h 6842760"/>
                <a:gd name="connsiteX550" fmla="*/ 464820 w 1035367"/>
                <a:gd name="connsiteY550" fmla="*/ 2791778 h 6842760"/>
                <a:gd name="connsiteX551" fmla="*/ 518160 w 1035367"/>
                <a:gd name="connsiteY551" fmla="*/ 2845118 h 6842760"/>
                <a:gd name="connsiteX552" fmla="*/ 571500 w 1035367"/>
                <a:gd name="connsiteY552" fmla="*/ 2791778 h 6842760"/>
                <a:gd name="connsiteX553" fmla="*/ 518160 w 1035367"/>
                <a:gd name="connsiteY553" fmla="*/ 2738438 h 6842760"/>
                <a:gd name="connsiteX554" fmla="*/ 464820 w 1035367"/>
                <a:gd name="connsiteY554" fmla="*/ 2791778 h 6842760"/>
                <a:gd name="connsiteX555" fmla="*/ 440055 w 1035367"/>
                <a:gd name="connsiteY555" fmla="*/ 3217545 h 6842760"/>
                <a:gd name="connsiteX556" fmla="*/ 518160 w 1035367"/>
                <a:gd name="connsiteY556" fmla="*/ 3295650 h 6842760"/>
                <a:gd name="connsiteX557" fmla="*/ 596265 w 1035367"/>
                <a:gd name="connsiteY557" fmla="*/ 3217545 h 6842760"/>
                <a:gd name="connsiteX558" fmla="*/ 518160 w 1035367"/>
                <a:gd name="connsiteY558" fmla="*/ 3139440 h 6842760"/>
                <a:gd name="connsiteX559" fmla="*/ 440055 w 1035367"/>
                <a:gd name="connsiteY559" fmla="*/ 3217545 h 6842760"/>
                <a:gd name="connsiteX560" fmla="*/ 706755 w 1035367"/>
                <a:gd name="connsiteY560" fmla="*/ 4428173 h 6842760"/>
                <a:gd name="connsiteX561" fmla="*/ 738188 w 1035367"/>
                <a:gd name="connsiteY561" fmla="*/ 4459605 h 6842760"/>
                <a:gd name="connsiteX562" fmla="*/ 769620 w 1035367"/>
                <a:gd name="connsiteY562" fmla="*/ 4428173 h 6842760"/>
                <a:gd name="connsiteX563" fmla="*/ 738188 w 1035367"/>
                <a:gd name="connsiteY563" fmla="*/ 4396740 h 6842760"/>
                <a:gd name="connsiteX564" fmla="*/ 706755 w 1035367"/>
                <a:gd name="connsiteY564" fmla="*/ 4428173 h 6842760"/>
                <a:gd name="connsiteX565" fmla="*/ 706755 w 1035367"/>
                <a:gd name="connsiteY565" fmla="*/ 4222433 h 6842760"/>
                <a:gd name="connsiteX566" fmla="*/ 738188 w 1035367"/>
                <a:gd name="connsiteY566" fmla="*/ 4253865 h 6842760"/>
                <a:gd name="connsiteX567" fmla="*/ 769620 w 1035367"/>
                <a:gd name="connsiteY567" fmla="*/ 4222433 h 6842760"/>
                <a:gd name="connsiteX568" fmla="*/ 738188 w 1035367"/>
                <a:gd name="connsiteY568" fmla="*/ 4191000 h 6842760"/>
                <a:gd name="connsiteX569" fmla="*/ 706755 w 1035367"/>
                <a:gd name="connsiteY569" fmla="*/ 4222433 h 6842760"/>
                <a:gd name="connsiteX570" fmla="*/ 693420 w 1035367"/>
                <a:gd name="connsiteY570" fmla="*/ 3604260 h 6842760"/>
                <a:gd name="connsiteX571" fmla="*/ 737235 w 1035367"/>
                <a:gd name="connsiteY571" fmla="*/ 3648075 h 6842760"/>
                <a:gd name="connsiteX572" fmla="*/ 781050 w 1035367"/>
                <a:gd name="connsiteY572" fmla="*/ 3604260 h 6842760"/>
                <a:gd name="connsiteX573" fmla="*/ 737235 w 1035367"/>
                <a:gd name="connsiteY573" fmla="*/ 3560445 h 6842760"/>
                <a:gd name="connsiteX574" fmla="*/ 693420 w 1035367"/>
                <a:gd name="connsiteY574" fmla="*/ 3604260 h 6842760"/>
                <a:gd name="connsiteX575" fmla="*/ 684848 w 1035367"/>
                <a:gd name="connsiteY575" fmla="*/ 3397568 h 6842760"/>
                <a:gd name="connsiteX576" fmla="*/ 738188 w 1035367"/>
                <a:gd name="connsiteY576" fmla="*/ 3450908 h 6842760"/>
                <a:gd name="connsiteX577" fmla="*/ 791528 w 1035367"/>
                <a:gd name="connsiteY577" fmla="*/ 3397568 h 6842760"/>
                <a:gd name="connsiteX578" fmla="*/ 738188 w 1035367"/>
                <a:gd name="connsiteY578" fmla="*/ 3344228 h 6842760"/>
                <a:gd name="connsiteX579" fmla="*/ 684848 w 1035367"/>
                <a:gd name="connsiteY579" fmla="*/ 3397568 h 6842760"/>
                <a:gd name="connsiteX580" fmla="*/ 675323 w 1035367"/>
                <a:gd name="connsiteY580" fmla="*/ 3191828 h 6842760"/>
                <a:gd name="connsiteX581" fmla="*/ 737235 w 1035367"/>
                <a:gd name="connsiteY581" fmla="*/ 3253740 h 6842760"/>
                <a:gd name="connsiteX582" fmla="*/ 799148 w 1035367"/>
                <a:gd name="connsiteY582" fmla="*/ 3191828 h 6842760"/>
                <a:gd name="connsiteX583" fmla="*/ 737235 w 1035367"/>
                <a:gd name="connsiteY583" fmla="*/ 3129915 h 6842760"/>
                <a:gd name="connsiteX584" fmla="*/ 675323 w 1035367"/>
                <a:gd name="connsiteY584" fmla="*/ 3191828 h 6842760"/>
                <a:gd name="connsiteX585" fmla="*/ 706755 w 1035367"/>
                <a:gd name="connsiteY585" fmla="*/ 4016693 h 6842760"/>
                <a:gd name="connsiteX586" fmla="*/ 738188 w 1035367"/>
                <a:gd name="connsiteY586" fmla="*/ 4048125 h 6842760"/>
                <a:gd name="connsiteX587" fmla="*/ 769620 w 1035367"/>
                <a:gd name="connsiteY587" fmla="*/ 4016693 h 6842760"/>
                <a:gd name="connsiteX588" fmla="*/ 738188 w 1035367"/>
                <a:gd name="connsiteY588" fmla="*/ 3985260 h 6842760"/>
                <a:gd name="connsiteX589" fmla="*/ 706755 w 1035367"/>
                <a:gd name="connsiteY589" fmla="*/ 4016693 h 6842760"/>
                <a:gd name="connsiteX590" fmla="*/ 701993 w 1035367"/>
                <a:gd name="connsiteY590" fmla="*/ 3810000 h 6842760"/>
                <a:gd name="connsiteX591" fmla="*/ 737235 w 1035367"/>
                <a:gd name="connsiteY591" fmla="*/ 3845243 h 6842760"/>
                <a:gd name="connsiteX592" fmla="*/ 772478 w 1035367"/>
                <a:gd name="connsiteY592" fmla="*/ 3810000 h 6842760"/>
                <a:gd name="connsiteX593" fmla="*/ 737235 w 1035367"/>
                <a:gd name="connsiteY593" fmla="*/ 3774758 h 6842760"/>
                <a:gd name="connsiteX594" fmla="*/ 701993 w 1035367"/>
                <a:gd name="connsiteY594" fmla="*/ 3810000 h 6842760"/>
                <a:gd name="connsiteX595" fmla="*/ 684848 w 1035367"/>
                <a:gd name="connsiteY595" fmla="*/ 2573655 h 6842760"/>
                <a:gd name="connsiteX596" fmla="*/ 738188 w 1035367"/>
                <a:gd name="connsiteY596" fmla="*/ 2626995 h 6842760"/>
                <a:gd name="connsiteX597" fmla="*/ 791528 w 1035367"/>
                <a:gd name="connsiteY597" fmla="*/ 2573655 h 6842760"/>
                <a:gd name="connsiteX598" fmla="*/ 738188 w 1035367"/>
                <a:gd name="connsiteY598" fmla="*/ 2520315 h 6842760"/>
                <a:gd name="connsiteX599" fmla="*/ 684848 w 1035367"/>
                <a:gd name="connsiteY599" fmla="*/ 2573655 h 6842760"/>
                <a:gd name="connsiteX600" fmla="*/ 693420 w 1035367"/>
                <a:gd name="connsiteY600" fmla="*/ 2366963 h 6842760"/>
                <a:gd name="connsiteX601" fmla="*/ 737235 w 1035367"/>
                <a:gd name="connsiteY601" fmla="*/ 2410778 h 6842760"/>
                <a:gd name="connsiteX602" fmla="*/ 781050 w 1035367"/>
                <a:gd name="connsiteY602" fmla="*/ 2366963 h 6842760"/>
                <a:gd name="connsiteX603" fmla="*/ 737235 w 1035367"/>
                <a:gd name="connsiteY603" fmla="*/ 2323148 h 6842760"/>
                <a:gd name="connsiteX604" fmla="*/ 693420 w 1035367"/>
                <a:gd name="connsiteY604" fmla="*/ 2366963 h 6842760"/>
                <a:gd name="connsiteX605" fmla="*/ 675323 w 1035367"/>
                <a:gd name="connsiteY605" fmla="*/ 2779395 h 6842760"/>
                <a:gd name="connsiteX606" fmla="*/ 737235 w 1035367"/>
                <a:gd name="connsiteY606" fmla="*/ 2841308 h 6842760"/>
                <a:gd name="connsiteX607" fmla="*/ 799148 w 1035367"/>
                <a:gd name="connsiteY607" fmla="*/ 2779395 h 6842760"/>
                <a:gd name="connsiteX608" fmla="*/ 737235 w 1035367"/>
                <a:gd name="connsiteY608" fmla="*/ 2717483 h 6842760"/>
                <a:gd name="connsiteX609" fmla="*/ 675323 w 1035367"/>
                <a:gd name="connsiteY609" fmla="*/ 2779395 h 6842760"/>
                <a:gd name="connsiteX610" fmla="*/ 659130 w 1035367"/>
                <a:gd name="connsiteY610" fmla="*/ 2985135 h 6842760"/>
                <a:gd name="connsiteX611" fmla="*/ 737235 w 1035367"/>
                <a:gd name="connsiteY611" fmla="*/ 3063240 h 6842760"/>
                <a:gd name="connsiteX612" fmla="*/ 815340 w 1035367"/>
                <a:gd name="connsiteY612" fmla="*/ 2985135 h 6842760"/>
                <a:gd name="connsiteX613" fmla="*/ 737235 w 1035367"/>
                <a:gd name="connsiteY613" fmla="*/ 2907030 h 6842760"/>
                <a:gd name="connsiteX614" fmla="*/ 659130 w 1035367"/>
                <a:gd name="connsiteY614" fmla="*/ 2985135 h 6842760"/>
                <a:gd name="connsiteX615" fmla="*/ 922020 w 1035367"/>
                <a:gd name="connsiteY615" fmla="*/ 3625215 h 6842760"/>
                <a:gd name="connsiteX616" fmla="*/ 957263 w 1035367"/>
                <a:gd name="connsiteY616" fmla="*/ 3660458 h 6842760"/>
                <a:gd name="connsiteX617" fmla="*/ 992505 w 1035367"/>
                <a:gd name="connsiteY617" fmla="*/ 3625215 h 6842760"/>
                <a:gd name="connsiteX618" fmla="*/ 957263 w 1035367"/>
                <a:gd name="connsiteY618" fmla="*/ 3589973 h 6842760"/>
                <a:gd name="connsiteX619" fmla="*/ 922020 w 1035367"/>
                <a:gd name="connsiteY619" fmla="*/ 3625215 h 6842760"/>
                <a:gd name="connsiteX620" fmla="*/ 913448 w 1035367"/>
                <a:gd name="connsiteY620" fmla="*/ 3415665 h 6842760"/>
                <a:gd name="connsiteX621" fmla="*/ 957263 w 1035367"/>
                <a:gd name="connsiteY621" fmla="*/ 3459480 h 6842760"/>
                <a:gd name="connsiteX622" fmla="*/ 1001078 w 1035367"/>
                <a:gd name="connsiteY622" fmla="*/ 3415665 h 6842760"/>
                <a:gd name="connsiteX623" fmla="*/ 957263 w 1035367"/>
                <a:gd name="connsiteY623" fmla="*/ 3371850 h 6842760"/>
                <a:gd name="connsiteX624" fmla="*/ 913448 w 1035367"/>
                <a:gd name="connsiteY624" fmla="*/ 3415665 h 6842760"/>
                <a:gd name="connsiteX625" fmla="*/ 903923 w 1035367"/>
                <a:gd name="connsiteY625" fmla="*/ 3206115 h 6842760"/>
                <a:gd name="connsiteX626" fmla="*/ 957263 w 1035367"/>
                <a:gd name="connsiteY626" fmla="*/ 3259455 h 6842760"/>
                <a:gd name="connsiteX627" fmla="*/ 1010603 w 1035367"/>
                <a:gd name="connsiteY627" fmla="*/ 3206115 h 6842760"/>
                <a:gd name="connsiteX628" fmla="*/ 957263 w 1035367"/>
                <a:gd name="connsiteY628" fmla="*/ 3152775 h 6842760"/>
                <a:gd name="connsiteX629" fmla="*/ 903923 w 1035367"/>
                <a:gd name="connsiteY629" fmla="*/ 3206115 h 6842760"/>
                <a:gd name="connsiteX630" fmla="*/ 895350 w 1035367"/>
                <a:gd name="connsiteY630" fmla="*/ 2576513 h 6842760"/>
                <a:gd name="connsiteX631" fmla="*/ 957263 w 1035367"/>
                <a:gd name="connsiteY631" fmla="*/ 2638425 h 6842760"/>
                <a:gd name="connsiteX632" fmla="*/ 1019175 w 1035367"/>
                <a:gd name="connsiteY632" fmla="*/ 2576513 h 6842760"/>
                <a:gd name="connsiteX633" fmla="*/ 957263 w 1035367"/>
                <a:gd name="connsiteY633" fmla="*/ 2514600 h 6842760"/>
                <a:gd name="connsiteX634" fmla="*/ 895350 w 1035367"/>
                <a:gd name="connsiteY634" fmla="*/ 2576513 h 6842760"/>
                <a:gd name="connsiteX635" fmla="*/ 903923 w 1035367"/>
                <a:gd name="connsiteY635" fmla="*/ 2366963 h 6842760"/>
                <a:gd name="connsiteX636" fmla="*/ 957263 w 1035367"/>
                <a:gd name="connsiteY636" fmla="*/ 2420303 h 6842760"/>
                <a:gd name="connsiteX637" fmla="*/ 1010603 w 1035367"/>
                <a:gd name="connsiteY637" fmla="*/ 2366963 h 6842760"/>
                <a:gd name="connsiteX638" fmla="*/ 957263 w 1035367"/>
                <a:gd name="connsiteY638" fmla="*/ 2313623 h 6842760"/>
                <a:gd name="connsiteX639" fmla="*/ 903923 w 1035367"/>
                <a:gd name="connsiteY639" fmla="*/ 2366963 h 6842760"/>
                <a:gd name="connsiteX640" fmla="*/ 895350 w 1035367"/>
                <a:gd name="connsiteY640" fmla="*/ 2996565 h 6842760"/>
                <a:gd name="connsiteX641" fmla="*/ 957263 w 1035367"/>
                <a:gd name="connsiteY641" fmla="*/ 3058478 h 6842760"/>
                <a:gd name="connsiteX642" fmla="*/ 1019175 w 1035367"/>
                <a:gd name="connsiteY642" fmla="*/ 2996565 h 6842760"/>
                <a:gd name="connsiteX643" fmla="*/ 957263 w 1035367"/>
                <a:gd name="connsiteY643" fmla="*/ 2934653 h 6842760"/>
                <a:gd name="connsiteX644" fmla="*/ 895350 w 1035367"/>
                <a:gd name="connsiteY644" fmla="*/ 2996565 h 6842760"/>
                <a:gd name="connsiteX645" fmla="*/ 879158 w 1035367"/>
                <a:gd name="connsiteY645" fmla="*/ 2786063 h 6842760"/>
                <a:gd name="connsiteX646" fmla="*/ 957263 w 1035367"/>
                <a:gd name="connsiteY646" fmla="*/ 2864168 h 6842760"/>
                <a:gd name="connsiteX647" fmla="*/ 1035368 w 1035367"/>
                <a:gd name="connsiteY647" fmla="*/ 2786063 h 6842760"/>
                <a:gd name="connsiteX648" fmla="*/ 957263 w 1035367"/>
                <a:gd name="connsiteY648" fmla="*/ 2707958 h 6842760"/>
                <a:gd name="connsiteX649" fmla="*/ 879158 w 1035367"/>
                <a:gd name="connsiteY649" fmla="*/ 2786063 h 684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</a:cxnLst>
              <a:rect l="l" t="t" r="r" b="b"/>
              <a:pathLst>
                <a:path w="1035367" h="6842760">
                  <a:moveTo>
                    <a:pt x="0" y="1128713"/>
                  </a:moveTo>
                  <a:cubicBezTo>
                    <a:pt x="0" y="1171575"/>
                    <a:pt x="35243" y="1206818"/>
                    <a:pt x="78105" y="1206818"/>
                  </a:cubicBezTo>
                  <a:cubicBezTo>
                    <a:pt x="120968" y="1206818"/>
                    <a:pt x="156210" y="1171575"/>
                    <a:pt x="156210" y="1128713"/>
                  </a:cubicBezTo>
                  <a:cubicBezTo>
                    <a:pt x="156210" y="1085850"/>
                    <a:pt x="120968" y="1050608"/>
                    <a:pt x="78105" y="1050608"/>
                  </a:cubicBezTo>
                  <a:cubicBezTo>
                    <a:pt x="35243" y="1050608"/>
                    <a:pt x="0" y="1085850"/>
                    <a:pt x="0" y="1128713"/>
                  </a:cubicBezTo>
                  <a:close/>
                  <a:moveTo>
                    <a:pt x="42863" y="2162175"/>
                  </a:moveTo>
                  <a:cubicBezTo>
                    <a:pt x="44768" y="2181225"/>
                    <a:pt x="61913" y="2196465"/>
                    <a:pt x="80963" y="2194560"/>
                  </a:cubicBezTo>
                  <a:cubicBezTo>
                    <a:pt x="100013" y="2192655"/>
                    <a:pt x="115253" y="2175510"/>
                    <a:pt x="113348" y="2156460"/>
                  </a:cubicBezTo>
                  <a:cubicBezTo>
                    <a:pt x="111443" y="2137410"/>
                    <a:pt x="94298" y="2122170"/>
                    <a:pt x="75248" y="2124075"/>
                  </a:cubicBezTo>
                  <a:cubicBezTo>
                    <a:pt x="55245" y="2125980"/>
                    <a:pt x="40958" y="2143125"/>
                    <a:pt x="42863" y="2162175"/>
                  </a:cubicBezTo>
                  <a:close/>
                  <a:moveTo>
                    <a:pt x="34290" y="1953578"/>
                  </a:moveTo>
                  <a:cubicBezTo>
                    <a:pt x="34290" y="1978343"/>
                    <a:pt x="54293" y="1997393"/>
                    <a:pt x="78105" y="1997393"/>
                  </a:cubicBezTo>
                  <a:cubicBezTo>
                    <a:pt x="101918" y="1997393"/>
                    <a:pt x="121920" y="1977390"/>
                    <a:pt x="121920" y="1953578"/>
                  </a:cubicBezTo>
                  <a:cubicBezTo>
                    <a:pt x="121920" y="1929765"/>
                    <a:pt x="101918" y="1909763"/>
                    <a:pt x="78105" y="1909763"/>
                  </a:cubicBezTo>
                  <a:cubicBezTo>
                    <a:pt x="54293" y="1909763"/>
                    <a:pt x="34290" y="1928813"/>
                    <a:pt x="34290" y="1953578"/>
                  </a:cubicBezTo>
                  <a:close/>
                  <a:moveTo>
                    <a:pt x="16193" y="1541145"/>
                  </a:moveTo>
                  <a:cubicBezTo>
                    <a:pt x="16193" y="1575435"/>
                    <a:pt x="43815" y="1603058"/>
                    <a:pt x="78105" y="1603058"/>
                  </a:cubicBezTo>
                  <a:cubicBezTo>
                    <a:pt x="112395" y="1603058"/>
                    <a:pt x="140018" y="1575435"/>
                    <a:pt x="140018" y="1541145"/>
                  </a:cubicBezTo>
                  <a:cubicBezTo>
                    <a:pt x="140018" y="1506855"/>
                    <a:pt x="112395" y="1479233"/>
                    <a:pt x="78105" y="1479233"/>
                  </a:cubicBezTo>
                  <a:cubicBezTo>
                    <a:pt x="43815" y="1479233"/>
                    <a:pt x="16193" y="1506855"/>
                    <a:pt x="16193" y="1541145"/>
                  </a:cubicBezTo>
                  <a:close/>
                  <a:moveTo>
                    <a:pt x="24765" y="716280"/>
                  </a:moveTo>
                  <a:cubicBezTo>
                    <a:pt x="24765" y="745808"/>
                    <a:pt x="48578" y="769620"/>
                    <a:pt x="78105" y="769620"/>
                  </a:cubicBezTo>
                  <a:cubicBezTo>
                    <a:pt x="107633" y="769620"/>
                    <a:pt x="131445" y="745808"/>
                    <a:pt x="131445" y="716280"/>
                  </a:cubicBezTo>
                  <a:cubicBezTo>
                    <a:pt x="131445" y="686753"/>
                    <a:pt x="107633" y="662940"/>
                    <a:pt x="78105" y="662940"/>
                  </a:cubicBezTo>
                  <a:cubicBezTo>
                    <a:pt x="48578" y="662940"/>
                    <a:pt x="24765" y="687705"/>
                    <a:pt x="24765" y="716280"/>
                  </a:cubicBezTo>
                  <a:close/>
                  <a:moveTo>
                    <a:pt x="34290" y="510540"/>
                  </a:moveTo>
                  <a:cubicBezTo>
                    <a:pt x="34290" y="535305"/>
                    <a:pt x="54293" y="554355"/>
                    <a:pt x="78105" y="554355"/>
                  </a:cubicBezTo>
                  <a:cubicBezTo>
                    <a:pt x="101918" y="554355"/>
                    <a:pt x="121920" y="534353"/>
                    <a:pt x="121920" y="510540"/>
                  </a:cubicBezTo>
                  <a:cubicBezTo>
                    <a:pt x="121920" y="485775"/>
                    <a:pt x="101918" y="466725"/>
                    <a:pt x="78105" y="466725"/>
                  </a:cubicBezTo>
                  <a:cubicBezTo>
                    <a:pt x="54293" y="466725"/>
                    <a:pt x="34290" y="485775"/>
                    <a:pt x="34290" y="510540"/>
                  </a:cubicBezTo>
                  <a:close/>
                  <a:moveTo>
                    <a:pt x="24765" y="1746885"/>
                  </a:moveTo>
                  <a:cubicBezTo>
                    <a:pt x="24765" y="1776413"/>
                    <a:pt x="48578" y="1800225"/>
                    <a:pt x="78105" y="1800225"/>
                  </a:cubicBezTo>
                  <a:cubicBezTo>
                    <a:pt x="107633" y="1800225"/>
                    <a:pt x="131445" y="1776413"/>
                    <a:pt x="131445" y="1746885"/>
                  </a:cubicBezTo>
                  <a:cubicBezTo>
                    <a:pt x="131445" y="1717358"/>
                    <a:pt x="107633" y="1693545"/>
                    <a:pt x="78105" y="1693545"/>
                  </a:cubicBezTo>
                  <a:cubicBezTo>
                    <a:pt x="48578" y="1693545"/>
                    <a:pt x="24765" y="1718310"/>
                    <a:pt x="24765" y="1746885"/>
                  </a:cubicBezTo>
                  <a:close/>
                  <a:moveTo>
                    <a:pt x="16193" y="922973"/>
                  </a:moveTo>
                  <a:cubicBezTo>
                    <a:pt x="16193" y="957263"/>
                    <a:pt x="43815" y="984885"/>
                    <a:pt x="78105" y="984885"/>
                  </a:cubicBezTo>
                  <a:cubicBezTo>
                    <a:pt x="112395" y="984885"/>
                    <a:pt x="140018" y="957263"/>
                    <a:pt x="140018" y="922973"/>
                  </a:cubicBezTo>
                  <a:cubicBezTo>
                    <a:pt x="140018" y="888683"/>
                    <a:pt x="112395" y="861060"/>
                    <a:pt x="78105" y="861060"/>
                  </a:cubicBezTo>
                  <a:cubicBezTo>
                    <a:pt x="43815" y="861060"/>
                    <a:pt x="16193" y="888683"/>
                    <a:pt x="16193" y="922973"/>
                  </a:cubicBezTo>
                  <a:close/>
                  <a:moveTo>
                    <a:pt x="46673" y="98108"/>
                  </a:moveTo>
                  <a:cubicBezTo>
                    <a:pt x="46673" y="115253"/>
                    <a:pt x="60960" y="129540"/>
                    <a:pt x="78105" y="129540"/>
                  </a:cubicBezTo>
                  <a:cubicBezTo>
                    <a:pt x="95250" y="129540"/>
                    <a:pt x="109538" y="115253"/>
                    <a:pt x="109538" y="98108"/>
                  </a:cubicBezTo>
                  <a:cubicBezTo>
                    <a:pt x="109538" y="80963"/>
                    <a:pt x="95250" y="66675"/>
                    <a:pt x="78105" y="66675"/>
                  </a:cubicBezTo>
                  <a:cubicBezTo>
                    <a:pt x="60960" y="66675"/>
                    <a:pt x="46673" y="80963"/>
                    <a:pt x="46673" y="98108"/>
                  </a:cubicBezTo>
                  <a:close/>
                  <a:moveTo>
                    <a:pt x="42863" y="303848"/>
                  </a:moveTo>
                  <a:cubicBezTo>
                    <a:pt x="42863" y="322898"/>
                    <a:pt x="59055" y="339090"/>
                    <a:pt x="78105" y="339090"/>
                  </a:cubicBezTo>
                  <a:cubicBezTo>
                    <a:pt x="97155" y="339090"/>
                    <a:pt x="113348" y="322898"/>
                    <a:pt x="113348" y="303848"/>
                  </a:cubicBezTo>
                  <a:cubicBezTo>
                    <a:pt x="113348" y="284798"/>
                    <a:pt x="97155" y="268605"/>
                    <a:pt x="78105" y="268605"/>
                  </a:cubicBezTo>
                  <a:cubicBezTo>
                    <a:pt x="59055" y="268605"/>
                    <a:pt x="42863" y="284798"/>
                    <a:pt x="42863" y="303848"/>
                  </a:cubicBezTo>
                  <a:close/>
                  <a:moveTo>
                    <a:pt x="0" y="1335405"/>
                  </a:moveTo>
                  <a:cubicBezTo>
                    <a:pt x="0" y="1378268"/>
                    <a:pt x="35243" y="1413510"/>
                    <a:pt x="78105" y="1413510"/>
                  </a:cubicBezTo>
                  <a:cubicBezTo>
                    <a:pt x="120968" y="1413510"/>
                    <a:pt x="156210" y="1378268"/>
                    <a:pt x="156210" y="1335405"/>
                  </a:cubicBezTo>
                  <a:cubicBezTo>
                    <a:pt x="156210" y="1292543"/>
                    <a:pt x="120968" y="1257300"/>
                    <a:pt x="78105" y="1257300"/>
                  </a:cubicBezTo>
                  <a:cubicBezTo>
                    <a:pt x="35243" y="1257300"/>
                    <a:pt x="0" y="1291590"/>
                    <a:pt x="0" y="1335405"/>
                  </a:cubicBezTo>
                  <a:close/>
                  <a:moveTo>
                    <a:pt x="266700" y="2159318"/>
                  </a:moveTo>
                  <a:cubicBezTo>
                    <a:pt x="266700" y="2176463"/>
                    <a:pt x="280988" y="2190750"/>
                    <a:pt x="298133" y="2190750"/>
                  </a:cubicBezTo>
                  <a:cubicBezTo>
                    <a:pt x="315278" y="2190750"/>
                    <a:pt x="329565" y="2176463"/>
                    <a:pt x="329565" y="2159318"/>
                  </a:cubicBezTo>
                  <a:cubicBezTo>
                    <a:pt x="329565" y="2142173"/>
                    <a:pt x="315278" y="2127885"/>
                    <a:pt x="298133" y="2127885"/>
                  </a:cubicBezTo>
                  <a:cubicBezTo>
                    <a:pt x="280988" y="2127885"/>
                    <a:pt x="266700" y="2142173"/>
                    <a:pt x="266700" y="2159318"/>
                  </a:cubicBezTo>
                  <a:close/>
                  <a:moveTo>
                    <a:pt x="262890" y="1918335"/>
                  </a:moveTo>
                  <a:cubicBezTo>
                    <a:pt x="262890" y="1937385"/>
                    <a:pt x="279083" y="1953578"/>
                    <a:pt x="298133" y="1953578"/>
                  </a:cubicBezTo>
                  <a:cubicBezTo>
                    <a:pt x="317183" y="1953578"/>
                    <a:pt x="333375" y="1937385"/>
                    <a:pt x="333375" y="1918335"/>
                  </a:cubicBezTo>
                  <a:cubicBezTo>
                    <a:pt x="333375" y="1899285"/>
                    <a:pt x="317183" y="1883093"/>
                    <a:pt x="298133" y="1883093"/>
                  </a:cubicBezTo>
                  <a:cubicBezTo>
                    <a:pt x="279083" y="1883093"/>
                    <a:pt x="262890" y="1899285"/>
                    <a:pt x="262890" y="1918335"/>
                  </a:cubicBezTo>
                  <a:close/>
                  <a:moveTo>
                    <a:pt x="236220" y="1289685"/>
                  </a:moveTo>
                  <a:cubicBezTo>
                    <a:pt x="236220" y="1323975"/>
                    <a:pt x="263843" y="1351598"/>
                    <a:pt x="298133" y="1351598"/>
                  </a:cubicBezTo>
                  <a:cubicBezTo>
                    <a:pt x="332423" y="1351598"/>
                    <a:pt x="360045" y="1323975"/>
                    <a:pt x="360045" y="1289685"/>
                  </a:cubicBezTo>
                  <a:cubicBezTo>
                    <a:pt x="360045" y="1255395"/>
                    <a:pt x="332423" y="1227773"/>
                    <a:pt x="298133" y="1227773"/>
                  </a:cubicBezTo>
                  <a:cubicBezTo>
                    <a:pt x="263843" y="1227773"/>
                    <a:pt x="236220" y="1255395"/>
                    <a:pt x="236220" y="1289685"/>
                  </a:cubicBezTo>
                  <a:close/>
                  <a:moveTo>
                    <a:pt x="236220" y="869633"/>
                  </a:moveTo>
                  <a:cubicBezTo>
                    <a:pt x="236220" y="903923"/>
                    <a:pt x="263843" y="931545"/>
                    <a:pt x="298133" y="931545"/>
                  </a:cubicBezTo>
                  <a:cubicBezTo>
                    <a:pt x="332423" y="931545"/>
                    <a:pt x="360045" y="903923"/>
                    <a:pt x="360045" y="869633"/>
                  </a:cubicBezTo>
                  <a:cubicBezTo>
                    <a:pt x="360045" y="835343"/>
                    <a:pt x="332423" y="807720"/>
                    <a:pt x="298133" y="807720"/>
                  </a:cubicBezTo>
                  <a:cubicBezTo>
                    <a:pt x="263843" y="807720"/>
                    <a:pt x="236220" y="836295"/>
                    <a:pt x="236220" y="869633"/>
                  </a:cubicBezTo>
                  <a:close/>
                  <a:moveTo>
                    <a:pt x="244793" y="660083"/>
                  </a:moveTo>
                  <a:cubicBezTo>
                    <a:pt x="244793" y="689610"/>
                    <a:pt x="268605" y="713423"/>
                    <a:pt x="298133" y="713423"/>
                  </a:cubicBezTo>
                  <a:cubicBezTo>
                    <a:pt x="327660" y="713423"/>
                    <a:pt x="351473" y="689610"/>
                    <a:pt x="351473" y="660083"/>
                  </a:cubicBezTo>
                  <a:cubicBezTo>
                    <a:pt x="351473" y="630555"/>
                    <a:pt x="327660" y="606743"/>
                    <a:pt x="298133" y="606743"/>
                  </a:cubicBezTo>
                  <a:cubicBezTo>
                    <a:pt x="268605" y="606743"/>
                    <a:pt x="244793" y="631508"/>
                    <a:pt x="244793" y="660083"/>
                  </a:cubicBezTo>
                  <a:close/>
                  <a:moveTo>
                    <a:pt x="253365" y="1708785"/>
                  </a:moveTo>
                  <a:cubicBezTo>
                    <a:pt x="253365" y="1733550"/>
                    <a:pt x="273368" y="1752600"/>
                    <a:pt x="297180" y="1752600"/>
                  </a:cubicBezTo>
                  <a:cubicBezTo>
                    <a:pt x="320993" y="1752600"/>
                    <a:pt x="340995" y="1732598"/>
                    <a:pt x="340995" y="1708785"/>
                  </a:cubicBezTo>
                  <a:cubicBezTo>
                    <a:pt x="340995" y="1684020"/>
                    <a:pt x="320993" y="1664970"/>
                    <a:pt x="297180" y="1664970"/>
                  </a:cubicBezTo>
                  <a:cubicBezTo>
                    <a:pt x="273368" y="1664970"/>
                    <a:pt x="253365" y="1684973"/>
                    <a:pt x="253365" y="1708785"/>
                  </a:cubicBezTo>
                  <a:close/>
                  <a:moveTo>
                    <a:pt x="244793" y="1499235"/>
                  </a:moveTo>
                  <a:cubicBezTo>
                    <a:pt x="244793" y="1528763"/>
                    <a:pt x="268605" y="1552575"/>
                    <a:pt x="298133" y="1552575"/>
                  </a:cubicBezTo>
                  <a:cubicBezTo>
                    <a:pt x="327660" y="1552575"/>
                    <a:pt x="351473" y="1528763"/>
                    <a:pt x="351473" y="1499235"/>
                  </a:cubicBezTo>
                  <a:cubicBezTo>
                    <a:pt x="351473" y="1469708"/>
                    <a:pt x="327660" y="1445895"/>
                    <a:pt x="298133" y="1445895"/>
                  </a:cubicBezTo>
                  <a:cubicBezTo>
                    <a:pt x="268605" y="1445895"/>
                    <a:pt x="244793" y="1469708"/>
                    <a:pt x="244793" y="1499235"/>
                  </a:cubicBezTo>
                  <a:close/>
                  <a:moveTo>
                    <a:pt x="262890" y="240983"/>
                  </a:moveTo>
                  <a:cubicBezTo>
                    <a:pt x="262890" y="260033"/>
                    <a:pt x="279083" y="276225"/>
                    <a:pt x="298133" y="276225"/>
                  </a:cubicBezTo>
                  <a:cubicBezTo>
                    <a:pt x="317183" y="276225"/>
                    <a:pt x="333375" y="260033"/>
                    <a:pt x="333375" y="240983"/>
                  </a:cubicBezTo>
                  <a:cubicBezTo>
                    <a:pt x="333375" y="221933"/>
                    <a:pt x="317183" y="205740"/>
                    <a:pt x="298133" y="205740"/>
                  </a:cubicBezTo>
                  <a:cubicBezTo>
                    <a:pt x="279083" y="205740"/>
                    <a:pt x="262890" y="220980"/>
                    <a:pt x="262890" y="240983"/>
                  </a:cubicBezTo>
                  <a:close/>
                  <a:moveTo>
                    <a:pt x="266700" y="31433"/>
                  </a:moveTo>
                  <a:cubicBezTo>
                    <a:pt x="266700" y="48578"/>
                    <a:pt x="280988" y="62865"/>
                    <a:pt x="298133" y="62865"/>
                  </a:cubicBezTo>
                  <a:cubicBezTo>
                    <a:pt x="315278" y="62865"/>
                    <a:pt x="329565" y="48578"/>
                    <a:pt x="329565" y="31433"/>
                  </a:cubicBezTo>
                  <a:cubicBezTo>
                    <a:pt x="329565" y="14288"/>
                    <a:pt x="315278" y="0"/>
                    <a:pt x="298133" y="0"/>
                  </a:cubicBezTo>
                  <a:cubicBezTo>
                    <a:pt x="280988" y="0"/>
                    <a:pt x="266700" y="14288"/>
                    <a:pt x="266700" y="31433"/>
                  </a:cubicBezTo>
                  <a:close/>
                  <a:moveTo>
                    <a:pt x="253365" y="450533"/>
                  </a:moveTo>
                  <a:cubicBezTo>
                    <a:pt x="253365" y="475298"/>
                    <a:pt x="273368" y="494348"/>
                    <a:pt x="297180" y="494348"/>
                  </a:cubicBezTo>
                  <a:cubicBezTo>
                    <a:pt x="320993" y="494348"/>
                    <a:pt x="340995" y="474345"/>
                    <a:pt x="340995" y="450533"/>
                  </a:cubicBezTo>
                  <a:cubicBezTo>
                    <a:pt x="340995" y="426720"/>
                    <a:pt x="320993" y="406718"/>
                    <a:pt x="297180" y="406718"/>
                  </a:cubicBezTo>
                  <a:cubicBezTo>
                    <a:pt x="273368" y="406718"/>
                    <a:pt x="253365" y="426720"/>
                    <a:pt x="253365" y="450533"/>
                  </a:cubicBezTo>
                  <a:close/>
                  <a:moveTo>
                    <a:pt x="220028" y="1080135"/>
                  </a:moveTo>
                  <a:cubicBezTo>
                    <a:pt x="220028" y="1122998"/>
                    <a:pt x="255270" y="1158240"/>
                    <a:pt x="298133" y="1158240"/>
                  </a:cubicBezTo>
                  <a:cubicBezTo>
                    <a:pt x="340995" y="1158240"/>
                    <a:pt x="376238" y="1122998"/>
                    <a:pt x="376238" y="1080135"/>
                  </a:cubicBezTo>
                  <a:cubicBezTo>
                    <a:pt x="376238" y="1037273"/>
                    <a:pt x="340995" y="1002030"/>
                    <a:pt x="298133" y="1002030"/>
                  </a:cubicBezTo>
                  <a:cubicBezTo>
                    <a:pt x="255270" y="1002030"/>
                    <a:pt x="220028" y="1036320"/>
                    <a:pt x="220028" y="1080135"/>
                  </a:cubicBezTo>
                  <a:close/>
                  <a:moveTo>
                    <a:pt x="473393" y="2159318"/>
                  </a:moveTo>
                  <a:cubicBezTo>
                    <a:pt x="473393" y="2184083"/>
                    <a:pt x="493395" y="2203133"/>
                    <a:pt x="517208" y="2203133"/>
                  </a:cubicBezTo>
                  <a:cubicBezTo>
                    <a:pt x="541973" y="2203133"/>
                    <a:pt x="561023" y="2183130"/>
                    <a:pt x="561023" y="2159318"/>
                  </a:cubicBezTo>
                  <a:cubicBezTo>
                    <a:pt x="561023" y="2135505"/>
                    <a:pt x="541020" y="2115503"/>
                    <a:pt x="517208" y="2115503"/>
                  </a:cubicBezTo>
                  <a:cubicBezTo>
                    <a:pt x="493395" y="2115503"/>
                    <a:pt x="473393" y="2135505"/>
                    <a:pt x="473393" y="2159318"/>
                  </a:cubicBezTo>
                  <a:close/>
                  <a:moveTo>
                    <a:pt x="464820" y="1946910"/>
                  </a:moveTo>
                  <a:cubicBezTo>
                    <a:pt x="464820" y="1976438"/>
                    <a:pt x="488633" y="2000250"/>
                    <a:pt x="518160" y="2000250"/>
                  </a:cubicBezTo>
                  <a:cubicBezTo>
                    <a:pt x="547688" y="2000250"/>
                    <a:pt x="571500" y="1976438"/>
                    <a:pt x="571500" y="1946910"/>
                  </a:cubicBezTo>
                  <a:cubicBezTo>
                    <a:pt x="571500" y="1917383"/>
                    <a:pt x="547688" y="1893570"/>
                    <a:pt x="518160" y="1893570"/>
                  </a:cubicBezTo>
                  <a:cubicBezTo>
                    <a:pt x="488633" y="1893570"/>
                    <a:pt x="464820" y="1917383"/>
                    <a:pt x="464820" y="1946910"/>
                  </a:cubicBezTo>
                  <a:close/>
                  <a:moveTo>
                    <a:pt x="456248" y="1309688"/>
                  </a:moveTo>
                  <a:cubicBezTo>
                    <a:pt x="456248" y="1343978"/>
                    <a:pt x="483870" y="1371600"/>
                    <a:pt x="518160" y="1371600"/>
                  </a:cubicBezTo>
                  <a:cubicBezTo>
                    <a:pt x="552450" y="1371600"/>
                    <a:pt x="580073" y="1343978"/>
                    <a:pt x="580073" y="1309688"/>
                  </a:cubicBezTo>
                  <a:cubicBezTo>
                    <a:pt x="580073" y="1275398"/>
                    <a:pt x="552450" y="1247775"/>
                    <a:pt x="518160" y="1247775"/>
                  </a:cubicBezTo>
                  <a:cubicBezTo>
                    <a:pt x="483870" y="1247775"/>
                    <a:pt x="456248" y="1275398"/>
                    <a:pt x="456248" y="1309688"/>
                  </a:cubicBezTo>
                  <a:close/>
                  <a:moveTo>
                    <a:pt x="473393" y="883920"/>
                  </a:moveTo>
                  <a:cubicBezTo>
                    <a:pt x="473393" y="908685"/>
                    <a:pt x="493395" y="927735"/>
                    <a:pt x="517208" y="927735"/>
                  </a:cubicBezTo>
                  <a:cubicBezTo>
                    <a:pt x="541973" y="927735"/>
                    <a:pt x="561023" y="907733"/>
                    <a:pt x="561023" y="883920"/>
                  </a:cubicBezTo>
                  <a:cubicBezTo>
                    <a:pt x="561023" y="859155"/>
                    <a:pt x="541020" y="840105"/>
                    <a:pt x="517208" y="840105"/>
                  </a:cubicBezTo>
                  <a:cubicBezTo>
                    <a:pt x="493395" y="840105"/>
                    <a:pt x="473393" y="859155"/>
                    <a:pt x="473393" y="883920"/>
                  </a:cubicBezTo>
                  <a:close/>
                  <a:moveTo>
                    <a:pt x="481965" y="671513"/>
                  </a:moveTo>
                  <a:cubicBezTo>
                    <a:pt x="481965" y="690563"/>
                    <a:pt x="498158" y="706755"/>
                    <a:pt x="517208" y="706755"/>
                  </a:cubicBezTo>
                  <a:cubicBezTo>
                    <a:pt x="536258" y="706755"/>
                    <a:pt x="552450" y="690563"/>
                    <a:pt x="552450" y="671513"/>
                  </a:cubicBezTo>
                  <a:cubicBezTo>
                    <a:pt x="552450" y="652463"/>
                    <a:pt x="536258" y="636270"/>
                    <a:pt x="517208" y="636270"/>
                  </a:cubicBezTo>
                  <a:cubicBezTo>
                    <a:pt x="498158" y="636270"/>
                    <a:pt x="481965" y="651510"/>
                    <a:pt x="481965" y="671513"/>
                  </a:cubicBezTo>
                  <a:close/>
                  <a:moveTo>
                    <a:pt x="456248" y="1734503"/>
                  </a:moveTo>
                  <a:cubicBezTo>
                    <a:pt x="456248" y="1768793"/>
                    <a:pt x="483870" y="1796415"/>
                    <a:pt x="518160" y="1796415"/>
                  </a:cubicBezTo>
                  <a:cubicBezTo>
                    <a:pt x="552450" y="1796415"/>
                    <a:pt x="580073" y="1768793"/>
                    <a:pt x="580073" y="1734503"/>
                  </a:cubicBezTo>
                  <a:cubicBezTo>
                    <a:pt x="580073" y="1700213"/>
                    <a:pt x="552450" y="1672590"/>
                    <a:pt x="518160" y="1672590"/>
                  </a:cubicBezTo>
                  <a:cubicBezTo>
                    <a:pt x="483870" y="1672590"/>
                    <a:pt x="456248" y="1700213"/>
                    <a:pt x="456248" y="1734503"/>
                  </a:cubicBezTo>
                  <a:close/>
                  <a:moveTo>
                    <a:pt x="464820" y="1096328"/>
                  </a:moveTo>
                  <a:cubicBezTo>
                    <a:pt x="464820" y="1125855"/>
                    <a:pt x="488633" y="1149668"/>
                    <a:pt x="518160" y="1149668"/>
                  </a:cubicBezTo>
                  <a:cubicBezTo>
                    <a:pt x="547688" y="1149668"/>
                    <a:pt x="571500" y="1125855"/>
                    <a:pt x="571500" y="1096328"/>
                  </a:cubicBezTo>
                  <a:cubicBezTo>
                    <a:pt x="571500" y="1066800"/>
                    <a:pt x="547688" y="1042988"/>
                    <a:pt x="518160" y="1042988"/>
                  </a:cubicBezTo>
                  <a:cubicBezTo>
                    <a:pt x="488633" y="1042988"/>
                    <a:pt x="464820" y="1067753"/>
                    <a:pt x="464820" y="1096328"/>
                  </a:cubicBezTo>
                  <a:close/>
                  <a:moveTo>
                    <a:pt x="486728" y="246698"/>
                  </a:moveTo>
                  <a:cubicBezTo>
                    <a:pt x="486728" y="263843"/>
                    <a:pt x="501015" y="278130"/>
                    <a:pt x="518160" y="278130"/>
                  </a:cubicBezTo>
                  <a:cubicBezTo>
                    <a:pt x="535305" y="278130"/>
                    <a:pt x="549593" y="263843"/>
                    <a:pt x="549593" y="246698"/>
                  </a:cubicBezTo>
                  <a:cubicBezTo>
                    <a:pt x="549593" y="229553"/>
                    <a:pt x="535305" y="215265"/>
                    <a:pt x="518160" y="215265"/>
                  </a:cubicBezTo>
                  <a:cubicBezTo>
                    <a:pt x="500063" y="215265"/>
                    <a:pt x="486728" y="228600"/>
                    <a:pt x="486728" y="246698"/>
                  </a:cubicBezTo>
                  <a:close/>
                  <a:moveTo>
                    <a:pt x="486728" y="33338"/>
                  </a:moveTo>
                  <a:cubicBezTo>
                    <a:pt x="486728" y="50483"/>
                    <a:pt x="501015" y="64770"/>
                    <a:pt x="518160" y="64770"/>
                  </a:cubicBezTo>
                  <a:cubicBezTo>
                    <a:pt x="535305" y="64770"/>
                    <a:pt x="549593" y="50483"/>
                    <a:pt x="549593" y="33338"/>
                  </a:cubicBezTo>
                  <a:cubicBezTo>
                    <a:pt x="549593" y="16193"/>
                    <a:pt x="535305" y="1905"/>
                    <a:pt x="518160" y="1905"/>
                  </a:cubicBezTo>
                  <a:cubicBezTo>
                    <a:pt x="500063" y="2858"/>
                    <a:pt x="486728" y="16193"/>
                    <a:pt x="486728" y="33338"/>
                  </a:cubicBezTo>
                  <a:close/>
                  <a:moveTo>
                    <a:pt x="486728" y="459105"/>
                  </a:moveTo>
                  <a:cubicBezTo>
                    <a:pt x="486728" y="476250"/>
                    <a:pt x="501015" y="490538"/>
                    <a:pt x="518160" y="490538"/>
                  </a:cubicBezTo>
                  <a:cubicBezTo>
                    <a:pt x="535305" y="490538"/>
                    <a:pt x="549593" y="476250"/>
                    <a:pt x="549593" y="459105"/>
                  </a:cubicBezTo>
                  <a:cubicBezTo>
                    <a:pt x="549593" y="441960"/>
                    <a:pt x="535305" y="427673"/>
                    <a:pt x="518160" y="427673"/>
                  </a:cubicBezTo>
                  <a:cubicBezTo>
                    <a:pt x="500063" y="427673"/>
                    <a:pt x="486728" y="441960"/>
                    <a:pt x="486728" y="459105"/>
                  </a:cubicBezTo>
                  <a:close/>
                  <a:moveTo>
                    <a:pt x="440055" y="1522095"/>
                  </a:moveTo>
                  <a:cubicBezTo>
                    <a:pt x="440055" y="1564958"/>
                    <a:pt x="475298" y="1600200"/>
                    <a:pt x="518160" y="1600200"/>
                  </a:cubicBezTo>
                  <a:cubicBezTo>
                    <a:pt x="561023" y="1600200"/>
                    <a:pt x="596265" y="1564958"/>
                    <a:pt x="596265" y="1522095"/>
                  </a:cubicBezTo>
                  <a:cubicBezTo>
                    <a:pt x="596265" y="1479233"/>
                    <a:pt x="561023" y="1443990"/>
                    <a:pt x="518160" y="1443990"/>
                  </a:cubicBezTo>
                  <a:cubicBezTo>
                    <a:pt x="475298" y="1443990"/>
                    <a:pt x="440055" y="1478280"/>
                    <a:pt x="440055" y="1522095"/>
                  </a:cubicBezTo>
                  <a:close/>
                  <a:moveTo>
                    <a:pt x="659130" y="1128713"/>
                  </a:moveTo>
                  <a:cubicBezTo>
                    <a:pt x="659130" y="1171575"/>
                    <a:pt x="694373" y="1206818"/>
                    <a:pt x="737235" y="1206818"/>
                  </a:cubicBezTo>
                  <a:cubicBezTo>
                    <a:pt x="780098" y="1206818"/>
                    <a:pt x="815340" y="1171575"/>
                    <a:pt x="815340" y="1128713"/>
                  </a:cubicBezTo>
                  <a:cubicBezTo>
                    <a:pt x="815340" y="1085850"/>
                    <a:pt x="780098" y="1050608"/>
                    <a:pt x="737235" y="1050608"/>
                  </a:cubicBezTo>
                  <a:cubicBezTo>
                    <a:pt x="694373" y="1050608"/>
                    <a:pt x="659130" y="1085850"/>
                    <a:pt x="659130" y="1128713"/>
                  </a:cubicBezTo>
                  <a:close/>
                  <a:moveTo>
                    <a:pt x="701993" y="2162175"/>
                  </a:moveTo>
                  <a:cubicBezTo>
                    <a:pt x="703898" y="2181225"/>
                    <a:pt x="721043" y="2196465"/>
                    <a:pt x="740093" y="2194560"/>
                  </a:cubicBezTo>
                  <a:cubicBezTo>
                    <a:pt x="759143" y="2192655"/>
                    <a:pt x="774383" y="2175510"/>
                    <a:pt x="772478" y="2156460"/>
                  </a:cubicBezTo>
                  <a:cubicBezTo>
                    <a:pt x="770573" y="2137410"/>
                    <a:pt x="753428" y="2122170"/>
                    <a:pt x="734378" y="2124075"/>
                  </a:cubicBezTo>
                  <a:cubicBezTo>
                    <a:pt x="715328" y="2125980"/>
                    <a:pt x="701040" y="2143125"/>
                    <a:pt x="701993" y="2162175"/>
                  </a:cubicBezTo>
                  <a:close/>
                  <a:moveTo>
                    <a:pt x="693420" y="1953578"/>
                  </a:moveTo>
                  <a:cubicBezTo>
                    <a:pt x="693420" y="1978343"/>
                    <a:pt x="713423" y="1997393"/>
                    <a:pt x="737235" y="1997393"/>
                  </a:cubicBezTo>
                  <a:cubicBezTo>
                    <a:pt x="761048" y="1997393"/>
                    <a:pt x="781050" y="1977390"/>
                    <a:pt x="781050" y="1953578"/>
                  </a:cubicBezTo>
                  <a:cubicBezTo>
                    <a:pt x="781050" y="1929765"/>
                    <a:pt x="761048" y="1909763"/>
                    <a:pt x="737235" y="1909763"/>
                  </a:cubicBezTo>
                  <a:cubicBezTo>
                    <a:pt x="713423" y="1909763"/>
                    <a:pt x="693420" y="1928813"/>
                    <a:pt x="693420" y="1953578"/>
                  </a:cubicBezTo>
                  <a:close/>
                  <a:moveTo>
                    <a:pt x="675323" y="1541145"/>
                  </a:moveTo>
                  <a:cubicBezTo>
                    <a:pt x="675323" y="1575435"/>
                    <a:pt x="702945" y="1603058"/>
                    <a:pt x="737235" y="1603058"/>
                  </a:cubicBezTo>
                  <a:cubicBezTo>
                    <a:pt x="771525" y="1603058"/>
                    <a:pt x="799148" y="1575435"/>
                    <a:pt x="799148" y="1541145"/>
                  </a:cubicBezTo>
                  <a:cubicBezTo>
                    <a:pt x="799148" y="1506855"/>
                    <a:pt x="771525" y="1479233"/>
                    <a:pt x="737235" y="1479233"/>
                  </a:cubicBezTo>
                  <a:cubicBezTo>
                    <a:pt x="702945" y="1479233"/>
                    <a:pt x="675323" y="1506855"/>
                    <a:pt x="675323" y="1541145"/>
                  </a:cubicBezTo>
                  <a:close/>
                  <a:moveTo>
                    <a:pt x="684848" y="716280"/>
                  </a:moveTo>
                  <a:cubicBezTo>
                    <a:pt x="684848" y="745808"/>
                    <a:pt x="708660" y="769620"/>
                    <a:pt x="738188" y="769620"/>
                  </a:cubicBezTo>
                  <a:cubicBezTo>
                    <a:pt x="767715" y="769620"/>
                    <a:pt x="791528" y="745808"/>
                    <a:pt x="791528" y="716280"/>
                  </a:cubicBezTo>
                  <a:cubicBezTo>
                    <a:pt x="791528" y="686753"/>
                    <a:pt x="767715" y="662940"/>
                    <a:pt x="738188" y="662940"/>
                  </a:cubicBezTo>
                  <a:cubicBezTo>
                    <a:pt x="708660" y="663893"/>
                    <a:pt x="684848" y="687705"/>
                    <a:pt x="684848" y="716280"/>
                  </a:cubicBezTo>
                  <a:close/>
                  <a:moveTo>
                    <a:pt x="693420" y="510540"/>
                  </a:moveTo>
                  <a:cubicBezTo>
                    <a:pt x="693420" y="535305"/>
                    <a:pt x="713423" y="554355"/>
                    <a:pt x="737235" y="554355"/>
                  </a:cubicBezTo>
                  <a:cubicBezTo>
                    <a:pt x="761048" y="554355"/>
                    <a:pt x="781050" y="534353"/>
                    <a:pt x="781050" y="510540"/>
                  </a:cubicBezTo>
                  <a:cubicBezTo>
                    <a:pt x="781050" y="485775"/>
                    <a:pt x="761048" y="466725"/>
                    <a:pt x="737235" y="466725"/>
                  </a:cubicBezTo>
                  <a:cubicBezTo>
                    <a:pt x="713423" y="466725"/>
                    <a:pt x="693420" y="485775"/>
                    <a:pt x="693420" y="510540"/>
                  </a:cubicBezTo>
                  <a:close/>
                  <a:moveTo>
                    <a:pt x="684848" y="1746885"/>
                  </a:moveTo>
                  <a:cubicBezTo>
                    <a:pt x="684848" y="1776413"/>
                    <a:pt x="708660" y="1800225"/>
                    <a:pt x="738188" y="1800225"/>
                  </a:cubicBezTo>
                  <a:cubicBezTo>
                    <a:pt x="767715" y="1800225"/>
                    <a:pt x="791528" y="1776413"/>
                    <a:pt x="791528" y="1746885"/>
                  </a:cubicBezTo>
                  <a:cubicBezTo>
                    <a:pt x="791528" y="1717358"/>
                    <a:pt x="767715" y="1693545"/>
                    <a:pt x="738188" y="1693545"/>
                  </a:cubicBezTo>
                  <a:cubicBezTo>
                    <a:pt x="708660" y="1694498"/>
                    <a:pt x="684848" y="1718310"/>
                    <a:pt x="684848" y="1746885"/>
                  </a:cubicBezTo>
                  <a:close/>
                  <a:moveTo>
                    <a:pt x="675323" y="922973"/>
                  </a:moveTo>
                  <a:cubicBezTo>
                    <a:pt x="675323" y="957263"/>
                    <a:pt x="702945" y="984885"/>
                    <a:pt x="737235" y="984885"/>
                  </a:cubicBezTo>
                  <a:cubicBezTo>
                    <a:pt x="771525" y="984885"/>
                    <a:pt x="799148" y="957263"/>
                    <a:pt x="799148" y="922973"/>
                  </a:cubicBezTo>
                  <a:cubicBezTo>
                    <a:pt x="799148" y="888683"/>
                    <a:pt x="771525" y="861060"/>
                    <a:pt x="737235" y="861060"/>
                  </a:cubicBezTo>
                  <a:cubicBezTo>
                    <a:pt x="702945" y="861060"/>
                    <a:pt x="675323" y="888683"/>
                    <a:pt x="675323" y="922973"/>
                  </a:cubicBezTo>
                  <a:close/>
                  <a:moveTo>
                    <a:pt x="706755" y="98108"/>
                  </a:moveTo>
                  <a:cubicBezTo>
                    <a:pt x="706755" y="115253"/>
                    <a:pt x="721043" y="129540"/>
                    <a:pt x="738188" y="129540"/>
                  </a:cubicBezTo>
                  <a:cubicBezTo>
                    <a:pt x="755333" y="129540"/>
                    <a:pt x="769620" y="115253"/>
                    <a:pt x="769620" y="98108"/>
                  </a:cubicBezTo>
                  <a:cubicBezTo>
                    <a:pt x="769620" y="80963"/>
                    <a:pt x="754380" y="66675"/>
                    <a:pt x="737235" y="66675"/>
                  </a:cubicBezTo>
                  <a:cubicBezTo>
                    <a:pt x="720090" y="66675"/>
                    <a:pt x="706755" y="80963"/>
                    <a:pt x="706755" y="98108"/>
                  </a:cubicBezTo>
                  <a:close/>
                  <a:moveTo>
                    <a:pt x="701993" y="303848"/>
                  </a:moveTo>
                  <a:cubicBezTo>
                    <a:pt x="701993" y="322898"/>
                    <a:pt x="718185" y="339090"/>
                    <a:pt x="737235" y="339090"/>
                  </a:cubicBezTo>
                  <a:cubicBezTo>
                    <a:pt x="756285" y="339090"/>
                    <a:pt x="772478" y="322898"/>
                    <a:pt x="772478" y="303848"/>
                  </a:cubicBezTo>
                  <a:cubicBezTo>
                    <a:pt x="772478" y="284798"/>
                    <a:pt x="756285" y="268605"/>
                    <a:pt x="737235" y="268605"/>
                  </a:cubicBezTo>
                  <a:cubicBezTo>
                    <a:pt x="718185" y="268605"/>
                    <a:pt x="701993" y="284798"/>
                    <a:pt x="701993" y="303848"/>
                  </a:cubicBezTo>
                  <a:close/>
                  <a:moveTo>
                    <a:pt x="659130" y="1335405"/>
                  </a:moveTo>
                  <a:cubicBezTo>
                    <a:pt x="659130" y="1378268"/>
                    <a:pt x="694373" y="1413510"/>
                    <a:pt x="737235" y="1413510"/>
                  </a:cubicBezTo>
                  <a:cubicBezTo>
                    <a:pt x="780098" y="1413510"/>
                    <a:pt x="815340" y="1378268"/>
                    <a:pt x="815340" y="1335405"/>
                  </a:cubicBezTo>
                  <a:cubicBezTo>
                    <a:pt x="815340" y="1292543"/>
                    <a:pt x="781050" y="1257300"/>
                    <a:pt x="737235" y="1257300"/>
                  </a:cubicBezTo>
                  <a:cubicBezTo>
                    <a:pt x="693420" y="1257300"/>
                    <a:pt x="659130" y="1291590"/>
                    <a:pt x="659130" y="1335405"/>
                  </a:cubicBezTo>
                  <a:close/>
                  <a:moveTo>
                    <a:pt x="925830" y="2159318"/>
                  </a:moveTo>
                  <a:cubicBezTo>
                    <a:pt x="925830" y="2176463"/>
                    <a:pt x="940118" y="2190750"/>
                    <a:pt x="957263" y="2190750"/>
                  </a:cubicBezTo>
                  <a:cubicBezTo>
                    <a:pt x="974408" y="2190750"/>
                    <a:pt x="988695" y="2176463"/>
                    <a:pt x="988695" y="2159318"/>
                  </a:cubicBezTo>
                  <a:cubicBezTo>
                    <a:pt x="988695" y="2142173"/>
                    <a:pt x="974408" y="2127885"/>
                    <a:pt x="957263" y="2127885"/>
                  </a:cubicBezTo>
                  <a:cubicBezTo>
                    <a:pt x="940118" y="2127885"/>
                    <a:pt x="925830" y="2142173"/>
                    <a:pt x="925830" y="2159318"/>
                  </a:cubicBezTo>
                  <a:close/>
                  <a:moveTo>
                    <a:pt x="922020" y="1918335"/>
                  </a:moveTo>
                  <a:cubicBezTo>
                    <a:pt x="922020" y="1937385"/>
                    <a:pt x="938213" y="1953578"/>
                    <a:pt x="957263" y="1953578"/>
                  </a:cubicBezTo>
                  <a:cubicBezTo>
                    <a:pt x="976313" y="1953578"/>
                    <a:pt x="992505" y="1937385"/>
                    <a:pt x="992505" y="1918335"/>
                  </a:cubicBezTo>
                  <a:cubicBezTo>
                    <a:pt x="992505" y="1899285"/>
                    <a:pt x="976313" y="1883093"/>
                    <a:pt x="957263" y="1883093"/>
                  </a:cubicBezTo>
                  <a:cubicBezTo>
                    <a:pt x="938213" y="1883093"/>
                    <a:pt x="922020" y="1899285"/>
                    <a:pt x="922020" y="1918335"/>
                  </a:cubicBezTo>
                  <a:close/>
                  <a:moveTo>
                    <a:pt x="895350" y="1289685"/>
                  </a:moveTo>
                  <a:cubicBezTo>
                    <a:pt x="895350" y="1323975"/>
                    <a:pt x="922973" y="1351598"/>
                    <a:pt x="957263" y="1351598"/>
                  </a:cubicBezTo>
                  <a:cubicBezTo>
                    <a:pt x="991553" y="1351598"/>
                    <a:pt x="1019175" y="1323975"/>
                    <a:pt x="1019175" y="1289685"/>
                  </a:cubicBezTo>
                  <a:cubicBezTo>
                    <a:pt x="1019175" y="1255395"/>
                    <a:pt x="991553" y="1227773"/>
                    <a:pt x="957263" y="1227773"/>
                  </a:cubicBezTo>
                  <a:cubicBezTo>
                    <a:pt x="922973" y="1227773"/>
                    <a:pt x="895350" y="1255395"/>
                    <a:pt x="895350" y="1289685"/>
                  </a:cubicBezTo>
                  <a:close/>
                  <a:moveTo>
                    <a:pt x="895350" y="869633"/>
                  </a:moveTo>
                  <a:cubicBezTo>
                    <a:pt x="895350" y="903923"/>
                    <a:pt x="922973" y="931545"/>
                    <a:pt x="957263" y="931545"/>
                  </a:cubicBezTo>
                  <a:cubicBezTo>
                    <a:pt x="991553" y="931545"/>
                    <a:pt x="1019175" y="903923"/>
                    <a:pt x="1019175" y="869633"/>
                  </a:cubicBezTo>
                  <a:cubicBezTo>
                    <a:pt x="1019175" y="835343"/>
                    <a:pt x="991553" y="807720"/>
                    <a:pt x="957263" y="807720"/>
                  </a:cubicBezTo>
                  <a:cubicBezTo>
                    <a:pt x="922973" y="808673"/>
                    <a:pt x="895350" y="836295"/>
                    <a:pt x="895350" y="869633"/>
                  </a:cubicBezTo>
                  <a:close/>
                  <a:moveTo>
                    <a:pt x="903923" y="660083"/>
                  </a:moveTo>
                  <a:cubicBezTo>
                    <a:pt x="903923" y="689610"/>
                    <a:pt x="927735" y="713423"/>
                    <a:pt x="957263" y="713423"/>
                  </a:cubicBezTo>
                  <a:cubicBezTo>
                    <a:pt x="986790" y="713423"/>
                    <a:pt x="1010603" y="689610"/>
                    <a:pt x="1010603" y="660083"/>
                  </a:cubicBezTo>
                  <a:cubicBezTo>
                    <a:pt x="1010603" y="630555"/>
                    <a:pt x="986790" y="606743"/>
                    <a:pt x="957263" y="606743"/>
                  </a:cubicBezTo>
                  <a:cubicBezTo>
                    <a:pt x="927735" y="607695"/>
                    <a:pt x="903923" y="631508"/>
                    <a:pt x="903923" y="660083"/>
                  </a:cubicBezTo>
                  <a:close/>
                  <a:moveTo>
                    <a:pt x="913448" y="1708785"/>
                  </a:moveTo>
                  <a:cubicBezTo>
                    <a:pt x="913448" y="1733550"/>
                    <a:pt x="933450" y="1752600"/>
                    <a:pt x="957263" y="1752600"/>
                  </a:cubicBezTo>
                  <a:cubicBezTo>
                    <a:pt x="982028" y="1752600"/>
                    <a:pt x="1001078" y="1732598"/>
                    <a:pt x="1001078" y="1708785"/>
                  </a:cubicBezTo>
                  <a:cubicBezTo>
                    <a:pt x="1001078" y="1684020"/>
                    <a:pt x="981075" y="1664970"/>
                    <a:pt x="957263" y="1664970"/>
                  </a:cubicBezTo>
                  <a:cubicBezTo>
                    <a:pt x="933450" y="1664970"/>
                    <a:pt x="913448" y="1684973"/>
                    <a:pt x="913448" y="1708785"/>
                  </a:cubicBezTo>
                  <a:close/>
                  <a:moveTo>
                    <a:pt x="903923" y="1499235"/>
                  </a:moveTo>
                  <a:cubicBezTo>
                    <a:pt x="903923" y="1528763"/>
                    <a:pt x="927735" y="1552575"/>
                    <a:pt x="957263" y="1552575"/>
                  </a:cubicBezTo>
                  <a:cubicBezTo>
                    <a:pt x="986790" y="1552575"/>
                    <a:pt x="1010603" y="1528763"/>
                    <a:pt x="1010603" y="1499235"/>
                  </a:cubicBezTo>
                  <a:cubicBezTo>
                    <a:pt x="1010603" y="1469708"/>
                    <a:pt x="986790" y="1445895"/>
                    <a:pt x="957263" y="1445895"/>
                  </a:cubicBezTo>
                  <a:cubicBezTo>
                    <a:pt x="927735" y="1445895"/>
                    <a:pt x="903923" y="1469708"/>
                    <a:pt x="903923" y="1499235"/>
                  </a:cubicBezTo>
                  <a:close/>
                  <a:moveTo>
                    <a:pt x="922020" y="240983"/>
                  </a:moveTo>
                  <a:cubicBezTo>
                    <a:pt x="922020" y="260033"/>
                    <a:pt x="938213" y="276225"/>
                    <a:pt x="957263" y="276225"/>
                  </a:cubicBezTo>
                  <a:cubicBezTo>
                    <a:pt x="976313" y="276225"/>
                    <a:pt x="992505" y="260033"/>
                    <a:pt x="992505" y="240983"/>
                  </a:cubicBezTo>
                  <a:cubicBezTo>
                    <a:pt x="992505" y="221933"/>
                    <a:pt x="976313" y="205740"/>
                    <a:pt x="957263" y="205740"/>
                  </a:cubicBezTo>
                  <a:cubicBezTo>
                    <a:pt x="938213" y="205740"/>
                    <a:pt x="922020" y="220980"/>
                    <a:pt x="922020" y="240983"/>
                  </a:cubicBezTo>
                  <a:close/>
                  <a:moveTo>
                    <a:pt x="925830" y="31433"/>
                  </a:moveTo>
                  <a:cubicBezTo>
                    <a:pt x="925830" y="48578"/>
                    <a:pt x="940118" y="62865"/>
                    <a:pt x="957263" y="62865"/>
                  </a:cubicBezTo>
                  <a:cubicBezTo>
                    <a:pt x="974408" y="62865"/>
                    <a:pt x="988695" y="48578"/>
                    <a:pt x="988695" y="31433"/>
                  </a:cubicBezTo>
                  <a:cubicBezTo>
                    <a:pt x="988695" y="14288"/>
                    <a:pt x="974408" y="0"/>
                    <a:pt x="957263" y="0"/>
                  </a:cubicBezTo>
                  <a:cubicBezTo>
                    <a:pt x="940118" y="0"/>
                    <a:pt x="925830" y="14288"/>
                    <a:pt x="925830" y="31433"/>
                  </a:cubicBezTo>
                  <a:close/>
                  <a:moveTo>
                    <a:pt x="913448" y="450533"/>
                  </a:moveTo>
                  <a:cubicBezTo>
                    <a:pt x="913448" y="475298"/>
                    <a:pt x="933450" y="494348"/>
                    <a:pt x="957263" y="494348"/>
                  </a:cubicBezTo>
                  <a:cubicBezTo>
                    <a:pt x="982028" y="494348"/>
                    <a:pt x="1001078" y="474345"/>
                    <a:pt x="1001078" y="450533"/>
                  </a:cubicBezTo>
                  <a:cubicBezTo>
                    <a:pt x="1001078" y="426720"/>
                    <a:pt x="981075" y="406718"/>
                    <a:pt x="957263" y="406718"/>
                  </a:cubicBezTo>
                  <a:cubicBezTo>
                    <a:pt x="933450" y="406718"/>
                    <a:pt x="913448" y="426720"/>
                    <a:pt x="913448" y="450533"/>
                  </a:cubicBezTo>
                  <a:close/>
                  <a:moveTo>
                    <a:pt x="879158" y="1080135"/>
                  </a:moveTo>
                  <a:cubicBezTo>
                    <a:pt x="879158" y="1122998"/>
                    <a:pt x="914400" y="1158240"/>
                    <a:pt x="957263" y="1158240"/>
                  </a:cubicBezTo>
                  <a:cubicBezTo>
                    <a:pt x="1000125" y="1158240"/>
                    <a:pt x="1035368" y="1122998"/>
                    <a:pt x="1035368" y="1080135"/>
                  </a:cubicBezTo>
                  <a:cubicBezTo>
                    <a:pt x="1035368" y="1037273"/>
                    <a:pt x="1000125" y="1002030"/>
                    <a:pt x="957263" y="1002030"/>
                  </a:cubicBezTo>
                  <a:cubicBezTo>
                    <a:pt x="914400" y="1002030"/>
                    <a:pt x="879158" y="1036320"/>
                    <a:pt x="879158" y="1080135"/>
                  </a:cubicBezTo>
                  <a:close/>
                  <a:moveTo>
                    <a:pt x="244793" y="6789420"/>
                  </a:moveTo>
                  <a:cubicBezTo>
                    <a:pt x="244793" y="6818948"/>
                    <a:pt x="268605" y="6842760"/>
                    <a:pt x="298133" y="6842760"/>
                  </a:cubicBezTo>
                  <a:cubicBezTo>
                    <a:pt x="327660" y="6842760"/>
                    <a:pt x="351473" y="6818948"/>
                    <a:pt x="351473" y="6789420"/>
                  </a:cubicBezTo>
                  <a:cubicBezTo>
                    <a:pt x="351473" y="6759893"/>
                    <a:pt x="327660" y="6736080"/>
                    <a:pt x="298133" y="6736080"/>
                  </a:cubicBezTo>
                  <a:cubicBezTo>
                    <a:pt x="268605" y="6736080"/>
                    <a:pt x="244793" y="6759893"/>
                    <a:pt x="244793" y="6789420"/>
                  </a:cubicBezTo>
                  <a:close/>
                  <a:moveTo>
                    <a:pt x="236220" y="6548438"/>
                  </a:moveTo>
                  <a:cubicBezTo>
                    <a:pt x="236220" y="6582728"/>
                    <a:pt x="263843" y="6610350"/>
                    <a:pt x="298133" y="6610350"/>
                  </a:cubicBezTo>
                  <a:cubicBezTo>
                    <a:pt x="332423" y="6610350"/>
                    <a:pt x="360045" y="6582728"/>
                    <a:pt x="360045" y="6548438"/>
                  </a:cubicBezTo>
                  <a:cubicBezTo>
                    <a:pt x="360045" y="6514148"/>
                    <a:pt x="332423" y="6486525"/>
                    <a:pt x="298133" y="6486525"/>
                  </a:cubicBezTo>
                  <a:cubicBezTo>
                    <a:pt x="263843" y="6486525"/>
                    <a:pt x="236220" y="6514148"/>
                    <a:pt x="236220" y="6548438"/>
                  </a:cubicBezTo>
                  <a:close/>
                  <a:moveTo>
                    <a:pt x="244793" y="5918835"/>
                  </a:moveTo>
                  <a:cubicBezTo>
                    <a:pt x="244793" y="5948363"/>
                    <a:pt x="268605" y="5972175"/>
                    <a:pt x="298133" y="5972175"/>
                  </a:cubicBezTo>
                  <a:cubicBezTo>
                    <a:pt x="327660" y="5972175"/>
                    <a:pt x="351473" y="5948363"/>
                    <a:pt x="351473" y="5918835"/>
                  </a:cubicBezTo>
                  <a:cubicBezTo>
                    <a:pt x="351473" y="5889308"/>
                    <a:pt x="327660" y="5865495"/>
                    <a:pt x="298133" y="5865495"/>
                  </a:cubicBezTo>
                  <a:cubicBezTo>
                    <a:pt x="268605" y="5865495"/>
                    <a:pt x="244793" y="5890260"/>
                    <a:pt x="244793" y="5918835"/>
                  </a:cubicBezTo>
                  <a:close/>
                  <a:moveTo>
                    <a:pt x="262890" y="5499735"/>
                  </a:moveTo>
                  <a:cubicBezTo>
                    <a:pt x="262890" y="5518785"/>
                    <a:pt x="279083" y="5534978"/>
                    <a:pt x="298133" y="5534978"/>
                  </a:cubicBezTo>
                  <a:cubicBezTo>
                    <a:pt x="317183" y="5534978"/>
                    <a:pt x="333375" y="5518785"/>
                    <a:pt x="333375" y="5499735"/>
                  </a:cubicBezTo>
                  <a:cubicBezTo>
                    <a:pt x="333375" y="5480685"/>
                    <a:pt x="317183" y="5464493"/>
                    <a:pt x="298133" y="5464493"/>
                  </a:cubicBezTo>
                  <a:cubicBezTo>
                    <a:pt x="279083" y="5464493"/>
                    <a:pt x="262890" y="5480685"/>
                    <a:pt x="262890" y="5499735"/>
                  </a:cubicBezTo>
                  <a:close/>
                  <a:moveTo>
                    <a:pt x="266700" y="5290185"/>
                  </a:moveTo>
                  <a:cubicBezTo>
                    <a:pt x="266700" y="5307330"/>
                    <a:pt x="280988" y="5321618"/>
                    <a:pt x="298133" y="5321618"/>
                  </a:cubicBezTo>
                  <a:cubicBezTo>
                    <a:pt x="315278" y="5321618"/>
                    <a:pt x="329565" y="5307330"/>
                    <a:pt x="329565" y="5290185"/>
                  </a:cubicBezTo>
                  <a:cubicBezTo>
                    <a:pt x="329565" y="5273040"/>
                    <a:pt x="315278" y="5258753"/>
                    <a:pt x="298133" y="5258753"/>
                  </a:cubicBezTo>
                  <a:cubicBezTo>
                    <a:pt x="280988" y="5258753"/>
                    <a:pt x="266700" y="5273040"/>
                    <a:pt x="266700" y="5290185"/>
                  </a:cubicBezTo>
                  <a:close/>
                  <a:moveTo>
                    <a:pt x="236220" y="6129338"/>
                  </a:moveTo>
                  <a:cubicBezTo>
                    <a:pt x="236220" y="6163628"/>
                    <a:pt x="263843" y="6191250"/>
                    <a:pt x="298133" y="6191250"/>
                  </a:cubicBezTo>
                  <a:cubicBezTo>
                    <a:pt x="332423" y="6191250"/>
                    <a:pt x="360045" y="6163628"/>
                    <a:pt x="360045" y="6129338"/>
                  </a:cubicBezTo>
                  <a:cubicBezTo>
                    <a:pt x="360045" y="6095048"/>
                    <a:pt x="332423" y="6067425"/>
                    <a:pt x="298133" y="6067425"/>
                  </a:cubicBezTo>
                  <a:cubicBezTo>
                    <a:pt x="263843" y="6067425"/>
                    <a:pt x="236220" y="6095048"/>
                    <a:pt x="236220" y="6129338"/>
                  </a:cubicBezTo>
                  <a:close/>
                  <a:moveTo>
                    <a:pt x="253365" y="5709285"/>
                  </a:moveTo>
                  <a:cubicBezTo>
                    <a:pt x="253365" y="5734050"/>
                    <a:pt x="273368" y="5753100"/>
                    <a:pt x="297180" y="5753100"/>
                  </a:cubicBezTo>
                  <a:cubicBezTo>
                    <a:pt x="320993" y="5753100"/>
                    <a:pt x="340995" y="5733098"/>
                    <a:pt x="340995" y="5709285"/>
                  </a:cubicBezTo>
                  <a:cubicBezTo>
                    <a:pt x="340995" y="5684520"/>
                    <a:pt x="320993" y="5665470"/>
                    <a:pt x="297180" y="5665470"/>
                  </a:cubicBezTo>
                  <a:cubicBezTo>
                    <a:pt x="273368" y="5665470"/>
                    <a:pt x="253365" y="5685473"/>
                    <a:pt x="253365" y="5709285"/>
                  </a:cubicBezTo>
                  <a:close/>
                  <a:moveTo>
                    <a:pt x="266700" y="4871085"/>
                  </a:moveTo>
                  <a:cubicBezTo>
                    <a:pt x="266700" y="4888230"/>
                    <a:pt x="280988" y="4902518"/>
                    <a:pt x="298133" y="4902518"/>
                  </a:cubicBezTo>
                  <a:cubicBezTo>
                    <a:pt x="315278" y="4902518"/>
                    <a:pt x="329565" y="4888230"/>
                    <a:pt x="329565" y="4871085"/>
                  </a:cubicBezTo>
                  <a:cubicBezTo>
                    <a:pt x="329565" y="4853940"/>
                    <a:pt x="315278" y="4839653"/>
                    <a:pt x="298133" y="4839653"/>
                  </a:cubicBezTo>
                  <a:cubicBezTo>
                    <a:pt x="280988" y="4839653"/>
                    <a:pt x="266700" y="4852988"/>
                    <a:pt x="266700" y="4871085"/>
                  </a:cubicBezTo>
                  <a:close/>
                  <a:moveTo>
                    <a:pt x="266700" y="4660583"/>
                  </a:moveTo>
                  <a:cubicBezTo>
                    <a:pt x="266700" y="4677728"/>
                    <a:pt x="280988" y="4692015"/>
                    <a:pt x="298133" y="4692015"/>
                  </a:cubicBezTo>
                  <a:cubicBezTo>
                    <a:pt x="315278" y="4692015"/>
                    <a:pt x="329565" y="4677728"/>
                    <a:pt x="329565" y="4660583"/>
                  </a:cubicBezTo>
                  <a:cubicBezTo>
                    <a:pt x="329565" y="4643438"/>
                    <a:pt x="315278" y="4629150"/>
                    <a:pt x="298133" y="4629150"/>
                  </a:cubicBezTo>
                  <a:cubicBezTo>
                    <a:pt x="280988" y="4630103"/>
                    <a:pt x="266700" y="4643438"/>
                    <a:pt x="266700" y="4660583"/>
                  </a:cubicBezTo>
                  <a:close/>
                  <a:moveTo>
                    <a:pt x="266700" y="5080635"/>
                  </a:moveTo>
                  <a:cubicBezTo>
                    <a:pt x="266700" y="5097780"/>
                    <a:pt x="280988" y="5112068"/>
                    <a:pt x="298133" y="5112068"/>
                  </a:cubicBezTo>
                  <a:cubicBezTo>
                    <a:pt x="315278" y="5112068"/>
                    <a:pt x="329565" y="5097780"/>
                    <a:pt x="329565" y="5080635"/>
                  </a:cubicBezTo>
                  <a:cubicBezTo>
                    <a:pt x="329565" y="5063490"/>
                    <a:pt x="315278" y="5049203"/>
                    <a:pt x="298133" y="5049203"/>
                  </a:cubicBezTo>
                  <a:cubicBezTo>
                    <a:pt x="280988" y="5049203"/>
                    <a:pt x="266700" y="5063490"/>
                    <a:pt x="266700" y="5080635"/>
                  </a:cubicBezTo>
                  <a:close/>
                  <a:moveTo>
                    <a:pt x="220028" y="6338888"/>
                  </a:moveTo>
                  <a:cubicBezTo>
                    <a:pt x="220028" y="6381750"/>
                    <a:pt x="255270" y="6416993"/>
                    <a:pt x="298133" y="6416993"/>
                  </a:cubicBezTo>
                  <a:cubicBezTo>
                    <a:pt x="340995" y="6416993"/>
                    <a:pt x="376238" y="6381750"/>
                    <a:pt x="376238" y="6338888"/>
                  </a:cubicBezTo>
                  <a:cubicBezTo>
                    <a:pt x="376238" y="6296025"/>
                    <a:pt x="340995" y="6260783"/>
                    <a:pt x="298133" y="6260783"/>
                  </a:cubicBezTo>
                  <a:cubicBezTo>
                    <a:pt x="255270" y="6260783"/>
                    <a:pt x="220028" y="6295073"/>
                    <a:pt x="220028" y="6338888"/>
                  </a:cubicBezTo>
                  <a:close/>
                  <a:moveTo>
                    <a:pt x="46673" y="4428173"/>
                  </a:moveTo>
                  <a:cubicBezTo>
                    <a:pt x="46673" y="4445318"/>
                    <a:pt x="60960" y="4459605"/>
                    <a:pt x="78105" y="4459605"/>
                  </a:cubicBezTo>
                  <a:cubicBezTo>
                    <a:pt x="95250" y="4459605"/>
                    <a:pt x="109538" y="4445318"/>
                    <a:pt x="109538" y="4428173"/>
                  </a:cubicBezTo>
                  <a:cubicBezTo>
                    <a:pt x="109538" y="4411028"/>
                    <a:pt x="95250" y="4396740"/>
                    <a:pt x="78105" y="4396740"/>
                  </a:cubicBezTo>
                  <a:cubicBezTo>
                    <a:pt x="60960" y="4396740"/>
                    <a:pt x="46673" y="4411028"/>
                    <a:pt x="46673" y="4428173"/>
                  </a:cubicBezTo>
                  <a:close/>
                  <a:moveTo>
                    <a:pt x="46673" y="4222433"/>
                  </a:moveTo>
                  <a:cubicBezTo>
                    <a:pt x="46673" y="4239578"/>
                    <a:pt x="60960" y="4253865"/>
                    <a:pt x="78105" y="4253865"/>
                  </a:cubicBezTo>
                  <a:cubicBezTo>
                    <a:pt x="95250" y="4253865"/>
                    <a:pt x="109538" y="4239578"/>
                    <a:pt x="109538" y="4222433"/>
                  </a:cubicBezTo>
                  <a:cubicBezTo>
                    <a:pt x="109538" y="4205288"/>
                    <a:pt x="95250" y="4191000"/>
                    <a:pt x="78105" y="4191000"/>
                  </a:cubicBezTo>
                  <a:cubicBezTo>
                    <a:pt x="60960" y="4191000"/>
                    <a:pt x="46673" y="4205288"/>
                    <a:pt x="46673" y="4222433"/>
                  </a:cubicBezTo>
                  <a:close/>
                  <a:moveTo>
                    <a:pt x="34290" y="3604260"/>
                  </a:moveTo>
                  <a:cubicBezTo>
                    <a:pt x="34290" y="3629025"/>
                    <a:pt x="54293" y="3648075"/>
                    <a:pt x="78105" y="3648075"/>
                  </a:cubicBezTo>
                  <a:cubicBezTo>
                    <a:pt x="101918" y="3648075"/>
                    <a:pt x="121920" y="3628073"/>
                    <a:pt x="121920" y="3604260"/>
                  </a:cubicBezTo>
                  <a:cubicBezTo>
                    <a:pt x="121920" y="3580448"/>
                    <a:pt x="101918" y="3560445"/>
                    <a:pt x="78105" y="3560445"/>
                  </a:cubicBezTo>
                  <a:cubicBezTo>
                    <a:pt x="54293" y="3560445"/>
                    <a:pt x="34290" y="3579495"/>
                    <a:pt x="34290" y="3604260"/>
                  </a:cubicBezTo>
                  <a:close/>
                  <a:moveTo>
                    <a:pt x="24765" y="3397568"/>
                  </a:moveTo>
                  <a:cubicBezTo>
                    <a:pt x="24765" y="3427095"/>
                    <a:pt x="48578" y="3450908"/>
                    <a:pt x="78105" y="3450908"/>
                  </a:cubicBezTo>
                  <a:cubicBezTo>
                    <a:pt x="107633" y="3450908"/>
                    <a:pt x="131445" y="3427095"/>
                    <a:pt x="131445" y="3397568"/>
                  </a:cubicBezTo>
                  <a:cubicBezTo>
                    <a:pt x="131445" y="3368040"/>
                    <a:pt x="107633" y="3344228"/>
                    <a:pt x="78105" y="3344228"/>
                  </a:cubicBezTo>
                  <a:cubicBezTo>
                    <a:pt x="48578" y="3344228"/>
                    <a:pt x="24765" y="3368040"/>
                    <a:pt x="24765" y="3397568"/>
                  </a:cubicBezTo>
                  <a:close/>
                  <a:moveTo>
                    <a:pt x="16193" y="3191828"/>
                  </a:moveTo>
                  <a:cubicBezTo>
                    <a:pt x="16193" y="3226118"/>
                    <a:pt x="43815" y="3253740"/>
                    <a:pt x="78105" y="3253740"/>
                  </a:cubicBezTo>
                  <a:cubicBezTo>
                    <a:pt x="112395" y="3253740"/>
                    <a:pt x="140018" y="3226118"/>
                    <a:pt x="140018" y="3191828"/>
                  </a:cubicBezTo>
                  <a:cubicBezTo>
                    <a:pt x="140018" y="3157538"/>
                    <a:pt x="112395" y="3129915"/>
                    <a:pt x="78105" y="3129915"/>
                  </a:cubicBezTo>
                  <a:cubicBezTo>
                    <a:pt x="43815" y="3129915"/>
                    <a:pt x="16193" y="3157538"/>
                    <a:pt x="16193" y="3191828"/>
                  </a:cubicBezTo>
                  <a:close/>
                  <a:moveTo>
                    <a:pt x="46673" y="4016693"/>
                  </a:moveTo>
                  <a:cubicBezTo>
                    <a:pt x="46673" y="4033838"/>
                    <a:pt x="60960" y="4048125"/>
                    <a:pt x="78105" y="4048125"/>
                  </a:cubicBezTo>
                  <a:cubicBezTo>
                    <a:pt x="95250" y="4048125"/>
                    <a:pt x="109538" y="4033838"/>
                    <a:pt x="109538" y="4016693"/>
                  </a:cubicBezTo>
                  <a:cubicBezTo>
                    <a:pt x="109538" y="3999548"/>
                    <a:pt x="95250" y="3985260"/>
                    <a:pt x="78105" y="3985260"/>
                  </a:cubicBezTo>
                  <a:cubicBezTo>
                    <a:pt x="60960" y="3985260"/>
                    <a:pt x="46673" y="3998595"/>
                    <a:pt x="46673" y="4016693"/>
                  </a:cubicBezTo>
                  <a:close/>
                  <a:moveTo>
                    <a:pt x="42863" y="3810000"/>
                  </a:moveTo>
                  <a:cubicBezTo>
                    <a:pt x="42863" y="3829050"/>
                    <a:pt x="59055" y="3845243"/>
                    <a:pt x="78105" y="3845243"/>
                  </a:cubicBezTo>
                  <a:cubicBezTo>
                    <a:pt x="97155" y="3845243"/>
                    <a:pt x="113348" y="3829050"/>
                    <a:pt x="113348" y="3810000"/>
                  </a:cubicBezTo>
                  <a:cubicBezTo>
                    <a:pt x="113348" y="3790950"/>
                    <a:pt x="97155" y="3774758"/>
                    <a:pt x="78105" y="3774758"/>
                  </a:cubicBezTo>
                  <a:cubicBezTo>
                    <a:pt x="59055" y="3774758"/>
                    <a:pt x="42863" y="3790950"/>
                    <a:pt x="42863" y="3810000"/>
                  </a:cubicBezTo>
                  <a:close/>
                  <a:moveTo>
                    <a:pt x="24765" y="2573655"/>
                  </a:moveTo>
                  <a:cubicBezTo>
                    <a:pt x="24765" y="2603183"/>
                    <a:pt x="48578" y="2626995"/>
                    <a:pt x="78105" y="2626995"/>
                  </a:cubicBezTo>
                  <a:cubicBezTo>
                    <a:pt x="107633" y="2626995"/>
                    <a:pt x="131445" y="2603183"/>
                    <a:pt x="131445" y="2573655"/>
                  </a:cubicBezTo>
                  <a:cubicBezTo>
                    <a:pt x="131445" y="2544128"/>
                    <a:pt x="107633" y="2520315"/>
                    <a:pt x="78105" y="2520315"/>
                  </a:cubicBezTo>
                  <a:cubicBezTo>
                    <a:pt x="48578" y="2520315"/>
                    <a:pt x="24765" y="2544128"/>
                    <a:pt x="24765" y="2573655"/>
                  </a:cubicBezTo>
                  <a:close/>
                  <a:moveTo>
                    <a:pt x="34290" y="2366963"/>
                  </a:moveTo>
                  <a:cubicBezTo>
                    <a:pt x="34290" y="2391728"/>
                    <a:pt x="54293" y="2410778"/>
                    <a:pt x="78105" y="2410778"/>
                  </a:cubicBezTo>
                  <a:cubicBezTo>
                    <a:pt x="101918" y="2410778"/>
                    <a:pt x="121920" y="2390775"/>
                    <a:pt x="121920" y="2366963"/>
                  </a:cubicBezTo>
                  <a:cubicBezTo>
                    <a:pt x="121920" y="2343150"/>
                    <a:pt x="101918" y="2323148"/>
                    <a:pt x="78105" y="2323148"/>
                  </a:cubicBezTo>
                  <a:cubicBezTo>
                    <a:pt x="54293" y="2323148"/>
                    <a:pt x="34290" y="2342198"/>
                    <a:pt x="34290" y="2366963"/>
                  </a:cubicBezTo>
                  <a:close/>
                  <a:moveTo>
                    <a:pt x="16193" y="2779395"/>
                  </a:moveTo>
                  <a:cubicBezTo>
                    <a:pt x="16193" y="2813685"/>
                    <a:pt x="43815" y="2841308"/>
                    <a:pt x="78105" y="2841308"/>
                  </a:cubicBezTo>
                  <a:cubicBezTo>
                    <a:pt x="112395" y="2841308"/>
                    <a:pt x="140018" y="2813685"/>
                    <a:pt x="140018" y="2779395"/>
                  </a:cubicBezTo>
                  <a:cubicBezTo>
                    <a:pt x="140018" y="2745105"/>
                    <a:pt x="112395" y="2717483"/>
                    <a:pt x="78105" y="2717483"/>
                  </a:cubicBezTo>
                  <a:cubicBezTo>
                    <a:pt x="43815" y="2717483"/>
                    <a:pt x="16193" y="2745105"/>
                    <a:pt x="16193" y="2779395"/>
                  </a:cubicBezTo>
                  <a:close/>
                  <a:moveTo>
                    <a:pt x="0" y="2985135"/>
                  </a:moveTo>
                  <a:cubicBezTo>
                    <a:pt x="0" y="3027998"/>
                    <a:pt x="35243" y="3063240"/>
                    <a:pt x="78105" y="3063240"/>
                  </a:cubicBezTo>
                  <a:cubicBezTo>
                    <a:pt x="120968" y="3063240"/>
                    <a:pt x="156210" y="3027998"/>
                    <a:pt x="156210" y="2985135"/>
                  </a:cubicBezTo>
                  <a:cubicBezTo>
                    <a:pt x="156210" y="2942273"/>
                    <a:pt x="120968" y="2907030"/>
                    <a:pt x="78105" y="2907030"/>
                  </a:cubicBezTo>
                  <a:cubicBezTo>
                    <a:pt x="35243" y="2907030"/>
                    <a:pt x="0" y="2942273"/>
                    <a:pt x="0" y="2985135"/>
                  </a:cubicBezTo>
                  <a:close/>
                  <a:moveTo>
                    <a:pt x="266700" y="4495800"/>
                  </a:moveTo>
                  <a:cubicBezTo>
                    <a:pt x="266700" y="4512945"/>
                    <a:pt x="280988" y="4527233"/>
                    <a:pt x="298133" y="4527233"/>
                  </a:cubicBezTo>
                  <a:cubicBezTo>
                    <a:pt x="315278" y="4527233"/>
                    <a:pt x="329565" y="4512945"/>
                    <a:pt x="329565" y="4495800"/>
                  </a:cubicBezTo>
                  <a:cubicBezTo>
                    <a:pt x="329565" y="4478655"/>
                    <a:pt x="315278" y="4464368"/>
                    <a:pt x="298133" y="4464368"/>
                  </a:cubicBezTo>
                  <a:cubicBezTo>
                    <a:pt x="280988" y="4464368"/>
                    <a:pt x="266700" y="4477703"/>
                    <a:pt x="266700" y="4495800"/>
                  </a:cubicBezTo>
                  <a:close/>
                  <a:moveTo>
                    <a:pt x="266700" y="4254818"/>
                  </a:moveTo>
                  <a:cubicBezTo>
                    <a:pt x="266700" y="4271963"/>
                    <a:pt x="280988" y="4286250"/>
                    <a:pt x="298133" y="4286250"/>
                  </a:cubicBezTo>
                  <a:cubicBezTo>
                    <a:pt x="315278" y="4286250"/>
                    <a:pt x="329565" y="4271963"/>
                    <a:pt x="329565" y="4254818"/>
                  </a:cubicBezTo>
                  <a:cubicBezTo>
                    <a:pt x="329565" y="4237673"/>
                    <a:pt x="315278" y="4223385"/>
                    <a:pt x="298133" y="4223385"/>
                  </a:cubicBezTo>
                  <a:cubicBezTo>
                    <a:pt x="280988" y="4223385"/>
                    <a:pt x="266700" y="4236720"/>
                    <a:pt x="266700" y="4254818"/>
                  </a:cubicBezTo>
                  <a:close/>
                  <a:moveTo>
                    <a:pt x="262890" y="3625215"/>
                  </a:moveTo>
                  <a:cubicBezTo>
                    <a:pt x="262890" y="3644265"/>
                    <a:pt x="279083" y="3660458"/>
                    <a:pt x="298133" y="3660458"/>
                  </a:cubicBezTo>
                  <a:cubicBezTo>
                    <a:pt x="317183" y="3660458"/>
                    <a:pt x="333375" y="3644265"/>
                    <a:pt x="333375" y="3625215"/>
                  </a:cubicBezTo>
                  <a:cubicBezTo>
                    <a:pt x="333375" y="3606165"/>
                    <a:pt x="317183" y="3589973"/>
                    <a:pt x="298133" y="3589973"/>
                  </a:cubicBezTo>
                  <a:cubicBezTo>
                    <a:pt x="279083" y="3589973"/>
                    <a:pt x="262890" y="3606165"/>
                    <a:pt x="262890" y="3625215"/>
                  </a:cubicBezTo>
                  <a:close/>
                  <a:moveTo>
                    <a:pt x="253365" y="3415665"/>
                  </a:moveTo>
                  <a:cubicBezTo>
                    <a:pt x="253365" y="3440430"/>
                    <a:pt x="273368" y="3459480"/>
                    <a:pt x="297180" y="3459480"/>
                  </a:cubicBezTo>
                  <a:cubicBezTo>
                    <a:pt x="320993" y="3459480"/>
                    <a:pt x="340995" y="3439478"/>
                    <a:pt x="340995" y="3415665"/>
                  </a:cubicBezTo>
                  <a:cubicBezTo>
                    <a:pt x="340995" y="3391853"/>
                    <a:pt x="320993" y="3371850"/>
                    <a:pt x="297180" y="3371850"/>
                  </a:cubicBezTo>
                  <a:cubicBezTo>
                    <a:pt x="273368" y="3371850"/>
                    <a:pt x="253365" y="3390900"/>
                    <a:pt x="253365" y="3415665"/>
                  </a:cubicBezTo>
                  <a:close/>
                  <a:moveTo>
                    <a:pt x="244793" y="3206115"/>
                  </a:moveTo>
                  <a:cubicBezTo>
                    <a:pt x="244793" y="3235643"/>
                    <a:pt x="268605" y="3259455"/>
                    <a:pt x="298133" y="3259455"/>
                  </a:cubicBezTo>
                  <a:cubicBezTo>
                    <a:pt x="327660" y="3259455"/>
                    <a:pt x="351473" y="3235643"/>
                    <a:pt x="351473" y="3206115"/>
                  </a:cubicBezTo>
                  <a:cubicBezTo>
                    <a:pt x="351473" y="3176588"/>
                    <a:pt x="327660" y="3152775"/>
                    <a:pt x="298133" y="3152775"/>
                  </a:cubicBezTo>
                  <a:cubicBezTo>
                    <a:pt x="268605" y="3152775"/>
                    <a:pt x="244793" y="3176588"/>
                    <a:pt x="244793" y="3206115"/>
                  </a:cubicBezTo>
                  <a:close/>
                  <a:moveTo>
                    <a:pt x="266700" y="4044315"/>
                  </a:moveTo>
                  <a:cubicBezTo>
                    <a:pt x="266700" y="4061460"/>
                    <a:pt x="280988" y="4075748"/>
                    <a:pt x="298133" y="4075748"/>
                  </a:cubicBezTo>
                  <a:cubicBezTo>
                    <a:pt x="315278" y="4075748"/>
                    <a:pt x="329565" y="4061460"/>
                    <a:pt x="329565" y="4044315"/>
                  </a:cubicBezTo>
                  <a:cubicBezTo>
                    <a:pt x="329565" y="4027170"/>
                    <a:pt x="315278" y="4012883"/>
                    <a:pt x="298133" y="4012883"/>
                  </a:cubicBezTo>
                  <a:cubicBezTo>
                    <a:pt x="280988" y="4013835"/>
                    <a:pt x="266700" y="4027170"/>
                    <a:pt x="266700" y="4044315"/>
                  </a:cubicBezTo>
                  <a:close/>
                  <a:moveTo>
                    <a:pt x="266700" y="3834765"/>
                  </a:moveTo>
                  <a:cubicBezTo>
                    <a:pt x="266700" y="3851910"/>
                    <a:pt x="280988" y="3866198"/>
                    <a:pt x="298133" y="3866198"/>
                  </a:cubicBezTo>
                  <a:cubicBezTo>
                    <a:pt x="315278" y="3866198"/>
                    <a:pt x="329565" y="3851910"/>
                    <a:pt x="329565" y="3834765"/>
                  </a:cubicBezTo>
                  <a:cubicBezTo>
                    <a:pt x="329565" y="3817620"/>
                    <a:pt x="315278" y="3803333"/>
                    <a:pt x="298133" y="3803333"/>
                  </a:cubicBezTo>
                  <a:cubicBezTo>
                    <a:pt x="280988" y="3803333"/>
                    <a:pt x="266700" y="3817620"/>
                    <a:pt x="266700" y="3834765"/>
                  </a:cubicBezTo>
                  <a:close/>
                  <a:moveTo>
                    <a:pt x="236220" y="2576513"/>
                  </a:moveTo>
                  <a:cubicBezTo>
                    <a:pt x="236220" y="2610803"/>
                    <a:pt x="263843" y="2638425"/>
                    <a:pt x="298133" y="2638425"/>
                  </a:cubicBezTo>
                  <a:cubicBezTo>
                    <a:pt x="332423" y="2638425"/>
                    <a:pt x="360045" y="2610803"/>
                    <a:pt x="360045" y="2576513"/>
                  </a:cubicBezTo>
                  <a:cubicBezTo>
                    <a:pt x="360045" y="2542223"/>
                    <a:pt x="332423" y="2514600"/>
                    <a:pt x="298133" y="2514600"/>
                  </a:cubicBezTo>
                  <a:cubicBezTo>
                    <a:pt x="263843" y="2514600"/>
                    <a:pt x="236220" y="2542223"/>
                    <a:pt x="236220" y="2576513"/>
                  </a:cubicBezTo>
                  <a:close/>
                  <a:moveTo>
                    <a:pt x="244793" y="2366963"/>
                  </a:moveTo>
                  <a:cubicBezTo>
                    <a:pt x="244793" y="2396490"/>
                    <a:pt x="268605" y="2420303"/>
                    <a:pt x="298133" y="2420303"/>
                  </a:cubicBezTo>
                  <a:cubicBezTo>
                    <a:pt x="327660" y="2420303"/>
                    <a:pt x="351473" y="2396490"/>
                    <a:pt x="351473" y="2366963"/>
                  </a:cubicBezTo>
                  <a:cubicBezTo>
                    <a:pt x="351473" y="2337435"/>
                    <a:pt x="327660" y="2313623"/>
                    <a:pt x="298133" y="2313623"/>
                  </a:cubicBezTo>
                  <a:cubicBezTo>
                    <a:pt x="268605" y="2313623"/>
                    <a:pt x="244793" y="2337435"/>
                    <a:pt x="244793" y="2366963"/>
                  </a:cubicBezTo>
                  <a:close/>
                  <a:moveTo>
                    <a:pt x="236220" y="2996565"/>
                  </a:moveTo>
                  <a:cubicBezTo>
                    <a:pt x="236220" y="3030855"/>
                    <a:pt x="263843" y="3058478"/>
                    <a:pt x="298133" y="3058478"/>
                  </a:cubicBezTo>
                  <a:cubicBezTo>
                    <a:pt x="332423" y="3058478"/>
                    <a:pt x="360045" y="3030855"/>
                    <a:pt x="360045" y="2996565"/>
                  </a:cubicBezTo>
                  <a:cubicBezTo>
                    <a:pt x="360045" y="2962275"/>
                    <a:pt x="332423" y="2934653"/>
                    <a:pt x="298133" y="2934653"/>
                  </a:cubicBezTo>
                  <a:cubicBezTo>
                    <a:pt x="263843" y="2934653"/>
                    <a:pt x="236220" y="2962275"/>
                    <a:pt x="236220" y="2996565"/>
                  </a:cubicBezTo>
                  <a:close/>
                  <a:moveTo>
                    <a:pt x="220028" y="2786063"/>
                  </a:moveTo>
                  <a:cubicBezTo>
                    <a:pt x="220028" y="2828925"/>
                    <a:pt x="255270" y="2864168"/>
                    <a:pt x="298133" y="2864168"/>
                  </a:cubicBezTo>
                  <a:cubicBezTo>
                    <a:pt x="340995" y="2864168"/>
                    <a:pt x="376238" y="2828925"/>
                    <a:pt x="376238" y="2786063"/>
                  </a:cubicBezTo>
                  <a:cubicBezTo>
                    <a:pt x="376238" y="2743200"/>
                    <a:pt x="340995" y="2707958"/>
                    <a:pt x="298133" y="2707958"/>
                  </a:cubicBezTo>
                  <a:cubicBezTo>
                    <a:pt x="255270" y="2707958"/>
                    <a:pt x="220028" y="2743200"/>
                    <a:pt x="220028" y="2786063"/>
                  </a:cubicBezTo>
                  <a:close/>
                  <a:moveTo>
                    <a:pt x="464820" y="6406515"/>
                  </a:moveTo>
                  <a:cubicBezTo>
                    <a:pt x="464820" y="6436043"/>
                    <a:pt x="488633" y="6459855"/>
                    <a:pt x="518160" y="6459855"/>
                  </a:cubicBezTo>
                  <a:cubicBezTo>
                    <a:pt x="547688" y="6459855"/>
                    <a:pt x="571500" y="6436043"/>
                    <a:pt x="571500" y="6406515"/>
                  </a:cubicBezTo>
                  <a:cubicBezTo>
                    <a:pt x="571500" y="6376988"/>
                    <a:pt x="547688" y="6353175"/>
                    <a:pt x="518160" y="6353175"/>
                  </a:cubicBezTo>
                  <a:cubicBezTo>
                    <a:pt x="488633" y="6353175"/>
                    <a:pt x="464820" y="6376988"/>
                    <a:pt x="464820" y="6406515"/>
                  </a:cubicBezTo>
                  <a:close/>
                  <a:moveTo>
                    <a:pt x="481965" y="5980748"/>
                  </a:moveTo>
                  <a:cubicBezTo>
                    <a:pt x="481965" y="5999798"/>
                    <a:pt x="498158" y="6015990"/>
                    <a:pt x="517208" y="6015990"/>
                  </a:cubicBezTo>
                  <a:cubicBezTo>
                    <a:pt x="536258" y="6015990"/>
                    <a:pt x="552450" y="5999798"/>
                    <a:pt x="552450" y="5980748"/>
                  </a:cubicBezTo>
                  <a:cubicBezTo>
                    <a:pt x="552450" y="5961698"/>
                    <a:pt x="536258" y="5945505"/>
                    <a:pt x="517208" y="5945505"/>
                  </a:cubicBezTo>
                  <a:cubicBezTo>
                    <a:pt x="498158" y="5945505"/>
                    <a:pt x="481965" y="5961698"/>
                    <a:pt x="481965" y="5980748"/>
                  </a:cubicBezTo>
                  <a:close/>
                  <a:moveTo>
                    <a:pt x="486728" y="5555933"/>
                  </a:moveTo>
                  <a:cubicBezTo>
                    <a:pt x="486728" y="5573078"/>
                    <a:pt x="501015" y="5587365"/>
                    <a:pt x="518160" y="5587365"/>
                  </a:cubicBezTo>
                  <a:cubicBezTo>
                    <a:pt x="535305" y="5587365"/>
                    <a:pt x="549593" y="5573078"/>
                    <a:pt x="549593" y="5555933"/>
                  </a:cubicBezTo>
                  <a:cubicBezTo>
                    <a:pt x="549593" y="5538788"/>
                    <a:pt x="535305" y="5524500"/>
                    <a:pt x="518160" y="5524500"/>
                  </a:cubicBezTo>
                  <a:cubicBezTo>
                    <a:pt x="500063" y="5524500"/>
                    <a:pt x="486728" y="5538788"/>
                    <a:pt x="486728" y="5555933"/>
                  </a:cubicBezTo>
                  <a:close/>
                  <a:moveTo>
                    <a:pt x="486728" y="5343525"/>
                  </a:moveTo>
                  <a:cubicBezTo>
                    <a:pt x="486728" y="5360670"/>
                    <a:pt x="501015" y="5374958"/>
                    <a:pt x="518160" y="5374958"/>
                  </a:cubicBezTo>
                  <a:cubicBezTo>
                    <a:pt x="535305" y="5374958"/>
                    <a:pt x="549593" y="5360670"/>
                    <a:pt x="549593" y="5343525"/>
                  </a:cubicBezTo>
                  <a:cubicBezTo>
                    <a:pt x="549593" y="5326380"/>
                    <a:pt x="535305" y="5312093"/>
                    <a:pt x="518160" y="5312093"/>
                  </a:cubicBezTo>
                  <a:cubicBezTo>
                    <a:pt x="500063" y="5312093"/>
                    <a:pt x="486728" y="5326380"/>
                    <a:pt x="486728" y="5343525"/>
                  </a:cubicBezTo>
                  <a:close/>
                  <a:moveTo>
                    <a:pt x="473393" y="6194108"/>
                  </a:moveTo>
                  <a:cubicBezTo>
                    <a:pt x="473393" y="6218873"/>
                    <a:pt x="493395" y="6237923"/>
                    <a:pt x="517208" y="6237923"/>
                  </a:cubicBezTo>
                  <a:cubicBezTo>
                    <a:pt x="541973" y="6237923"/>
                    <a:pt x="561023" y="6217920"/>
                    <a:pt x="561023" y="6194108"/>
                  </a:cubicBezTo>
                  <a:cubicBezTo>
                    <a:pt x="561023" y="6169343"/>
                    <a:pt x="541020" y="6150293"/>
                    <a:pt x="517208" y="6150293"/>
                  </a:cubicBezTo>
                  <a:cubicBezTo>
                    <a:pt x="493395" y="6149340"/>
                    <a:pt x="473393" y="6169343"/>
                    <a:pt x="473393" y="6194108"/>
                  </a:cubicBezTo>
                  <a:close/>
                  <a:moveTo>
                    <a:pt x="486728" y="5768340"/>
                  </a:moveTo>
                  <a:cubicBezTo>
                    <a:pt x="486728" y="5785485"/>
                    <a:pt x="501015" y="5799773"/>
                    <a:pt x="518160" y="5799773"/>
                  </a:cubicBezTo>
                  <a:cubicBezTo>
                    <a:pt x="535305" y="5799773"/>
                    <a:pt x="549593" y="5785485"/>
                    <a:pt x="549593" y="5768340"/>
                  </a:cubicBezTo>
                  <a:cubicBezTo>
                    <a:pt x="549593" y="5751195"/>
                    <a:pt x="535305" y="5736908"/>
                    <a:pt x="518160" y="5736908"/>
                  </a:cubicBezTo>
                  <a:cubicBezTo>
                    <a:pt x="500063" y="5736908"/>
                    <a:pt x="486728" y="5751195"/>
                    <a:pt x="486728" y="5768340"/>
                  </a:cubicBezTo>
                  <a:close/>
                  <a:moveTo>
                    <a:pt x="486728" y="4917758"/>
                  </a:moveTo>
                  <a:cubicBezTo>
                    <a:pt x="486728" y="4934903"/>
                    <a:pt x="501015" y="4949190"/>
                    <a:pt x="518160" y="4949190"/>
                  </a:cubicBezTo>
                  <a:cubicBezTo>
                    <a:pt x="535305" y="4949190"/>
                    <a:pt x="549593" y="4934903"/>
                    <a:pt x="549593" y="4917758"/>
                  </a:cubicBezTo>
                  <a:cubicBezTo>
                    <a:pt x="549593" y="4900613"/>
                    <a:pt x="535305" y="4886325"/>
                    <a:pt x="518160" y="4886325"/>
                  </a:cubicBezTo>
                  <a:cubicBezTo>
                    <a:pt x="500063" y="4887278"/>
                    <a:pt x="486728" y="4900613"/>
                    <a:pt x="486728" y="4917758"/>
                  </a:cubicBezTo>
                  <a:close/>
                  <a:moveTo>
                    <a:pt x="486728" y="4705350"/>
                  </a:moveTo>
                  <a:cubicBezTo>
                    <a:pt x="486728" y="4722495"/>
                    <a:pt x="501015" y="4736783"/>
                    <a:pt x="518160" y="4736783"/>
                  </a:cubicBezTo>
                  <a:cubicBezTo>
                    <a:pt x="535305" y="4736783"/>
                    <a:pt x="549593" y="4722495"/>
                    <a:pt x="549593" y="4705350"/>
                  </a:cubicBezTo>
                  <a:cubicBezTo>
                    <a:pt x="549593" y="4688205"/>
                    <a:pt x="535305" y="4673918"/>
                    <a:pt x="518160" y="4673918"/>
                  </a:cubicBezTo>
                  <a:cubicBezTo>
                    <a:pt x="500063" y="4673918"/>
                    <a:pt x="486728" y="4688205"/>
                    <a:pt x="486728" y="4705350"/>
                  </a:cubicBezTo>
                  <a:close/>
                  <a:moveTo>
                    <a:pt x="486728" y="5131118"/>
                  </a:moveTo>
                  <a:cubicBezTo>
                    <a:pt x="486728" y="5148263"/>
                    <a:pt x="501015" y="5162550"/>
                    <a:pt x="518160" y="5162550"/>
                  </a:cubicBezTo>
                  <a:cubicBezTo>
                    <a:pt x="535305" y="5162550"/>
                    <a:pt x="549593" y="5148263"/>
                    <a:pt x="549593" y="5131118"/>
                  </a:cubicBezTo>
                  <a:cubicBezTo>
                    <a:pt x="549593" y="5113973"/>
                    <a:pt x="535305" y="5099685"/>
                    <a:pt x="518160" y="5099685"/>
                  </a:cubicBezTo>
                  <a:cubicBezTo>
                    <a:pt x="500063" y="5099685"/>
                    <a:pt x="486728" y="5113020"/>
                    <a:pt x="486728" y="5131118"/>
                  </a:cubicBezTo>
                  <a:close/>
                  <a:moveTo>
                    <a:pt x="706755" y="5253038"/>
                  </a:moveTo>
                  <a:cubicBezTo>
                    <a:pt x="706755" y="5270183"/>
                    <a:pt x="721043" y="5284470"/>
                    <a:pt x="738188" y="5284470"/>
                  </a:cubicBezTo>
                  <a:cubicBezTo>
                    <a:pt x="755333" y="5284470"/>
                    <a:pt x="769620" y="5270183"/>
                    <a:pt x="769620" y="5253038"/>
                  </a:cubicBezTo>
                  <a:cubicBezTo>
                    <a:pt x="769620" y="5235893"/>
                    <a:pt x="755333" y="5221605"/>
                    <a:pt x="738188" y="5221605"/>
                  </a:cubicBezTo>
                  <a:cubicBezTo>
                    <a:pt x="721043" y="5221605"/>
                    <a:pt x="706755" y="5235893"/>
                    <a:pt x="706755" y="5253038"/>
                  </a:cubicBezTo>
                  <a:close/>
                  <a:moveTo>
                    <a:pt x="706755" y="4840605"/>
                  </a:moveTo>
                  <a:cubicBezTo>
                    <a:pt x="706755" y="4857750"/>
                    <a:pt x="721043" y="4872038"/>
                    <a:pt x="738188" y="4872038"/>
                  </a:cubicBezTo>
                  <a:cubicBezTo>
                    <a:pt x="755333" y="4872038"/>
                    <a:pt x="769620" y="4857750"/>
                    <a:pt x="769620" y="4840605"/>
                  </a:cubicBezTo>
                  <a:cubicBezTo>
                    <a:pt x="769620" y="4823460"/>
                    <a:pt x="755333" y="4809173"/>
                    <a:pt x="738188" y="4809173"/>
                  </a:cubicBezTo>
                  <a:cubicBezTo>
                    <a:pt x="721043" y="4809173"/>
                    <a:pt x="706755" y="4823460"/>
                    <a:pt x="706755" y="4840605"/>
                  </a:cubicBezTo>
                  <a:close/>
                  <a:moveTo>
                    <a:pt x="706755" y="4634865"/>
                  </a:moveTo>
                  <a:cubicBezTo>
                    <a:pt x="706755" y="4652010"/>
                    <a:pt x="721043" y="4666298"/>
                    <a:pt x="738188" y="4666298"/>
                  </a:cubicBezTo>
                  <a:cubicBezTo>
                    <a:pt x="755333" y="4666298"/>
                    <a:pt x="769620" y="4652010"/>
                    <a:pt x="769620" y="4634865"/>
                  </a:cubicBezTo>
                  <a:cubicBezTo>
                    <a:pt x="769620" y="4617720"/>
                    <a:pt x="755333" y="4603433"/>
                    <a:pt x="738188" y="4603433"/>
                  </a:cubicBezTo>
                  <a:cubicBezTo>
                    <a:pt x="721043" y="4603433"/>
                    <a:pt x="706755" y="4617720"/>
                    <a:pt x="706755" y="4634865"/>
                  </a:cubicBezTo>
                  <a:close/>
                  <a:moveTo>
                    <a:pt x="706755" y="5047298"/>
                  </a:moveTo>
                  <a:cubicBezTo>
                    <a:pt x="706755" y="5064443"/>
                    <a:pt x="721043" y="5078730"/>
                    <a:pt x="738188" y="5078730"/>
                  </a:cubicBezTo>
                  <a:cubicBezTo>
                    <a:pt x="755333" y="5078730"/>
                    <a:pt x="769620" y="5064443"/>
                    <a:pt x="769620" y="5047298"/>
                  </a:cubicBezTo>
                  <a:cubicBezTo>
                    <a:pt x="769620" y="5030153"/>
                    <a:pt x="755333" y="5015865"/>
                    <a:pt x="738188" y="5015865"/>
                  </a:cubicBezTo>
                  <a:cubicBezTo>
                    <a:pt x="721043" y="5015865"/>
                    <a:pt x="706755" y="5030153"/>
                    <a:pt x="706755" y="5047298"/>
                  </a:cubicBezTo>
                  <a:close/>
                  <a:moveTo>
                    <a:pt x="486728" y="4492943"/>
                  </a:moveTo>
                  <a:cubicBezTo>
                    <a:pt x="486728" y="4510088"/>
                    <a:pt x="501015" y="4524375"/>
                    <a:pt x="518160" y="4524375"/>
                  </a:cubicBezTo>
                  <a:cubicBezTo>
                    <a:pt x="535305" y="4524375"/>
                    <a:pt x="549593" y="4510088"/>
                    <a:pt x="549593" y="4492943"/>
                  </a:cubicBezTo>
                  <a:cubicBezTo>
                    <a:pt x="549593" y="4475798"/>
                    <a:pt x="535305" y="4461510"/>
                    <a:pt x="518160" y="4461510"/>
                  </a:cubicBezTo>
                  <a:cubicBezTo>
                    <a:pt x="500063" y="4461510"/>
                    <a:pt x="486728" y="4475798"/>
                    <a:pt x="486728" y="4492943"/>
                  </a:cubicBezTo>
                  <a:close/>
                  <a:moveTo>
                    <a:pt x="486728" y="4280535"/>
                  </a:moveTo>
                  <a:cubicBezTo>
                    <a:pt x="486728" y="4297680"/>
                    <a:pt x="501015" y="4311968"/>
                    <a:pt x="518160" y="4311968"/>
                  </a:cubicBezTo>
                  <a:cubicBezTo>
                    <a:pt x="535305" y="4311968"/>
                    <a:pt x="549593" y="4297680"/>
                    <a:pt x="549593" y="4280535"/>
                  </a:cubicBezTo>
                  <a:cubicBezTo>
                    <a:pt x="549593" y="4263390"/>
                    <a:pt x="535305" y="4249103"/>
                    <a:pt x="518160" y="4249103"/>
                  </a:cubicBezTo>
                  <a:cubicBezTo>
                    <a:pt x="500063" y="4249103"/>
                    <a:pt x="486728" y="4263390"/>
                    <a:pt x="486728" y="4280535"/>
                  </a:cubicBezTo>
                  <a:close/>
                  <a:moveTo>
                    <a:pt x="464820" y="3642360"/>
                  </a:moveTo>
                  <a:cubicBezTo>
                    <a:pt x="464820" y="3671888"/>
                    <a:pt x="488633" y="3695700"/>
                    <a:pt x="518160" y="3695700"/>
                  </a:cubicBezTo>
                  <a:cubicBezTo>
                    <a:pt x="547688" y="3695700"/>
                    <a:pt x="571500" y="3671888"/>
                    <a:pt x="571500" y="3642360"/>
                  </a:cubicBezTo>
                  <a:cubicBezTo>
                    <a:pt x="571500" y="3612833"/>
                    <a:pt x="547688" y="3589020"/>
                    <a:pt x="518160" y="3589020"/>
                  </a:cubicBezTo>
                  <a:cubicBezTo>
                    <a:pt x="488633" y="3589020"/>
                    <a:pt x="464820" y="3613785"/>
                    <a:pt x="464820" y="3642360"/>
                  </a:cubicBezTo>
                  <a:close/>
                  <a:moveTo>
                    <a:pt x="456248" y="3429953"/>
                  </a:moveTo>
                  <a:cubicBezTo>
                    <a:pt x="456248" y="3464243"/>
                    <a:pt x="483870" y="3491865"/>
                    <a:pt x="518160" y="3491865"/>
                  </a:cubicBezTo>
                  <a:cubicBezTo>
                    <a:pt x="552450" y="3491865"/>
                    <a:pt x="580073" y="3464243"/>
                    <a:pt x="580073" y="3429953"/>
                  </a:cubicBezTo>
                  <a:cubicBezTo>
                    <a:pt x="580073" y="3395663"/>
                    <a:pt x="552450" y="3368040"/>
                    <a:pt x="518160" y="3368040"/>
                  </a:cubicBezTo>
                  <a:cubicBezTo>
                    <a:pt x="483870" y="3368040"/>
                    <a:pt x="456248" y="3395663"/>
                    <a:pt x="456248" y="3429953"/>
                  </a:cubicBezTo>
                  <a:close/>
                  <a:moveTo>
                    <a:pt x="456248" y="3005138"/>
                  </a:moveTo>
                  <a:cubicBezTo>
                    <a:pt x="456248" y="3039428"/>
                    <a:pt x="483870" y="3067050"/>
                    <a:pt x="518160" y="3067050"/>
                  </a:cubicBezTo>
                  <a:cubicBezTo>
                    <a:pt x="552450" y="3067050"/>
                    <a:pt x="580073" y="3039428"/>
                    <a:pt x="580073" y="3005138"/>
                  </a:cubicBezTo>
                  <a:cubicBezTo>
                    <a:pt x="580073" y="2970848"/>
                    <a:pt x="552450" y="2943225"/>
                    <a:pt x="518160" y="2943225"/>
                  </a:cubicBezTo>
                  <a:cubicBezTo>
                    <a:pt x="483870" y="2943225"/>
                    <a:pt x="456248" y="2970848"/>
                    <a:pt x="456248" y="3005138"/>
                  </a:cubicBezTo>
                  <a:close/>
                  <a:moveTo>
                    <a:pt x="481965" y="4068128"/>
                  </a:moveTo>
                  <a:cubicBezTo>
                    <a:pt x="481965" y="4087178"/>
                    <a:pt x="498158" y="4103370"/>
                    <a:pt x="517208" y="4103370"/>
                  </a:cubicBezTo>
                  <a:cubicBezTo>
                    <a:pt x="536258" y="4103370"/>
                    <a:pt x="552450" y="4087178"/>
                    <a:pt x="552450" y="4068128"/>
                  </a:cubicBezTo>
                  <a:cubicBezTo>
                    <a:pt x="552450" y="4049078"/>
                    <a:pt x="536258" y="4032885"/>
                    <a:pt x="517208" y="4032885"/>
                  </a:cubicBezTo>
                  <a:cubicBezTo>
                    <a:pt x="498158" y="4032885"/>
                    <a:pt x="481965" y="4048125"/>
                    <a:pt x="481965" y="4068128"/>
                  </a:cubicBezTo>
                  <a:close/>
                  <a:moveTo>
                    <a:pt x="473393" y="3854768"/>
                  </a:moveTo>
                  <a:cubicBezTo>
                    <a:pt x="473393" y="3879533"/>
                    <a:pt x="493395" y="3898583"/>
                    <a:pt x="517208" y="3898583"/>
                  </a:cubicBezTo>
                  <a:cubicBezTo>
                    <a:pt x="541973" y="3898583"/>
                    <a:pt x="561023" y="3878580"/>
                    <a:pt x="561023" y="3854768"/>
                  </a:cubicBezTo>
                  <a:cubicBezTo>
                    <a:pt x="561023" y="3830003"/>
                    <a:pt x="541020" y="3810953"/>
                    <a:pt x="517208" y="3810953"/>
                  </a:cubicBezTo>
                  <a:cubicBezTo>
                    <a:pt x="493395" y="3810953"/>
                    <a:pt x="473393" y="3830955"/>
                    <a:pt x="473393" y="3854768"/>
                  </a:cubicBezTo>
                  <a:close/>
                  <a:moveTo>
                    <a:pt x="473393" y="2579370"/>
                  </a:moveTo>
                  <a:cubicBezTo>
                    <a:pt x="473393" y="2604135"/>
                    <a:pt x="493395" y="2623185"/>
                    <a:pt x="517208" y="2623185"/>
                  </a:cubicBezTo>
                  <a:cubicBezTo>
                    <a:pt x="541973" y="2623185"/>
                    <a:pt x="561023" y="2603183"/>
                    <a:pt x="561023" y="2579370"/>
                  </a:cubicBezTo>
                  <a:cubicBezTo>
                    <a:pt x="561023" y="2555558"/>
                    <a:pt x="541020" y="2535555"/>
                    <a:pt x="517208" y="2535555"/>
                  </a:cubicBezTo>
                  <a:cubicBezTo>
                    <a:pt x="493395" y="2535555"/>
                    <a:pt x="473393" y="2555558"/>
                    <a:pt x="473393" y="2579370"/>
                  </a:cubicBezTo>
                  <a:close/>
                  <a:moveTo>
                    <a:pt x="481965" y="2366963"/>
                  </a:moveTo>
                  <a:cubicBezTo>
                    <a:pt x="481965" y="2386013"/>
                    <a:pt x="498158" y="2402205"/>
                    <a:pt x="517208" y="2402205"/>
                  </a:cubicBezTo>
                  <a:cubicBezTo>
                    <a:pt x="536258" y="2402205"/>
                    <a:pt x="552450" y="2386013"/>
                    <a:pt x="552450" y="2366963"/>
                  </a:cubicBezTo>
                  <a:cubicBezTo>
                    <a:pt x="552450" y="2347913"/>
                    <a:pt x="536258" y="2331720"/>
                    <a:pt x="517208" y="2331720"/>
                  </a:cubicBezTo>
                  <a:cubicBezTo>
                    <a:pt x="498158" y="2331720"/>
                    <a:pt x="481965" y="2347913"/>
                    <a:pt x="481965" y="2366963"/>
                  </a:cubicBezTo>
                  <a:close/>
                  <a:moveTo>
                    <a:pt x="464820" y="2791778"/>
                  </a:moveTo>
                  <a:cubicBezTo>
                    <a:pt x="464820" y="2821305"/>
                    <a:pt x="488633" y="2845118"/>
                    <a:pt x="518160" y="2845118"/>
                  </a:cubicBezTo>
                  <a:cubicBezTo>
                    <a:pt x="547688" y="2845118"/>
                    <a:pt x="571500" y="2821305"/>
                    <a:pt x="571500" y="2791778"/>
                  </a:cubicBezTo>
                  <a:cubicBezTo>
                    <a:pt x="571500" y="2762250"/>
                    <a:pt x="547688" y="2738438"/>
                    <a:pt x="518160" y="2738438"/>
                  </a:cubicBezTo>
                  <a:cubicBezTo>
                    <a:pt x="488633" y="2738438"/>
                    <a:pt x="464820" y="2763203"/>
                    <a:pt x="464820" y="2791778"/>
                  </a:cubicBezTo>
                  <a:close/>
                  <a:moveTo>
                    <a:pt x="440055" y="3217545"/>
                  </a:moveTo>
                  <a:cubicBezTo>
                    <a:pt x="440055" y="3260408"/>
                    <a:pt x="475298" y="3295650"/>
                    <a:pt x="518160" y="3295650"/>
                  </a:cubicBezTo>
                  <a:cubicBezTo>
                    <a:pt x="561023" y="3295650"/>
                    <a:pt x="596265" y="3260408"/>
                    <a:pt x="596265" y="3217545"/>
                  </a:cubicBezTo>
                  <a:cubicBezTo>
                    <a:pt x="596265" y="3174683"/>
                    <a:pt x="561023" y="3139440"/>
                    <a:pt x="518160" y="3139440"/>
                  </a:cubicBezTo>
                  <a:cubicBezTo>
                    <a:pt x="475298" y="3139440"/>
                    <a:pt x="440055" y="3174683"/>
                    <a:pt x="440055" y="3217545"/>
                  </a:cubicBezTo>
                  <a:close/>
                  <a:moveTo>
                    <a:pt x="706755" y="4428173"/>
                  </a:moveTo>
                  <a:cubicBezTo>
                    <a:pt x="706755" y="4445318"/>
                    <a:pt x="721043" y="4459605"/>
                    <a:pt x="738188" y="4459605"/>
                  </a:cubicBezTo>
                  <a:cubicBezTo>
                    <a:pt x="755333" y="4459605"/>
                    <a:pt x="769620" y="4445318"/>
                    <a:pt x="769620" y="4428173"/>
                  </a:cubicBezTo>
                  <a:cubicBezTo>
                    <a:pt x="769620" y="4411028"/>
                    <a:pt x="755333" y="4396740"/>
                    <a:pt x="738188" y="4396740"/>
                  </a:cubicBezTo>
                  <a:cubicBezTo>
                    <a:pt x="721043" y="4396740"/>
                    <a:pt x="706755" y="4411028"/>
                    <a:pt x="706755" y="4428173"/>
                  </a:cubicBezTo>
                  <a:close/>
                  <a:moveTo>
                    <a:pt x="706755" y="4222433"/>
                  </a:moveTo>
                  <a:cubicBezTo>
                    <a:pt x="706755" y="4239578"/>
                    <a:pt x="721043" y="4253865"/>
                    <a:pt x="738188" y="4253865"/>
                  </a:cubicBezTo>
                  <a:cubicBezTo>
                    <a:pt x="755333" y="4253865"/>
                    <a:pt x="769620" y="4239578"/>
                    <a:pt x="769620" y="4222433"/>
                  </a:cubicBezTo>
                  <a:cubicBezTo>
                    <a:pt x="769620" y="4205288"/>
                    <a:pt x="755333" y="4191000"/>
                    <a:pt x="738188" y="4191000"/>
                  </a:cubicBezTo>
                  <a:cubicBezTo>
                    <a:pt x="721043" y="4191000"/>
                    <a:pt x="706755" y="4205288"/>
                    <a:pt x="706755" y="4222433"/>
                  </a:cubicBezTo>
                  <a:close/>
                  <a:moveTo>
                    <a:pt x="693420" y="3604260"/>
                  </a:moveTo>
                  <a:cubicBezTo>
                    <a:pt x="693420" y="3629025"/>
                    <a:pt x="713423" y="3648075"/>
                    <a:pt x="737235" y="3648075"/>
                  </a:cubicBezTo>
                  <a:cubicBezTo>
                    <a:pt x="761048" y="3648075"/>
                    <a:pt x="781050" y="3628073"/>
                    <a:pt x="781050" y="3604260"/>
                  </a:cubicBezTo>
                  <a:cubicBezTo>
                    <a:pt x="781050" y="3580448"/>
                    <a:pt x="761048" y="3560445"/>
                    <a:pt x="737235" y="3560445"/>
                  </a:cubicBezTo>
                  <a:cubicBezTo>
                    <a:pt x="713423" y="3560445"/>
                    <a:pt x="693420" y="3579495"/>
                    <a:pt x="693420" y="3604260"/>
                  </a:cubicBezTo>
                  <a:close/>
                  <a:moveTo>
                    <a:pt x="684848" y="3397568"/>
                  </a:moveTo>
                  <a:cubicBezTo>
                    <a:pt x="684848" y="3427095"/>
                    <a:pt x="708660" y="3450908"/>
                    <a:pt x="738188" y="3450908"/>
                  </a:cubicBezTo>
                  <a:cubicBezTo>
                    <a:pt x="767715" y="3450908"/>
                    <a:pt x="791528" y="3427095"/>
                    <a:pt x="791528" y="3397568"/>
                  </a:cubicBezTo>
                  <a:cubicBezTo>
                    <a:pt x="791528" y="3368040"/>
                    <a:pt x="767715" y="3344228"/>
                    <a:pt x="738188" y="3344228"/>
                  </a:cubicBezTo>
                  <a:cubicBezTo>
                    <a:pt x="708660" y="3345180"/>
                    <a:pt x="684848" y="3368040"/>
                    <a:pt x="684848" y="3397568"/>
                  </a:cubicBezTo>
                  <a:close/>
                  <a:moveTo>
                    <a:pt x="675323" y="3191828"/>
                  </a:moveTo>
                  <a:cubicBezTo>
                    <a:pt x="675323" y="3226118"/>
                    <a:pt x="702945" y="3253740"/>
                    <a:pt x="737235" y="3253740"/>
                  </a:cubicBezTo>
                  <a:cubicBezTo>
                    <a:pt x="771525" y="3253740"/>
                    <a:pt x="799148" y="3226118"/>
                    <a:pt x="799148" y="3191828"/>
                  </a:cubicBezTo>
                  <a:cubicBezTo>
                    <a:pt x="799148" y="3157538"/>
                    <a:pt x="771525" y="3129915"/>
                    <a:pt x="737235" y="3129915"/>
                  </a:cubicBezTo>
                  <a:cubicBezTo>
                    <a:pt x="702945" y="3129915"/>
                    <a:pt x="675323" y="3157538"/>
                    <a:pt x="675323" y="3191828"/>
                  </a:cubicBezTo>
                  <a:close/>
                  <a:moveTo>
                    <a:pt x="706755" y="4016693"/>
                  </a:moveTo>
                  <a:cubicBezTo>
                    <a:pt x="706755" y="4033838"/>
                    <a:pt x="721043" y="4048125"/>
                    <a:pt x="738188" y="4048125"/>
                  </a:cubicBezTo>
                  <a:cubicBezTo>
                    <a:pt x="755333" y="4048125"/>
                    <a:pt x="769620" y="4033838"/>
                    <a:pt x="769620" y="4016693"/>
                  </a:cubicBezTo>
                  <a:cubicBezTo>
                    <a:pt x="769620" y="3999548"/>
                    <a:pt x="755333" y="3985260"/>
                    <a:pt x="738188" y="3985260"/>
                  </a:cubicBezTo>
                  <a:cubicBezTo>
                    <a:pt x="721043" y="3985260"/>
                    <a:pt x="706755" y="3998595"/>
                    <a:pt x="706755" y="4016693"/>
                  </a:cubicBezTo>
                  <a:close/>
                  <a:moveTo>
                    <a:pt x="701993" y="3810000"/>
                  </a:moveTo>
                  <a:cubicBezTo>
                    <a:pt x="701993" y="3829050"/>
                    <a:pt x="718185" y="3845243"/>
                    <a:pt x="737235" y="3845243"/>
                  </a:cubicBezTo>
                  <a:cubicBezTo>
                    <a:pt x="756285" y="3845243"/>
                    <a:pt x="772478" y="3829050"/>
                    <a:pt x="772478" y="3810000"/>
                  </a:cubicBezTo>
                  <a:cubicBezTo>
                    <a:pt x="772478" y="3790950"/>
                    <a:pt x="756285" y="3774758"/>
                    <a:pt x="737235" y="3774758"/>
                  </a:cubicBezTo>
                  <a:cubicBezTo>
                    <a:pt x="718185" y="3774758"/>
                    <a:pt x="701993" y="3790950"/>
                    <a:pt x="701993" y="3810000"/>
                  </a:cubicBezTo>
                  <a:close/>
                  <a:moveTo>
                    <a:pt x="684848" y="2573655"/>
                  </a:moveTo>
                  <a:cubicBezTo>
                    <a:pt x="684848" y="2603183"/>
                    <a:pt x="708660" y="2626995"/>
                    <a:pt x="738188" y="2626995"/>
                  </a:cubicBezTo>
                  <a:cubicBezTo>
                    <a:pt x="767715" y="2626995"/>
                    <a:pt x="791528" y="2603183"/>
                    <a:pt x="791528" y="2573655"/>
                  </a:cubicBezTo>
                  <a:cubicBezTo>
                    <a:pt x="791528" y="2544128"/>
                    <a:pt x="767715" y="2520315"/>
                    <a:pt x="738188" y="2520315"/>
                  </a:cubicBezTo>
                  <a:cubicBezTo>
                    <a:pt x="708660" y="2520315"/>
                    <a:pt x="684848" y="2544128"/>
                    <a:pt x="684848" y="2573655"/>
                  </a:cubicBezTo>
                  <a:close/>
                  <a:moveTo>
                    <a:pt x="693420" y="2366963"/>
                  </a:moveTo>
                  <a:cubicBezTo>
                    <a:pt x="693420" y="2391728"/>
                    <a:pt x="713423" y="2410778"/>
                    <a:pt x="737235" y="2410778"/>
                  </a:cubicBezTo>
                  <a:cubicBezTo>
                    <a:pt x="761048" y="2410778"/>
                    <a:pt x="781050" y="2390775"/>
                    <a:pt x="781050" y="2366963"/>
                  </a:cubicBezTo>
                  <a:cubicBezTo>
                    <a:pt x="781050" y="2343150"/>
                    <a:pt x="761048" y="2323148"/>
                    <a:pt x="737235" y="2323148"/>
                  </a:cubicBezTo>
                  <a:cubicBezTo>
                    <a:pt x="713423" y="2323148"/>
                    <a:pt x="693420" y="2342198"/>
                    <a:pt x="693420" y="2366963"/>
                  </a:cubicBezTo>
                  <a:close/>
                  <a:moveTo>
                    <a:pt x="675323" y="2779395"/>
                  </a:moveTo>
                  <a:cubicBezTo>
                    <a:pt x="675323" y="2813685"/>
                    <a:pt x="702945" y="2841308"/>
                    <a:pt x="737235" y="2841308"/>
                  </a:cubicBezTo>
                  <a:cubicBezTo>
                    <a:pt x="771525" y="2841308"/>
                    <a:pt x="799148" y="2813685"/>
                    <a:pt x="799148" y="2779395"/>
                  </a:cubicBezTo>
                  <a:cubicBezTo>
                    <a:pt x="799148" y="2745105"/>
                    <a:pt x="771525" y="2717483"/>
                    <a:pt x="737235" y="2717483"/>
                  </a:cubicBezTo>
                  <a:cubicBezTo>
                    <a:pt x="702945" y="2717483"/>
                    <a:pt x="675323" y="2745105"/>
                    <a:pt x="675323" y="2779395"/>
                  </a:cubicBezTo>
                  <a:close/>
                  <a:moveTo>
                    <a:pt x="659130" y="2985135"/>
                  </a:moveTo>
                  <a:cubicBezTo>
                    <a:pt x="659130" y="3027998"/>
                    <a:pt x="694373" y="3063240"/>
                    <a:pt x="737235" y="3063240"/>
                  </a:cubicBezTo>
                  <a:cubicBezTo>
                    <a:pt x="780098" y="3063240"/>
                    <a:pt x="815340" y="3027998"/>
                    <a:pt x="815340" y="2985135"/>
                  </a:cubicBezTo>
                  <a:cubicBezTo>
                    <a:pt x="815340" y="2942273"/>
                    <a:pt x="780098" y="2907030"/>
                    <a:pt x="737235" y="2907030"/>
                  </a:cubicBezTo>
                  <a:cubicBezTo>
                    <a:pt x="694373" y="2907030"/>
                    <a:pt x="659130" y="2942273"/>
                    <a:pt x="659130" y="2985135"/>
                  </a:cubicBezTo>
                  <a:close/>
                  <a:moveTo>
                    <a:pt x="922020" y="3625215"/>
                  </a:moveTo>
                  <a:cubicBezTo>
                    <a:pt x="922020" y="3644265"/>
                    <a:pt x="938213" y="3660458"/>
                    <a:pt x="957263" y="3660458"/>
                  </a:cubicBezTo>
                  <a:cubicBezTo>
                    <a:pt x="976313" y="3660458"/>
                    <a:pt x="992505" y="3644265"/>
                    <a:pt x="992505" y="3625215"/>
                  </a:cubicBezTo>
                  <a:cubicBezTo>
                    <a:pt x="992505" y="3606165"/>
                    <a:pt x="976313" y="3589973"/>
                    <a:pt x="957263" y="3589973"/>
                  </a:cubicBezTo>
                  <a:cubicBezTo>
                    <a:pt x="938213" y="3589973"/>
                    <a:pt x="922020" y="3606165"/>
                    <a:pt x="922020" y="3625215"/>
                  </a:cubicBezTo>
                  <a:close/>
                  <a:moveTo>
                    <a:pt x="913448" y="3415665"/>
                  </a:moveTo>
                  <a:cubicBezTo>
                    <a:pt x="913448" y="3440430"/>
                    <a:pt x="933450" y="3459480"/>
                    <a:pt x="957263" y="3459480"/>
                  </a:cubicBezTo>
                  <a:cubicBezTo>
                    <a:pt x="982028" y="3459480"/>
                    <a:pt x="1001078" y="3439478"/>
                    <a:pt x="1001078" y="3415665"/>
                  </a:cubicBezTo>
                  <a:cubicBezTo>
                    <a:pt x="1001078" y="3391853"/>
                    <a:pt x="981075" y="3371850"/>
                    <a:pt x="957263" y="3371850"/>
                  </a:cubicBezTo>
                  <a:cubicBezTo>
                    <a:pt x="933450" y="3371850"/>
                    <a:pt x="913448" y="3390900"/>
                    <a:pt x="913448" y="3415665"/>
                  </a:cubicBezTo>
                  <a:close/>
                  <a:moveTo>
                    <a:pt x="903923" y="3206115"/>
                  </a:moveTo>
                  <a:cubicBezTo>
                    <a:pt x="903923" y="3235643"/>
                    <a:pt x="927735" y="3259455"/>
                    <a:pt x="957263" y="3259455"/>
                  </a:cubicBezTo>
                  <a:cubicBezTo>
                    <a:pt x="986790" y="3259455"/>
                    <a:pt x="1010603" y="3235643"/>
                    <a:pt x="1010603" y="3206115"/>
                  </a:cubicBezTo>
                  <a:cubicBezTo>
                    <a:pt x="1010603" y="3176588"/>
                    <a:pt x="986790" y="3152775"/>
                    <a:pt x="957263" y="3152775"/>
                  </a:cubicBezTo>
                  <a:cubicBezTo>
                    <a:pt x="927735" y="3152775"/>
                    <a:pt x="903923" y="3176588"/>
                    <a:pt x="903923" y="3206115"/>
                  </a:cubicBezTo>
                  <a:close/>
                  <a:moveTo>
                    <a:pt x="895350" y="2576513"/>
                  </a:moveTo>
                  <a:cubicBezTo>
                    <a:pt x="895350" y="2610803"/>
                    <a:pt x="922973" y="2638425"/>
                    <a:pt x="957263" y="2638425"/>
                  </a:cubicBezTo>
                  <a:cubicBezTo>
                    <a:pt x="991553" y="2638425"/>
                    <a:pt x="1019175" y="2610803"/>
                    <a:pt x="1019175" y="2576513"/>
                  </a:cubicBezTo>
                  <a:cubicBezTo>
                    <a:pt x="1019175" y="2542223"/>
                    <a:pt x="991553" y="2514600"/>
                    <a:pt x="957263" y="2514600"/>
                  </a:cubicBezTo>
                  <a:cubicBezTo>
                    <a:pt x="922973" y="2514600"/>
                    <a:pt x="895350" y="2542223"/>
                    <a:pt x="895350" y="2576513"/>
                  </a:cubicBezTo>
                  <a:close/>
                  <a:moveTo>
                    <a:pt x="903923" y="2366963"/>
                  </a:moveTo>
                  <a:cubicBezTo>
                    <a:pt x="903923" y="2396490"/>
                    <a:pt x="927735" y="2420303"/>
                    <a:pt x="957263" y="2420303"/>
                  </a:cubicBezTo>
                  <a:cubicBezTo>
                    <a:pt x="986790" y="2420303"/>
                    <a:pt x="1010603" y="2396490"/>
                    <a:pt x="1010603" y="2366963"/>
                  </a:cubicBezTo>
                  <a:cubicBezTo>
                    <a:pt x="1010603" y="2337435"/>
                    <a:pt x="986790" y="2313623"/>
                    <a:pt x="957263" y="2313623"/>
                  </a:cubicBezTo>
                  <a:cubicBezTo>
                    <a:pt x="927735" y="2313623"/>
                    <a:pt x="903923" y="2337435"/>
                    <a:pt x="903923" y="2366963"/>
                  </a:cubicBezTo>
                  <a:close/>
                  <a:moveTo>
                    <a:pt x="895350" y="2996565"/>
                  </a:moveTo>
                  <a:cubicBezTo>
                    <a:pt x="895350" y="3030855"/>
                    <a:pt x="922973" y="3058478"/>
                    <a:pt x="957263" y="3058478"/>
                  </a:cubicBezTo>
                  <a:cubicBezTo>
                    <a:pt x="991553" y="3058478"/>
                    <a:pt x="1019175" y="3030855"/>
                    <a:pt x="1019175" y="2996565"/>
                  </a:cubicBezTo>
                  <a:cubicBezTo>
                    <a:pt x="1019175" y="2962275"/>
                    <a:pt x="991553" y="2934653"/>
                    <a:pt x="957263" y="2934653"/>
                  </a:cubicBezTo>
                  <a:cubicBezTo>
                    <a:pt x="922973" y="2934653"/>
                    <a:pt x="895350" y="2962275"/>
                    <a:pt x="895350" y="2996565"/>
                  </a:cubicBezTo>
                  <a:close/>
                  <a:moveTo>
                    <a:pt x="879158" y="2786063"/>
                  </a:moveTo>
                  <a:cubicBezTo>
                    <a:pt x="879158" y="2828925"/>
                    <a:pt x="914400" y="2864168"/>
                    <a:pt x="957263" y="2864168"/>
                  </a:cubicBezTo>
                  <a:cubicBezTo>
                    <a:pt x="1000125" y="2864168"/>
                    <a:pt x="1035368" y="2828925"/>
                    <a:pt x="1035368" y="2786063"/>
                  </a:cubicBezTo>
                  <a:cubicBezTo>
                    <a:pt x="1035368" y="2743200"/>
                    <a:pt x="1000125" y="2707958"/>
                    <a:pt x="957263" y="2707958"/>
                  </a:cubicBezTo>
                  <a:cubicBezTo>
                    <a:pt x="914400" y="2707958"/>
                    <a:pt x="879158" y="2743200"/>
                    <a:pt x="879158" y="2786063"/>
                  </a:cubicBezTo>
                  <a:close/>
                </a:path>
              </a:pathLst>
            </a:custGeom>
            <a:solidFill>
              <a:srgbClr val="E8E8E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0" name="Corner blue">
              <a:extLst>
                <a:ext uri="{FF2B5EF4-FFF2-40B4-BE49-F238E27FC236}">
                  <a16:creationId xmlns:a16="http://schemas.microsoft.com/office/drawing/2014/main" id="{62A0522B-4964-40C0-A9DA-2C3B1DEFCEBB}"/>
                </a:ext>
              </a:extLst>
            </p:cNvPr>
            <p:cNvSpPr/>
            <p:nvPr/>
          </p:nvSpPr>
          <p:spPr>
            <a:xfrm>
              <a:off x="4077651" y="476250"/>
              <a:ext cx="790574" cy="6376035"/>
            </a:xfrm>
            <a:custGeom>
              <a:avLst/>
              <a:gdLst>
                <a:gd name="connsiteX0" fmla="*/ 634365 w 790574"/>
                <a:gd name="connsiteY0" fmla="*/ 661988 h 6376035"/>
                <a:gd name="connsiteX1" fmla="*/ 712470 w 790574"/>
                <a:gd name="connsiteY1" fmla="*/ 740093 h 6376035"/>
                <a:gd name="connsiteX2" fmla="*/ 790575 w 790574"/>
                <a:gd name="connsiteY2" fmla="*/ 661988 h 6376035"/>
                <a:gd name="connsiteX3" fmla="*/ 712470 w 790574"/>
                <a:gd name="connsiteY3" fmla="*/ 583883 h 6376035"/>
                <a:gd name="connsiteX4" fmla="*/ 634365 w 790574"/>
                <a:gd name="connsiteY4" fmla="*/ 661988 h 6376035"/>
                <a:gd name="connsiteX5" fmla="*/ 677228 w 790574"/>
                <a:gd name="connsiteY5" fmla="*/ 1695450 h 6376035"/>
                <a:gd name="connsiteX6" fmla="*/ 715328 w 790574"/>
                <a:gd name="connsiteY6" fmla="*/ 1727835 h 6376035"/>
                <a:gd name="connsiteX7" fmla="*/ 747713 w 790574"/>
                <a:gd name="connsiteY7" fmla="*/ 1689735 h 6376035"/>
                <a:gd name="connsiteX8" fmla="*/ 709613 w 790574"/>
                <a:gd name="connsiteY8" fmla="*/ 1657350 h 6376035"/>
                <a:gd name="connsiteX9" fmla="*/ 677228 w 790574"/>
                <a:gd name="connsiteY9" fmla="*/ 1695450 h 6376035"/>
                <a:gd name="connsiteX10" fmla="*/ 668655 w 790574"/>
                <a:gd name="connsiteY10" fmla="*/ 1486853 h 6376035"/>
                <a:gd name="connsiteX11" fmla="*/ 712470 w 790574"/>
                <a:gd name="connsiteY11" fmla="*/ 1530668 h 6376035"/>
                <a:gd name="connsiteX12" fmla="*/ 756285 w 790574"/>
                <a:gd name="connsiteY12" fmla="*/ 1486853 h 6376035"/>
                <a:gd name="connsiteX13" fmla="*/ 712470 w 790574"/>
                <a:gd name="connsiteY13" fmla="*/ 1443038 h 6376035"/>
                <a:gd name="connsiteX14" fmla="*/ 668655 w 790574"/>
                <a:gd name="connsiteY14" fmla="*/ 1486853 h 6376035"/>
                <a:gd name="connsiteX15" fmla="*/ 650558 w 790574"/>
                <a:gd name="connsiteY15" fmla="*/ 1074420 h 6376035"/>
                <a:gd name="connsiteX16" fmla="*/ 712470 w 790574"/>
                <a:gd name="connsiteY16" fmla="*/ 1136333 h 6376035"/>
                <a:gd name="connsiteX17" fmla="*/ 774383 w 790574"/>
                <a:gd name="connsiteY17" fmla="*/ 1074420 h 6376035"/>
                <a:gd name="connsiteX18" fmla="*/ 712470 w 790574"/>
                <a:gd name="connsiteY18" fmla="*/ 1012508 h 6376035"/>
                <a:gd name="connsiteX19" fmla="*/ 650558 w 790574"/>
                <a:gd name="connsiteY19" fmla="*/ 1074420 h 6376035"/>
                <a:gd name="connsiteX20" fmla="*/ 660083 w 790574"/>
                <a:gd name="connsiteY20" fmla="*/ 249555 h 6376035"/>
                <a:gd name="connsiteX21" fmla="*/ 713423 w 790574"/>
                <a:gd name="connsiteY21" fmla="*/ 302895 h 6376035"/>
                <a:gd name="connsiteX22" fmla="*/ 766763 w 790574"/>
                <a:gd name="connsiteY22" fmla="*/ 249555 h 6376035"/>
                <a:gd name="connsiteX23" fmla="*/ 713423 w 790574"/>
                <a:gd name="connsiteY23" fmla="*/ 196215 h 6376035"/>
                <a:gd name="connsiteX24" fmla="*/ 660083 w 790574"/>
                <a:gd name="connsiteY24" fmla="*/ 249555 h 6376035"/>
                <a:gd name="connsiteX25" fmla="*/ 668655 w 790574"/>
                <a:gd name="connsiteY25" fmla="*/ 43815 h 6376035"/>
                <a:gd name="connsiteX26" fmla="*/ 712470 w 790574"/>
                <a:gd name="connsiteY26" fmla="*/ 87630 h 6376035"/>
                <a:gd name="connsiteX27" fmla="*/ 756285 w 790574"/>
                <a:gd name="connsiteY27" fmla="*/ 43815 h 6376035"/>
                <a:gd name="connsiteX28" fmla="*/ 712470 w 790574"/>
                <a:gd name="connsiteY28" fmla="*/ 0 h 6376035"/>
                <a:gd name="connsiteX29" fmla="*/ 668655 w 790574"/>
                <a:gd name="connsiteY29" fmla="*/ 43815 h 6376035"/>
                <a:gd name="connsiteX30" fmla="*/ 660083 w 790574"/>
                <a:gd name="connsiteY30" fmla="*/ 1280160 h 6376035"/>
                <a:gd name="connsiteX31" fmla="*/ 713423 w 790574"/>
                <a:gd name="connsiteY31" fmla="*/ 1333500 h 6376035"/>
                <a:gd name="connsiteX32" fmla="*/ 766763 w 790574"/>
                <a:gd name="connsiteY32" fmla="*/ 1280160 h 6376035"/>
                <a:gd name="connsiteX33" fmla="*/ 713423 w 790574"/>
                <a:gd name="connsiteY33" fmla="*/ 1226820 h 6376035"/>
                <a:gd name="connsiteX34" fmla="*/ 660083 w 790574"/>
                <a:gd name="connsiteY34" fmla="*/ 1280160 h 6376035"/>
                <a:gd name="connsiteX35" fmla="*/ 650558 w 790574"/>
                <a:gd name="connsiteY35" fmla="*/ 456248 h 6376035"/>
                <a:gd name="connsiteX36" fmla="*/ 712470 w 790574"/>
                <a:gd name="connsiteY36" fmla="*/ 518160 h 6376035"/>
                <a:gd name="connsiteX37" fmla="*/ 774383 w 790574"/>
                <a:gd name="connsiteY37" fmla="*/ 456248 h 6376035"/>
                <a:gd name="connsiteX38" fmla="*/ 712470 w 790574"/>
                <a:gd name="connsiteY38" fmla="*/ 394335 h 6376035"/>
                <a:gd name="connsiteX39" fmla="*/ 650558 w 790574"/>
                <a:gd name="connsiteY39" fmla="*/ 456248 h 6376035"/>
                <a:gd name="connsiteX40" fmla="*/ 634365 w 790574"/>
                <a:gd name="connsiteY40" fmla="*/ 868680 h 6376035"/>
                <a:gd name="connsiteX41" fmla="*/ 712470 w 790574"/>
                <a:gd name="connsiteY41" fmla="*/ 946785 h 6376035"/>
                <a:gd name="connsiteX42" fmla="*/ 790575 w 790574"/>
                <a:gd name="connsiteY42" fmla="*/ 868680 h 6376035"/>
                <a:gd name="connsiteX43" fmla="*/ 712470 w 790574"/>
                <a:gd name="connsiteY43" fmla="*/ 790575 h 6376035"/>
                <a:gd name="connsiteX44" fmla="*/ 634365 w 790574"/>
                <a:gd name="connsiteY44" fmla="*/ 868680 h 6376035"/>
                <a:gd name="connsiteX45" fmla="*/ 18098 w 790574"/>
                <a:gd name="connsiteY45" fmla="*/ 1695450 h 6376035"/>
                <a:gd name="connsiteX46" fmla="*/ 56198 w 790574"/>
                <a:gd name="connsiteY46" fmla="*/ 1727835 h 6376035"/>
                <a:gd name="connsiteX47" fmla="*/ 88583 w 790574"/>
                <a:gd name="connsiteY47" fmla="*/ 1689735 h 6376035"/>
                <a:gd name="connsiteX48" fmla="*/ 50483 w 790574"/>
                <a:gd name="connsiteY48" fmla="*/ 1657350 h 6376035"/>
                <a:gd name="connsiteX49" fmla="*/ 18098 w 790574"/>
                <a:gd name="connsiteY49" fmla="*/ 1695450 h 6376035"/>
                <a:gd name="connsiteX50" fmla="*/ 9525 w 790574"/>
                <a:gd name="connsiteY50" fmla="*/ 1486853 h 6376035"/>
                <a:gd name="connsiteX51" fmla="*/ 53340 w 790574"/>
                <a:gd name="connsiteY51" fmla="*/ 1530668 h 6376035"/>
                <a:gd name="connsiteX52" fmla="*/ 97155 w 790574"/>
                <a:gd name="connsiteY52" fmla="*/ 1486853 h 6376035"/>
                <a:gd name="connsiteX53" fmla="*/ 53340 w 790574"/>
                <a:gd name="connsiteY53" fmla="*/ 1443038 h 6376035"/>
                <a:gd name="connsiteX54" fmla="*/ 9525 w 790574"/>
                <a:gd name="connsiteY54" fmla="*/ 1486853 h 6376035"/>
                <a:gd name="connsiteX55" fmla="*/ 0 w 790574"/>
                <a:gd name="connsiteY55" fmla="*/ 1280160 h 6376035"/>
                <a:gd name="connsiteX56" fmla="*/ 53340 w 790574"/>
                <a:gd name="connsiteY56" fmla="*/ 1333500 h 6376035"/>
                <a:gd name="connsiteX57" fmla="*/ 106680 w 790574"/>
                <a:gd name="connsiteY57" fmla="*/ 1280160 h 6376035"/>
                <a:gd name="connsiteX58" fmla="*/ 53340 w 790574"/>
                <a:gd name="connsiteY58" fmla="*/ 1226820 h 6376035"/>
                <a:gd name="connsiteX59" fmla="*/ 0 w 790574"/>
                <a:gd name="connsiteY59" fmla="*/ 1280160 h 6376035"/>
                <a:gd name="connsiteX60" fmla="*/ 0 w 790574"/>
                <a:gd name="connsiteY60" fmla="*/ 2106930 h 6376035"/>
                <a:gd name="connsiteX61" fmla="*/ 53340 w 790574"/>
                <a:gd name="connsiteY61" fmla="*/ 2160270 h 6376035"/>
                <a:gd name="connsiteX62" fmla="*/ 106680 w 790574"/>
                <a:gd name="connsiteY62" fmla="*/ 2106930 h 6376035"/>
                <a:gd name="connsiteX63" fmla="*/ 53340 w 790574"/>
                <a:gd name="connsiteY63" fmla="*/ 2053590 h 6376035"/>
                <a:gd name="connsiteX64" fmla="*/ 0 w 790574"/>
                <a:gd name="connsiteY64" fmla="*/ 2106930 h 6376035"/>
                <a:gd name="connsiteX65" fmla="*/ 9525 w 790574"/>
                <a:gd name="connsiteY65" fmla="*/ 1900238 h 6376035"/>
                <a:gd name="connsiteX66" fmla="*/ 53340 w 790574"/>
                <a:gd name="connsiteY66" fmla="*/ 1944053 h 6376035"/>
                <a:gd name="connsiteX67" fmla="*/ 97155 w 790574"/>
                <a:gd name="connsiteY67" fmla="*/ 1900238 h 6376035"/>
                <a:gd name="connsiteX68" fmla="*/ 53340 w 790574"/>
                <a:gd name="connsiteY68" fmla="*/ 1856423 h 6376035"/>
                <a:gd name="connsiteX69" fmla="*/ 9525 w 790574"/>
                <a:gd name="connsiteY69" fmla="*/ 1900238 h 6376035"/>
                <a:gd name="connsiteX70" fmla="*/ 220028 w 790574"/>
                <a:gd name="connsiteY70" fmla="*/ 6322695 h 6376035"/>
                <a:gd name="connsiteX71" fmla="*/ 273368 w 790574"/>
                <a:gd name="connsiteY71" fmla="*/ 6376035 h 6376035"/>
                <a:gd name="connsiteX72" fmla="*/ 326708 w 790574"/>
                <a:gd name="connsiteY72" fmla="*/ 6322695 h 6376035"/>
                <a:gd name="connsiteX73" fmla="*/ 273368 w 790574"/>
                <a:gd name="connsiteY73" fmla="*/ 6269355 h 6376035"/>
                <a:gd name="connsiteX74" fmla="*/ 220028 w 790574"/>
                <a:gd name="connsiteY74" fmla="*/ 6322695 h 6376035"/>
                <a:gd name="connsiteX75" fmla="*/ 211455 w 790574"/>
                <a:gd name="connsiteY75" fmla="*/ 6081713 h 6376035"/>
                <a:gd name="connsiteX76" fmla="*/ 273368 w 790574"/>
                <a:gd name="connsiteY76" fmla="*/ 6143625 h 6376035"/>
                <a:gd name="connsiteX77" fmla="*/ 335280 w 790574"/>
                <a:gd name="connsiteY77" fmla="*/ 6081713 h 6376035"/>
                <a:gd name="connsiteX78" fmla="*/ 273368 w 790574"/>
                <a:gd name="connsiteY78" fmla="*/ 6019800 h 6376035"/>
                <a:gd name="connsiteX79" fmla="*/ 211455 w 790574"/>
                <a:gd name="connsiteY79" fmla="*/ 6081713 h 6376035"/>
                <a:gd name="connsiteX80" fmla="*/ 220028 w 790574"/>
                <a:gd name="connsiteY80" fmla="*/ 5452110 h 6376035"/>
                <a:gd name="connsiteX81" fmla="*/ 273368 w 790574"/>
                <a:gd name="connsiteY81" fmla="*/ 5505450 h 6376035"/>
                <a:gd name="connsiteX82" fmla="*/ 326708 w 790574"/>
                <a:gd name="connsiteY82" fmla="*/ 5452110 h 6376035"/>
                <a:gd name="connsiteX83" fmla="*/ 273368 w 790574"/>
                <a:gd name="connsiteY83" fmla="*/ 5398770 h 6376035"/>
                <a:gd name="connsiteX84" fmla="*/ 220028 w 790574"/>
                <a:gd name="connsiteY84" fmla="*/ 5452110 h 6376035"/>
                <a:gd name="connsiteX85" fmla="*/ 238125 w 790574"/>
                <a:gd name="connsiteY85" fmla="*/ 5033010 h 6376035"/>
                <a:gd name="connsiteX86" fmla="*/ 273368 w 790574"/>
                <a:gd name="connsiteY86" fmla="*/ 5068253 h 6376035"/>
                <a:gd name="connsiteX87" fmla="*/ 308610 w 790574"/>
                <a:gd name="connsiteY87" fmla="*/ 5033010 h 6376035"/>
                <a:gd name="connsiteX88" fmla="*/ 273368 w 790574"/>
                <a:gd name="connsiteY88" fmla="*/ 4997768 h 6376035"/>
                <a:gd name="connsiteX89" fmla="*/ 238125 w 790574"/>
                <a:gd name="connsiteY89" fmla="*/ 5033010 h 6376035"/>
                <a:gd name="connsiteX90" fmla="*/ 241935 w 790574"/>
                <a:gd name="connsiteY90" fmla="*/ 4823460 h 6376035"/>
                <a:gd name="connsiteX91" fmla="*/ 273368 w 790574"/>
                <a:gd name="connsiteY91" fmla="*/ 4854893 h 6376035"/>
                <a:gd name="connsiteX92" fmla="*/ 304800 w 790574"/>
                <a:gd name="connsiteY92" fmla="*/ 4823460 h 6376035"/>
                <a:gd name="connsiteX93" fmla="*/ 273368 w 790574"/>
                <a:gd name="connsiteY93" fmla="*/ 4792028 h 6376035"/>
                <a:gd name="connsiteX94" fmla="*/ 241935 w 790574"/>
                <a:gd name="connsiteY94" fmla="*/ 4823460 h 6376035"/>
                <a:gd name="connsiteX95" fmla="*/ 211455 w 790574"/>
                <a:gd name="connsiteY95" fmla="*/ 5662613 h 6376035"/>
                <a:gd name="connsiteX96" fmla="*/ 273368 w 790574"/>
                <a:gd name="connsiteY96" fmla="*/ 5724525 h 6376035"/>
                <a:gd name="connsiteX97" fmla="*/ 335280 w 790574"/>
                <a:gd name="connsiteY97" fmla="*/ 5662613 h 6376035"/>
                <a:gd name="connsiteX98" fmla="*/ 273368 w 790574"/>
                <a:gd name="connsiteY98" fmla="*/ 5600700 h 6376035"/>
                <a:gd name="connsiteX99" fmla="*/ 211455 w 790574"/>
                <a:gd name="connsiteY99" fmla="*/ 5662613 h 6376035"/>
                <a:gd name="connsiteX100" fmla="*/ 228600 w 790574"/>
                <a:gd name="connsiteY100" fmla="*/ 5242560 h 6376035"/>
                <a:gd name="connsiteX101" fmla="*/ 272415 w 790574"/>
                <a:gd name="connsiteY101" fmla="*/ 5286375 h 6376035"/>
                <a:gd name="connsiteX102" fmla="*/ 316230 w 790574"/>
                <a:gd name="connsiteY102" fmla="*/ 5242560 h 6376035"/>
                <a:gd name="connsiteX103" fmla="*/ 272415 w 790574"/>
                <a:gd name="connsiteY103" fmla="*/ 5198745 h 6376035"/>
                <a:gd name="connsiteX104" fmla="*/ 228600 w 790574"/>
                <a:gd name="connsiteY104" fmla="*/ 5242560 h 6376035"/>
                <a:gd name="connsiteX105" fmla="*/ 241935 w 790574"/>
                <a:gd name="connsiteY105" fmla="*/ 4404360 h 6376035"/>
                <a:gd name="connsiteX106" fmla="*/ 273368 w 790574"/>
                <a:gd name="connsiteY106" fmla="*/ 4435793 h 6376035"/>
                <a:gd name="connsiteX107" fmla="*/ 304800 w 790574"/>
                <a:gd name="connsiteY107" fmla="*/ 4404360 h 6376035"/>
                <a:gd name="connsiteX108" fmla="*/ 273368 w 790574"/>
                <a:gd name="connsiteY108" fmla="*/ 4372928 h 6376035"/>
                <a:gd name="connsiteX109" fmla="*/ 241935 w 790574"/>
                <a:gd name="connsiteY109" fmla="*/ 4404360 h 6376035"/>
                <a:gd name="connsiteX110" fmla="*/ 241935 w 790574"/>
                <a:gd name="connsiteY110" fmla="*/ 4193858 h 6376035"/>
                <a:gd name="connsiteX111" fmla="*/ 273368 w 790574"/>
                <a:gd name="connsiteY111" fmla="*/ 4225290 h 6376035"/>
                <a:gd name="connsiteX112" fmla="*/ 304800 w 790574"/>
                <a:gd name="connsiteY112" fmla="*/ 4193858 h 6376035"/>
                <a:gd name="connsiteX113" fmla="*/ 273368 w 790574"/>
                <a:gd name="connsiteY113" fmla="*/ 4162425 h 6376035"/>
                <a:gd name="connsiteX114" fmla="*/ 241935 w 790574"/>
                <a:gd name="connsiteY114" fmla="*/ 4193858 h 6376035"/>
                <a:gd name="connsiteX115" fmla="*/ 241935 w 790574"/>
                <a:gd name="connsiteY115" fmla="*/ 4613910 h 6376035"/>
                <a:gd name="connsiteX116" fmla="*/ 273368 w 790574"/>
                <a:gd name="connsiteY116" fmla="*/ 4645343 h 6376035"/>
                <a:gd name="connsiteX117" fmla="*/ 304800 w 790574"/>
                <a:gd name="connsiteY117" fmla="*/ 4613910 h 6376035"/>
                <a:gd name="connsiteX118" fmla="*/ 273368 w 790574"/>
                <a:gd name="connsiteY118" fmla="*/ 4582478 h 6376035"/>
                <a:gd name="connsiteX119" fmla="*/ 241935 w 790574"/>
                <a:gd name="connsiteY119" fmla="*/ 4613910 h 6376035"/>
                <a:gd name="connsiteX120" fmla="*/ 195263 w 790574"/>
                <a:gd name="connsiteY120" fmla="*/ 5872163 h 6376035"/>
                <a:gd name="connsiteX121" fmla="*/ 273368 w 790574"/>
                <a:gd name="connsiteY121" fmla="*/ 5950268 h 6376035"/>
                <a:gd name="connsiteX122" fmla="*/ 351473 w 790574"/>
                <a:gd name="connsiteY122" fmla="*/ 5872163 h 6376035"/>
                <a:gd name="connsiteX123" fmla="*/ 273368 w 790574"/>
                <a:gd name="connsiteY123" fmla="*/ 5794058 h 6376035"/>
                <a:gd name="connsiteX124" fmla="*/ 195263 w 790574"/>
                <a:gd name="connsiteY124" fmla="*/ 5872163 h 6376035"/>
                <a:gd name="connsiteX125" fmla="*/ 241935 w 790574"/>
                <a:gd name="connsiteY125" fmla="*/ 4029075 h 6376035"/>
                <a:gd name="connsiteX126" fmla="*/ 273368 w 790574"/>
                <a:gd name="connsiteY126" fmla="*/ 4060508 h 6376035"/>
                <a:gd name="connsiteX127" fmla="*/ 304800 w 790574"/>
                <a:gd name="connsiteY127" fmla="*/ 4029075 h 6376035"/>
                <a:gd name="connsiteX128" fmla="*/ 273368 w 790574"/>
                <a:gd name="connsiteY128" fmla="*/ 3997643 h 6376035"/>
                <a:gd name="connsiteX129" fmla="*/ 241935 w 790574"/>
                <a:gd name="connsiteY129" fmla="*/ 4029075 h 6376035"/>
                <a:gd name="connsiteX130" fmla="*/ 241935 w 790574"/>
                <a:gd name="connsiteY130" fmla="*/ 3788093 h 6376035"/>
                <a:gd name="connsiteX131" fmla="*/ 273368 w 790574"/>
                <a:gd name="connsiteY131" fmla="*/ 3819525 h 6376035"/>
                <a:gd name="connsiteX132" fmla="*/ 304800 w 790574"/>
                <a:gd name="connsiteY132" fmla="*/ 3788093 h 6376035"/>
                <a:gd name="connsiteX133" fmla="*/ 273368 w 790574"/>
                <a:gd name="connsiteY133" fmla="*/ 3756660 h 6376035"/>
                <a:gd name="connsiteX134" fmla="*/ 241935 w 790574"/>
                <a:gd name="connsiteY134" fmla="*/ 3788093 h 6376035"/>
                <a:gd name="connsiteX135" fmla="*/ 241935 w 790574"/>
                <a:gd name="connsiteY135" fmla="*/ 3577590 h 6376035"/>
                <a:gd name="connsiteX136" fmla="*/ 273368 w 790574"/>
                <a:gd name="connsiteY136" fmla="*/ 3609023 h 6376035"/>
                <a:gd name="connsiteX137" fmla="*/ 304800 w 790574"/>
                <a:gd name="connsiteY137" fmla="*/ 3577590 h 6376035"/>
                <a:gd name="connsiteX138" fmla="*/ 273368 w 790574"/>
                <a:gd name="connsiteY138" fmla="*/ 3546158 h 6376035"/>
                <a:gd name="connsiteX139" fmla="*/ 241935 w 790574"/>
                <a:gd name="connsiteY139" fmla="*/ 3577590 h 6376035"/>
                <a:gd name="connsiteX140" fmla="*/ 241935 w 790574"/>
                <a:gd name="connsiteY140" fmla="*/ 3368040 h 6376035"/>
                <a:gd name="connsiteX141" fmla="*/ 273368 w 790574"/>
                <a:gd name="connsiteY141" fmla="*/ 3399473 h 6376035"/>
                <a:gd name="connsiteX142" fmla="*/ 304800 w 790574"/>
                <a:gd name="connsiteY142" fmla="*/ 3368040 h 6376035"/>
                <a:gd name="connsiteX143" fmla="*/ 273368 w 790574"/>
                <a:gd name="connsiteY143" fmla="*/ 3336608 h 6376035"/>
                <a:gd name="connsiteX144" fmla="*/ 241935 w 790574"/>
                <a:gd name="connsiteY144" fmla="*/ 3368040 h 6376035"/>
                <a:gd name="connsiteX145" fmla="*/ 461963 w 790574"/>
                <a:gd name="connsiteY145" fmla="*/ 4026218 h 6376035"/>
                <a:gd name="connsiteX146" fmla="*/ 493395 w 790574"/>
                <a:gd name="connsiteY146" fmla="*/ 4057650 h 6376035"/>
                <a:gd name="connsiteX147" fmla="*/ 524828 w 790574"/>
                <a:gd name="connsiteY147" fmla="*/ 4026218 h 6376035"/>
                <a:gd name="connsiteX148" fmla="*/ 493395 w 790574"/>
                <a:gd name="connsiteY148" fmla="*/ 3994785 h 6376035"/>
                <a:gd name="connsiteX149" fmla="*/ 461963 w 790574"/>
                <a:gd name="connsiteY149" fmla="*/ 4026218 h 6376035"/>
                <a:gd name="connsiteX150" fmla="*/ 461963 w 790574"/>
                <a:gd name="connsiteY150" fmla="*/ 3813810 h 6376035"/>
                <a:gd name="connsiteX151" fmla="*/ 493395 w 790574"/>
                <a:gd name="connsiteY151" fmla="*/ 3845243 h 6376035"/>
                <a:gd name="connsiteX152" fmla="*/ 524828 w 790574"/>
                <a:gd name="connsiteY152" fmla="*/ 3813810 h 6376035"/>
                <a:gd name="connsiteX153" fmla="*/ 493395 w 790574"/>
                <a:gd name="connsiteY153" fmla="*/ 3782378 h 6376035"/>
                <a:gd name="connsiteX154" fmla="*/ 461963 w 790574"/>
                <a:gd name="connsiteY154" fmla="*/ 3813810 h 6376035"/>
                <a:gd name="connsiteX155" fmla="*/ 440055 w 790574"/>
                <a:gd name="connsiteY155" fmla="*/ 3175635 h 6376035"/>
                <a:gd name="connsiteX156" fmla="*/ 493395 w 790574"/>
                <a:gd name="connsiteY156" fmla="*/ 3228975 h 6376035"/>
                <a:gd name="connsiteX157" fmla="*/ 546735 w 790574"/>
                <a:gd name="connsiteY157" fmla="*/ 3175635 h 6376035"/>
                <a:gd name="connsiteX158" fmla="*/ 493395 w 790574"/>
                <a:gd name="connsiteY158" fmla="*/ 3122295 h 6376035"/>
                <a:gd name="connsiteX159" fmla="*/ 440055 w 790574"/>
                <a:gd name="connsiteY159" fmla="*/ 3175635 h 6376035"/>
                <a:gd name="connsiteX160" fmla="*/ 431483 w 790574"/>
                <a:gd name="connsiteY160" fmla="*/ 2963228 h 6376035"/>
                <a:gd name="connsiteX161" fmla="*/ 493395 w 790574"/>
                <a:gd name="connsiteY161" fmla="*/ 3025140 h 6376035"/>
                <a:gd name="connsiteX162" fmla="*/ 555308 w 790574"/>
                <a:gd name="connsiteY162" fmla="*/ 2963228 h 6376035"/>
                <a:gd name="connsiteX163" fmla="*/ 493395 w 790574"/>
                <a:gd name="connsiteY163" fmla="*/ 2901315 h 6376035"/>
                <a:gd name="connsiteX164" fmla="*/ 431483 w 790574"/>
                <a:gd name="connsiteY164" fmla="*/ 2963228 h 6376035"/>
                <a:gd name="connsiteX165" fmla="*/ 431483 w 790574"/>
                <a:gd name="connsiteY165" fmla="*/ 2538413 h 6376035"/>
                <a:gd name="connsiteX166" fmla="*/ 493395 w 790574"/>
                <a:gd name="connsiteY166" fmla="*/ 2600325 h 6376035"/>
                <a:gd name="connsiteX167" fmla="*/ 555308 w 790574"/>
                <a:gd name="connsiteY167" fmla="*/ 2538413 h 6376035"/>
                <a:gd name="connsiteX168" fmla="*/ 493395 w 790574"/>
                <a:gd name="connsiteY168" fmla="*/ 2476500 h 6376035"/>
                <a:gd name="connsiteX169" fmla="*/ 431483 w 790574"/>
                <a:gd name="connsiteY169" fmla="*/ 2538413 h 6376035"/>
                <a:gd name="connsiteX170" fmla="*/ 457200 w 790574"/>
                <a:gd name="connsiteY170" fmla="*/ 3601403 h 6376035"/>
                <a:gd name="connsiteX171" fmla="*/ 492443 w 790574"/>
                <a:gd name="connsiteY171" fmla="*/ 3636645 h 6376035"/>
                <a:gd name="connsiteX172" fmla="*/ 527685 w 790574"/>
                <a:gd name="connsiteY172" fmla="*/ 3601403 h 6376035"/>
                <a:gd name="connsiteX173" fmla="*/ 492443 w 790574"/>
                <a:gd name="connsiteY173" fmla="*/ 3566160 h 6376035"/>
                <a:gd name="connsiteX174" fmla="*/ 457200 w 790574"/>
                <a:gd name="connsiteY174" fmla="*/ 3601403 h 6376035"/>
                <a:gd name="connsiteX175" fmla="*/ 448628 w 790574"/>
                <a:gd name="connsiteY175" fmla="*/ 3388043 h 6376035"/>
                <a:gd name="connsiteX176" fmla="*/ 492443 w 790574"/>
                <a:gd name="connsiteY176" fmla="*/ 3431858 h 6376035"/>
                <a:gd name="connsiteX177" fmla="*/ 536258 w 790574"/>
                <a:gd name="connsiteY177" fmla="*/ 3388043 h 6376035"/>
                <a:gd name="connsiteX178" fmla="*/ 492443 w 790574"/>
                <a:gd name="connsiteY178" fmla="*/ 3344228 h 6376035"/>
                <a:gd name="connsiteX179" fmla="*/ 448628 w 790574"/>
                <a:gd name="connsiteY179" fmla="*/ 3388043 h 6376035"/>
                <a:gd name="connsiteX180" fmla="*/ 448628 w 790574"/>
                <a:gd name="connsiteY180" fmla="*/ 2112645 h 6376035"/>
                <a:gd name="connsiteX181" fmla="*/ 492443 w 790574"/>
                <a:gd name="connsiteY181" fmla="*/ 2156460 h 6376035"/>
                <a:gd name="connsiteX182" fmla="*/ 536258 w 790574"/>
                <a:gd name="connsiteY182" fmla="*/ 2112645 h 6376035"/>
                <a:gd name="connsiteX183" fmla="*/ 492443 w 790574"/>
                <a:gd name="connsiteY183" fmla="*/ 2068830 h 6376035"/>
                <a:gd name="connsiteX184" fmla="*/ 448628 w 790574"/>
                <a:gd name="connsiteY184" fmla="*/ 2112645 h 6376035"/>
                <a:gd name="connsiteX185" fmla="*/ 457200 w 790574"/>
                <a:gd name="connsiteY185" fmla="*/ 1900238 h 6376035"/>
                <a:gd name="connsiteX186" fmla="*/ 492443 w 790574"/>
                <a:gd name="connsiteY186" fmla="*/ 1935480 h 6376035"/>
                <a:gd name="connsiteX187" fmla="*/ 527685 w 790574"/>
                <a:gd name="connsiteY187" fmla="*/ 1900238 h 6376035"/>
                <a:gd name="connsiteX188" fmla="*/ 492443 w 790574"/>
                <a:gd name="connsiteY188" fmla="*/ 1864995 h 6376035"/>
                <a:gd name="connsiteX189" fmla="*/ 457200 w 790574"/>
                <a:gd name="connsiteY189" fmla="*/ 1900238 h 6376035"/>
                <a:gd name="connsiteX190" fmla="*/ 440055 w 790574"/>
                <a:gd name="connsiteY190" fmla="*/ 2325053 h 6376035"/>
                <a:gd name="connsiteX191" fmla="*/ 493395 w 790574"/>
                <a:gd name="connsiteY191" fmla="*/ 2378393 h 6376035"/>
                <a:gd name="connsiteX192" fmla="*/ 546735 w 790574"/>
                <a:gd name="connsiteY192" fmla="*/ 2325053 h 6376035"/>
                <a:gd name="connsiteX193" fmla="*/ 493395 w 790574"/>
                <a:gd name="connsiteY193" fmla="*/ 2271713 h 6376035"/>
                <a:gd name="connsiteX194" fmla="*/ 440055 w 790574"/>
                <a:gd name="connsiteY194" fmla="*/ 2325053 h 6376035"/>
                <a:gd name="connsiteX195" fmla="*/ 415290 w 790574"/>
                <a:gd name="connsiteY195" fmla="*/ 2750820 h 6376035"/>
                <a:gd name="connsiteX196" fmla="*/ 493395 w 790574"/>
                <a:gd name="connsiteY196" fmla="*/ 2828925 h 6376035"/>
                <a:gd name="connsiteX197" fmla="*/ 571500 w 790574"/>
                <a:gd name="connsiteY197" fmla="*/ 2750820 h 6376035"/>
                <a:gd name="connsiteX198" fmla="*/ 493395 w 790574"/>
                <a:gd name="connsiteY198" fmla="*/ 2672715 h 6376035"/>
                <a:gd name="connsiteX199" fmla="*/ 415290 w 790574"/>
                <a:gd name="connsiteY199" fmla="*/ 2750820 h 6376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790574" h="6376035">
                  <a:moveTo>
                    <a:pt x="634365" y="661988"/>
                  </a:moveTo>
                  <a:cubicBezTo>
                    <a:pt x="634365" y="704850"/>
                    <a:pt x="669608" y="740093"/>
                    <a:pt x="712470" y="740093"/>
                  </a:cubicBezTo>
                  <a:cubicBezTo>
                    <a:pt x="755333" y="740093"/>
                    <a:pt x="790575" y="704850"/>
                    <a:pt x="790575" y="661988"/>
                  </a:cubicBezTo>
                  <a:cubicBezTo>
                    <a:pt x="790575" y="619125"/>
                    <a:pt x="755333" y="583883"/>
                    <a:pt x="712470" y="583883"/>
                  </a:cubicBezTo>
                  <a:cubicBezTo>
                    <a:pt x="669608" y="583883"/>
                    <a:pt x="634365" y="619125"/>
                    <a:pt x="634365" y="661988"/>
                  </a:cubicBezTo>
                  <a:close/>
                  <a:moveTo>
                    <a:pt x="677228" y="1695450"/>
                  </a:moveTo>
                  <a:cubicBezTo>
                    <a:pt x="679133" y="1714500"/>
                    <a:pt x="696278" y="1729740"/>
                    <a:pt x="715328" y="1727835"/>
                  </a:cubicBezTo>
                  <a:cubicBezTo>
                    <a:pt x="734378" y="1725930"/>
                    <a:pt x="749618" y="1708785"/>
                    <a:pt x="747713" y="1689735"/>
                  </a:cubicBezTo>
                  <a:cubicBezTo>
                    <a:pt x="745808" y="1670685"/>
                    <a:pt x="728663" y="1655445"/>
                    <a:pt x="709613" y="1657350"/>
                  </a:cubicBezTo>
                  <a:cubicBezTo>
                    <a:pt x="690563" y="1659255"/>
                    <a:pt x="676275" y="1676400"/>
                    <a:pt x="677228" y="1695450"/>
                  </a:cubicBezTo>
                  <a:close/>
                  <a:moveTo>
                    <a:pt x="668655" y="1486853"/>
                  </a:moveTo>
                  <a:cubicBezTo>
                    <a:pt x="668655" y="1511618"/>
                    <a:pt x="688658" y="1530668"/>
                    <a:pt x="712470" y="1530668"/>
                  </a:cubicBezTo>
                  <a:cubicBezTo>
                    <a:pt x="736283" y="1530668"/>
                    <a:pt x="756285" y="1510665"/>
                    <a:pt x="756285" y="1486853"/>
                  </a:cubicBezTo>
                  <a:cubicBezTo>
                    <a:pt x="756285" y="1463040"/>
                    <a:pt x="736283" y="1443038"/>
                    <a:pt x="712470" y="1443038"/>
                  </a:cubicBezTo>
                  <a:cubicBezTo>
                    <a:pt x="688658" y="1443038"/>
                    <a:pt x="668655" y="1462088"/>
                    <a:pt x="668655" y="1486853"/>
                  </a:cubicBezTo>
                  <a:close/>
                  <a:moveTo>
                    <a:pt x="650558" y="1074420"/>
                  </a:moveTo>
                  <a:cubicBezTo>
                    <a:pt x="650558" y="1108710"/>
                    <a:pt x="678180" y="1136333"/>
                    <a:pt x="712470" y="1136333"/>
                  </a:cubicBezTo>
                  <a:cubicBezTo>
                    <a:pt x="746760" y="1136333"/>
                    <a:pt x="774383" y="1108710"/>
                    <a:pt x="774383" y="1074420"/>
                  </a:cubicBezTo>
                  <a:cubicBezTo>
                    <a:pt x="774383" y="1040130"/>
                    <a:pt x="746760" y="1012508"/>
                    <a:pt x="712470" y="1012508"/>
                  </a:cubicBezTo>
                  <a:cubicBezTo>
                    <a:pt x="678180" y="1012508"/>
                    <a:pt x="650558" y="1040130"/>
                    <a:pt x="650558" y="1074420"/>
                  </a:cubicBezTo>
                  <a:close/>
                  <a:moveTo>
                    <a:pt x="660083" y="249555"/>
                  </a:moveTo>
                  <a:cubicBezTo>
                    <a:pt x="660083" y="279083"/>
                    <a:pt x="683895" y="302895"/>
                    <a:pt x="713423" y="302895"/>
                  </a:cubicBezTo>
                  <a:cubicBezTo>
                    <a:pt x="742950" y="302895"/>
                    <a:pt x="766763" y="279083"/>
                    <a:pt x="766763" y="249555"/>
                  </a:cubicBezTo>
                  <a:cubicBezTo>
                    <a:pt x="766763" y="220027"/>
                    <a:pt x="742950" y="196215"/>
                    <a:pt x="713423" y="196215"/>
                  </a:cubicBezTo>
                  <a:cubicBezTo>
                    <a:pt x="683895" y="197167"/>
                    <a:pt x="660083" y="220980"/>
                    <a:pt x="660083" y="249555"/>
                  </a:cubicBezTo>
                  <a:close/>
                  <a:moveTo>
                    <a:pt x="668655" y="43815"/>
                  </a:moveTo>
                  <a:cubicBezTo>
                    <a:pt x="668655" y="68580"/>
                    <a:pt x="688658" y="87630"/>
                    <a:pt x="712470" y="87630"/>
                  </a:cubicBezTo>
                  <a:cubicBezTo>
                    <a:pt x="736283" y="87630"/>
                    <a:pt x="756285" y="67627"/>
                    <a:pt x="756285" y="43815"/>
                  </a:cubicBezTo>
                  <a:cubicBezTo>
                    <a:pt x="756285" y="19050"/>
                    <a:pt x="736283" y="0"/>
                    <a:pt x="712470" y="0"/>
                  </a:cubicBezTo>
                  <a:cubicBezTo>
                    <a:pt x="688658" y="0"/>
                    <a:pt x="668655" y="19050"/>
                    <a:pt x="668655" y="43815"/>
                  </a:cubicBezTo>
                  <a:close/>
                  <a:moveTo>
                    <a:pt x="660083" y="1280160"/>
                  </a:moveTo>
                  <a:cubicBezTo>
                    <a:pt x="660083" y="1309688"/>
                    <a:pt x="683895" y="1333500"/>
                    <a:pt x="713423" y="1333500"/>
                  </a:cubicBezTo>
                  <a:cubicBezTo>
                    <a:pt x="742950" y="1333500"/>
                    <a:pt x="766763" y="1309688"/>
                    <a:pt x="766763" y="1280160"/>
                  </a:cubicBezTo>
                  <a:cubicBezTo>
                    <a:pt x="766763" y="1250633"/>
                    <a:pt x="742950" y="1226820"/>
                    <a:pt x="713423" y="1226820"/>
                  </a:cubicBezTo>
                  <a:cubicBezTo>
                    <a:pt x="683895" y="1227773"/>
                    <a:pt x="660083" y="1251585"/>
                    <a:pt x="660083" y="1280160"/>
                  </a:cubicBezTo>
                  <a:close/>
                  <a:moveTo>
                    <a:pt x="650558" y="456248"/>
                  </a:moveTo>
                  <a:cubicBezTo>
                    <a:pt x="650558" y="490538"/>
                    <a:pt x="678180" y="518160"/>
                    <a:pt x="712470" y="518160"/>
                  </a:cubicBezTo>
                  <a:cubicBezTo>
                    <a:pt x="746760" y="518160"/>
                    <a:pt x="774383" y="490538"/>
                    <a:pt x="774383" y="456248"/>
                  </a:cubicBezTo>
                  <a:cubicBezTo>
                    <a:pt x="774383" y="421958"/>
                    <a:pt x="746760" y="394335"/>
                    <a:pt x="712470" y="394335"/>
                  </a:cubicBezTo>
                  <a:cubicBezTo>
                    <a:pt x="678180" y="394335"/>
                    <a:pt x="650558" y="421958"/>
                    <a:pt x="650558" y="456248"/>
                  </a:cubicBezTo>
                  <a:close/>
                  <a:moveTo>
                    <a:pt x="634365" y="868680"/>
                  </a:moveTo>
                  <a:cubicBezTo>
                    <a:pt x="634365" y="911543"/>
                    <a:pt x="669608" y="946785"/>
                    <a:pt x="712470" y="946785"/>
                  </a:cubicBezTo>
                  <a:cubicBezTo>
                    <a:pt x="755333" y="946785"/>
                    <a:pt x="790575" y="911543"/>
                    <a:pt x="790575" y="868680"/>
                  </a:cubicBezTo>
                  <a:cubicBezTo>
                    <a:pt x="790575" y="825818"/>
                    <a:pt x="756285" y="790575"/>
                    <a:pt x="712470" y="790575"/>
                  </a:cubicBezTo>
                  <a:cubicBezTo>
                    <a:pt x="668655" y="790575"/>
                    <a:pt x="634365" y="824865"/>
                    <a:pt x="634365" y="868680"/>
                  </a:cubicBezTo>
                  <a:close/>
                  <a:moveTo>
                    <a:pt x="18098" y="1695450"/>
                  </a:moveTo>
                  <a:cubicBezTo>
                    <a:pt x="20003" y="1714500"/>
                    <a:pt x="37148" y="1729740"/>
                    <a:pt x="56198" y="1727835"/>
                  </a:cubicBezTo>
                  <a:cubicBezTo>
                    <a:pt x="75248" y="1725930"/>
                    <a:pt x="90488" y="1708785"/>
                    <a:pt x="88583" y="1689735"/>
                  </a:cubicBezTo>
                  <a:cubicBezTo>
                    <a:pt x="86678" y="1670685"/>
                    <a:pt x="69533" y="1655445"/>
                    <a:pt x="50483" y="1657350"/>
                  </a:cubicBezTo>
                  <a:cubicBezTo>
                    <a:pt x="30480" y="1659255"/>
                    <a:pt x="16193" y="1676400"/>
                    <a:pt x="18098" y="1695450"/>
                  </a:cubicBezTo>
                  <a:close/>
                  <a:moveTo>
                    <a:pt x="9525" y="1486853"/>
                  </a:moveTo>
                  <a:cubicBezTo>
                    <a:pt x="9525" y="1511618"/>
                    <a:pt x="29528" y="1530668"/>
                    <a:pt x="53340" y="1530668"/>
                  </a:cubicBezTo>
                  <a:cubicBezTo>
                    <a:pt x="77153" y="1530668"/>
                    <a:pt x="97155" y="1510665"/>
                    <a:pt x="97155" y="1486853"/>
                  </a:cubicBezTo>
                  <a:cubicBezTo>
                    <a:pt x="97155" y="1463040"/>
                    <a:pt x="77153" y="1443038"/>
                    <a:pt x="53340" y="1443038"/>
                  </a:cubicBezTo>
                  <a:cubicBezTo>
                    <a:pt x="29528" y="1443038"/>
                    <a:pt x="9525" y="1462088"/>
                    <a:pt x="9525" y="1486853"/>
                  </a:cubicBezTo>
                  <a:close/>
                  <a:moveTo>
                    <a:pt x="0" y="1280160"/>
                  </a:moveTo>
                  <a:cubicBezTo>
                    <a:pt x="0" y="1309688"/>
                    <a:pt x="23813" y="1333500"/>
                    <a:pt x="53340" y="1333500"/>
                  </a:cubicBezTo>
                  <a:cubicBezTo>
                    <a:pt x="82868" y="1333500"/>
                    <a:pt x="106680" y="1309688"/>
                    <a:pt x="106680" y="1280160"/>
                  </a:cubicBezTo>
                  <a:cubicBezTo>
                    <a:pt x="106680" y="1250633"/>
                    <a:pt x="82868" y="1226820"/>
                    <a:pt x="53340" y="1226820"/>
                  </a:cubicBezTo>
                  <a:cubicBezTo>
                    <a:pt x="23813" y="1226820"/>
                    <a:pt x="0" y="1251585"/>
                    <a:pt x="0" y="1280160"/>
                  </a:cubicBezTo>
                  <a:close/>
                  <a:moveTo>
                    <a:pt x="0" y="2106930"/>
                  </a:moveTo>
                  <a:cubicBezTo>
                    <a:pt x="0" y="2136458"/>
                    <a:pt x="23813" y="2160270"/>
                    <a:pt x="53340" y="2160270"/>
                  </a:cubicBezTo>
                  <a:cubicBezTo>
                    <a:pt x="82868" y="2160270"/>
                    <a:pt x="106680" y="2136458"/>
                    <a:pt x="106680" y="2106930"/>
                  </a:cubicBezTo>
                  <a:cubicBezTo>
                    <a:pt x="106680" y="2077403"/>
                    <a:pt x="82868" y="2053590"/>
                    <a:pt x="53340" y="2053590"/>
                  </a:cubicBezTo>
                  <a:cubicBezTo>
                    <a:pt x="23813" y="2053590"/>
                    <a:pt x="0" y="2077403"/>
                    <a:pt x="0" y="2106930"/>
                  </a:cubicBezTo>
                  <a:close/>
                  <a:moveTo>
                    <a:pt x="9525" y="1900238"/>
                  </a:moveTo>
                  <a:cubicBezTo>
                    <a:pt x="9525" y="1925003"/>
                    <a:pt x="29528" y="1944053"/>
                    <a:pt x="53340" y="1944053"/>
                  </a:cubicBezTo>
                  <a:cubicBezTo>
                    <a:pt x="77153" y="1944053"/>
                    <a:pt x="97155" y="1924050"/>
                    <a:pt x="97155" y="1900238"/>
                  </a:cubicBezTo>
                  <a:cubicBezTo>
                    <a:pt x="97155" y="1876425"/>
                    <a:pt x="77153" y="1856423"/>
                    <a:pt x="53340" y="1856423"/>
                  </a:cubicBezTo>
                  <a:cubicBezTo>
                    <a:pt x="29528" y="1856423"/>
                    <a:pt x="9525" y="1875473"/>
                    <a:pt x="9525" y="1900238"/>
                  </a:cubicBezTo>
                  <a:close/>
                  <a:moveTo>
                    <a:pt x="220028" y="6322695"/>
                  </a:moveTo>
                  <a:cubicBezTo>
                    <a:pt x="220028" y="6352223"/>
                    <a:pt x="243840" y="6376035"/>
                    <a:pt x="273368" y="6376035"/>
                  </a:cubicBezTo>
                  <a:cubicBezTo>
                    <a:pt x="302895" y="6376035"/>
                    <a:pt x="326708" y="6352223"/>
                    <a:pt x="326708" y="6322695"/>
                  </a:cubicBezTo>
                  <a:cubicBezTo>
                    <a:pt x="326708" y="6293168"/>
                    <a:pt x="302895" y="6269355"/>
                    <a:pt x="273368" y="6269355"/>
                  </a:cubicBezTo>
                  <a:cubicBezTo>
                    <a:pt x="243840" y="6269355"/>
                    <a:pt x="220028" y="6293168"/>
                    <a:pt x="220028" y="6322695"/>
                  </a:cubicBezTo>
                  <a:close/>
                  <a:moveTo>
                    <a:pt x="211455" y="6081713"/>
                  </a:moveTo>
                  <a:cubicBezTo>
                    <a:pt x="211455" y="6116003"/>
                    <a:pt x="239078" y="6143625"/>
                    <a:pt x="273368" y="6143625"/>
                  </a:cubicBezTo>
                  <a:cubicBezTo>
                    <a:pt x="307658" y="6143625"/>
                    <a:pt x="335280" y="6116003"/>
                    <a:pt x="335280" y="6081713"/>
                  </a:cubicBezTo>
                  <a:cubicBezTo>
                    <a:pt x="335280" y="6047423"/>
                    <a:pt x="307658" y="6019800"/>
                    <a:pt x="273368" y="6019800"/>
                  </a:cubicBezTo>
                  <a:cubicBezTo>
                    <a:pt x="239078" y="6019800"/>
                    <a:pt x="211455" y="6047423"/>
                    <a:pt x="211455" y="6081713"/>
                  </a:cubicBezTo>
                  <a:close/>
                  <a:moveTo>
                    <a:pt x="220028" y="5452110"/>
                  </a:moveTo>
                  <a:cubicBezTo>
                    <a:pt x="220028" y="5481638"/>
                    <a:pt x="243840" y="5505450"/>
                    <a:pt x="273368" y="5505450"/>
                  </a:cubicBezTo>
                  <a:cubicBezTo>
                    <a:pt x="302895" y="5505450"/>
                    <a:pt x="326708" y="5481638"/>
                    <a:pt x="326708" y="5452110"/>
                  </a:cubicBezTo>
                  <a:cubicBezTo>
                    <a:pt x="326708" y="5422583"/>
                    <a:pt x="302895" y="5398770"/>
                    <a:pt x="273368" y="5398770"/>
                  </a:cubicBezTo>
                  <a:cubicBezTo>
                    <a:pt x="243840" y="5398770"/>
                    <a:pt x="220028" y="5423535"/>
                    <a:pt x="220028" y="5452110"/>
                  </a:cubicBezTo>
                  <a:close/>
                  <a:moveTo>
                    <a:pt x="238125" y="5033010"/>
                  </a:moveTo>
                  <a:cubicBezTo>
                    <a:pt x="238125" y="5052060"/>
                    <a:pt x="254318" y="5068253"/>
                    <a:pt x="273368" y="5068253"/>
                  </a:cubicBezTo>
                  <a:cubicBezTo>
                    <a:pt x="292418" y="5068253"/>
                    <a:pt x="308610" y="5052060"/>
                    <a:pt x="308610" y="5033010"/>
                  </a:cubicBezTo>
                  <a:cubicBezTo>
                    <a:pt x="308610" y="5013960"/>
                    <a:pt x="292418" y="4997768"/>
                    <a:pt x="273368" y="4997768"/>
                  </a:cubicBezTo>
                  <a:cubicBezTo>
                    <a:pt x="254318" y="4997768"/>
                    <a:pt x="238125" y="5013960"/>
                    <a:pt x="238125" y="5033010"/>
                  </a:cubicBezTo>
                  <a:close/>
                  <a:moveTo>
                    <a:pt x="241935" y="4823460"/>
                  </a:moveTo>
                  <a:cubicBezTo>
                    <a:pt x="241935" y="4840605"/>
                    <a:pt x="256223" y="4854893"/>
                    <a:pt x="273368" y="4854893"/>
                  </a:cubicBezTo>
                  <a:cubicBezTo>
                    <a:pt x="290513" y="4854893"/>
                    <a:pt x="304800" y="4840605"/>
                    <a:pt x="304800" y="4823460"/>
                  </a:cubicBezTo>
                  <a:cubicBezTo>
                    <a:pt x="304800" y="4806315"/>
                    <a:pt x="290513" y="4792028"/>
                    <a:pt x="273368" y="4792028"/>
                  </a:cubicBezTo>
                  <a:cubicBezTo>
                    <a:pt x="256223" y="4792028"/>
                    <a:pt x="241935" y="4806315"/>
                    <a:pt x="241935" y="4823460"/>
                  </a:cubicBezTo>
                  <a:close/>
                  <a:moveTo>
                    <a:pt x="211455" y="5662613"/>
                  </a:moveTo>
                  <a:cubicBezTo>
                    <a:pt x="211455" y="5696903"/>
                    <a:pt x="239078" y="5724525"/>
                    <a:pt x="273368" y="5724525"/>
                  </a:cubicBezTo>
                  <a:cubicBezTo>
                    <a:pt x="307658" y="5724525"/>
                    <a:pt x="335280" y="5696903"/>
                    <a:pt x="335280" y="5662613"/>
                  </a:cubicBezTo>
                  <a:cubicBezTo>
                    <a:pt x="335280" y="5628323"/>
                    <a:pt x="307658" y="5600700"/>
                    <a:pt x="273368" y="5600700"/>
                  </a:cubicBezTo>
                  <a:cubicBezTo>
                    <a:pt x="239078" y="5600700"/>
                    <a:pt x="211455" y="5628323"/>
                    <a:pt x="211455" y="5662613"/>
                  </a:cubicBezTo>
                  <a:close/>
                  <a:moveTo>
                    <a:pt x="228600" y="5242560"/>
                  </a:moveTo>
                  <a:cubicBezTo>
                    <a:pt x="228600" y="5267325"/>
                    <a:pt x="248603" y="5286375"/>
                    <a:pt x="272415" y="5286375"/>
                  </a:cubicBezTo>
                  <a:cubicBezTo>
                    <a:pt x="296228" y="5286375"/>
                    <a:pt x="316230" y="5266373"/>
                    <a:pt x="316230" y="5242560"/>
                  </a:cubicBezTo>
                  <a:cubicBezTo>
                    <a:pt x="316230" y="5217795"/>
                    <a:pt x="296228" y="5198745"/>
                    <a:pt x="272415" y="5198745"/>
                  </a:cubicBezTo>
                  <a:cubicBezTo>
                    <a:pt x="248603" y="5198745"/>
                    <a:pt x="228600" y="5218748"/>
                    <a:pt x="228600" y="5242560"/>
                  </a:cubicBezTo>
                  <a:close/>
                  <a:moveTo>
                    <a:pt x="241935" y="4404360"/>
                  </a:moveTo>
                  <a:cubicBezTo>
                    <a:pt x="241935" y="4421505"/>
                    <a:pt x="256223" y="4435793"/>
                    <a:pt x="273368" y="4435793"/>
                  </a:cubicBezTo>
                  <a:cubicBezTo>
                    <a:pt x="290513" y="4435793"/>
                    <a:pt x="304800" y="4421505"/>
                    <a:pt x="304800" y="4404360"/>
                  </a:cubicBezTo>
                  <a:cubicBezTo>
                    <a:pt x="304800" y="4387215"/>
                    <a:pt x="290513" y="4372928"/>
                    <a:pt x="273368" y="4372928"/>
                  </a:cubicBezTo>
                  <a:cubicBezTo>
                    <a:pt x="256223" y="4372928"/>
                    <a:pt x="241935" y="4386263"/>
                    <a:pt x="241935" y="4404360"/>
                  </a:cubicBezTo>
                  <a:close/>
                  <a:moveTo>
                    <a:pt x="241935" y="4193858"/>
                  </a:moveTo>
                  <a:cubicBezTo>
                    <a:pt x="241935" y="4211003"/>
                    <a:pt x="256223" y="4225290"/>
                    <a:pt x="273368" y="4225290"/>
                  </a:cubicBezTo>
                  <a:cubicBezTo>
                    <a:pt x="290513" y="4225290"/>
                    <a:pt x="304800" y="4211003"/>
                    <a:pt x="304800" y="4193858"/>
                  </a:cubicBezTo>
                  <a:cubicBezTo>
                    <a:pt x="304800" y="4176713"/>
                    <a:pt x="290513" y="4162425"/>
                    <a:pt x="273368" y="4162425"/>
                  </a:cubicBezTo>
                  <a:cubicBezTo>
                    <a:pt x="256223" y="4163378"/>
                    <a:pt x="241935" y="4176713"/>
                    <a:pt x="241935" y="4193858"/>
                  </a:cubicBezTo>
                  <a:close/>
                  <a:moveTo>
                    <a:pt x="241935" y="4613910"/>
                  </a:moveTo>
                  <a:cubicBezTo>
                    <a:pt x="241935" y="4631055"/>
                    <a:pt x="256223" y="4645343"/>
                    <a:pt x="273368" y="4645343"/>
                  </a:cubicBezTo>
                  <a:cubicBezTo>
                    <a:pt x="290513" y="4645343"/>
                    <a:pt x="304800" y="4631055"/>
                    <a:pt x="304800" y="4613910"/>
                  </a:cubicBezTo>
                  <a:cubicBezTo>
                    <a:pt x="304800" y="4596765"/>
                    <a:pt x="290513" y="4582478"/>
                    <a:pt x="273368" y="4582478"/>
                  </a:cubicBezTo>
                  <a:cubicBezTo>
                    <a:pt x="256223" y="4582478"/>
                    <a:pt x="241935" y="4596765"/>
                    <a:pt x="241935" y="4613910"/>
                  </a:cubicBezTo>
                  <a:close/>
                  <a:moveTo>
                    <a:pt x="195263" y="5872163"/>
                  </a:moveTo>
                  <a:cubicBezTo>
                    <a:pt x="195263" y="5915025"/>
                    <a:pt x="230505" y="5950268"/>
                    <a:pt x="273368" y="5950268"/>
                  </a:cubicBezTo>
                  <a:cubicBezTo>
                    <a:pt x="316230" y="5950268"/>
                    <a:pt x="351473" y="5915025"/>
                    <a:pt x="351473" y="5872163"/>
                  </a:cubicBezTo>
                  <a:cubicBezTo>
                    <a:pt x="351473" y="5829300"/>
                    <a:pt x="316230" y="5794058"/>
                    <a:pt x="273368" y="5794058"/>
                  </a:cubicBezTo>
                  <a:cubicBezTo>
                    <a:pt x="230505" y="5794058"/>
                    <a:pt x="195263" y="5828348"/>
                    <a:pt x="195263" y="5872163"/>
                  </a:cubicBezTo>
                  <a:close/>
                  <a:moveTo>
                    <a:pt x="241935" y="4029075"/>
                  </a:moveTo>
                  <a:cubicBezTo>
                    <a:pt x="241935" y="4046220"/>
                    <a:pt x="256223" y="4060508"/>
                    <a:pt x="273368" y="4060508"/>
                  </a:cubicBezTo>
                  <a:cubicBezTo>
                    <a:pt x="290513" y="4060508"/>
                    <a:pt x="304800" y="4046220"/>
                    <a:pt x="304800" y="4029075"/>
                  </a:cubicBezTo>
                  <a:cubicBezTo>
                    <a:pt x="304800" y="4011930"/>
                    <a:pt x="290513" y="3997643"/>
                    <a:pt x="273368" y="3997643"/>
                  </a:cubicBezTo>
                  <a:cubicBezTo>
                    <a:pt x="256223" y="3997643"/>
                    <a:pt x="241935" y="4010978"/>
                    <a:pt x="241935" y="4029075"/>
                  </a:cubicBezTo>
                  <a:close/>
                  <a:moveTo>
                    <a:pt x="241935" y="3788093"/>
                  </a:moveTo>
                  <a:cubicBezTo>
                    <a:pt x="241935" y="3805238"/>
                    <a:pt x="256223" y="3819525"/>
                    <a:pt x="273368" y="3819525"/>
                  </a:cubicBezTo>
                  <a:cubicBezTo>
                    <a:pt x="290513" y="3819525"/>
                    <a:pt x="304800" y="3805238"/>
                    <a:pt x="304800" y="3788093"/>
                  </a:cubicBezTo>
                  <a:cubicBezTo>
                    <a:pt x="304800" y="3770948"/>
                    <a:pt x="290513" y="3756660"/>
                    <a:pt x="273368" y="3756660"/>
                  </a:cubicBezTo>
                  <a:cubicBezTo>
                    <a:pt x="256223" y="3756660"/>
                    <a:pt x="241935" y="3769995"/>
                    <a:pt x="241935" y="3788093"/>
                  </a:cubicBezTo>
                  <a:close/>
                  <a:moveTo>
                    <a:pt x="241935" y="3577590"/>
                  </a:moveTo>
                  <a:cubicBezTo>
                    <a:pt x="241935" y="3594735"/>
                    <a:pt x="256223" y="3609023"/>
                    <a:pt x="273368" y="3609023"/>
                  </a:cubicBezTo>
                  <a:cubicBezTo>
                    <a:pt x="290513" y="3609023"/>
                    <a:pt x="304800" y="3594735"/>
                    <a:pt x="304800" y="3577590"/>
                  </a:cubicBezTo>
                  <a:cubicBezTo>
                    <a:pt x="304800" y="3560445"/>
                    <a:pt x="290513" y="3546158"/>
                    <a:pt x="273368" y="3546158"/>
                  </a:cubicBezTo>
                  <a:cubicBezTo>
                    <a:pt x="256223" y="3547110"/>
                    <a:pt x="241935" y="3560445"/>
                    <a:pt x="241935" y="3577590"/>
                  </a:cubicBezTo>
                  <a:close/>
                  <a:moveTo>
                    <a:pt x="241935" y="3368040"/>
                  </a:moveTo>
                  <a:cubicBezTo>
                    <a:pt x="241935" y="3385185"/>
                    <a:pt x="256223" y="3399473"/>
                    <a:pt x="273368" y="3399473"/>
                  </a:cubicBezTo>
                  <a:cubicBezTo>
                    <a:pt x="290513" y="3399473"/>
                    <a:pt x="304800" y="3385185"/>
                    <a:pt x="304800" y="3368040"/>
                  </a:cubicBezTo>
                  <a:cubicBezTo>
                    <a:pt x="304800" y="3350895"/>
                    <a:pt x="290513" y="3336608"/>
                    <a:pt x="273368" y="3336608"/>
                  </a:cubicBezTo>
                  <a:cubicBezTo>
                    <a:pt x="256223" y="3336608"/>
                    <a:pt x="241935" y="3350895"/>
                    <a:pt x="241935" y="3368040"/>
                  </a:cubicBezTo>
                  <a:close/>
                  <a:moveTo>
                    <a:pt x="461963" y="4026218"/>
                  </a:moveTo>
                  <a:cubicBezTo>
                    <a:pt x="461963" y="4043363"/>
                    <a:pt x="476250" y="4057650"/>
                    <a:pt x="493395" y="4057650"/>
                  </a:cubicBezTo>
                  <a:cubicBezTo>
                    <a:pt x="510540" y="4057650"/>
                    <a:pt x="524828" y="4043363"/>
                    <a:pt x="524828" y="4026218"/>
                  </a:cubicBezTo>
                  <a:cubicBezTo>
                    <a:pt x="524828" y="4009073"/>
                    <a:pt x="510540" y="3994785"/>
                    <a:pt x="493395" y="3994785"/>
                  </a:cubicBezTo>
                  <a:cubicBezTo>
                    <a:pt x="475298" y="3994785"/>
                    <a:pt x="461963" y="4009073"/>
                    <a:pt x="461963" y="4026218"/>
                  </a:cubicBezTo>
                  <a:close/>
                  <a:moveTo>
                    <a:pt x="461963" y="3813810"/>
                  </a:moveTo>
                  <a:cubicBezTo>
                    <a:pt x="461963" y="3830955"/>
                    <a:pt x="476250" y="3845243"/>
                    <a:pt x="493395" y="3845243"/>
                  </a:cubicBezTo>
                  <a:cubicBezTo>
                    <a:pt x="510540" y="3845243"/>
                    <a:pt x="524828" y="3830955"/>
                    <a:pt x="524828" y="3813810"/>
                  </a:cubicBezTo>
                  <a:cubicBezTo>
                    <a:pt x="524828" y="3796665"/>
                    <a:pt x="510540" y="3782378"/>
                    <a:pt x="493395" y="3782378"/>
                  </a:cubicBezTo>
                  <a:cubicBezTo>
                    <a:pt x="475298" y="3782378"/>
                    <a:pt x="461963" y="3796665"/>
                    <a:pt x="461963" y="3813810"/>
                  </a:cubicBezTo>
                  <a:close/>
                  <a:moveTo>
                    <a:pt x="440055" y="3175635"/>
                  </a:moveTo>
                  <a:cubicBezTo>
                    <a:pt x="440055" y="3205163"/>
                    <a:pt x="463868" y="3228975"/>
                    <a:pt x="493395" y="3228975"/>
                  </a:cubicBezTo>
                  <a:cubicBezTo>
                    <a:pt x="522923" y="3228975"/>
                    <a:pt x="546735" y="3205163"/>
                    <a:pt x="546735" y="3175635"/>
                  </a:cubicBezTo>
                  <a:cubicBezTo>
                    <a:pt x="546735" y="3146108"/>
                    <a:pt x="522923" y="3122295"/>
                    <a:pt x="493395" y="3122295"/>
                  </a:cubicBezTo>
                  <a:cubicBezTo>
                    <a:pt x="463868" y="3122295"/>
                    <a:pt x="440055" y="3147060"/>
                    <a:pt x="440055" y="3175635"/>
                  </a:cubicBezTo>
                  <a:close/>
                  <a:moveTo>
                    <a:pt x="431483" y="2963228"/>
                  </a:moveTo>
                  <a:cubicBezTo>
                    <a:pt x="431483" y="2997518"/>
                    <a:pt x="459105" y="3025140"/>
                    <a:pt x="493395" y="3025140"/>
                  </a:cubicBezTo>
                  <a:cubicBezTo>
                    <a:pt x="527685" y="3025140"/>
                    <a:pt x="555308" y="2997518"/>
                    <a:pt x="555308" y="2963228"/>
                  </a:cubicBezTo>
                  <a:cubicBezTo>
                    <a:pt x="555308" y="2928938"/>
                    <a:pt x="527685" y="2901315"/>
                    <a:pt x="493395" y="2901315"/>
                  </a:cubicBezTo>
                  <a:cubicBezTo>
                    <a:pt x="459105" y="2901315"/>
                    <a:pt x="431483" y="2928938"/>
                    <a:pt x="431483" y="2963228"/>
                  </a:cubicBezTo>
                  <a:moveTo>
                    <a:pt x="431483" y="2538413"/>
                  </a:moveTo>
                  <a:cubicBezTo>
                    <a:pt x="431483" y="2572703"/>
                    <a:pt x="459105" y="2600325"/>
                    <a:pt x="493395" y="2600325"/>
                  </a:cubicBezTo>
                  <a:cubicBezTo>
                    <a:pt x="527685" y="2600325"/>
                    <a:pt x="555308" y="2572703"/>
                    <a:pt x="555308" y="2538413"/>
                  </a:cubicBezTo>
                  <a:cubicBezTo>
                    <a:pt x="555308" y="2504123"/>
                    <a:pt x="527685" y="2476500"/>
                    <a:pt x="493395" y="2476500"/>
                  </a:cubicBezTo>
                  <a:cubicBezTo>
                    <a:pt x="459105" y="2476500"/>
                    <a:pt x="431483" y="2504123"/>
                    <a:pt x="431483" y="2538413"/>
                  </a:cubicBezTo>
                  <a:moveTo>
                    <a:pt x="457200" y="3601403"/>
                  </a:moveTo>
                  <a:cubicBezTo>
                    <a:pt x="457200" y="3620453"/>
                    <a:pt x="473393" y="3636645"/>
                    <a:pt x="492443" y="3636645"/>
                  </a:cubicBezTo>
                  <a:cubicBezTo>
                    <a:pt x="511493" y="3636645"/>
                    <a:pt x="527685" y="3620453"/>
                    <a:pt x="527685" y="3601403"/>
                  </a:cubicBezTo>
                  <a:cubicBezTo>
                    <a:pt x="527685" y="3582353"/>
                    <a:pt x="511493" y="3566160"/>
                    <a:pt x="492443" y="3566160"/>
                  </a:cubicBezTo>
                  <a:cubicBezTo>
                    <a:pt x="473393" y="3566160"/>
                    <a:pt x="457200" y="3581400"/>
                    <a:pt x="457200" y="3601403"/>
                  </a:cubicBezTo>
                  <a:close/>
                  <a:moveTo>
                    <a:pt x="448628" y="3388043"/>
                  </a:moveTo>
                  <a:cubicBezTo>
                    <a:pt x="448628" y="3412808"/>
                    <a:pt x="468630" y="3431858"/>
                    <a:pt x="492443" y="3431858"/>
                  </a:cubicBezTo>
                  <a:cubicBezTo>
                    <a:pt x="517208" y="3431858"/>
                    <a:pt x="536258" y="3411855"/>
                    <a:pt x="536258" y="3388043"/>
                  </a:cubicBezTo>
                  <a:cubicBezTo>
                    <a:pt x="536258" y="3363278"/>
                    <a:pt x="516255" y="3344228"/>
                    <a:pt x="492443" y="3344228"/>
                  </a:cubicBezTo>
                  <a:cubicBezTo>
                    <a:pt x="468630" y="3344228"/>
                    <a:pt x="448628" y="3364230"/>
                    <a:pt x="448628" y="3388043"/>
                  </a:cubicBezTo>
                  <a:close/>
                  <a:moveTo>
                    <a:pt x="448628" y="2112645"/>
                  </a:moveTo>
                  <a:cubicBezTo>
                    <a:pt x="448628" y="2137410"/>
                    <a:pt x="468630" y="2156460"/>
                    <a:pt x="492443" y="2156460"/>
                  </a:cubicBezTo>
                  <a:cubicBezTo>
                    <a:pt x="517208" y="2156460"/>
                    <a:pt x="536258" y="2136458"/>
                    <a:pt x="536258" y="2112645"/>
                  </a:cubicBezTo>
                  <a:cubicBezTo>
                    <a:pt x="536258" y="2088832"/>
                    <a:pt x="516255" y="2068830"/>
                    <a:pt x="492443" y="2068830"/>
                  </a:cubicBezTo>
                  <a:cubicBezTo>
                    <a:pt x="468630" y="2068830"/>
                    <a:pt x="448628" y="2088832"/>
                    <a:pt x="448628" y="2112645"/>
                  </a:cubicBezTo>
                  <a:close/>
                  <a:moveTo>
                    <a:pt x="457200" y="1900238"/>
                  </a:moveTo>
                  <a:cubicBezTo>
                    <a:pt x="457200" y="1919288"/>
                    <a:pt x="473393" y="1935480"/>
                    <a:pt x="492443" y="1935480"/>
                  </a:cubicBezTo>
                  <a:cubicBezTo>
                    <a:pt x="511493" y="1935480"/>
                    <a:pt x="527685" y="1919288"/>
                    <a:pt x="527685" y="1900238"/>
                  </a:cubicBezTo>
                  <a:cubicBezTo>
                    <a:pt x="527685" y="1881188"/>
                    <a:pt x="511493" y="1864995"/>
                    <a:pt x="492443" y="1864995"/>
                  </a:cubicBezTo>
                  <a:cubicBezTo>
                    <a:pt x="473393" y="1864995"/>
                    <a:pt x="457200" y="1881188"/>
                    <a:pt x="457200" y="1900238"/>
                  </a:cubicBezTo>
                  <a:close/>
                  <a:moveTo>
                    <a:pt x="440055" y="2325053"/>
                  </a:moveTo>
                  <a:cubicBezTo>
                    <a:pt x="440055" y="2354580"/>
                    <a:pt x="463868" y="2378393"/>
                    <a:pt x="493395" y="2378393"/>
                  </a:cubicBezTo>
                  <a:cubicBezTo>
                    <a:pt x="522923" y="2378393"/>
                    <a:pt x="546735" y="2354580"/>
                    <a:pt x="546735" y="2325053"/>
                  </a:cubicBezTo>
                  <a:cubicBezTo>
                    <a:pt x="546735" y="2295525"/>
                    <a:pt x="522923" y="2271713"/>
                    <a:pt x="493395" y="2271713"/>
                  </a:cubicBezTo>
                  <a:cubicBezTo>
                    <a:pt x="463868" y="2271713"/>
                    <a:pt x="440055" y="2296478"/>
                    <a:pt x="440055" y="2325053"/>
                  </a:cubicBezTo>
                  <a:close/>
                  <a:moveTo>
                    <a:pt x="415290" y="2750820"/>
                  </a:moveTo>
                  <a:cubicBezTo>
                    <a:pt x="415290" y="2793683"/>
                    <a:pt x="450533" y="2828925"/>
                    <a:pt x="493395" y="2828925"/>
                  </a:cubicBezTo>
                  <a:cubicBezTo>
                    <a:pt x="536258" y="2828925"/>
                    <a:pt x="571500" y="2793683"/>
                    <a:pt x="571500" y="2750820"/>
                  </a:cubicBezTo>
                  <a:cubicBezTo>
                    <a:pt x="571500" y="2707958"/>
                    <a:pt x="536258" y="2672715"/>
                    <a:pt x="493395" y="2672715"/>
                  </a:cubicBezTo>
                  <a:cubicBezTo>
                    <a:pt x="450533" y="2672715"/>
                    <a:pt x="415290" y="2707958"/>
                    <a:pt x="415290" y="2750820"/>
                  </a:cubicBezTo>
                </a:path>
              </a:pathLst>
            </a:custGeom>
            <a:solidFill>
              <a:srgbClr val="00A3D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BEB4D27-6C0E-46F9-B0BD-3744D002D7B9}"/>
              </a:ext>
            </a:extLst>
          </p:cNvPr>
          <p:cNvGrpSpPr/>
          <p:nvPr userDrawn="1"/>
        </p:nvGrpSpPr>
        <p:grpSpPr>
          <a:xfrm>
            <a:off x="722501" y="6477000"/>
            <a:ext cx="2202990" cy="381000"/>
            <a:chOff x="549275" y="6477000"/>
            <a:chExt cx="2202416" cy="381000"/>
          </a:xfrm>
        </p:grpSpPr>
        <p:sp>
          <p:nvSpPr>
            <p:cNvPr id="32" name="BR Logo">
              <a:extLst>
                <a:ext uri="{FF2B5EF4-FFF2-40B4-BE49-F238E27FC236}">
                  <a16:creationId xmlns:a16="http://schemas.microsoft.com/office/drawing/2014/main" id="{4C0AE39B-5E63-42CB-9EEC-F544E21A0DEE}"/>
                </a:ext>
              </a:extLst>
            </p:cNvPr>
            <p:cNvSpPr/>
            <p:nvPr userDrawn="1"/>
          </p:nvSpPr>
          <p:spPr>
            <a:xfrm>
              <a:off x="549275" y="6568107"/>
              <a:ext cx="943806" cy="191218"/>
            </a:xfrm>
            <a:custGeom>
              <a:avLst/>
              <a:gdLst>
                <a:gd name="connsiteX0" fmla="*/ 1803083 w 6365557"/>
                <a:gd name="connsiteY0" fmla="*/ 1002983 h 1289684"/>
                <a:gd name="connsiteX1" fmla="*/ 1579245 w 6365557"/>
                <a:gd name="connsiteY1" fmla="*/ 1002983 h 1289684"/>
                <a:gd name="connsiteX2" fmla="*/ 1579245 w 6365557"/>
                <a:gd name="connsiteY2" fmla="*/ 322898 h 1289684"/>
                <a:gd name="connsiteX3" fmla="*/ 1805940 w 6365557"/>
                <a:gd name="connsiteY3" fmla="*/ 322898 h 1289684"/>
                <a:gd name="connsiteX4" fmla="*/ 2041208 w 6365557"/>
                <a:gd name="connsiteY4" fmla="*/ 492443 h 1289684"/>
                <a:gd name="connsiteX5" fmla="*/ 1920240 w 6365557"/>
                <a:gd name="connsiteY5" fmla="*/ 648653 h 1289684"/>
                <a:gd name="connsiteX6" fmla="*/ 1920240 w 6365557"/>
                <a:gd name="connsiteY6" fmla="*/ 650558 h 1289684"/>
                <a:gd name="connsiteX7" fmla="*/ 2069783 w 6365557"/>
                <a:gd name="connsiteY7" fmla="*/ 814388 h 1289684"/>
                <a:gd name="connsiteX8" fmla="*/ 1803083 w 6365557"/>
                <a:gd name="connsiteY8" fmla="*/ 1002983 h 1289684"/>
                <a:gd name="connsiteX9" fmla="*/ 1790700 w 6365557"/>
                <a:gd name="connsiteY9" fmla="*/ 433388 h 1289684"/>
                <a:gd name="connsiteX10" fmla="*/ 1707833 w 6365557"/>
                <a:gd name="connsiteY10" fmla="*/ 433388 h 1289684"/>
                <a:gd name="connsiteX11" fmla="*/ 1707833 w 6365557"/>
                <a:gd name="connsiteY11" fmla="*/ 602933 h 1289684"/>
                <a:gd name="connsiteX12" fmla="*/ 1787843 w 6365557"/>
                <a:gd name="connsiteY12" fmla="*/ 602933 h 1289684"/>
                <a:gd name="connsiteX13" fmla="*/ 1899285 w 6365557"/>
                <a:gd name="connsiteY13" fmla="*/ 515303 h 1289684"/>
                <a:gd name="connsiteX14" fmla="*/ 1790700 w 6365557"/>
                <a:gd name="connsiteY14" fmla="*/ 433388 h 1289684"/>
                <a:gd name="connsiteX15" fmla="*/ 1789748 w 6365557"/>
                <a:gd name="connsiteY15" fmla="*/ 705803 h 1289684"/>
                <a:gd name="connsiteX16" fmla="*/ 1707833 w 6365557"/>
                <a:gd name="connsiteY16" fmla="*/ 705803 h 1289684"/>
                <a:gd name="connsiteX17" fmla="*/ 1707833 w 6365557"/>
                <a:gd name="connsiteY17" fmla="*/ 892493 h 1289684"/>
                <a:gd name="connsiteX18" fmla="*/ 1783080 w 6365557"/>
                <a:gd name="connsiteY18" fmla="*/ 892493 h 1289684"/>
                <a:gd name="connsiteX19" fmla="*/ 1909763 w 6365557"/>
                <a:gd name="connsiteY19" fmla="*/ 801053 h 1289684"/>
                <a:gd name="connsiteX20" fmla="*/ 1789748 w 6365557"/>
                <a:gd name="connsiteY20" fmla="*/ 705803 h 1289684"/>
                <a:gd name="connsiteX21" fmla="*/ 2473643 w 6365557"/>
                <a:gd name="connsiteY21" fmla="*/ 506730 h 1289684"/>
                <a:gd name="connsiteX22" fmla="*/ 2406015 w 6365557"/>
                <a:gd name="connsiteY22" fmla="*/ 493395 h 1289684"/>
                <a:gd name="connsiteX23" fmla="*/ 2280285 w 6365557"/>
                <a:gd name="connsiteY23" fmla="*/ 573405 h 1289684"/>
                <a:gd name="connsiteX24" fmla="*/ 2280285 w 6365557"/>
                <a:gd name="connsiteY24" fmla="*/ 505778 h 1289684"/>
                <a:gd name="connsiteX25" fmla="*/ 2144078 w 6365557"/>
                <a:gd name="connsiteY25" fmla="*/ 505778 h 1289684"/>
                <a:gd name="connsiteX26" fmla="*/ 2144078 w 6365557"/>
                <a:gd name="connsiteY26" fmla="*/ 1002983 h 1289684"/>
                <a:gd name="connsiteX27" fmla="*/ 2280285 w 6365557"/>
                <a:gd name="connsiteY27" fmla="*/ 1002983 h 1289684"/>
                <a:gd name="connsiteX28" fmla="*/ 2280285 w 6365557"/>
                <a:gd name="connsiteY28" fmla="*/ 689610 h 1289684"/>
                <a:gd name="connsiteX29" fmla="*/ 2388870 w 6365557"/>
                <a:gd name="connsiteY29" fmla="*/ 614363 h 1289684"/>
                <a:gd name="connsiteX30" fmla="*/ 2441258 w 6365557"/>
                <a:gd name="connsiteY30" fmla="*/ 625793 h 1289684"/>
                <a:gd name="connsiteX31" fmla="*/ 2473643 w 6365557"/>
                <a:gd name="connsiteY31" fmla="*/ 506730 h 1289684"/>
                <a:gd name="connsiteX32" fmla="*/ 2715578 w 6365557"/>
                <a:gd name="connsiteY32" fmla="*/ 1015365 h 1289684"/>
                <a:gd name="connsiteX33" fmla="*/ 2466023 w 6365557"/>
                <a:gd name="connsiteY33" fmla="*/ 756285 h 1289684"/>
                <a:gd name="connsiteX34" fmla="*/ 2714625 w 6365557"/>
                <a:gd name="connsiteY34" fmla="*/ 493395 h 1289684"/>
                <a:gd name="connsiteX35" fmla="*/ 2967038 w 6365557"/>
                <a:gd name="connsiteY35" fmla="*/ 751523 h 1289684"/>
                <a:gd name="connsiteX36" fmla="*/ 2715578 w 6365557"/>
                <a:gd name="connsiteY36" fmla="*/ 1015365 h 1289684"/>
                <a:gd name="connsiteX37" fmla="*/ 2712720 w 6365557"/>
                <a:gd name="connsiteY37" fmla="*/ 594360 h 1289684"/>
                <a:gd name="connsiteX38" fmla="*/ 2610803 w 6365557"/>
                <a:gd name="connsiteY38" fmla="*/ 751523 h 1289684"/>
                <a:gd name="connsiteX39" fmla="*/ 2718435 w 6365557"/>
                <a:gd name="connsiteY39" fmla="*/ 911543 h 1289684"/>
                <a:gd name="connsiteX40" fmla="*/ 2824163 w 6365557"/>
                <a:gd name="connsiteY40" fmla="*/ 755333 h 1289684"/>
                <a:gd name="connsiteX41" fmla="*/ 2712720 w 6365557"/>
                <a:gd name="connsiteY41" fmla="*/ 594360 h 1289684"/>
                <a:gd name="connsiteX42" fmla="*/ 3301365 w 6365557"/>
                <a:gd name="connsiteY42" fmla="*/ 1002983 h 1289684"/>
                <a:gd name="connsiteX43" fmla="*/ 3292793 w 6365557"/>
                <a:gd name="connsiteY43" fmla="*/ 949643 h 1289684"/>
                <a:gd name="connsiteX44" fmla="*/ 3152775 w 6365557"/>
                <a:gd name="connsiteY44" fmla="*/ 1015365 h 1289684"/>
                <a:gd name="connsiteX45" fmla="*/ 3002280 w 6365557"/>
                <a:gd name="connsiteY45" fmla="*/ 875348 h 1289684"/>
                <a:gd name="connsiteX46" fmla="*/ 3268028 w 6365557"/>
                <a:gd name="connsiteY46" fmla="*/ 698183 h 1289684"/>
                <a:gd name="connsiteX47" fmla="*/ 3285173 w 6365557"/>
                <a:gd name="connsiteY47" fmla="*/ 698183 h 1289684"/>
                <a:gd name="connsiteX48" fmla="*/ 3285173 w 6365557"/>
                <a:gd name="connsiteY48" fmla="*/ 669608 h 1289684"/>
                <a:gd name="connsiteX49" fmla="*/ 3204210 w 6365557"/>
                <a:gd name="connsiteY49" fmla="*/ 600075 h 1289684"/>
                <a:gd name="connsiteX50" fmla="*/ 3077528 w 6365557"/>
                <a:gd name="connsiteY50" fmla="*/ 646748 h 1289684"/>
                <a:gd name="connsiteX51" fmla="*/ 3018473 w 6365557"/>
                <a:gd name="connsiteY51" fmla="*/ 563880 h 1289684"/>
                <a:gd name="connsiteX52" fmla="*/ 3219450 w 6365557"/>
                <a:gd name="connsiteY52" fmla="*/ 492443 h 1289684"/>
                <a:gd name="connsiteX53" fmla="*/ 3419475 w 6365557"/>
                <a:gd name="connsiteY53" fmla="*/ 676275 h 1289684"/>
                <a:gd name="connsiteX54" fmla="*/ 3419475 w 6365557"/>
                <a:gd name="connsiteY54" fmla="*/ 855345 h 1289684"/>
                <a:gd name="connsiteX55" fmla="*/ 3433763 w 6365557"/>
                <a:gd name="connsiteY55" fmla="*/ 1002030 h 1289684"/>
                <a:gd name="connsiteX56" fmla="*/ 3301365 w 6365557"/>
                <a:gd name="connsiteY56" fmla="*/ 1002030 h 1289684"/>
                <a:gd name="connsiteX57" fmla="*/ 3271838 w 6365557"/>
                <a:gd name="connsiteY57" fmla="*/ 782955 h 1289684"/>
                <a:gd name="connsiteX58" fmla="*/ 3254693 w 6365557"/>
                <a:gd name="connsiteY58" fmla="*/ 782955 h 1289684"/>
                <a:gd name="connsiteX59" fmla="*/ 3119438 w 6365557"/>
                <a:gd name="connsiteY59" fmla="*/ 864870 h 1289684"/>
                <a:gd name="connsiteX60" fmla="*/ 3179445 w 6365557"/>
                <a:gd name="connsiteY60" fmla="*/ 917258 h 1289684"/>
                <a:gd name="connsiteX61" fmla="*/ 3271838 w 6365557"/>
                <a:gd name="connsiteY61" fmla="*/ 873443 h 1289684"/>
                <a:gd name="connsiteX62" fmla="*/ 3271838 w 6365557"/>
                <a:gd name="connsiteY62" fmla="*/ 782955 h 1289684"/>
                <a:gd name="connsiteX63" fmla="*/ 3713798 w 6365557"/>
                <a:gd name="connsiteY63" fmla="*/ 493395 h 1289684"/>
                <a:gd name="connsiteX64" fmla="*/ 3829050 w 6365557"/>
                <a:gd name="connsiteY64" fmla="*/ 527685 h 1289684"/>
                <a:gd name="connsiteX65" fmla="*/ 3829050 w 6365557"/>
                <a:gd name="connsiteY65" fmla="*/ 270510 h 1289684"/>
                <a:gd name="connsiteX66" fmla="*/ 3965258 w 6365557"/>
                <a:gd name="connsiteY66" fmla="*/ 270510 h 1289684"/>
                <a:gd name="connsiteX67" fmla="*/ 3965258 w 6365557"/>
                <a:gd name="connsiteY67" fmla="*/ 861060 h 1289684"/>
                <a:gd name="connsiteX68" fmla="*/ 3979545 w 6365557"/>
                <a:gd name="connsiteY68" fmla="*/ 1002983 h 1289684"/>
                <a:gd name="connsiteX69" fmla="*/ 3845243 w 6365557"/>
                <a:gd name="connsiteY69" fmla="*/ 1002983 h 1289684"/>
                <a:gd name="connsiteX70" fmla="*/ 3834765 w 6365557"/>
                <a:gd name="connsiteY70" fmla="*/ 948690 h 1289684"/>
                <a:gd name="connsiteX71" fmla="*/ 3694748 w 6365557"/>
                <a:gd name="connsiteY71" fmla="*/ 1016318 h 1289684"/>
                <a:gd name="connsiteX72" fmla="*/ 3489960 w 6365557"/>
                <a:gd name="connsiteY72" fmla="*/ 755333 h 1289684"/>
                <a:gd name="connsiteX73" fmla="*/ 3713798 w 6365557"/>
                <a:gd name="connsiteY73" fmla="*/ 493395 h 1289684"/>
                <a:gd name="connsiteX74" fmla="*/ 3736658 w 6365557"/>
                <a:gd name="connsiteY74" fmla="*/ 906780 h 1289684"/>
                <a:gd name="connsiteX75" fmla="*/ 3830003 w 6365557"/>
                <a:gd name="connsiteY75" fmla="*/ 856298 h 1289684"/>
                <a:gd name="connsiteX76" fmla="*/ 3830003 w 6365557"/>
                <a:gd name="connsiteY76" fmla="*/ 632460 h 1289684"/>
                <a:gd name="connsiteX77" fmla="*/ 3743325 w 6365557"/>
                <a:gd name="connsiteY77" fmla="*/ 600075 h 1289684"/>
                <a:gd name="connsiteX78" fmla="*/ 3635693 w 6365557"/>
                <a:gd name="connsiteY78" fmla="*/ 756285 h 1289684"/>
                <a:gd name="connsiteX79" fmla="*/ 3736658 w 6365557"/>
                <a:gd name="connsiteY79" fmla="*/ 906780 h 1289684"/>
                <a:gd name="connsiteX80" fmla="*/ 4397693 w 6365557"/>
                <a:gd name="connsiteY80" fmla="*/ 506730 h 1289684"/>
                <a:gd name="connsiteX81" fmla="*/ 4330065 w 6365557"/>
                <a:gd name="connsiteY81" fmla="*/ 493395 h 1289684"/>
                <a:gd name="connsiteX82" fmla="*/ 4204335 w 6365557"/>
                <a:gd name="connsiteY82" fmla="*/ 573405 h 1289684"/>
                <a:gd name="connsiteX83" fmla="*/ 4204335 w 6365557"/>
                <a:gd name="connsiteY83" fmla="*/ 505778 h 1289684"/>
                <a:gd name="connsiteX84" fmla="*/ 4068128 w 6365557"/>
                <a:gd name="connsiteY84" fmla="*/ 505778 h 1289684"/>
                <a:gd name="connsiteX85" fmla="*/ 4068128 w 6365557"/>
                <a:gd name="connsiteY85" fmla="*/ 1002983 h 1289684"/>
                <a:gd name="connsiteX86" fmla="*/ 4204335 w 6365557"/>
                <a:gd name="connsiteY86" fmla="*/ 1002983 h 1289684"/>
                <a:gd name="connsiteX87" fmla="*/ 4204335 w 6365557"/>
                <a:gd name="connsiteY87" fmla="*/ 689610 h 1289684"/>
                <a:gd name="connsiteX88" fmla="*/ 4312920 w 6365557"/>
                <a:gd name="connsiteY88" fmla="*/ 614363 h 1289684"/>
                <a:gd name="connsiteX89" fmla="*/ 4365308 w 6365557"/>
                <a:gd name="connsiteY89" fmla="*/ 625793 h 1289684"/>
                <a:gd name="connsiteX90" fmla="*/ 4397693 w 6365557"/>
                <a:gd name="connsiteY90" fmla="*/ 506730 h 1289684"/>
                <a:gd name="connsiteX91" fmla="*/ 4517708 w 6365557"/>
                <a:gd name="connsiteY91" fmla="*/ 441008 h 1289684"/>
                <a:gd name="connsiteX92" fmla="*/ 4595813 w 6365557"/>
                <a:gd name="connsiteY92" fmla="*/ 364808 h 1289684"/>
                <a:gd name="connsiteX93" fmla="*/ 4517708 w 6365557"/>
                <a:gd name="connsiteY93" fmla="*/ 290513 h 1289684"/>
                <a:gd name="connsiteX94" fmla="*/ 4440555 w 6365557"/>
                <a:gd name="connsiteY94" fmla="*/ 364808 h 1289684"/>
                <a:gd name="connsiteX95" fmla="*/ 4517708 w 6365557"/>
                <a:gd name="connsiteY95" fmla="*/ 441008 h 1289684"/>
                <a:gd name="connsiteX96" fmla="*/ 4450080 w 6365557"/>
                <a:gd name="connsiteY96" fmla="*/ 1002983 h 1289684"/>
                <a:gd name="connsiteX97" fmla="*/ 4587240 w 6365557"/>
                <a:gd name="connsiteY97" fmla="*/ 1002983 h 1289684"/>
                <a:gd name="connsiteX98" fmla="*/ 4587240 w 6365557"/>
                <a:gd name="connsiteY98" fmla="*/ 505778 h 1289684"/>
                <a:gd name="connsiteX99" fmla="*/ 4450080 w 6365557"/>
                <a:gd name="connsiteY99" fmla="*/ 505778 h 1289684"/>
                <a:gd name="connsiteX100" fmla="*/ 4450080 w 6365557"/>
                <a:gd name="connsiteY100" fmla="*/ 1002983 h 1289684"/>
                <a:gd name="connsiteX101" fmla="*/ 4884420 w 6365557"/>
                <a:gd name="connsiteY101" fmla="*/ 493395 h 1289684"/>
                <a:gd name="connsiteX102" fmla="*/ 4999673 w 6365557"/>
                <a:gd name="connsiteY102" fmla="*/ 527685 h 1289684"/>
                <a:gd name="connsiteX103" fmla="*/ 4999673 w 6365557"/>
                <a:gd name="connsiteY103" fmla="*/ 270510 h 1289684"/>
                <a:gd name="connsiteX104" fmla="*/ 5135880 w 6365557"/>
                <a:gd name="connsiteY104" fmla="*/ 270510 h 1289684"/>
                <a:gd name="connsiteX105" fmla="*/ 5135880 w 6365557"/>
                <a:gd name="connsiteY105" fmla="*/ 861060 h 1289684"/>
                <a:gd name="connsiteX106" fmla="*/ 5150168 w 6365557"/>
                <a:gd name="connsiteY106" fmla="*/ 1002983 h 1289684"/>
                <a:gd name="connsiteX107" fmla="*/ 5015865 w 6365557"/>
                <a:gd name="connsiteY107" fmla="*/ 1002983 h 1289684"/>
                <a:gd name="connsiteX108" fmla="*/ 5005388 w 6365557"/>
                <a:gd name="connsiteY108" fmla="*/ 948690 h 1289684"/>
                <a:gd name="connsiteX109" fmla="*/ 4865370 w 6365557"/>
                <a:gd name="connsiteY109" fmla="*/ 1016318 h 1289684"/>
                <a:gd name="connsiteX110" fmla="*/ 4660583 w 6365557"/>
                <a:gd name="connsiteY110" fmla="*/ 755333 h 1289684"/>
                <a:gd name="connsiteX111" fmla="*/ 4884420 w 6365557"/>
                <a:gd name="connsiteY111" fmla="*/ 493395 h 1289684"/>
                <a:gd name="connsiteX112" fmla="*/ 4907280 w 6365557"/>
                <a:gd name="connsiteY112" fmla="*/ 906780 h 1289684"/>
                <a:gd name="connsiteX113" fmla="*/ 5000625 w 6365557"/>
                <a:gd name="connsiteY113" fmla="*/ 856298 h 1289684"/>
                <a:gd name="connsiteX114" fmla="*/ 5000625 w 6365557"/>
                <a:gd name="connsiteY114" fmla="*/ 632460 h 1289684"/>
                <a:gd name="connsiteX115" fmla="*/ 4913948 w 6365557"/>
                <a:gd name="connsiteY115" fmla="*/ 600075 h 1289684"/>
                <a:gd name="connsiteX116" fmla="*/ 4806315 w 6365557"/>
                <a:gd name="connsiteY116" fmla="*/ 756285 h 1289684"/>
                <a:gd name="connsiteX117" fmla="*/ 4907280 w 6365557"/>
                <a:gd name="connsiteY117" fmla="*/ 906780 h 1289684"/>
                <a:gd name="connsiteX118" fmla="*/ 5695950 w 6365557"/>
                <a:gd name="connsiteY118" fmla="*/ 493395 h 1289684"/>
                <a:gd name="connsiteX119" fmla="*/ 5695950 w 6365557"/>
                <a:gd name="connsiteY119" fmla="*/ 594360 h 1289684"/>
                <a:gd name="connsiteX120" fmla="*/ 5629275 w 6365557"/>
                <a:gd name="connsiteY120" fmla="*/ 594360 h 1289684"/>
                <a:gd name="connsiteX121" fmla="*/ 5647373 w 6365557"/>
                <a:gd name="connsiteY121" fmla="*/ 674370 h 1289684"/>
                <a:gd name="connsiteX122" fmla="*/ 5433060 w 6365557"/>
                <a:gd name="connsiteY122" fmla="*/ 854393 h 1289684"/>
                <a:gd name="connsiteX123" fmla="*/ 5374005 w 6365557"/>
                <a:gd name="connsiteY123" fmla="*/ 849630 h 1289684"/>
                <a:gd name="connsiteX124" fmla="*/ 5355908 w 6365557"/>
                <a:gd name="connsiteY124" fmla="*/ 879158 h 1289684"/>
                <a:gd name="connsiteX125" fmla="*/ 5455920 w 6365557"/>
                <a:gd name="connsiteY125" fmla="*/ 914400 h 1289684"/>
                <a:gd name="connsiteX126" fmla="*/ 5690235 w 6365557"/>
                <a:gd name="connsiteY126" fmla="*/ 1067753 h 1289684"/>
                <a:gd name="connsiteX127" fmla="*/ 5417820 w 6365557"/>
                <a:gd name="connsiteY127" fmla="*/ 1247775 h 1289684"/>
                <a:gd name="connsiteX128" fmla="*/ 5198745 w 6365557"/>
                <a:gd name="connsiteY128" fmla="*/ 1115378 h 1289684"/>
                <a:gd name="connsiteX129" fmla="*/ 5282565 w 6365557"/>
                <a:gd name="connsiteY129" fmla="*/ 993458 h 1289684"/>
                <a:gd name="connsiteX130" fmla="*/ 5238750 w 6365557"/>
                <a:gd name="connsiteY130" fmla="*/ 918210 h 1289684"/>
                <a:gd name="connsiteX131" fmla="*/ 5294948 w 6365557"/>
                <a:gd name="connsiteY131" fmla="*/ 823913 h 1289684"/>
                <a:gd name="connsiteX132" fmla="*/ 5206365 w 6365557"/>
                <a:gd name="connsiteY132" fmla="*/ 674370 h 1289684"/>
                <a:gd name="connsiteX133" fmla="*/ 5427345 w 6365557"/>
                <a:gd name="connsiteY133" fmla="*/ 493395 h 1289684"/>
                <a:gd name="connsiteX134" fmla="*/ 5695950 w 6365557"/>
                <a:gd name="connsiteY134" fmla="*/ 493395 h 1289684"/>
                <a:gd name="connsiteX135" fmla="*/ 5314950 w 6365557"/>
                <a:gd name="connsiteY135" fmla="*/ 1088708 h 1289684"/>
                <a:gd name="connsiteX136" fmla="*/ 5412105 w 6365557"/>
                <a:gd name="connsiteY136" fmla="*/ 1156335 h 1289684"/>
                <a:gd name="connsiteX137" fmla="*/ 5541645 w 6365557"/>
                <a:gd name="connsiteY137" fmla="*/ 1082993 h 1289684"/>
                <a:gd name="connsiteX138" fmla="*/ 5422583 w 6365557"/>
                <a:gd name="connsiteY138" fmla="*/ 1026795 h 1289684"/>
                <a:gd name="connsiteX139" fmla="*/ 5354955 w 6365557"/>
                <a:gd name="connsiteY139" fmla="*/ 1020128 h 1289684"/>
                <a:gd name="connsiteX140" fmla="*/ 5314950 w 6365557"/>
                <a:gd name="connsiteY140" fmla="*/ 1088708 h 1289684"/>
                <a:gd name="connsiteX141" fmla="*/ 5517833 w 6365557"/>
                <a:gd name="connsiteY141" fmla="*/ 674370 h 1289684"/>
                <a:gd name="connsiteX142" fmla="*/ 5428298 w 6365557"/>
                <a:gd name="connsiteY142" fmla="*/ 581978 h 1289684"/>
                <a:gd name="connsiteX143" fmla="*/ 5338763 w 6365557"/>
                <a:gd name="connsiteY143" fmla="*/ 674370 h 1289684"/>
                <a:gd name="connsiteX144" fmla="*/ 5428298 w 6365557"/>
                <a:gd name="connsiteY144" fmla="*/ 766763 h 1289684"/>
                <a:gd name="connsiteX145" fmla="*/ 5517833 w 6365557"/>
                <a:gd name="connsiteY145" fmla="*/ 674370 h 1289684"/>
                <a:gd name="connsiteX146" fmla="*/ 5992178 w 6365557"/>
                <a:gd name="connsiteY146" fmla="*/ 914400 h 1289684"/>
                <a:gd name="connsiteX147" fmla="*/ 6121718 w 6365557"/>
                <a:gd name="connsiteY147" fmla="*/ 880110 h 1289684"/>
                <a:gd name="connsiteX148" fmla="*/ 6165533 w 6365557"/>
                <a:gd name="connsiteY148" fmla="*/ 967740 h 1289684"/>
                <a:gd name="connsiteX149" fmla="*/ 5979795 w 6365557"/>
                <a:gd name="connsiteY149" fmla="*/ 1015365 h 1289684"/>
                <a:gd name="connsiteX150" fmla="*/ 5719763 w 6365557"/>
                <a:gd name="connsiteY150" fmla="*/ 751523 h 1289684"/>
                <a:gd name="connsiteX151" fmla="*/ 5965508 w 6365557"/>
                <a:gd name="connsiteY151" fmla="*/ 492443 h 1289684"/>
                <a:gd name="connsiteX152" fmla="*/ 6179820 w 6365557"/>
                <a:gd name="connsiteY152" fmla="*/ 784860 h 1289684"/>
                <a:gd name="connsiteX153" fmla="*/ 5863590 w 6365557"/>
                <a:gd name="connsiteY153" fmla="*/ 784860 h 1289684"/>
                <a:gd name="connsiteX154" fmla="*/ 5992178 w 6365557"/>
                <a:gd name="connsiteY154" fmla="*/ 914400 h 1289684"/>
                <a:gd name="connsiteX155" fmla="*/ 6049328 w 6365557"/>
                <a:gd name="connsiteY155" fmla="*/ 693420 h 1289684"/>
                <a:gd name="connsiteX156" fmla="*/ 5963603 w 6365557"/>
                <a:gd name="connsiteY156" fmla="*/ 591503 h 1289684"/>
                <a:gd name="connsiteX157" fmla="*/ 5864543 w 6365557"/>
                <a:gd name="connsiteY157" fmla="*/ 693420 h 1289684"/>
                <a:gd name="connsiteX158" fmla="*/ 6049328 w 6365557"/>
                <a:gd name="connsiteY158" fmla="*/ 693420 h 1289684"/>
                <a:gd name="connsiteX159" fmla="*/ 6296025 w 6365557"/>
                <a:gd name="connsiteY159" fmla="*/ 634365 h 1289684"/>
                <a:gd name="connsiteX160" fmla="*/ 6226493 w 6365557"/>
                <a:gd name="connsiteY160" fmla="*/ 564833 h 1289684"/>
                <a:gd name="connsiteX161" fmla="*/ 6296025 w 6365557"/>
                <a:gd name="connsiteY161" fmla="*/ 495300 h 1289684"/>
                <a:gd name="connsiteX162" fmla="*/ 6365558 w 6365557"/>
                <a:gd name="connsiteY162" fmla="*/ 564833 h 1289684"/>
                <a:gd name="connsiteX163" fmla="*/ 6296025 w 6365557"/>
                <a:gd name="connsiteY163" fmla="*/ 634365 h 1289684"/>
                <a:gd name="connsiteX164" fmla="*/ 6296025 w 6365557"/>
                <a:gd name="connsiteY164" fmla="*/ 505778 h 1289684"/>
                <a:gd name="connsiteX165" fmla="*/ 6237923 w 6365557"/>
                <a:gd name="connsiteY165" fmla="*/ 564833 h 1289684"/>
                <a:gd name="connsiteX166" fmla="*/ 6296025 w 6365557"/>
                <a:gd name="connsiteY166" fmla="*/ 623888 h 1289684"/>
                <a:gd name="connsiteX167" fmla="*/ 6354128 w 6365557"/>
                <a:gd name="connsiteY167" fmla="*/ 564833 h 1289684"/>
                <a:gd name="connsiteX168" fmla="*/ 6296025 w 6365557"/>
                <a:gd name="connsiteY168" fmla="*/ 505778 h 1289684"/>
                <a:gd name="connsiteX169" fmla="*/ 6316028 w 6365557"/>
                <a:gd name="connsiteY169" fmla="*/ 605790 h 1289684"/>
                <a:gd name="connsiteX170" fmla="*/ 6296978 w 6365557"/>
                <a:gd name="connsiteY170" fmla="*/ 577215 h 1289684"/>
                <a:gd name="connsiteX171" fmla="*/ 6284595 w 6365557"/>
                <a:gd name="connsiteY171" fmla="*/ 569595 h 1289684"/>
                <a:gd name="connsiteX172" fmla="*/ 6284595 w 6365557"/>
                <a:gd name="connsiteY172" fmla="*/ 606743 h 1289684"/>
                <a:gd name="connsiteX173" fmla="*/ 6271260 w 6365557"/>
                <a:gd name="connsiteY173" fmla="*/ 606743 h 1289684"/>
                <a:gd name="connsiteX174" fmla="*/ 6271260 w 6365557"/>
                <a:gd name="connsiteY174" fmla="*/ 522923 h 1289684"/>
                <a:gd name="connsiteX175" fmla="*/ 6298883 w 6365557"/>
                <a:gd name="connsiteY175" fmla="*/ 522923 h 1289684"/>
                <a:gd name="connsiteX176" fmla="*/ 6325553 w 6365557"/>
                <a:gd name="connsiteY176" fmla="*/ 546735 h 1289684"/>
                <a:gd name="connsiteX177" fmla="*/ 6303645 w 6365557"/>
                <a:gd name="connsiteY177" fmla="*/ 568643 h 1289684"/>
                <a:gd name="connsiteX178" fmla="*/ 6313170 w 6365557"/>
                <a:gd name="connsiteY178" fmla="*/ 580073 h 1289684"/>
                <a:gd name="connsiteX179" fmla="*/ 6331268 w 6365557"/>
                <a:gd name="connsiteY179" fmla="*/ 606743 h 1289684"/>
                <a:gd name="connsiteX180" fmla="*/ 6316028 w 6365557"/>
                <a:gd name="connsiteY180" fmla="*/ 606743 h 1289684"/>
                <a:gd name="connsiteX181" fmla="*/ 6296025 w 6365557"/>
                <a:gd name="connsiteY181" fmla="*/ 533400 h 1289684"/>
                <a:gd name="connsiteX182" fmla="*/ 6284595 w 6365557"/>
                <a:gd name="connsiteY182" fmla="*/ 533400 h 1289684"/>
                <a:gd name="connsiteX183" fmla="*/ 6284595 w 6365557"/>
                <a:gd name="connsiteY183" fmla="*/ 559118 h 1289684"/>
                <a:gd name="connsiteX184" fmla="*/ 6293168 w 6365557"/>
                <a:gd name="connsiteY184" fmla="*/ 559118 h 1289684"/>
                <a:gd name="connsiteX185" fmla="*/ 6311265 w 6365557"/>
                <a:gd name="connsiteY185" fmla="*/ 546735 h 1289684"/>
                <a:gd name="connsiteX186" fmla="*/ 6296025 w 6365557"/>
                <a:gd name="connsiteY186" fmla="*/ 533400 h 1289684"/>
                <a:gd name="connsiteX187" fmla="*/ 1146810 w 6365557"/>
                <a:gd name="connsiteY187" fmla="*/ 1905 h 1289684"/>
                <a:gd name="connsiteX188" fmla="*/ 1146810 w 6365557"/>
                <a:gd name="connsiteY188" fmla="*/ 0 h 1289684"/>
                <a:gd name="connsiteX189" fmla="*/ 0 w 6365557"/>
                <a:gd name="connsiteY189" fmla="*/ 0 h 1289684"/>
                <a:gd name="connsiteX190" fmla="*/ 0 w 6365557"/>
                <a:gd name="connsiteY190" fmla="*/ 1905 h 1289684"/>
                <a:gd name="connsiteX191" fmla="*/ 0 w 6365557"/>
                <a:gd name="connsiteY191" fmla="*/ 1289685 h 1289684"/>
                <a:gd name="connsiteX192" fmla="*/ 1146810 w 6365557"/>
                <a:gd name="connsiteY192" fmla="*/ 1289685 h 1289684"/>
                <a:gd name="connsiteX193" fmla="*/ 1146810 w 6365557"/>
                <a:gd name="connsiteY193" fmla="*/ 1905 h 1289684"/>
                <a:gd name="connsiteX194" fmla="*/ 897255 w 6365557"/>
                <a:gd name="connsiteY194" fmla="*/ 880110 h 1289684"/>
                <a:gd name="connsiteX195" fmla="*/ 897255 w 6365557"/>
                <a:gd name="connsiteY195" fmla="*/ 934403 h 1289684"/>
                <a:gd name="connsiteX196" fmla="*/ 642938 w 6365557"/>
                <a:gd name="connsiteY196" fmla="*/ 843915 h 1289684"/>
                <a:gd name="connsiteX197" fmla="*/ 672465 w 6365557"/>
                <a:gd name="connsiteY197" fmla="*/ 915353 h 1289684"/>
                <a:gd name="connsiteX198" fmla="*/ 1126808 w 6365557"/>
                <a:gd name="connsiteY198" fmla="*/ 1173480 h 1289684"/>
                <a:gd name="connsiteX199" fmla="*/ 1126808 w 6365557"/>
                <a:gd name="connsiteY199" fmla="*/ 1243965 h 1289684"/>
                <a:gd name="connsiteX200" fmla="*/ 608648 w 6365557"/>
                <a:gd name="connsiteY200" fmla="*/ 944880 h 1289684"/>
                <a:gd name="connsiteX201" fmla="*/ 572453 w 6365557"/>
                <a:gd name="connsiteY201" fmla="*/ 857250 h 1289684"/>
                <a:gd name="connsiteX202" fmla="*/ 189548 w 6365557"/>
                <a:gd name="connsiteY202" fmla="*/ 1110615 h 1289684"/>
                <a:gd name="connsiteX203" fmla="*/ 189548 w 6365557"/>
                <a:gd name="connsiteY203" fmla="*/ 1032510 h 1289684"/>
                <a:gd name="connsiteX204" fmla="*/ 531495 w 6365557"/>
                <a:gd name="connsiteY204" fmla="*/ 644843 h 1289684"/>
                <a:gd name="connsiteX205" fmla="*/ 615315 w 6365557"/>
                <a:gd name="connsiteY205" fmla="*/ 644843 h 1289684"/>
                <a:gd name="connsiteX206" fmla="*/ 957263 w 6365557"/>
                <a:gd name="connsiteY206" fmla="*/ 265748 h 1289684"/>
                <a:gd name="connsiteX207" fmla="*/ 957263 w 6365557"/>
                <a:gd name="connsiteY207" fmla="*/ 187643 h 1289684"/>
                <a:gd name="connsiteX208" fmla="*/ 574358 w 6365557"/>
                <a:gd name="connsiteY208" fmla="*/ 441008 h 1289684"/>
                <a:gd name="connsiteX209" fmla="*/ 538163 w 6365557"/>
                <a:gd name="connsiteY209" fmla="*/ 353378 h 1289684"/>
                <a:gd name="connsiteX210" fmla="*/ 19050 w 6365557"/>
                <a:gd name="connsiteY210" fmla="*/ 54293 h 1289684"/>
                <a:gd name="connsiteX211" fmla="*/ 19050 w 6365557"/>
                <a:gd name="connsiteY211" fmla="*/ 19050 h 1289684"/>
                <a:gd name="connsiteX212" fmla="*/ 1127760 w 6365557"/>
                <a:gd name="connsiteY212" fmla="*/ 19050 h 1289684"/>
                <a:gd name="connsiteX213" fmla="*/ 1127760 w 6365557"/>
                <a:gd name="connsiteY213" fmla="*/ 644843 h 1289684"/>
                <a:gd name="connsiteX214" fmla="*/ 615315 w 6365557"/>
                <a:gd name="connsiteY214" fmla="*/ 644843 h 1289684"/>
                <a:gd name="connsiteX215" fmla="*/ 897255 w 6365557"/>
                <a:gd name="connsiteY215" fmla="*/ 880110 h 1289684"/>
                <a:gd name="connsiteX216" fmla="*/ 19050 w 6365557"/>
                <a:gd name="connsiteY216" fmla="*/ 124778 h 1289684"/>
                <a:gd name="connsiteX217" fmla="*/ 473393 w 6365557"/>
                <a:gd name="connsiteY217" fmla="*/ 382905 h 1289684"/>
                <a:gd name="connsiteX218" fmla="*/ 502920 w 6365557"/>
                <a:gd name="connsiteY218" fmla="*/ 453390 h 1289684"/>
                <a:gd name="connsiteX219" fmla="*/ 248603 w 6365557"/>
                <a:gd name="connsiteY219" fmla="*/ 362903 h 1289684"/>
                <a:gd name="connsiteX220" fmla="*/ 248603 w 6365557"/>
                <a:gd name="connsiteY220" fmla="*/ 418148 h 1289684"/>
                <a:gd name="connsiteX221" fmla="*/ 530543 w 6365557"/>
                <a:gd name="connsiteY221" fmla="*/ 644843 h 1289684"/>
                <a:gd name="connsiteX222" fmla="*/ 19050 w 6365557"/>
                <a:gd name="connsiteY222" fmla="*/ 644843 h 1289684"/>
                <a:gd name="connsiteX223" fmla="*/ 19050 w 6365557"/>
                <a:gd name="connsiteY223" fmla="*/ 124778 h 1289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6365557" h="1289684">
                  <a:moveTo>
                    <a:pt x="1803083" y="1002983"/>
                  </a:moveTo>
                  <a:lnTo>
                    <a:pt x="1579245" y="1002983"/>
                  </a:lnTo>
                  <a:lnTo>
                    <a:pt x="1579245" y="322898"/>
                  </a:lnTo>
                  <a:lnTo>
                    <a:pt x="1805940" y="322898"/>
                  </a:lnTo>
                  <a:cubicBezTo>
                    <a:pt x="1931670" y="322898"/>
                    <a:pt x="2041208" y="363855"/>
                    <a:pt x="2041208" y="492443"/>
                  </a:cubicBezTo>
                  <a:cubicBezTo>
                    <a:pt x="2041208" y="580073"/>
                    <a:pt x="1994535" y="629603"/>
                    <a:pt x="1920240" y="648653"/>
                  </a:cubicBezTo>
                  <a:lnTo>
                    <a:pt x="1920240" y="650558"/>
                  </a:lnTo>
                  <a:cubicBezTo>
                    <a:pt x="2001203" y="662940"/>
                    <a:pt x="2069783" y="717233"/>
                    <a:pt x="2069783" y="814388"/>
                  </a:cubicBezTo>
                  <a:cubicBezTo>
                    <a:pt x="2069783" y="953453"/>
                    <a:pt x="1958340" y="1002983"/>
                    <a:pt x="1803083" y="1002983"/>
                  </a:cubicBezTo>
                  <a:moveTo>
                    <a:pt x="1790700" y="433388"/>
                  </a:moveTo>
                  <a:lnTo>
                    <a:pt x="1707833" y="433388"/>
                  </a:lnTo>
                  <a:lnTo>
                    <a:pt x="1707833" y="602933"/>
                  </a:lnTo>
                  <a:lnTo>
                    <a:pt x="1787843" y="602933"/>
                  </a:lnTo>
                  <a:cubicBezTo>
                    <a:pt x="1865948" y="602933"/>
                    <a:pt x="1899285" y="575310"/>
                    <a:pt x="1899285" y="515303"/>
                  </a:cubicBezTo>
                  <a:cubicBezTo>
                    <a:pt x="1899285" y="459105"/>
                    <a:pt x="1862138" y="433388"/>
                    <a:pt x="1790700" y="433388"/>
                  </a:cubicBezTo>
                  <a:moveTo>
                    <a:pt x="1789748" y="705803"/>
                  </a:moveTo>
                  <a:lnTo>
                    <a:pt x="1707833" y="705803"/>
                  </a:lnTo>
                  <a:lnTo>
                    <a:pt x="1707833" y="892493"/>
                  </a:lnTo>
                  <a:lnTo>
                    <a:pt x="1783080" y="892493"/>
                  </a:lnTo>
                  <a:cubicBezTo>
                    <a:pt x="1865948" y="892493"/>
                    <a:pt x="1909763" y="866775"/>
                    <a:pt x="1909763" y="801053"/>
                  </a:cubicBezTo>
                  <a:cubicBezTo>
                    <a:pt x="1909763" y="738188"/>
                    <a:pt x="1873568" y="705803"/>
                    <a:pt x="1789748" y="705803"/>
                  </a:cubicBezTo>
                  <a:moveTo>
                    <a:pt x="2473643" y="506730"/>
                  </a:moveTo>
                  <a:cubicBezTo>
                    <a:pt x="2462213" y="501015"/>
                    <a:pt x="2443163" y="493395"/>
                    <a:pt x="2406015" y="493395"/>
                  </a:cubicBezTo>
                  <a:cubicBezTo>
                    <a:pt x="2343150" y="493395"/>
                    <a:pt x="2302193" y="536258"/>
                    <a:pt x="2280285" y="573405"/>
                  </a:cubicBezTo>
                  <a:lnTo>
                    <a:pt x="2280285" y="505778"/>
                  </a:lnTo>
                  <a:lnTo>
                    <a:pt x="2144078" y="505778"/>
                  </a:lnTo>
                  <a:lnTo>
                    <a:pt x="2144078" y="1002983"/>
                  </a:lnTo>
                  <a:lnTo>
                    <a:pt x="2280285" y="1002983"/>
                  </a:lnTo>
                  <a:lnTo>
                    <a:pt x="2280285" y="689610"/>
                  </a:lnTo>
                  <a:cubicBezTo>
                    <a:pt x="2292668" y="666750"/>
                    <a:pt x="2327910" y="614363"/>
                    <a:pt x="2388870" y="614363"/>
                  </a:cubicBezTo>
                  <a:cubicBezTo>
                    <a:pt x="2417445" y="614363"/>
                    <a:pt x="2432685" y="620078"/>
                    <a:pt x="2441258" y="625793"/>
                  </a:cubicBezTo>
                  <a:lnTo>
                    <a:pt x="2473643" y="506730"/>
                  </a:lnTo>
                  <a:close/>
                  <a:moveTo>
                    <a:pt x="2715578" y="1015365"/>
                  </a:moveTo>
                  <a:cubicBezTo>
                    <a:pt x="2542223" y="1015365"/>
                    <a:pt x="2466023" y="883920"/>
                    <a:pt x="2466023" y="756285"/>
                  </a:cubicBezTo>
                  <a:cubicBezTo>
                    <a:pt x="2466023" y="628650"/>
                    <a:pt x="2540318" y="493395"/>
                    <a:pt x="2714625" y="493395"/>
                  </a:cubicBezTo>
                  <a:cubicBezTo>
                    <a:pt x="2887980" y="493395"/>
                    <a:pt x="2967038" y="623888"/>
                    <a:pt x="2967038" y="751523"/>
                  </a:cubicBezTo>
                  <a:cubicBezTo>
                    <a:pt x="2967038" y="877253"/>
                    <a:pt x="2890838" y="1015365"/>
                    <a:pt x="2715578" y="1015365"/>
                  </a:cubicBezTo>
                  <a:moveTo>
                    <a:pt x="2712720" y="594360"/>
                  </a:moveTo>
                  <a:cubicBezTo>
                    <a:pt x="2636520" y="594360"/>
                    <a:pt x="2610803" y="659130"/>
                    <a:pt x="2610803" y="751523"/>
                  </a:cubicBezTo>
                  <a:cubicBezTo>
                    <a:pt x="2610803" y="843915"/>
                    <a:pt x="2641283" y="911543"/>
                    <a:pt x="2718435" y="911543"/>
                  </a:cubicBezTo>
                  <a:cubicBezTo>
                    <a:pt x="2796540" y="911543"/>
                    <a:pt x="2824163" y="847725"/>
                    <a:pt x="2824163" y="755333"/>
                  </a:cubicBezTo>
                  <a:cubicBezTo>
                    <a:pt x="2823210" y="662940"/>
                    <a:pt x="2789873" y="594360"/>
                    <a:pt x="2712720" y="594360"/>
                  </a:cubicBezTo>
                  <a:moveTo>
                    <a:pt x="3301365" y="1002983"/>
                  </a:moveTo>
                  <a:cubicBezTo>
                    <a:pt x="3297555" y="990600"/>
                    <a:pt x="3293745" y="964883"/>
                    <a:pt x="3292793" y="949643"/>
                  </a:cubicBezTo>
                  <a:cubicBezTo>
                    <a:pt x="3269933" y="976313"/>
                    <a:pt x="3223260" y="1015365"/>
                    <a:pt x="3152775" y="1015365"/>
                  </a:cubicBezTo>
                  <a:cubicBezTo>
                    <a:pt x="3068003" y="1015365"/>
                    <a:pt x="3002280" y="963930"/>
                    <a:pt x="3002280" y="875348"/>
                  </a:cubicBezTo>
                  <a:cubicBezTo>
                    <a:pt x="3002280" y="745808"/>
                    <a:pt x="3135630" y="698183"/>
                    <a:pt x="3268028" y="698183"/>
                  </a:cubicBezTo>
                  <a:lnTo>
                    <a:pt x="3285173" y="698183"/>
                  </a:lnTo>
                  <a:lnTo>
                    <a:pt x="3285173" y="669608"/>
                  </a:lnTo>
                  <a:cubicBezTo>
                    <a:pt x="3285173" y="626745"/>
                    <a:pt x="3268028" y="600075"/>
                    <a:pt x="3204210" y="600075"/>
                  </a:cubicBezTo>
                  <a:cubicBezTo>
                    <a:pt x="3139440" y="600075"/>
                    <a:pt x="3095625" y="633413"/>
                    <a:pt x="3077528" y="646748"/>
                  </a:cubicBezTo>
                  <a:lnTo>
                    <a:pt x="3018473" y="563880"/>
                  </a:lnTo>
                  <a:cubicBezTo>
                    <a:pt x="3048000" y="537210"/>
                    <a:pt x="3113723" y="492443"/>
                    <a:pt x="3219450" y="492443"/>
                  </a:cubicBezTo>
                  <a:cubicBezTo>
                    <a:pt x="3355658" y="492443"/>
                    <a:pt x="3419475" y="544830"/>
                    <a:pt x="3419475" y="676275"/>
                  </a:cubicBezTo>
                  <a:lnTo>
                    <a:pt x="3419475" y="855345"/>
                  </a:lnTo>
                  <a:cubicBezTo>
                    <a:pt x="3419475" y="922973"/>
                    <a:pt x="3426143" y="970598"/>
                    <a:pt x="3433763" y="1002030"/>
                  </a:cubicBezTo>
                  <a:lnTo>
                    <a:pt x="3301365" y="1002030"/>
                  </a:lnTo>
                  <a:close/>
                  <a:moveTo>
                    <a:pt x="3271838" y="782955"/>
                  </a:moveTo>
                  <a:lnTo>
                    <a:pt x="3254693" y="782955"/>
                  </a:lnTo>
                  <a:cubicBezTo>
                    <a:pt x="3174683" y="782955"/>
                    <a:pt x="3119438" y="806768"/>
                    <a:pt x="3119438" y="864870"/>
                  </a:cubicBezTo>
                  <a:cubicBezTo>
                    <a:pt x="3119438" y="902018"/>
                    <a:pt x="3148965" y="917258"/>
                    <a:pt x="3179445" y="917258"/>
                  </a:cubicBezTo>
                  <a:cubicBezTo>
                    <a:pt x="3228023" y="917258"/>
                    <a:pt x="3257550" y="888683"/>
                    <a:pt x="3271838" y="873443"/>
                  </a:cubicBezTo>
                  <a:lnTo>
                    <a:pt x="3271838" y="782955"/>
                  </a:lnTo>
                  <a:close/>
                  <a:moveTo>
                    <a:pt x="3713798" y="493395"/>
                  </a:moveTo>
                  <a:cubicBezTo>
                    <a:pt x="3774758" y="493395"/>
                    <a:pt x="3810953" y="515303"/>
                    <a:pt x="3829050" y="527685"/>
                  </a:cubicBezTo>
                  <a:lnTo>
                    <a:pt x="3829050" y="270510"/>
                  </a:lnTo>
                  <a:lnTo>
                    <a:pt x="3965258" y="270510"/>
                  </a:lnTo>
                  <a:lnTo>
                    <a:pt x="3965258" y="861060"/>
                  </a:lnTo>
                  <a:cubicBezTo>
                    <a:pt x="3965258" y="925830"/>
                    <a:pt x="3973830" y="975360"/>
                    <a:pt x="3979545" y="1002983"/>
                  </a:cubicBezTo>
                  <a:lnTo>
                    <a:pt x="3845243" y="1002983"/>
                  </a:lnTo>
                  <a:cubicBezTo>
                    <a:pt x="3841433" y="990600"/>
                    <a:pt x="3835718" y="963930"/>
                    <a:pt x="3834765" y="948690"/>
                  </a:cubicBezTo>
                  <a:cubicBezTo>
                    <a:pt x="3804285" y="984885"/>
                    <a:pt x="3761423" y="1016318"/>
                    <a:pt x="3694748" y="1016318"/>
                  </a:cubicBezTo>
                  <a:cubicBezTo>
                    <a:pt x="3569970" y="1016318"/>
                    <a:pt x="3489960" y="922020"/>
                    <a:pt x="3489960" y="755333"/>
                  </a:cubicBezTo>
                  <a:cubicBezTo>
                    <a:pt x="3490913" y="596265"/>
                    <a:pt x="3586163" y="493395"/>
                    <a:pt x="3713798" y="493395"/>
                  </a:cubicBezTo>
                  <a:moveTo>
                    <a:pt x="3736658" y="906780"/>
                  </a:moveTo>
                  <a:cubicBezTo>
                    <a:pt x="3786188" y="906780"/>
                    <a:pt x="3818573" y="871538"/>
                    <a:pt x="3830003" y="856298"/>
                  </a:cubicBezTo>
                  <a:lnTo>
                    <a:pt x="3830003" y="632460"/>
                  </a:lnTo>
                  <a:cubicBezTo>
                    <a:pt x="3812858" y="617220"/>
                    <a:pt x="3787140" y="600075"/>
                    <a:pt x="3743325" y="600075"/>
                  </a:cubicBezTo>
                  <a:cubicBezTo>
                    <a:pt x="3673793" y="600075"/>
                    <a:pt x="3635693" y="658178"/>
                    <a:pt x="3635693" y="756285"/>
                  </a:cubicBezTo>
                  <a:cubicBezTo>
                    <a:pt x="3635693" y="850583"/>
                    <a:pt x="3667125" y="906780"/>
                    <a:pt x="3736658" y="906780"/>
                  </a:cubicBezTo>
                  <a:moveTo>
                    <a:pt x="4397693" y="506730"/>
                  </a:moveTo>
                  <a:cubicBezTo>
                    <a:pt x="4386263" y="501015"/>
                    <a:pt x="4367213" y="493395"/>
                    <a:pt x="4330065" y="493395"/>
                  </a:cubicBezTo>
                  <a:cubicBezTo>
                    <a:pt x="4267200" y="493395"/>
                    <a:pt x="4226243" y="536258"/>
                    <a:pt x="4204335" y="573405"/>
                  </a:cubicBezTo>
                  <a:lnTo>
                    <a:pt x="4204335" y="505778"/>
                  </a:lnTo>
                  <a:lnTo>
                    <a:pt x="4068128" y="505778"/>
                  </a:lnTo>
                  <a:lnTo>
                    <a:pt x="4068128" y="1002983"/>
                  </a:lnTo>
                  <a:lnTo>
                    <a:pt x="4204335" y="1002983"/>
                  </a:lnTo>
                  <a:lnTo>
                    <a:pt x="4204335" y="689610"/>
                  </a:lnTo>
                  <a:cubicBezTo>
                    <a:pt x="4216718" y="666750"/>
                    <a:pt x="4251960" y="614363"/>
                    <a:pt x="4312920" y="614363"/>
                  </a:cubicBezTo>
                  <a:cubicBezTo>
                    <a:pt x="4341495" y="614363"/>
                    <a:pt x="4356735" y="620078"/>
                    <a:pt x="4365308" y="625793"/>
                  </a:cubicBezTo>
                  <a:lnTo>
                    <a:pt x="4397693" y="506730"/>
                  </a:lnTo>
                  <a:close/>
                  <a:moveTo>
                    <a:pt x="4517708" y="441008"/>
                  </a:moveTo>
                  <a:cubicBezTo>
                    <a:pt x="4562475" y="441008"/>
                    <a:pt x="4595813" y="405765"/>
                    <a:pt x="4595813" y="364808"/>
                  </a:cubicBezTo>
                  <a:cubicBezTo>
                    <a:pt x="4595813" y="324803"/>
                    <a:pt x="4562475" y="290513"/>
                    <a:pt x="4517708" y="290513"/>
                  </a:cubicBezTo>
                  <a:cubicBezTo>
                    <a:pt x="4472940" y="290513"/>
                    <a:pt x="4440555" y="324803"/>
                    <a:pt x="4440555" y="364808"/>
                  </a:cubicBezTo>
                  <a:cubicBezTo>
                    <a:pt x="4441508" y="406718"/>
                    <a:pt x="4473893" y="441008"/>
                    <a:pt x="4517708" y="441008"/>
                  </a:cubicBezTo>
                  <a:moveTo>
                    <a:pt x="4450080" y="1002983"/>
                  </a:moveTo>
                  <a:lnTo>
                    <a:pt x="4587240" y="1002983"/>
                  </a:lnTo>
                  <a:lnTo>
                    <a:pt x="4587240" y="505778"/>
                  </a:lnTo>
                  <a:lnTo>
                    <a:pt x="4450080" y="505778"/>
                  </a:lnTo>
                  <a:lnTo>
                    <a:pt x="4450080" y="1002983"/>
                  </a:lnTo>
                  <a:close/>
                  <a:moveTo>
                    <a:pt x="4884420" y="493395"/>
                  </a:moveTo>
                  <a:cubicBezTo>
                    <a:pt x="4945380" y="493395"/>
                    <a:pt x="4981575" y="515303"/>
                    <a:pt x="4999673" y="527685"/>
                  </a:cubicBezTo>
                  <a:lnTo>
                    <a:pt x="4999673" y="270510"/>
                  </a:lnTo>
                  <a:lnTo>
                    <a:pt x="5135880" y="270510"/>
                  </a:lnTo>
                  <a:lnTo>
                    <a:pt x="5135880" y="861060"/>
                  </a:lnTo>
                  <a:cubicBezTo>
                    <a:pt x="5135880" y="925830"/>
                    <a:pt x="5144453" y="975360"/>
                    <a:pt x="5150168" y="1002983"/>
                  </a:cubicBezTo>
                  <a:lnTo>
                    <a:pt x="5015865" y="1002983"/>
                  </a:lnTo>
                  <a:cubicBezTo>
                    <a:pt x="5012055" y="990600"/>
                    <a:pt x="5006340" y="963930"/>
                    <a:pt x="5005388" y="948690"/>
                  </a:cubicBezTo>
                  <a:cubicBezTo>
                    <a:pt x="4974908" y="984885"/>
                    <a:pt x="4932045" y="1016318"/>
                    <a:pt x="4865370" y="1016318"/>
                  </a:cubicBezTo>
                  <a:cubicBezTo>
                    <a:pt x="4740593" y="1016318"/>
                    <a:pt x="4660583" y="922020"/>
                    <a:pt x="4660583" y="755333"/>
                  </a:cubicBezTo>
                  <a:cubicBezTo>
                    <a:pt x="4662488" y="596265"/>
                    <a:pt x="4756785" y="493395"/>
                    <a:pt x="4884420" y="493395"/>
                  </a:cubicBezTo>
                  <a:moveTo>
                    <a:pt x="4907280" y="906780"/>
                  </a:moveTo>
                  <a:cubicBezTo>
                    <a:pt x="4955858" y="906780"/>
                    <a:pt x="4989195" y="871538"/>
                    <a:pt x="5000625" y="856298"/>
                  </a:cubicBezTo>
                  <a:lnTo>
                    <a:pt x="5000625" y="632460"/>
                  </a:lnTo>
                  <a:cubicBezTo>
                    <a:pt x="4983480" y="617220"/>
                    <a:pt x="4957763" y="600075"/>
                    <a:pt x="4913948" y="600075"/>
                  </a:cubicBezTo>
                  <a:cubicBezTo>
                    <a:pt x="4844415" y="600075"/>
                    <a:pt x="4806315" y="658178"/>
                    <a:pt x="4806315" y="756285"/>
                  </a:cubicBezTo>
                  <a:cubicBezTo>
                    <a:pt x="4806315" y="850583"/>
                    <a:pt x="4837748" y="906780"/>
                    <a:pt x="4907280" y="906780"/>
                  </a:cubicBezTo>
                  <a:moveTo>
                    <a:pt x="5695950" y="493395"/>
                  </a:moveTo>
                  <a:lnTo>
                    <a:pt x="5695950" y="594360"/>
                  </a:lnTo>
                  <a:lnTo>
                    <a:pt x="5629275" y="594360"/>
                  </a:lnTo>
                  <a:cubicBezTo>
                    <a:pt x="5641658" y="618173"/>
                    <a:pt x="5647373" y="645795"/>
                    <a:pt x="5647373" y="674370"/>
                  </a:cubicBezTo>
                  <a:cubicBezTo>
                    <a:pt x="5647373" y="781050"/>
                    <a:pt x="5572125" y="854393"/>
                    <a:pt x="5433060" y="854393"/>
                  </a:cubicBezTo>
                  <a:cubicBezTo>
                    <a:pt x="5411153" y="854393"/>
                    <a:pt x="5392103" y="852488"/>
                    <a:pt x="5374005" y="849630"/>
                  </a:cubicBezTo>
                  <a:cubicBezTo>
                    <a:pt x="5365433" y="855345"/>
                    <a:pt x="5355908" y="864870"/>
                    <a:pt x="5355908" y="879158"/>
                  </a:cubicBezTo>
                  <a:cubicBezTo>
                    <a:pt x="5355908" y="905828"/>
                    <a:pt x="5384483" y="910590"/>
                    <a:pt x="5455920" y="914400"/>
                  </a:cubicBezTo>
                  <a:cubicBezTo>
                    <a:pt x="5558790" y="919163"/>
                    <a:pt x="5690235" y="920115"/>
                    <a:pt x="5690235" y="1067753"/>
                  </a:cubicBezTo>
                  <a:cubicBezTo>
                    <a:pt x="5690235" y="1172528"/>
                    <a:pt x="5580698" y="1247775"/>
                    <a:pt x="5417820" y="1247775"/>
                  </a:cubicBezTo>
                  <a:cubicBezTo>
                    <a:pt x="5280660" y="1247775"/>
                    <a:pt x="5198745" y="1204913"/>
                    <a:pt x="5198745" y="1115378"/>
                  </a:cubicBezTo>
                  <a:cubicBezTo>
                    <a:pt x="5198745" y="1060133"/>
                    <a:pt x="5232083" y="1020128"/>
                    <a:pt x="5282565" y="993458"/>
                  </a:cubicBezTo>
                  <a:cubicBezTo>
                    <a:pt x="5254943" y="977265"/>
                    <a:pt x="5238750" y="953453"/>
                    <a:pt x="5238750" y="918210"/>
                  </a:cubicBezTo>
                  <a:cubicBezTo>
                    <a:pt x="5238750" y="871538"/>
                    <a:pt x="5265420" y="842010"/>
                    <a:pt x="5294948" y="823913"/>
                  </a:cubicBezTo>
                  <a:cubicBezTo>
                    <a:pt x="5238750" y="792480"/>
                    <a:pt x="5206365" y="740093"/>
                    <a:pt x="5206365" y="674370"/>
                  </a:cubicBezTo>
                  <a:cubicBezTo>
                    <a:pt x="5206365" y="566738"/>
                    <a:pt x="5289233" y="493395"/>
                    <a:pt x="5427345" y="493395"/>
                  </a:cubicBezTo>
                  <a:cubicBezTo>
                    <a:pt x="5459730" y="493395"/>
                    <a:pt x="5695950" y="493395"/>
                    <a:pt x="5695950" y="493395"/>
                  </a:cubicBezTo>
                  <a:moveTo>
                    <a:pt x="5314950" y="1088708"/>
                  </a:moveTo>
                  <a:cubicBezTo>
                    <a:pt x="5314950" y="1128713"/>
                    <a:pt x="5342573" y="1156335"/>
                    <a:pt x="5412105" y="1156335"/>
                  </a:cubicBezTo>
                  <a:cubicBezTo>
                    <a:pt x="5494973" y="1156335"/>
                    <a:pt x="5541645" y="1124903"/>
                    <a:pt x="5541645" y="1082993"/>
                  </a:cubicBezTo>
                  <a:cubicBezTo>
                    <a:pt x="5541645" y="1029653"/>
                    <a:pt x="5494973" y="1031558"/>
                    <a:pt x="5422583" y="1026795"/>
                  </a:cubicBezTo>
                  <a:cubicBezTo>
                    <a:pt x="5398770" y="1024890"/>
                    <a:pt x="5376863" y="1022985"/>
                    <a:pt x="5354955" y="1020128"/>
                  </a:cubicBezTo>
                  <a:cubicBezTo>
                    <a:pt x="5329238" y="1037273"/>
                    <a:pt x="5314950" y="1059180"/>
                    <a:pt x="5314950" y="1088708"/>
                  </a:cubicBezTo>
                  <a:moveTo>
                    <a:pt x="5517833" y="674370"/>
                  </a:moveTo>
                  <a:cubicBezTo>
                    <a:pt x="5517833" y="616268"/>
                    <a:pt x="5484495" y="581978"/>
                    <a:pt x="5428298" y="581978"/>
                  </a:cubicBezTo>
                  <a:cubicBezTo>
                    <a:pt x="5372100" y="581978"/>
                    <a:pt x="5338763" y="615315"/>
                    <a:pt x="5338763" y="674370"/>
                  </a:cubicBezTo>
                  <a:cubicBezTo>
                    <a:pt x="5338763" y="731520"/>
                    <a:pt x="5372100" y="766763"/>
                    <a:pt x="5428298" y="766763"/>
                  </a:cubicBezTo>
                  <a:cubicBezTo>
                    <a:pt x="5483543" y="765810"/>
                    <a:pt x="5517833" y="731520"/>
                    <a:pt x="5517833" y="674370"/>
                  </a:cubicBezTo>
                  <a:moveTo>
                    <a:pt x="5992178" y="914400"/>
                  </a:moveTo>
                  <a:cubicBezTo>
                    <a:pt x="6059805" y="914400"/>
                    <a:pt x="6096953" y="891540"/>
                    <a:pt x="6121718" y="880110"/>
                  </a:cubicBezTo>
                  <a:lnTo>
                    <a:pt x="6165533" y="967740"/>
                  </a:lnTo>
                  <a:cubicBezTo>
                    <a:pt x="6133148" y="985838"/>
                    <a:pt x="6081713" y="1015365"/>
                    <a:pt x="5979795" y="1015365"/>
                  </a:cubicBezTo>
                  <a:cubicBezTo>
                    <a:pt x="5813108" y="1015365"/>
                    <a:pt x="5719763" y="910590"/>
                    <a:pt x="5719763" y="751523"/>
                  </a:cubicBezTo>
                  <a:cubicBezTo>
                    <a:pt x="5719763" y="594360"/>
                    <a:pt x="5828348" y="492443"/>
                    <a:pt x="5965508" y="492443"/>
                  </a:cubicBezTo>
                  <a:cubicBezTo>
                    <a:pt x="6120765" y="492443"/>
                    <a:pt x="6196965" y="601028"/>
                    <a:pt x="6179820" y="784860"/>
                  </a:cubicBezTo>
                  <a:lnTo>
                    <a:pt x="5863590" y="784860"/>
                  </a:lnTo>
                  <a:cubicBezTo>
                    <a:pt x="5871210" y="862013"/>
                    <a:pt x="5909310" y="914400"/>
                    <a:pt x="5992178" y="914400"/>
                  </a:cubicBezTo>
                  <a:moveTo>
                    <a:pt x="6049328" y="693420"/>
                  </a:moveTo>
                  <a:cubicBezTo>
                    <a:pt x="6048375" y="637223"/>
                    <a:pt x="6025515" y="591503"/>
                    <a:pt x="5963603" y="591503"/>
                  </a:cubicBezTo>
                  <a:cubicBezTo>
                    <a:pt x="5906453" y="591503"/>
                    <a:pt x="5874068" y="628650"/>
                    <a:pt x="5864543" y="693420"/>
                  </a:cubicBezTo>
                  <a:lnTo>
                    <a:pt x="6049328" y="693420"/>
                  </a:lnTo>
                  <a:close/>
                  <a:moveTo>
                    <a:pt x="6296025" y="634365"/>
                  </a:moveTo>
                  <a:cubicBezTo>
                    <a:pt x="6257925" y="634365"/>
                    <a:pt x="6226493" y="602933"/>
                    <a:pt x="6226493" y="564833"/>
                  </a:cubicBezTo>
                  <a:cubicBezTo>
                    <a:pt x="6226493" y="526733"/>
                    <a:pt x="6257925" y="495300"/>
                    <a:pt x="6296025" y="495300"/>
                  </a:cubicBezTo>
                  <a:cubicBezTo>
                    <a:pt x="6334125" y="495300"/>
                    <a:pt x="6365558" y="526733"/>
                    <a:pt x="6365558" y="564833"/>
                  </a:cubicBezTo>
                  <a:cubicBezTo>
                    <a:pt x="6365558" y="602933"/>
                    <a:pt x="6335078" y="634365"/>
                    <a:pt x="6296025" y="634365"/>
                  </a:cubicBezTo>
                  <a:moveTo>
                    <a:pt x="6296025" y="505778"/>
                  </a:moveTo>
                  <a:cubicBezTo>
                    <a:pt x="6262688" y="505778"/>
                    <a:pt x="6237923" y="530543"/>
                    <a:pt x="6237923" y="564833"/>
                  </a:cubicBezTo>
                  <a:cubicBezTo>
                    <a:pt x="6237923" y="599123"/>
                    <a:pt x="6262688" y="623888"/>
                    <a:pt x="6296025" y="623888"/>
                  </a:cubicBezTo>
                  <a:cubicBezTo>
                    <a:pt x="6329363" y="623888"/>
                    <a:pt x="6354128" y="599123"/>
                    <a:pt x="6354128" y="564833"/>
                  </a:cubicBezTo>
                  <a:cubicBezTo>
                    <a:pt x="6355080" y="530543"/>
                    <a:pt x="6329363" y="505778"/>
                    <a:pt x="6296025" y="505778"/>
                  </a:cubicBezTo>
                  <a:moveTo>
                    <a:pt x="6316028" y="605790"/>
                  </a:moveTo>
                  <a:lnTo>
                    <a:pt x="6296978" y="577215"/>
                  </a:lnTo>
                  <a:cubicBezTo>
                    <a:pt x="6293168" y="571500"/>
                    <a:pt x="6290310" y="569595"/>
                    <a:pt x="6284595" y="569595"/>
                  </a:cubicBezTo>
                  <a:lnTo>
                    <a:pt x="6284595" y="606743"/>
                  </a:lnTo>
                  <a:lnTo>
                    <a:pt x="6271260" y="606743"/>
                  </a:lnTo>
                  <a:lnTo>
                    <a:pt x="6271260" y="522923"/>
                  </a:lnTo>
                  <a:lnTo>
                    <a:pt x="6298883" y="522923"/>
                  </a:lnTo>
                  <a:cubicBezTo>
                    <a:pt x="6316028" y="522923"/>
                    <a:pt x="6325553" y="533400"/>
                    <a:pt x="6325553" y="546735"/>
                  </a:cubicBezTo>
                  <a:cubicBezTo>
                    <a:pt x="6325553" y="559118"/>
                    <a:pt x="6316980" y="566738"/>
                    <a:pt x="6303645" y="568643"/>
                  </a:cubicBezTo>
                  <a:cubicBezTo>
                    <a:pt x="6307455" y="571500"/>
                    <a:pt x="6310313" y="574358"/>
                    <a:pt x="6313170" y="580073"/>
                  </a:cubicBezTo>
                  <a:lnTo>
                    <a:pt x="6331268" y="606743"/>
                  </a:lnTo>
                  <a:lnTo>
                    <a:pt x="6316028" y="606743"/>
                  </a:lnTo>
                  <a:close/>
                  <a:moveTo>
                    <a:pt x="6296025" y="533400"/>
                  </a:moveTo>
                  <a:lnTo>
                    <a:pt x="6284595" y="533400"/>
                  </a:lnTo>
                  <a:lnTo>
                    <a:pt x="6284595" y="559118"/>
                  </a:lnTo>
                  <a:lnTo>
                    <a:pt x="6293168" y="559118"/>
                  </a:lnTo>
                  <a:cubicBezTo>
                    <a:pt x="6302693" y="559118"/>
                    <a:pt x="6311265" y="558165"/>
                    <a:pt x="6311265" y="546735"/>
                  </a:cubicBezTo>
                  <a:cubicBezTo>
                    <a:pt x="6310313" y="539115"/>
                    <a:pt x="6306503" y="533400"/>
                    <a:pt x="6296025" y="533400"/>
                  </a:cubicBezTo>
                  <a:moveTo>
                    <a:pt x="1146810" y="1905"/>
                  </a:moveTo>
                  <a:lnTo>
                    <a:pt x="1146810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0" y="1289685"/>
                  </a:lnTo>
                  <a:lnTo>
                    <a:pt x="1146810" y="1289685"/>
                  </a:lnTo>
                  <a:lnTo>
                    <a:pt x="1146810" y="1905"/>
                  </a:lnTo>
                  <a:close/>
                  <a:moveTo>
                    <a:pt x="897255" y="880110"/>
                  </a:moveTo>
                  <a:lnTo>
                    <a:pt x="897255" y="934403"/>
                  </a:lnTo>
                  <a:cubicBezTo>
                    <a:pt x="771525" y="934403"/>
                    <a:pt x="692468" y="894398"/>
                    <a:pt x="642938" y="843915"/>
                  </a:cubicBezTo>
                  <a:cubicBezTo>
                    <a:pt x="651510" y="866775"/>
                    <a:pt x="661035" y="890588"/>
                    <a:pt x="672465" y="915353"/>
                  </a:cubicBezTo>
                  <a:cubicBezTo>
                    <a:pt x="758190" y="1083945"/>
                    <a:pt x="908685" y="1170623"/>
                    <a:pt x="1126808" y="1173480"/>
                  </a:cubicBezTo>
                  <a:lnTo>
                    <a:pt x="1126808" y="1243965"/>
                  </a:lnTo>
                  <a:cubicBezTo>
                    <a:pt x="819150" y="1241108"/>
                    <a:pt x="675323" y="1080135"/>
                    <a:pt x="608648" y="944880"/>
                  </a:cubicBezTo>
                  <a:cubicBezTo>
                    <a:pt x="593408" y="915353"/>
                    <a:pt x="581978" y="885825"/>
                    <a:pt x="572453" y="857250"/>
                  </a:cubicBezTo>
                  <a:cubicBezTo>
                    <a:pt x="470535" y="1106805"/>
                    <a:pt x="192405" y="1110615"/>
                    <a:pt x="189548" y="1110615"/>
                  </a:cubicBezTo>
                  <a:lnTo>
                    <a:pt x="189548" y="1032510"/>
                  </a:lnTo>
                  <a:cubicBezTo>
                    <a:pt x="203835" y="1032510"/>
                    <a:pt x="531495" y="1022033"/>
                    <a:pt x="531495" y="644843"/>
                  </a:cubicBezTo>
                  <a:lnTo>
                    <a:pt x="615315" y="644843"/>
                  </a:lnTo>
                  <a:cubicBezTo>
                    <a:pt x="615315" y="267653"/>
                    <a:pt x="942975" y="265748"/>
                    <a:pt x="957263" y="265748"/>
                  </a:cubicBezTo>
                  <a:lnTo>
                    <a:pt x="957263" y="187643"/>
                  </a:lnTo>
                  <a:cubicBezTo>
                    <a:pt x="953453" y="187643"/>
                    <a:pt x="676275" y="191453"/>
                    <a:pt x="574358" y="441008"/>
                  </a:cubicBezTo>
                  <a:cubicBezTo>
                    <a:pt x="564833" y="412433"/>
                    <a:pt x="553403" y="382905"/>
                    <a:pt x="538163" y="353378"/>
                  </a:cubicBezTo>
                  <a:cubicBezTo>
                    <a:pt x="470535" y="218123"/>
                    <a:pt x="326708" y="58103"/>
                    <a:pt x="19050" y="54293"/>
                  </a:cubicBezTo>
                  <a:lnTo>
                    <a:pt x="19050" y="19050"/>
                  </a:lnTo>
                  <a:lnTo>
                    <a:pt x="1127760" y="19050"/>
                  </a:lnTo>
                  <a:lnTo>
                    <a:pt x="1127760" y="644843"/>
                  </a:lnTo>
                  <a:lnTo>
                    <a:pt x="615315" y="644843"/>
                  </a:lnTo>
                  <a:cubicBezTo>
                    <a:pt x="615315" y="654368"/>
                    <a:pt x="620078" y="880110"/>
                    <a:pt x="897255" y="880110"/>
                  </a:cubicBezTo>
                  <a:close/>
                  <a:moveTo>
                    <a:pt x="19050" y="124778"/>
                  </a:moveTo>
                  <a:cubicBezTo>
                    <a:pt x="237173" y="127635"/>
                    <a:pt x="388620" y="214313"/>
                    <a:pt x="473393" y="382905"/>
                  </a:cubicBezTo>
                  <a:cubicBezTo>
                    <a:pt x="485775" y="406718"/>
                    <a:pt x="495300" y="430530"/>
                    <a:pt x="502920" y="453390"/>
                  </a:cubicBezTo>
                  <a:cubicBezTo>
                    <a:pt x="453390" y="402908"/>
                    <a:pt x="374333" y="362903"/>
                    <a:pt x="248603" y="362903"/>
                  </a:cubicBezTo>
                  <a:lnTo>
                    <a:pt x="248603" y="418148"/>
                  </a:lnTo>
                  <a:cubicBezTo>
                    <a:pt x="526733" y="418148"/>
                    <a:pt x="530543" y="635318"/>
                    <a:pt x="530543" y="644843"/>
                  </a:cubicBezTo>
                  <a:lnTo>
                    <a:pt x="19050" y="644843"/>
                  </a:lnTo>
                  <a:lnTo>
                    <a:pt x="19050" y="124778"/>
                  </a:lnTo>
                  <a:close/>
                </a:path>
              </a:pathLst>
            </a:custGeom>
            <a:solidFill>
              <a:srgbClr val="00578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111272D-A5E6-4E34-A0BF-11F994BC9623}"/>
                </a:ext>
              </a:extLst>
            </p:cNvPr>
            <p:cNvSpPr txBox="1"/>
            <p:nvPr userDrawn="1"/>
          </p:nvSpPr>
          <p:spPr>
            <a:xfrm>
              <a:off x="1490237" y="6477000"/>
              <a:ext cx="492735" cy="381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kern="1200">
                  <a:solidFill>
                    <a:schemeClr val="bg2">
                      <a:lumMod val="75000"/>
                    </a:schemeClr>
                  </a:solidFill>
                  <a:latin typeface="+mn-lt"/>
                  <a:ea typeface="+mn-ea"/>
                  <a:cs typeface="+mn-cs"/>
                </a:rPr>
                <a:t>| </a:t>
              </a:r>
              <a:endParaRPr lang="en-US" sz="900" kern="1200" cap="all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34" name="Picture 33" descr="A close up of a sign&#10;&#10;Description automatically generated">
              <a:extLst>
                <a:ext uri="{FF2B5EF4-FFF2-40B4-BE49-F238E27FC236}">
                  <a16:creationId xmlns:a16="http://schemas.microsoft.com/office/drawing/2014/main" id="{C776E7EF-BCD6-4CA2-8C98-627DFD85E3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69317" y="6592132"/>
              <a:ext cx="782374" cy="182880"/>
            </a:xfrm>
            <a:prstGeom prst="rect">
              <a:avLst/>
            </a:prstGeom>
          </p:spPr>
        </p:pic>
      </p:grpSp>
    </p:spTree>
    <p:custDataLst>
      <p:tags r:id="rId27"/>
    </p:custDataLst>
    <p:extLst>
      <p:ext uri="{BB962C8B-B14F-4D97-AF65-F5344CB8AC3E}">
        <p14:creationId xmlns:p14="http://schemas.microsoft.com/office/powerpoint/2010/main" val="2025031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</p:sldLayoutIdLst>
  <p:transition spd="med">
    <p:wipe dir="r"/>
  </p:transition>
  <p:hf hdr="0" ftr="0" dt="0"/>
  <p:txStyles>
    <p:titleStyle>
      <a:lvl1pPr algn="l" defTabSz="457208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208" rtl="0" eaLnBrk="1" fontAlgn="auto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Tx/>
        <a:buFont typeface="Arial"/>
        <a:buNone/>
        <a:tabLst/>
        <a:defRPr lang="en-US" sz="1500" b="0" i="0" kern="1200" cap="all" baseline="0" smtClean="0">
          <a:solidFill>
            <a:schemeClr val="accent4"/>
          </a:solidFill>
          <a:effectLst/>
          <a:latin typeface="+mj-lt"/>
          <a:ea typeface="+mn-ea"/>
          <a:cs typeface="Calibri Light" panose="020F0302020204030204" pitchFamily="34" charset="0"/>
        </a:defRPr>
      </a:lvl1pPr>
      <a:lvl2pPr marL="173041" marR="0" indent="-173041" algn="l" defTabSz="457208" rtl="0" eaLnBrk="1" fontAlgn="auto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8" marR="0" indent="-228604" algn="l" defTabSz="457208" rtl="0" eaLnBrk="1" fontAlgn="auto" latinLnBrk="0" hangingPunct="1">
        <a:lnSpc>
          <a:spcPct val="95000"/>
        </a:lnSpc>
        <a:spcBef>
          <a:spcPts val="400"/>
        </a:spcBef>
        <a:spcAft>
          <a:spcPts val="400"/>
        </a:spcAft>
        <a:buClr>
          <a:schemeClr val="tx1"/>
        </a:buClr>
        <a:buSzPct val="100000"/>
        <a:buFont typeface="Calibri" panose="020F0502020204030204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11" indent="-169866" algn="l" defTabSz="45720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Arial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73154" indent="-228604" algn="l" defTabSz="45720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Calibri" panose="020F05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42" indent="-228604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9" indent="-228604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7" indent="-228604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5" indent="-228604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6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1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80">
          <p15:clr>
            <a:srgbClr val="F26B43"/>
          </p15:clr>
        </p15:guide>
        <p15:guide id="3" pos="7223">
          <p15:clr>
            <a:srgbClr val="F26B43"/>
          </p15:clr>
        </p15:guide>
        <p15:guide id="4" orient="horz" pos="776">
          <p15:clr>
            <a:srgbClr val="F26B43"/>
          </p15:clr>
        </p15:guide>
        <p15:guide id="5" orient="horz" pos="468">
          <p15:clr>
            <a:srgbClr val="F26B43"/>
          </p15:clr>
        </p15:guide>
        <p15:guide id="8" pos="7526">
          <p15:clr>
            <a:srgbClr val="F26B43"/>
          </p15:clr>
        </p15:guide>
        <p15:guide id="9" pos="455">
          <p15:clr>
            <a:srgbClr val="F26B43"/>
          </p15:clr>
        </p15:guide>
        <p15:guide id="10" pos="38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2367" y="91440"/>
            <a:ext cx="9997440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insert slide title, sentence ca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2367" y="1233488"/>
            <a:ext cx="9997440" cy="49377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81B5EAD7-2746-4D44-91C3-91546A22D07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2242" y="6477000"/>
            <a:ext cx="365220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 algn="r"/>
            <a:fld id="{2C78AFB4-C6FC-46C2-866E-1D035D18C516}" type="slidenum">
              <a:rPr lang="en-US" sz="900" noProof="0" smtClean="0">
                <a:solidFill>
                  <a:schemeClr val="accent1"/>
                </a:solidFill>
              </a:rPr>
              <a:pPr lvl="0" algn="r"/>
              <a:t>‹#›</a:t>
            </a:fld>
            <a:endParaRPr lang="en-US" sz="900" noProof="0">
              <a:solidFill>
                <a:schemeClr val="accent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15A0D43-C351-408B-ADB7-5CABD5D2EF72}"/>
              </a:ext>
            </a:extLst>
          </p:cNvPr>
          <p:cNvCxnSpPr>
            <a:cxnSpLocks/>
          </p:cNvCxnSpPr>
          <p:nvPr userDrawn="1"/>
        </p:nvCxnSpPr>
        <p:spPr>
          <a:xfrm>
            <a:off x="1" y="6477000"/>
            <a:ext cx="12192000" cy="0"/>
          </a:xfrm>
          <a:prstGeom prst="line">
            <a:avLst/>
          </a:prstGeom>
          <a:ln w="6350" cmpd="sng">
            <a:solidFill>
              <a:schemeClr val="bg2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9A64B67-3112-4F7C-9435-C3073A26CB0C}"/>
              </a:ext>
            </a:extLst>
          </p:cNvPr>
          <p:cNvSpPr txBox="1"/>
          <p:nvPr userDrawn="1"/>
        </p:nvSpPr>
        <p:spPr>
          <a:xfrm>
            <a:off x="11012181" y="6482454"/>
            <a:ext cx="457319" cy="3755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© 2022 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319397-1E6D-4363-85BD-BBFCCE380716}"/>
              </a:ext>
            </a:extLst>
          </p:cNvPr>
          <p:cNvSpPr txBox="1"/>
          <p:nvPr userDrawn="1"/>
        </p:nvSpPr>
        <p:spPr>
          <a:xfrm>
            <a:off x="8120591" y="6477000"/>
            <a:ext cx="2835378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nfidential information</a:t>
            </a:r>
            <a:r>
              <a:rPr lang="en-US" sz="9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      |</a:t>
            </a:r>
            <a:endParaRPr lang="en-US" sz="900" kern="1200" cap="all" baseline="0">
              <a:solidFill>
                <a:schemeClr val="bg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1" name="Corner graphic">
            <a:extLst>
              <a:ext uri="{FF2B5EF4-FFF2-40B4-BE49-F238E27FC236}">
                <a16:creationId xmlns:a16="http://schemas.microsoft.com/office/drawing/2014/main" id="{99C6AE0B-4A14-487E-A1DA-C9FD11A2E180}"/>
              </a:ext>
            </a:extLst>
          </p:cNvPr>
          <p:cNvGrpSpPr/>
          <p:nvPr userDrawn="1"/>
        </p:nvGrpSpPr>
        <p:grpSpPr>
          <a:xfrm>
            <a:off x="83474" y="15903"/>
            <a:ext cx="345041" cy="2279788"/>
            <a:chOff x="4052887" y="9525"/>
            <a:chExt cx="1035367" cy="6842760"/>
          </a:xfrm>
        </p:grpSpPr>
        <p:sp>
          <p:nvSpPr>
            <p:cNvPr id="22" name="Corner gray">
              <a:extLst>
                <a:ext uri="{FF2B5EF4-FFF2-40B4-BE49-F238E27FC236}">
                  <a16:creationId xmlns:a16="http://schemas.microsoft.com/office/drawing/2014/main" id="{06D9A027-2F9A-4340-971D-A74BAE2C3355}"/>
                </a:ext>
              </a:extLst>
            </p:cNvPr>
            <p:cNvSpPr/>
            <p:nvPr/>
          </p:nvSpPr>
          <p:spPr>
            <a:xfrm>
              <a:off x="4052887" y="9525"/>
              <a:ext cx="1035367" cy="6842760"/>
            </a:xfrm>
            <a:custGeom>
              <a:avLst/>
              <a:gdLst>
                <a:gd name="connsiteX0" fmla="*/ 0 w 1035367"/>
                <a:gd name="connsiteY0" fmla="*/ 1128713 h 6842760"/>
                <a:gd name="connsiteX1" fmla="*/ 78105 w 1035367"/>
                <a:gd name="connsiteY1" fmla="*/ 1206818 h 6842760"/>
                <a:gd name="connsiteX2" fmla="*/ 156210 w 1035367"/>
                <a:gd name="connsiteY2" fmla="*/ 1128713 h 6842760"/>
                <a:gd name="connsiteX3" fmla="*/ 78105 w 1035367"/>
                <a:gd name="connsiteY3" fmla="*/ 1050608 h 6842760"/>
                <a:gd name="connsiteX4" fmla="*/ 0 w 1035367"/>
                <a:gd name="connsiteY4" fmla="*/ 1128713 h 6842760"/>
                <a:gd name="connsiteX5" fmla="*/ 42863 w 1035367"/>
                <a:gd name="connsiteY5" fmla="*/ 2162175 h 6842760"/>
                <a:gd name="connsiteX6" fmla="*/ 80963 w 1035367"/>
                <a:gd name="connsiteY6" fmla="*/ 2194560 h 6842760"/>
                <a:gd name="connsiteX7" fmla="*/ 113348 w 1035367"/>
                <a:gd name="connsiteY7" fmla="*/ 2156460 h 6842760"/>
                <a:gd name="connsiteX8" fmla="*/ 75248 w 1035367"/>
                <a:gd name="connsiteY8" fmla="*/ 2124075 h 6842760"/>
                <a:gd name="connsiteX9" fmla="*/ 42863 w 1035367"/>
                <a:gd name="connsiteY9" fmla="*/ 2162175 h 6842760"/>
                <a:gd name="connsiteX10" fmla="*/ 34290 w 1035367"/>
                <a:gd name="connsiteY10" fmla="*/ 1953578 h 6842760"/>
                <a:gd name="connsiteX11" fmla="*/ 78105 w 1035367"/>
                <a:gd name="connsiteY11" fmla="*/ 1997393 h 6842760"/>
                <a:gd name="connsiteX12" fmla="*/ 121920 w 1035367"/>
                <a:gd name="connsiteY12" fmla="*/ 1953578 h 6842760"/>
                <a:gd name="connsiteX13" fmla="*/ 78105 w 1035367"/>
                <a:gd name="connsiteY13" fmla="*/ 1909763 h 6842760"/>
                <a:gd name="connsiteX14" fmla="*/ 34290 w 1035367"/>
                <a:gd name="connsiteY14" fmla="*/ 1953578 h 6842760"/>
                <a:gd name="connsiteX15" fmla="*/ 16193 w 1035367"/>
                <a:gd name="connsiteY15" fmla="*/ 1541145 h 6842760"/>
                <a:gd name="connsiteX16" fmla="*/ 78105 w 1035367"/>
                <a:gd name="connsiteY16" fmla="*/ 1603058 h 6842760"/>
                <a:gd name="connsiteX17" fmla="*/ 140018 w 1035367"/>
                <a:gd name="connsiteY17" fmla="*/ 1541145 h 6842760"/>
                <a:gd name="connsiteX18" fmla="*/ 78105 w 1035367"/>
                <a:gd name="connsiteY18" fmla="*/ 1479233 h 6842760"/>
                <a:gd name="connsiteX19" fmla="*/ 16193 w 1035367"/>
                <a:gd name="connsiteY19" fmla="*/ 1541145 h 6842760"/>
                <a:gd name="connsiteX20" fmla="*/ 24765 w 1035367"/>
                <a:gd name="connsiteY20" fmla="*/ 716280 h 6842760"/>
                <a:gd name="connsiteX21" fmla="*/ 78105 w 1035367"/>
                <a:gd name="connsiteY21" fmla="*/ 769620 h 6842760"/>
                <a:gd name="connsiteX22" fmla="*/ 131445 w 1035367"/>
                <a:gd name="connsiteY22" fmla="*/ 716280 h 6842760"/>
                <a:gd name="connsiteX23" fmla="*/ 78105 w 1035367"/>
                <a:gd name="connsiteY23" fmla="*/ 662940 h 6842760"/>
                <a:gd name="connsiteX24" fmla="*/ 24765 w 1035367"/>
                <a:gd name="connsiteY24" fmla="*/ 716280 h 6842760"/>
                <a:gd name="connsiteX25" fmla="*/ 34290 w 1035367"/>
                <a:gd name="connsiteY25" fmla="*/ 510540 h 6842760"/>
                <a:gd name="connsiteX26" fmla="*/ 78105 w 1035367"/>
                <a:gd name="connsiteY26" fmla="*/ 554355 h 6842760"/>
                <a:gd name="connsiteX27" fmla="*/ 121920 w 1035367"/>
                <a:gd name="connsiteY27" fmla="*/ 510540 h 6842760"/>
                <a:gd name="connsiteX28" fmla="*/ 78105 w 1035367"/>
                <a:gd name="connsiteY28" fmla="*/ 466725 h 6842760"/>
                <a:gd name="connsiteX29" fmla="*/ 34290 w 1035367"/>
                <a:gd name="connsiteY29" fmla="*/ 510540 h 6842760"/>
                <a:gd name="connsiteX30" fmla="*/ 24765 w 1035367"/>
                <a:gd name="connsiteY30" fmla="*/ 1746885 h 6842760"/>
                <a:gd name="connsiteX31" fmla="*/ 78105 w 1035367"/>
                <a:gd name="connsiteY31" fmla="*/ 1800225 h 6842760"/>
                <a:gd name="connsiteX32" fmla="*/ 131445 w 1035367"/>
                <a:gd name="connsiteY32" fmla="*/ 1746885 h 6842760"/>
                <a:gd name="connsiteX33" fmla="*/ 78105 w 1035367"/>
                <a:gd name="connsiteY33" fmla="*/ 1693545 h 6842760"/>
                <a:gd name="connsiteX34" fmla="*/ 24765 w 1035367"/>
                <a:gd name="connsiteY34" fmla="*/ 1746885 h 6842760"/>
                <a:gd name="connsiteX35" fmla="*/ 16193 w 1035367"/>
                <a:gd name="connsiteY35" fmla="*/ 922973 h 6842760"/>
                <a:gd name="connsiteX36" fmla="*/ 78105 w 1035367"/>
                <a:gd name="connsiteY36" fmla="*/ 984885 h 6842760"/>
                <a:gd name="connsiteX37" fmla="*/ 140018 w 1035367"/>
                <a:gd name="connsiteY37" fmla="*/ 922973 h 6842760"/>
                <a:gd name="connsiteX38" fmla="*/ 78105 w 1035367"/>
                <a:gd name="connsiteY38" fmla="*/ 861060 h 6842760"/>
                <a:gd name="connsiteX39" fmla="*/ 16193 w 1035367"/>
                <a:gd name="connsiteY39" fmla="*/ 922973 h 6842760"/>
                <a:gd name="connsiteX40" fmla="*/ 46673 w 1035367"/>
                <a:gd name="connsiteY40" fmla="*/ 98108 h 6842760"/>
                <a:gd name="connsiteX41" fmla="*/ 78105 w 1035367"/>
                <a:gd name="connsiteY41" fmla="*/ 129540 h 6842760"/>
                <a:gd name="connsiteX42" fmla="*/ 109538 w 1035367"/>
                <a:gd name="connsiteY42" fmla="*/ 98108 h 6842760"/>
                <a:gd name="connsiteX43" fmla="*/ 78105 w 1035367"/>
                <a:gd name="connsiteY43" fmla="*/ 66675 h 6842760"/>
                <a:gd name="connsiteX44" fmla="*/ 46673 w 1035367"/>
                <a:gd name="connsiteY44" fmla="*/ 98108 h 6842760"/>
                <a:gd name="connsiteX45" fmla="*/ 42863 w 1035367"/>
                <a:gd name="connsiteY45" fmla="*/ 303848 h 6842760"/>
                <a:gd name="connsiteX46" fmla="*/ 78105 w 1035367"/>
                <a:gd name="connsiteY46" fmla="*/ 339090 h 6842760"/>
                <a:gd name="connsiteX47" fmla="*/ 113348 w 1035367"/>
                <a:gd name="connsiteY47" fmla="*/ 303848 h 6842760"/>
                <a:gd name="connsiteX48" fmla="*/ 78105 w 1035367"/>
                <a:gd name="connsiteY48" fmla="*/ 268605 h 6842760"/>
                <a:gd name="connsiteX49" fmla="*/ 42863 w 1035367"/>
                <a:gd name="connsiteY49" fmla="*/ 303848 h 6842760"/>
                <a:gd name="connsiteX50" fmla="*/ 0 w 1035367"/>
                <a:gd name="connsiteY50" fmla="*/ 1335405 h 6842760"/>
                <a:gd name="connsiteX51" fmla="*/ 78105 w 1035367"/>
                <a:gd name="connsiteY51" fmla="*/ 1413510 h 6842760"/>
                <a:gd name="connsiteX52" fmla="*/ 156210 w 1035367"/>
                <a:gd name="connsiteY52" fmla="*/ 1335405 h 6842760"/>
                <a:gd name="connsiteX53" fmla="*/ 78105 w 1035367"/>
                <a:gd name="connsiteY53" fmla="*/ 1257300 h 6842760"/>
                <a:gd name="connsiteX54" fmla="*/ 0 w 1035367"/>
                <a:gd name="connsiteY54" fmla="*/ 1335405 h 6842760"/>
                <a:gd name="connsiteX55" fmla="*/ 266700 w 1035367"/>
                <a:gd name="connsiteY55" fmla="*/ 2159318 h 6842760"/>
                <a:gd name="connsiteX56" fmla="*/ 298133 w 1035367"/>
                <a:gd name="connsiteY56" fmla="*/ 2190750 h 6842760"/>
                <a:gd name="connsiteX57" fmla="*/ 329565 w 1035367"/>
                <a:gd name="connsiteY57" fmla="*/ 2159318 h 6842760"/>
                <a:gd name="connsiteX58" fmla="*/ 298133 w 1035367"/>
                <a:gd name="connsiteY58" fmla="*/ 2127885 h 6842760"/>
                <a:gd name="connsiteX59" fmla="*/ 266700 w 1035367"/>
                <a:gd name="connsiteY59" fmla="*/ 2159318 h 6842760"/>
                <a:gd name="connsiteX60" fmla="*/ 262890 w 1035367"/>
                <a:gd name="connsiteY60" fmla="*/ 1918335 h 6842760"/>
                <a:gd name="connsiteX61" fmla="*/ 298133 w 1035367"/>
                <a:gd name="connsiteY61" fmla="*/ 1953578 h 6842760"/>
                <a:gd name="connsiteX62" fmla="*/ 333375 w 1035367"/>
                <a:gd name="connsiteY62" fmla="*/ 1918335 h 6842760"/>
                <a:gd name="connsiteX63" fmla="*/ 298133 w 1035367"/>
                <a:gd name="connsiteY63" fmla="*/ 1883093 h 6842760"/>
                <a:gd name="connsiteX64" fmla="*/ 262890 w 1035367"/>
                <a:gd name="connsiteY64" fmla="*/ 1918335 h 6842760"/>
                <a:gd name="connsiteX65" fmla="*/ 236220 w 1035367"/>
                <a:gd name="connsiteY65" fmla="*/ 1289685 h 6842760"/>
                <a:gd name="connsiteX66" fmla="*/ 298133 w 1035367"/>
                <a:gd name="connsiteY66" fmla="*/ 1351598 h 6842760"/>
                <a:gd name="connsiteX67" fmla="*/ 360045 w 1035367"/>
                <a:gd name="connsiteY67" fmla="*/ 1289685 h 6842760"/>
                <a:gd name="connsiteX68" fmla="*/ 298133 w 1035367"/>
                <a:gd name="connsiteY68" fmla="*/ 1227773 h 6842760"/>
                <a:gd name="connsiteX69" fmla="*/ 236220 w 1035367"/>
                <a:gd name="connsiteY69" fmla="*/ 1289685 h 6842760"/>
                <a:gd name="connsiteX70" fmla="*/ 236220 w 1035367"/>
                <a:gd name="connsiteY70" fmla="*/ 869633 h 6842760"/>
                <a:gd name="connsiteX71" fmla="*/ 298133 w 1035367"/>
                <a:gd name="connsiteY71" fmla="*/ 931545 h 6842760"/>
                <a:gd name="connsiteX72" fmla="*/ 360045 w 1035367"/>
                <a:gd name="connsiteY72" fmla="*/ 869633 h 6842760"/>
                <a:gd name="connsiteX73" fmla="*/ 298133 w 1035367"/>
                <a:gd name="connsiteY73" fmla="*/ 807720 h 6842760"/>
                <a:gd name="connsiteX74" fmla="*/ 236220 w 1035367"/>
                <a:gd name="connsiteY74" fmla="*/ 869633 h 6842760"/>
                <a:gd name="connsiteX75" fmla="*/ 244793 w 1035367"/>
                <a:gd name="connsiteY75" fmla="*/ 660083 h 6842760"/>
                <a:gd name="connsiteX76" fmla="*/ 298133 w 1035367"/>
                <a:gd name="connsiteY76" fmla="*/ 713423 h 6842760"/>
                <a:gd name="connsiteX77" fmla="*/ 351473 w 1035367"/>
                <a:gd name="connsiteY77" fmla="*/ 660083 h 6842760"/>
                <a:gd name="connsiteX78" fmla="*/ 298133 w 1035367"/>
                <a:gd name="connsiteY78" fmla="*/ 606743 h 6842760"/>
                <a:gd name="connsiteX79" fmla="*/ 244793 w 1035367"/>
                <a:gd name="connsiteY79" fmla="*/ 660083 h 6842760"/>
                <a:gd name="connsiteX80" fmla="*/ 253365 w 1035367"/>
                <a:gd name="connsiteY80" fmla="*/ 1708785 h 6842760"/>
                <a:gd name="connsiteX81" fmla="*/ 297180 w 1035367"/>
                <a:gd name="connsiteY81" fmla="*/ 1752600 h 6842760"/>
                <a:gd name="connsiteX82" fmla="*/ 340995 w 1035367"/>
                <a:gd name="connsiteY82" fmla="*/ 1708785 h 6842760"/>
                <a:gd name="connsiteX83" fmla="*/ 297180 w 1035367"/>
                <a:gd name="connsiteY83" fmla="*/ 1664970 h 6842760"/>
                <a:gd name="connsiteX84" fmla="*/ 253365 w 1035367"/>
                <a:gd name="connsiteY84" fmla="*/ 1708785 h 6842760"/>
                <a:gd name="connsiteX85" fmla="*/ 244793 w 1035367"/>
                <a:gd name="connsiteY85" fmla="*/ 1499235 h 6842760"/>
                <a:gd name="connsiteX86" fmla="*/ 298133 w 1035367"/>
                <a:gd name="connsiteY86" fmla="*/ 1552575 h 6842760"/>
                <a:gd name="connsiteX87" fmla="*/ 351473 w 1035367"/>
                <a:gd name="connsiteY87" fmla="*/ 1499235 h 6842760"/>
                <a:gd name="connsiteX88" fmla="*/ 298133 w 1035367"/>
                <a:gd name="connsiteY88" fmla="*/ 1445895 h 6842760"/>
                <a:gd name="connsiteX89" fmla="*/ 244793 w 1035367"/>
                <a:gd name="connsiteY89" fmla="*/ 1499235 h 6842760"/>
                <a:gd name="connsiteX90" fmla="*/ 262890 w 1035367"/>
                <a:gd name="connsiteY90" fmla="*/ 240983 h 6842760"/>
                <a:gd name="connsiteX91" fmla="*/ 298133 w 1035367"/>
                <a:gd name="connsiteY91" fmla="*/ 276225 h 6842760"/>
                <a:gd name="connsiteX92" fmla="*/ 333375 w 1035367"/>
                <a:gd name="connsiteY92" fmla="*/ 240983 h 6842760"/>
                <a:gd name="connsiteX93" fmla="*/ 298133 w 1035367"/>
                <a:gd name="connsiteY93" fmla="*/ 205740 h 6842760"/>
                <a:gd name="connsiteX94" fmla="*/ 262890 w 1035367"/>
                <a:gd name="connsiteY94" fmla="*/ 240983 h 6842760"/>
                <a:gd name="connsiteX95" fmla="*/ 266700 w 1035367"/>
                <a:gd name="connsiteY95" fmla="*/ 31433 h 6842760"/>
                <a:gd name="connsiteX96" fmla="*/ 298133 w 1035367"/>
                <a:gd name="connsiteY96" fmla="*/ 62865 h 6842760"/>
                <a:gd name="connsiteX97" fmla="*/ 329565 w 1035367"/>
                <a:gd name="connsiteY97" fmla="*/ 31433 h 6842760"/>
                <a:gd name="connsiteX98" fmla="*/ 298133 w 1035367"/>
                <a:gd name="connsiteY98" fmla="*/ 0 h 6842760"/>
                <a:gd name="connsiteX99" fmla="*/ 266700 w 1035367"/>
                <a:gd name="connsiteY99" fmla="*/ 31433 h 6842760"/>
                <a:gd name="connsiteX100" fmla="*/ 253365 w 1035367"/>
                <a:gd name="connsiteY100" fmla="*/ 450533 h 6842760"/>
                <a:gd name="connsiteX101" fmla="*/ 297180 w 1035367"/>
                <a:gd name="connsiteY101" fmla="*/ 494348 h 6842760"/>
                <a:gd name="connsiteX102" fmla="*/ 340995 w 1035367"/>
                <a:gd name="connsiteY102" fmla="*/ 450533 h 6842760"/>
                <a:gd name="connsiteX103" fmla="*/ 297180 w 1035367"/>
                <a:gd name="connsiteY103" fmla="*/ 406718 h 6842760"/>
                <a:gd name="connsiteX104" fmla="*/ 253365 w 1035367"/>
                <a:gd name="connsiteY104" fmla="*/ 450533 h 6842760"/>
                <a:gd name="connsiteX105" fmla="*/ 220028 w 1035367"/>
                <a:gd name="connsiteY105" fmla="*/ 1080135 h 6842760"/>
                <a:gd name="connsiteX106" fmla="*/ 298133 w 1035367"/>
                <a:gd name="connsiteY106" fmla="*/ 1158240 h 6842760"/>
                <a:gd name="connsiteX107" fmla="*/ 376238 w 1035367"/>
                <a:gd name="connsiteY107" fmla="*/ 1080135 h 6842760"/>
                <a:gd name="connsiteX108" fmla="*/ 298133 w 1035367"/>
                <a:gd name="connsiteY108" fmla="*/ 1002030 h 6842760"/>
                <a:gd name="connsiteX109" fmla="*/ 220028 w 1035367"/>
                <a:gd name="connsiteY109" fmla="*/ 1080135 h 6842760"/>
                <a:gd name="connsiteX110" fmla="*/ 473393 w 1035367"/>
                <a:gd name="connsiteY110" fmla="*/ 2159318 h 6842760"/>
                <a:gd name="connsiteX111" fmla="*/ 517208 w 1035367"/>
                <a:gd name="connsiteY111" fmla="*/ 2203133 h 6842760"/>
                <a:gd name="connsiteX112" fmla="*/ 561023 w 1035367"/>
                <a:gd name="connsiteY112" fmla="*/ 2159318 h 6842760"/>
                <a:gd name="connsiteX113" fmla="*/ 517208 w 1035367"/>
                <a:gd name="connsiteY113" fmla="*/ 2115503 h 6842760"/>
                <a:gd name="connsiteX114" fmla="*/ 473393 w 1035367"/>
                <a:gd name="connsiteY114" fmla="*/ 2159318 h 6842760"/>
                <a:gd name="connsiteX115" fmla="*/ 464820 w 1035367"/>
                <a:gd name="connsiteY115" fmla="*/ 1946910 h 6842760"/>
                <a:gd name="connsiteX116" fmla="*/ 518160 w 1035367"/>
                <a:gd name="connsiteY116" fmla="*/ 2000250 h 6842760"/>
                <a:gd name="connsiteX117" fmla="*/ 571500 w 1035367"/>
                <a:gd name="connsiteY117" fmla="*/ 1946910 h 6842760"/>
                <a:gd name="connsiteX118" fmla="*/ 518160 w 1035367"/>
                <a:gd name="connsiteY118" fmla="*/ 1893570 h 6842760"/>
                <a:gd name="connsiteX119" fmla="*/ 464820 w 1035367"/>
                <a:gd name="connsiteY119" fmla="*/ 1946910 h 6842760"/>
                <a:gd name="connsiteX120" fmla="*/ 456248 w 1035367"/>
                <a:gd name="connsiteY120" fmla="*/ 1309688 h 6842760"/>
                <a:gd name="connsiteX121" fmla="*/ 518160 w 1035367"/>
                <a:gd name="connsiteY121" fmla="*/ 1371600 h 6842760"/>
                <a:gd name="connsiteX122" fmla="*/ 580073 w 1035367"/>
                <a:gd name="connsiteY122" fmla="*/ 1309688 h 6842760"/>
                <a:gd name="connsiteX123" fmla="*/ 518160 w 1035367"/>
                <a:gd name="connsiteY123" fmla="*/ 1247775 h 6842760"/>
                <a:gd name="connsiteX124" fmla="*/ 456248 w 1035367"/>
                <a:gd name="connsiteY124" fmla="*/ 1309688 h 6842760"/>
                <a:gd name="connsiteX125" fmla="*/ 473393 w 1035367"/>
                <a:gd name="connsiteY125" fmla="*/ 883920 h 6842760"/>
                <a:gd name="connsiteX126" fmla="*/ 517208 w 1035367"/>
                <a:gd name="connsiteY126" fmla="*/ 927735 h 6842760"/>
                <a:gd name="connsiteX127" fmla="*/ 561023 w 1035367"/>
                <a:gd name="connsiteY127" fmla="*/ 883920 h 6842760"/>
                <a:gd name="connsiteX128" fmla="*/ 517208 w 1035367"/>
                <a:gd name="connsiteY128" fmla="*/ 840105 h 6842760"/>
                <a:gd name="connsiteX129" fmla="*/ 473393 w 1035367"/>
                <a:gd name="connsiteY129" fmla="*/ 883920 h 6842760"/>
                <a:gd name="connsiteX130" fmla="*/ 481965 w 1035367"/>
                <a:gd name="connsiteY130" fmla="*/ 671513 h 6842760"/>
                <a:gd name="connsiteX131" fmla="*/ 517208 w 1035367"/>
                <a:gd name="connsiteY131" fmla="*/ 706755 h 6842760"/>
                <a:gd name="connsiteX132" fmla="*/ 552450 w 1035367"/>
                <a:gd name="connsiteY132" fmla="*/ 671513 h 6842760"/>
                <a:gd name="connsiteX133" fmla="*/ 517208 w 1035367"/>
                <a:gd name="connsiteY133" fmla="*/ 636270 h 6842760"/>
                <a:gd name="connsiteX134" fmla="*/ 481965 w 1035367"/>
                <a:gd name="connsiteY134" fmla="*/ 671513 h 6842760"/>
                <a:gd name="connsiteX135" fmla="*/ 456248 w 1035367"/>
                <a:gd name="connsiteY135" fmla="*/ 1734503 h 6842760"/>
                <a:gd name="connsiteX136" fmla="*/ 518160 w 1035367"/>
                <a:gd name="connsiteY136" fmla="*/ 1796415 h 6842760"/>
                <a:gd name="connsiteX137" fmla="*/ 580073 w 1035367"/>
                <a:gd name="connsiteY137" fmla="*/ 1734503 h 6842760"/>
                <a:gd name="connsiteX138" fmla="*/ 518160 w 1035367"/>
                <a:gd name="connsiteY138" fmla="*/ 1672590 h 6842760"/>
                <a:gd name="connsiteX139" fmla="*/ 456248 w 1035367"/>
                <a:gd name="connsiteY139" fmla="*/ 1734503 h 6842760"/>
                <a:gd name="connsiteX140" fmla="*/ 464820 w 1035367"/>
                <a:gd name="connsiteY140" fmla="*/ 1096328 h 6842760"/>
                <a:gd name="connsiteX141" fmla="*/ 518160 w 1035367"/>
                <a:gd name="connsiteY141" fmla="*/ 1149668 h 6842760"/>
                <a:gd name="connsiteX142" fmla="*/ 571500 w 1035367"/>
                <a:gd name="connsiteY142" fmla="*/ 1096328 h 6842760"/>
                <a:gd name="connsiteX143" fmla="*/ 518160 w 1035367"/>
                <a:gd name="connsiteY143" fmla="*/ 1042988 h 6842760"/>
                <a:gd name="connsiteX144" fmla="*/ 464820 w 1035367"/>
                <a:gd name="connsiteY144" fmla="*/ 1096328 h 6842760"/>
                <a:gd name="connsiteX145" fmla="*/ 486728 w 1035367"/>
                <a:gd name="connsiteY145" fmla="*/ 246698 h 6842760"/>
                <a:gd name="connsiteX146" fmla="*/ 518160 w 1035367"/>
                <a:gd name="connsiteY146" fmla="*/ 278130 h 6842760"/>
                <a:gd name="connsiteX147" fmla="*/ 549593 w 1035367"/>
                <a:gd name="connsiteY147" fmla="*/ 246698 h 6842760"/>
                <a:gd name="connsiteX148" fmla="*/ 518160 w 1035367"/>
                <a:gd name="connsiteY148" fmla="*/ 215265 h 6842760"/>
                <a:gd name="connsiteX149" fmla="*/ 486728 w 1035367"/>
                <a:gd name="connsiteY149" fmla="*/ 246698 h 6842760"/>
                <a:gd name="connsiteX150" fmla="*/ 486728 w 1035367"/>
                <a:gd name="connsiteY150" fmla="*/ 33338 h 6842760"/>
                <a:gd name="connsiteX151" fmla="*/ 518160 w 1035367"/>
                <a:gd name="connsiteY151" fmla="*/ 64770 h 6842760"/>
                <a:gd name="connsiteX152" fmla="*/ 549593 w 1035367"/>
                <a:gd name="connsiteY152" fmla="*/ 33338 h 6842760"/>
                <a:gd name="connsiteX153" fmla="*/ 518160 w 1035367"/>
                <a:gd name="connsiteY153" fmla="*/ 1905 h 6842760"/>
                <a:gd name="connsiteX154" fmla="*/ 486728 w 1035367"/>
                <a:gd name="connsiteY154" fmla="*/ 33338 h 6842760"/>
                <a:gd name="connsiteX155" fmla="*/ 486728 w 1035367"/>
                <a:gd name="connsiteY155" fmla="*/ 459105 h 6842760"/>
                <a:gd name="connsiteX156" fmla="*/ 518160 w 1035367"/>
                <a:gd name="connsiteY156" fmla="*/ 490538 h 6842760"/>
                <a:gd name="connsiteX157" fmla="*/ 549593 w 1035367"/>
                <a:gd name="connsiteY157" fmla="*/ 459105 h 6842760"/>
                <a:gd name="connsiteX158" fmla="*/ 518160 w 1035367"/>
                <a:gd name="connsiteY158" fmla="*/ 427673 h 6842760"/>
                <a:gd name="connsiteX159" fmla="*/ 486728 w 1035367"/>
                <a:gd name="connsiteY159" fmla="*/ 459105 h 6842760"/>
                <a:gd name="connsiteX160" fmla="*/ 440055 w 1035367"/>
                <a:gd name="connsiteY160" fmla="*/ 1522095 h 6842760"/>
                <a:gd name="connsiteX161" fmla="*/ 518160 w 1035367"/>
                <a:gd name="connsiteY161" fmla="*/ 1600200 h 6842760"/>
                <a:gd name="connsiteX162" fmla="*/ 596265 w 1035367"/>
                <a:gd name="connsiteY162" fmla="*/ 1522095 h 6842760"/>
                <a:gd name="connsiteX163" fmla="*/ 518160 w 1035367"/>
                <a:gd name="connsiteY163" fmla="*/ 1443990 h 6842760"/>
                <a:gd name="connsiteX164" fmla="*/ 440055 w 1035367"/>
                <a:gd name="connsiteY164" fmla="*/ 1522095 h 6842760"/>
                <a:gd name="connsiteX165" fmla="*/ 659130 w 1035367"/>
                <a:gd name="connsiteY165" fmla="*/ 1128713 h 6842760"/>
                <a:gd name="connsiteX166" fmla="*/ 737235 w 1035367"/>
                <a:gd name="connsiteY166" fmla="*/ 1206818 h 6842760"/>
                <a:gd name="connsiteX167" fmla="*/ 815340 w 1035367"/>
                <a:gd name="connsiteY167" fmla="*/ 1128713 h 6842760"/>
                <a:gd name="connsiteX168" fmla="*/ 737235 w 1035367"/>
                <a:gd name="connsiteY168" fmla="*/ 1050608 h 6842760"/>
                <a:gd name="connsiteX169" fmla="*/ 659130 w 1035367"/>
                <a:gd name="connsiteY169" fmla="*/ 1128713 h 6842760"/>
                <a:gd name="connsiteX170" fmla="*/ 701993 w 1035367"/>
                <a:gd name="connsiteY170" fmla="*/ 2162175 h 6842760"/>
                <a:gd name="connsiteX171" fmla="*/ 740093 w 1035367"/>
                <a:gd name="connsiteY171" fmla="*/ 2194560 h 6842760"/>
                <a:gd name="connsiteX172" fmla="*/ 772478 w 1035367"/>
                <a:gd name="connsiteY172" fmla="*/ 2156460 h 6842760"/>
                <a:gd name="connsiteX173" fmla="*/ 734378 w 1035367"/>
                <a:gd name="connsiteY173" fmla="*/ 2124075 h 6842760"/>
                <a:gd name="connsiteX174" fmla="*/ 701993 w 1035367"/>
                <a:gd name="connsiteY174" fmla="*/ 2162175 h 6842760"/>
                <a:gd name="connsiteX175" fmla="*/ 693420 w 1035367"/>
                <a:gd name="connsiteY175" fmla="*/ 1953578 h 6842760"/>
                <a:gd name="connsiteX176" fmla="*/ 737235 w 1035367"/>
                <a:gd name="connsiteY176" fmla="*/ 1997393 h 6842760"/>
                <a:gd name="connsiteX177" fmla="*/ 781050 w 1035367"/>
                <a:gd name="connsiteY177" fmla="*/ 1953578 h 6842760"/>
                <a:gd name="connsiteX178" fmla="*/ 737235 w 1035367"/>
                <a:gd name="connsiteY178" fmla="*/ 1909763 h 6842760"/>
                <a:gd name="connsiteX179" fmla="*/ 693420 w 1035367"/>
                <a:gd name="connsiteY179" fmla="*/ 1953578 h 6842760"/>
                <a:gd name="connsiteX180" fmla="*/ 675323 w 1035367"/>
                <a:gd name="connsiteY180" fmla="*/ 1541145 h 6842760"/>
                <a:gd name="connsiteX181" fmla="*/ 737235 w 1035367"/>
                <a:gd name="connsiteY181" fmla="*/ 1603058 h 6842760"/>
                <a:gd name="connsiteX182" fmla="*/ 799148 w 1035367"/>
                <a:gd name="connsiteY182" fmla="*/ 1541145 h 6842760"/>
                <a:gd name="connsiteX183" fmla="*/ 737235 w 1035367"/>
                <a:gd name="connsiteY183" fmla="*/ 1479233 h 6842760"/>
                <a:gd name="connsiteX184" fmla="*/ 675323 w 1035367"/>
                <a:gd name="connsiteY184" fmla="*/ 1541145 h 6842760"/>
                <a:gd name="connsiteX185" fmla="*/ 684848 w 1035367"/>
                <a:gd name="connsiteY185" fmla="*/ 716280 h 6842760"/>
                <a:gd name="connsiteX186" fmla="*/ 738188 w 1035367"/>
                <a:gd name="connsiteY186" fmla="*/ 769620 h 6842760"/>
                <a:gd name="connsiteX187" fmla="*/ 791528 w 1035367"/>
                <a:gd name="connsiteY187" fmla="*/ 716280 h 6842760"/>
                <a:gd name="connsiteX188" fmla="*/ 738188 w 1035367"/>
                <a:gd name="connsiteY188" fmla="*/ 662940 h 6842760"/>
                <a:gd name="connsiteX189" fmla="*/ 684848 w 1035367"/>
                <a:gd name="connsiteY189" fmla="*/ 716280 h 6842760"/>
                <a:gd name="connsiteX190" fmla="*/ 693420 w 1035367"/>
                <a:gd name="connsiteY190" fmla="*/ 510540 h 6842760"/>
                <a:gd name="connsiteX191" fmla="*/ 737235 w 1035367"/>
                <a:gd name="connsiteY191" fmla="*/ 554355 h 6842760"/>
                <a:gd name="connsiteX192" fmla="*/ 781050 w 1035367"/>
                <a:gd name="connsiteY192" fmla="*/ 510540 h 6842760"/>
                <a:gd name="connsiteX193" fmla="*/ 737235 w 1035367"/>
                <a:gd name="connsiteY193" fmla="*/ 466725 h 6842760"/>
                <a:gd name="connsiteX194" fmla="*/ 693420 w 1035367"/>
                <a:gd name="connsiteY194" fmla="*/ 510540 h 6842760"/>
                <a:gd name="connsiteX195" fmla="*/ 684848 w 1035367"/>
                <a:gd name="connsiteY195" fmla="*/ 1746885 h 6842760"/>
                <a:gd name="connsiteX196" fmla="*/ 738188 w 1035367"/>
                <a:gd name="connsiteY196" fmla="*/ 1800225 h 6842760"/>
                <a:gd name="connsiteX197" fmla="*/ 791528 w 1035367"/>
                <a:gd name="connsiteY197" fmla="*/ 1746885 h 6842760"/>
                <a:gd name="connsiteX198" fmla="*/ 738188 w 1035367"/>
                <a:gd name="connsiteY198" fmla="*/ 1693545 h 6842760"/>
                <a:gd name="connsiteX199" fmla="*/ 684848 w 1035367"/>
                <a:gd name="connsiteY199" fmla="*/ 1746885 h 6842760"/>
                <a:gd name="connsiteX200" fmla="*/ 675323 w 1035367"/>
                <a:gd name="connsiteY200" fmla="*/ 922973 h 6842760"/>
                <a:gd name="connsiteX201" fmla="*/ 737235 w 1035367"/>
                <a:gd name="connsiteY201" fmla="*/ 984885 h 6842760"/>
                <a:gd name="connsiteX202" fmla="*/ 799148 w 1035367"/>
                <a:gd name="connsiteY202" fmla="*/ 922973 h 6842760"/>
                <a:gd name="connsiteX203" fmla="*/ 737235 w 1035367"/>
                <a:gd name="connsiteY203" fmla="*/ 861060 h 6842760"/>
                <a:gd name="connsiteX204" fmla="*/ 675323 w 1035367"/>
                <a:gd name="connsiteY204" fmla="*/ 922973 h 6842760"/>
                <a:gd name="connsiteX205" fmla="*/ 706755 w 1035367"/>
                <a:gd name="connsiteY205" fmla="*/ 98108 h 6842760"/>
                <a:gd name="connsiteX206" fmla="*/ 738188 w 1035367"/>
                <a:gd name="connsiteY206" fmla="*/ 129540 h 6842760"/>
                <a:gd name="connsiteX207" fmla="*/ 769620 w 1035367"/>
                <a:gd name="connsiteY207" fmla="*/ 98108 h 6842760"/>
                <a:gd name="connsiteX208" fmla="*/ 737235 w 1035367"/>
                <a:gd name="connsiteY208" fmla="*/ 66675 h 6842760"/>
                <a:gd name="connsiteX209" fmla="*/ 706755 w 1035367"/>
                <a:gd name="connsiteY209" fmla="*/ 98108 h 6842760"/>
                <a:gd name="connsiteX210" fmla="*/ 701993 w 1035367"/>
                <a:gd name="connsiteY210" fmla="*/ 303848 h 6842760"/>
                <a:gd name="connsiteX211" fmla="*/ 737235 w 1035367"/>
                <a:gd name="connsiteY211" fmla="*/ 339090 h 6842760"/>
                <a:gd name="connsiteX212" fmla="*/ 772478 w 1035367"/>
                <a:gd name="connsiteY212" fmla="*/ 303848 h 6842760"/>
                <a:gd name="connsiteX213" fmla="*/ 737235 w 1035367"/>
                <a:gd name="connsiteY213" fmla="*/ 268605 h 6842760"/>
                <a:gd name="connsiteX214" fmla="*/ 701993 w 1035367"/>
                <a:gd name="connsiteY214" fmla="*/ 303848 h 6842760"/>
                <a:gd name="connsiteX215" fmla="*/ 659130 w 1035367"/>
                <a:gd name="connsiteY215" fmla="*/ 1335405 h 6842760"/>
                <a:gd name="connsiteX216" fmla="*/ 737235 w 1035367"/>
                <a:gd name="connsiteY216" fmla="*/ 1413510 h 6842760"/>
                <a:gd name="connsiteX217" fmla="*/ 815340 w 1035367"/>
                <a:gd name="connsiteY217" fmla="*/ 1335405 h 6842760"/>
                <a:gd name="connsiteX218" fmla="*/ 737235 w 1035367"/>
                <a:gd name="connsiteY218" fmla="*/ 1257300 h 6842760"/>
                <a:gd name="connsiteX219" fmla="*/ 659130 w 1035367"/>
                <a:gd name="connsiteY219" fmla="*/ 1335405 h 6842760"/>
                <a:gd name="connsiteX220" fmla="*/ 925830 w 1035367"/>
                <a:gd name="connsiteY220" fmla="*/ 2159318 h 6842760"/>
                <a:gd name="connsiteX221" fmla="*/ 957263 w 1035367"/>
                <a:gd name="connsiteY221" fmla="*/ 2190750 h 6842760"/>
                <a:gd name="connsiteX222" fmla="*/ 988695 w 1035367"/>
                <a:gd name="connsiteY222" fmla="*/ 2159318 h 6842760"/>
                <a:gd name="connsiteX223" fmla="*/ 957263 w 1035367"/>
                <a:gd name="connsiteY223" fmla="*/ 2127885 h 6842760"/>
                <a:gd name="connsiteX224" fmla="*/ 925830 w 1035367"/>
                <a:gd name="connsiteY224" fmla="*/ 2159318 h 6842760"/>
                <a:gd name="connsiteX225" fmla="*/ 922020 w 1035367"/>
                <a:gd name="connsiteY225" fmla="*/ 1918335 h 6842760"/>
                <a:gd name="connsiteX226" fmla="*/ 957263 w 1035367"/>
                <a:gd name="connsiteY226" fmla="*/ 1953578 h 6842760"/>
                <a:gd name="connsiteX227" fmla="*/ 992505 w 1035367"/>
                <a:gd name="connsiteY227" fmla="*/ 1918335 h 6842760"/>
                <a:gd name="connsiteX228" fmla="*/ 957263 w 1035367"/>
                <a:gd name="connsiteY228" fmla="*/ 1883093 h 6842760"/>
                <a:gd name="connsiteX229" fmla="*/ 922020 w 1035367"/>
                <a:gd name="connsiteY229" fmla="*/ 1918335 h 6842760"/>
                <a:gd name="connsiteX230" fmla="*/ 895350 w 1035367"/>
                <a:gd name="connsiteY230" fmla="*/ 1289685 h 6842760"/>
                <a:gd name="connsiteX231" fmla="*/ 957263 w 1035367"/>
                <a:gd name="connsiteY231" fmla="*/ 1351598 h 6842760"/>
                <a:gd name="connsiteX232" fmla="*/ 1019175 w 1035367"/>
                <a:gd name="connsiteY232" fmla="*/ 1289685 h 6842760"/>
                <a:gd name="connsiteX233" fmla="*/ 957263 w 1035367"/>
                <a:gd name="connsiteY233" fmla="*/ 1227773 h 6842760"/>
                <a:gd name="connsiteX234" fmla="*/ 895350 w 1035367"/>
                <a:gd name="connsiteY234" fmla="*/ 1289685 h 6842760"/>
                <a:gd name="connsiteX235" fmla="*/ 895350 w 1035367"/>
                <a:gd name="connsiteY235" fmla="*/ 869633 h 6842760"/>
                <a:gd name="connsiteX236" fmla="*/ 957263 w 1035367"/>
                <a:gd name="connsiteY236" fmla="*/ 931545 h 6842760"/>
                <a:gd name="connsiteX237" fmla="*/ 1019175 w 1035367"/>
                <a:gd name="connsiteY237" fmla="*/ 869633 h 6842760"/>
                <a:gd name="connsiteX238" fmla="*/ 957263 w 1035367"/>
                <a:gd name="connsiteY238" fmla="*/ 807720 h 6842760"/>
                <a:gd name="connsiteX239" fmla="*/ 895350 w 1035367"/>
                <a:gd name="connsiteY239" fmla="*/ 869633 h 6842760"/>
                <a:gd name="connsiteX240" fmla="*/ 903923 w 1035367"/>
                <a:gd name="connsiteY240" fmla="*/ 660083 h 6842760"/>
                <a:gd name="connsiteX241" fmla="*/ 957263 w 1035367"/>
                <a:gd name="connsiteY241" fmla="*/ 713423 h 6842760"/>
                <a:gd name="connsiteX242" fmla="*/ 1010603 w 1035367"/>
                <a:gd name="connsiteY242" fmla="*/ 660083 h 6842760"/>
                <a:gd name="connsiteX243" fmla="*/ 957263 w 1035367"/>
                <a:gd name="connsiteY243" fmla="*/ 606743 h 6842760"/>
                <a:gd name="connsiteX244" fmla="*/ 903923 w 1035367"/>
                <a:gd name="connsiteY244" fmla="*/ 660083 h 6842760"/>
                <a:gd name="connsiteX245" fmla="*/ 913448 w 1035367"/>
                <a:gd name="connsiteY245" fmla="*/ 1708785 h 6842760"/>
                <a:gd name="connsiteX246" fmla="*/ 957263 w 1035367"/>
                <a:gd name="connsiteY246" fmla="*/ 1752600 h 6842760"/>
                <a:gd name="connsiteX247" fmla="*/ 1001078 w 1035367"/>
                <a:gd name="connsiteY247" fmla="*/ 1708785 h 6842760"/>
                <a:gd name="connsiteX248" fmla="*/ 957263 w 1035367"/>
                <a:gd name="connsiteY248" fmla="*/ 1664970 h 6842760"/>
                <a:gd name="connsiteX249" fmla="*/ 913448 w 1035367"/>
                <a:gd name="connsiteY249" fmla="*/ 1708785 h 6842760"/>
                <a:gd name="connsiteX250" fmla="*/ 903923 w 1035367"/>
                <a:gd name="connsiteY250" fmla="*/ 1499235 h 6842760"/>
                <a:gd name="connsiteX251" fmla="*/ 957263 w 1035367"/>
                <a:gd name="connsiteY251" fmla="*/ 1552575 h 6842760"/>
                <a:gd name="connsiteX252" fmla="*/ 1010603 w 1035367"/>
                <a:gd name="connsiteY252" fmla="*/ 1499235 h 6842760"/>
                <a:gd name="connsiteX253" fmla="*/ 957263 w 1035367"/>
                <a:gd name="connsiteY253" fmla="*/ 1445895 h 6842760"/>
                <a:gd name="connsiteX254" fmla="*/ 903923 w 1035367"/>
                <a:gd name="connsiteY254" fmla="*/ 1499235 h 6842760"/>
                <a:gd name="connsiteX255" fmla="*/ 922020 w 1035367"/>
                <a:gd name="connsiteY255" fmla="*/ 240983 h 6842760"/>
                <a:gd name="connsiteX256" fmla="*/ 957263 w 1035367"/>
                <a:gd name="connsiteY256" fmla="*/ 276225 h 6842760"/>
                <a:gd name="connsiteX257" fmla="*/ 992505 w 1035367"/>
                <a:gd name="connsiteY257" fmla="*/ 240983 h 6842760"/>
                <a:gd name="connsiteX258" fmla="*/ 957263 w 1035367"/>
                <a:gd name="connsiteY258" fmla="*/ 205740 h 6842760"/>
                <a:gd name="connsiteX259" fmla="*/ 922020 w 1035367"/>
                <a:gd name="connsiteY259" fmla="*/ 240983 h 6842760"/>
                <a:gd name="connsiteX260" fmla="*/ 925830 w 1035367"/>
                <a:gd name="connsiteY260" fmla="*/ 31433 h 6842760"/>
                <a:gd name="connsiteX261" fmla="*/ 957263 w 1035367"/>
                <a:gd name="connsiteY261" fmla="*/ 62865 h 6842760"/>
                <a:gd name="connsiteX262" fmla="*/ 988695 w 1035367"/>
                <a:gd name="connsiteY262" fmla="*/ 31433 h 6842760"/>
                <a:gd name="connsiteX263" fmla="*/ 957263 w 1035367"/>
                <a:gd name="connsiteY263" fmla="*/ 0 h 6842760"/>
                <a:gd name="connsiteX264" fmla="*/ 925830 w 1035367"/>
                <a:gd name="connsiteY264" fmla="*/ 31433 h 6842760"/>
                <a:gd name="connsiteX265" fmla="*/ 913448 w 1035367"/>
                <a:gd name="connsiteY265" fmla="*/ 450533 h 6842760"/>
                <a:gd name="connsiteX266" fmla="*/ 957263 w 1035367"/>
                <a:gd name="connsiteY266" fmla="*/ 494348 h 6842760"/>
                <a:gd name="connsiteX267" fmla="*/ 1001078 w 1035367"/>
                <a:gd name="connsiteY267" fmla="*/ 450533 h 6842760"/>
                <a:gd name="connsiteX268" fmla="*/ 957263 w 1035367"/>
                <a:gd name="connsiteY268" fmla="*/ 406718 h 6842760"/>
                <a:gd name="connsiteX269" fmla="*/ 913448 w 1035367"/>
                <a:gd name="connsiteY269" fmla="*/ 450533 h 6842760"/>
                <a:gd name="connsiteX270" fmla="*/ 879158 w 1035367"/>
                <a:gd name="connsiteY270" fmla="*/ 1080135 h 6842760"/>
                <a:gd name="connsiteX271" fmla="*/ 957263 w 1035367"/>
                <a:gd name="connsiteY271" fmla="*/ 1158240 h 6842760"/>
                <a:gd name="connsiteX272" fmla="*/ 1035368 w 1035367"/>
                <a:gd name="connsiteY272" fmla="*/ 1080135 h 6842760"/>
                <a:gd name="connsiteX273" fmla="*/ 957263 w 1035367"/>
                <a:gd name="connsiteY273" fmla="*/ 1002030 h 6842760"/>
                <a:gd name="connsiteX274" fmla="*/ 879158 w 1035367"/>
                <a:gd name="connsiteY274" fmla="*/ 1080135 h 6842760"/>
                <a:gd name="connsiteX275" fmla="*/ 244793 w 1035367"/>
                <a:gd name="connsiteY275" fmla="*/ 6789420 h 6842760"/>
                <a:gd name="connsiteX276" fmla="*/ 298133 w 1035367"/>
                <a:gd name="connsiteY276" fmla="*/ 6842760 h 6842760"/>
                <a:gd name="connsiteX277" fmla="*/ 351473 w 1035367"/>
                <a:gd name="connsiteY277" fmla="*/ 6789420 h 6842760"/>
                <a:gd name="connsiteX278" fmla="*/ 298133 w 1035367"/>
                <a:gd name="connsiteY278" fmla="*/ 6736080 h 6842760"/>
                <a:gd name="connsiteX279" fmla="*/ 244793 w 1035367"/>
                <a:gd name="connsiteY279" fmla="*/ 6789420 h 6842760"/>
                <a:gd name="connsiteX280" fmla="*/ 236220 w 1035367"/>
                <a:gd name="connsiteY280" fmla="*/ 6548438 h 6842760"/>
                <a:gd name="connsiteX281" fmla="*/ 298133 w 1035367"/>
                <a:gd name="connsiteY281" fmla="*/ 6610350 h 6842760"/>
                <a:gd name="connsiteX282" fmla="*/ 360045 w 1035367"/>
                <a:gd name="connsiteY282" fmla="*/ 6548438 h 6842760"/>
                <a:gd name="connsiteX283" fmla="*/ 298133 w 1035367"/>
                <a:gd name="connsiteY283" fmla="*/ 6486525 h 6842760"/>
                <a:gd name="connsiteX284" fmla="*/ 236220 w 1035367"/>
                <a:gd name="connsiteY284" fmla="*/ 6548438 h 6842760"/>
                <a:gd name="connsiteX285" fmla="*/ 244793 w 1035367"/>
                <a:gd name="connsiteY285" fmla="*/ 5918835 h 6842760"/>
                <a:gd name="connsiteX286" fmla="*/ 298133 w 1035367"/>
                <a:gd name="connsiteY286" fmla="*/ 5972175 h 6842760"/>
                <a:gd name="connsiteX287" fmla="*/ 351473 w 1035367"/>
                <a:gd name="connsiteY287" fmla="*/ 5918835 h 6842760"/>
                <a:gd name="connsiteX288" fmla="*/ 298133 w 1035367"/>
                <a:gd name="connsiteY288" fmla="*/ 5865495 h 6842760"/>
                <a:gd name="connsiteX289" fmla="*/ 244793 w 1035367"/>
                <a:gd name="connsiteY289" fmla="*/ 5918835 h 6842760"/>
                <a:gd name="connsiteX290" fmla="*/ 262890 w 1035367"/>
                <a:gd name="connsiteY290" fmla="*/ 5499735 h 6842760"/>
                <a:gd name="connsiteX291" fmla="*/ 298133 w 1035367"/>
                <a:gd name="connsiteY291" fmla="*/ 5534978 h 6842760"/>
                <a:gd name="connsiteX292" fmla="*/ 333375 w 1035367"/>
                <a:gd name="connsiteY292" fmla="*/ 5499735 h 6842760"/>
                <a:gd name="connsiteX293" fmla="*/ 298133 w 1035367"/>
                <a:gd name="connsiteY293" fmla="*/ 5464493 h 6842760"/>
                <a:gd name="connsiteX294" fmla="*/ 262890 w 1035367"/>
                <a:gd name="connsiteY294" fmla="*/ 5499735 h 6842760"/>
                <a:gd name="connsiteX295" fmla="*/ 266700 w 1035367"/>
                <a:gd name="connsiteY295" fmla="*/ 5290185 h 6842760"/>
                <a:gd name="connsiteX296" fmla="*/ 298133 w 1035367"/>
                <a:gd name="connsiteY296" fmla="*/ 5321618 h 6842760"/>
                <a:gd name="connsiteX297" fmla="*/ 329565 w 1035367"/>
                <a:gd name="connsiteY297" fmla="*/ 5290185 h 6842760"/>
                <a:gd name="connsiteX298" fmla="*/ 298133 w 1035367"/>
                <a:gd name="connsiteY298" fmla="*/ 5258753 h 6842760"/>
                <a:gd name="connsiteX299" fmla="*/ 266700 w 1035367"/>
                <a:gd name="connsiteY299" fmla="*/ 5290185 h 6842760"/>
                <a:gd name="connsiteX300" fmla="*/ 236220 w 1035367"/>
                <a:gd name="connsiteY300" fmla="*/ 6129338 h 6842760"/>
                <a:gd name="connsiteX301" fmla="*/ 298133 w 1035367"/>
                <a:gd name="connsiteY301" fmla="*/ 6191250 h 6842760"/>
                <a:gd name="connsiteX302" fmla="*/ 360045 w 1035367"/>
                <a:gd name="connsiteY302" fmla="*/ 6129338 h 6842760"/>
                <a:gd name="connsiteX303" fmla="*/ 298133 w 1035367"/>
                <a:gd name="connsiteY303" fmla="*/ 6067425 h 6842760"/>
                <a:gd name="connsiteX304" fmla="*/ 236220 w 1035367"/>
                <a:gd name="connsiteY304" fmla="*/ 6129338 h 6842760"/>
                <a:gd name="connsiteX305" fmla="*/ 253365 w 1035367"/>
                <a:gd name="connsiteY305" fmla="*/ 5709285 h 6842760"/>
                <a:gd name="connsiteX306" fmla="*/ 297180 w 1035367"/>
                <a:gd name="connsiteY306" fmla="*/ 5753100 h 6842760"/>
                <a:gd name="connsiteX307" fmla="*/ 340995 w 1035367"/>
                <a:gd name="connsiteY307" fmla="*/ 5709285 h 6842760"/>
                <a:gd name="connsiteX308" fmla="*/ 297180 w 1035367"/>
                <a:gd name="connsiteY308" fmla="*/ 5665470 h 6842760"/>
                <a:gd name="connsiteX309" fmla="*/ 253365 w 1035367"/>
                <a:gd name="connsiteY309" fmla="*/ 5709285 h 6842760"/>
                <a:gd name="connsiteX310" fmla="*/ 266700 w 1035367"/>
                <a:gd name="connsiteY310" fmla="*/ 4871085 h 6842760"/>
                <a:gd name="connsiteX311" fmla="*/ 298133 w 1035367"/>
                <a:gd name="connsiteY311" fmla="*/ 4902518 h 6842760"/>
                <a:gd name="connsiteX312" fmla="*/ 329565 w 1035367"/>
                <a:gd name="connsiteY312" fmla="*/ 4871085 h 6842760"/>
                <a:gd name="connsiteX313" fmla="*/ 298133 w 1035367"/>
                <a:gd name="connsiteY313" fmla="*/ 4839653 h 6842760"/>
                <a:gd name="connsiteX314" fmla="*/ 266700 w 1035367"/>
                <a:gd name="connsiteY314" fmla="*/ 4871085 h 6842760"/>
                <a:gd name="connsiteX315" fmla="*/ 266700 w 1035367"/>
                <a:gd name="connsiteY315" fmla="*/ 4660583 h 6842760"/>
                <a:gd name="connsiteX316" fmla="*/ 298133 w 1035367"/>
                <a:gd name="connsiteY316" fmla="*/ 4692015 h 6842760"/>
                <a:gd name="connsiteX317" fmla="*/ 329565 w 1035367"/>
                <a:gd name="connsiteY317" fmla="*/ 4660583 h 6842760"/>
                <a:gd name="connsiteX318" fmla="*/ 298133 w 1035367"/>
                <a:gd name="connsiteY318" fmla="*/ 4629150 h 6842760"/>
                <a:gd name="connsiteX319" fmla="*/ 266700 w 1035367"/>
                <a:gd name="connsiteY319" fmla="*/ 4660583 h 6842760"/>
                <a:gd name="connsiteX320" fmla="*/ 266700 w 1035367"/>
                <a:gd name="connsiteY320" fmla="*/ 5080635 h 6842760"/>
                <a:gd name="connsiteX321" fmla="*/ 298133 w 1035367"/>
                <a:gd name="connsiteY321" fmla="*/ 5112068 h 6842760"/>
                <a:gd name="connsiteX322" fmla="*/ 329565 w 1035367"/>
                <a:gd name="connsiteY322" fmla="*/ 5080635 h 6842760"/>
                <a:gd name="connsiteX323" fmla="*/ 298133 w 1035367"/>
                <a:gd name="connsiteY323" fmla="*/ 5049203 h 6842760"/>
                <a:gd name="connsiteX324" fmla="*/ 266700 w 1035367"/>
                <a:gd name="connsiteY324" fmla="*/ 5080635 h 6842760"/>
                <a:gd name="connsiteX325" fmla="*/ 220028 w 1035367"/>
                <a:gd name="connsiteY325" fmla="*/ 6338888 h 6842760"/>
                <a:gd name="connsiteX326" fmla="*/ 298133 w 1035367"/>
                <a:gd name="connsiteY326" fmla="*/ 6416993 h 6842760"/>
                <a:gd name="connsiteX327" fmla="*/ 376238 w 1035367"/>
                <a:gd name="connsiteY327" fmla="*/ 6338888 h 6842760"/>
                <a:gd name="connsiteX328" fmla="*/ 298133 w 1035367"/>
                <a:gd name="connsiteY328" fmla="*/ 6260783 h 6842760"/>
                <a:gd name="connsiteX329" fmla="*/ 220028 w 1035367"/>
                <a:gd name="connsiteY329" fmla="*/ 6338888 h 6842760"/>
                <a:gd name="connsiteX330" fmla="*/ 46673 w 1035367"/>
                <a:gd name="connsiteY330" fmla="*/ 4428173 h 6842760"/>
                <a:gd name="connsiteX331" fmla="*/ 78105 w 1035367"/>
                <a:gd name="connsiteY331" fmla="*/ 4459605 h 6842760"/>
                <a:gd name="connsiteX332" fmla="*/ 109538 w 1035367"/>
                <a:gd name="connsiteY332" fmla="*/ 4428173 h 6842760"/>
                <a:gd name="connsiteX333" fmla="*/ 78105 w 1035367"/>
                <a:gd name="connsiteY333" fmla="*/ 4396740 h 6842760"/>
                <a:gd name="connsiteX334" fmla="*/ 46673 w 1035367"/>
                <a:gd name="connsiteY334" fmla="*/ 4428173 h 6842760"/>
                <a:gd name="connsiteX335" fmla="*/ 46673 w 1035367"/>
                <a:gd name="connsiteY335" fmla="*/ 4222433 h 6842760"/>
                <a:gd name="connsiteX336" fmla="*/ 78105 w 1035367"/>
                <a:gd name="connsiteY336" fmla="*/ 4253865 h 6842760"/>
                <a:gd name="connsiteX337" fmla="*/ 109538 w 1035367"/>
                <a:gd name="connsiteY337" fmla="*/ 4222433 h 6842760"/>
                <a:gd name="connsiteX338" fmla="*/ 78105 w 1035367"/>
                <a:gd name="connsiteY338" fmla="*/ 4191000 h 6842760"/>
                <a:gd name="connsiteX339" fmla="*/ 46673 w 1035367"/>
                <a:gd name="connsiteY339" fmla="*/ 4222433 h 6842760"/>
                <a:gd name="connsiteX340" fmla="*/ 34290 w 1035367"/>
                <a:gd name="connsiteY340" fmla="*/ 3604260 h 6842760"/>
                <a:gd name="connsiteX341" fmla="*/ 78105 w 1035367"/>
                <a:gd name="connsiteY341" fmla="*/ 3648075 h 6842760"/>
                <a:gd name="connsiteX342" fmla="*/ 121920 w 1035367"/>
                <a:gd name="connsiteY342" fmla="*/ 3604260 h 6842760"/>
                <a:gd name="connsiteX343" fmla="*/ 78105 w 1035367"/>
                <a:gd name="connsiteY343" fmla="*/ 3560445 h 6842760"/>
                <a:gd name="connsiteX344" fmla="*/ 34290 w 1035367"/>
                <a:gd name="connsiteY344" fmla="*/ 3604260 h 6842760"/>
                <a:gd name="connsiteX345" fmla="*/ 24765 w 1035367"/>
                <a:gd name="connsiteY345" fmla="*/ 3397568 h 6842760"/>
                <a:gd name="connsiteX346" fmla="*/ 78105 w 1035367"/>
                <a:gd name="connsiteY346" fmla="*/ 3450908 h 6842760"/>
                <a:gd name="connsiteX347" fmla="*/ 131445 w 1035367"/>
                <a:gd name="connsiteY347" fmla="*/ 3397568 h 6842760"/>
                <a:gd name="connsiteX348" fmla="*/ 78105 w 1035367"/>
                <a:gd name="connsiteY348" fmla="*/ 3344228 h 6842760"/>
                <a:gd name="connsiteX349" fmla="*/ 24765 w 1035367"/>
                <a:gd name="connsiteY349" fmla="*/ 3397568 h 6842760"/>
                <a:gd name="connsiteX350" fmla="*/ 16193 w 1035367"/>
                <a:gd name="connsiteY350" fmla="*/ 3191828 h 6842760"/>
                <a:gd name="connsiteX351" fmla="*/ 78105 w 1035367"/>
                <a:gd name="connsiteY351" fmla="*/ 3253740 h 6842760"/>
                <a:gd name="connsiteX352" fmla="*/ 140018 w 1035367"/>
                <a:gd name="connsiteY352" fmla="*/ 3191828 h 6842760"/>
                <a:gd name="connsiteX353" fmla="*/ 78105 w 1035367"/>
                <a:gd name="connsiteY353" fmla="*/ 3129915 h 6842760"/>
                <a:gd name="connsiteX354" fmla="*/ 16193 w 1035367"/>
                <a:gd name="connsiteY354" fmla="*/ 3191828 h 6842760"/>
                <a:gd name="connsiteX355" fmla="*/ 46673 w 1035367"/>
                <a:gd name="connsiteY355" fmla="*/ 4016693 h 6842760"/>
                <a:gd name="connsiteX356" fmla="*/ 78105 w 1035367"/>
                <a:gd name="connsiteY356" fmla="*/ 4048125 h 6842760"/>
                <a:gd name="connsiteX357" fmla="*/ 109538 w 1035367"/>
                <a:gd name="connsiteY357" fmla="*/ 4016693 h 6842760"/>
                <a:gd name="connsiteX358" fmla="*/ 78105 w 1035367"/>
                <a:gd name="connsiteY358" fmla="*/ 3985260 h 6842760"/>
                <a:gd name="connsiteX359" fmla="*/ 46673 w 1035367"/>
                <a:gd name="connsiteY359" fmla="*/ 4016693 h 6842760"/>
                <a:gd name="connsiteX360" fmla="*/ 42863 w 1035367"/>
                <a:gd name="connsiteY360" fmla="*/ 3810000 h 6842760"/>
                <a:gd name="connsiteX361" fmla="*/ 78105 w 1035367"/>
                <a:gd name="connsiteY361" fmla="*/ 3845243 h 6842760"/>
                <a:gd name="connsiteX362" fmla="*/ 113348 w 1035367"/>
                <a:gd name="connsiteY362" fmla="*/ 3810000 h 6842760"/>
                <a:gd name="connsiteX363" fmla="*/ 78105 w 1035367"/>
                <a:gd name="connsiteY363" fmla="*/ 3774758 h 6842760"/>
                <a:gd name="connsiteX364" fmla="*/ 42863 w 1035367"/>
                <a:gd name="connsiteY364" fmla="*/ 3810000 h 6842760"/>
                <a:gd name="connsiteX365" fmla="*/ 24765 w 1035367"/>
                <a:gd name="connsiteY365" fmla="*/ 2573655 h 6842760"/>
                <a:gd name="connsiteX366" fmla="*/ 78105 w 1035367"/>
                <a:gd name="connsiteY366" fmla="*/ 2626995 h 6842760"/>
                <a:gd name="connsiteX367" fmla="*/ 131445 w 1035367"/>
                <a:gd name="connsiteY367" fmla="*/ 2573655 h 6842760"/>
                <a:gd name="connsiteX368" fmla="*/ 78105 w 1035367"/>
                <a:gd name="connsiteY368" fmla="*/ 2520315 h 6842760"/>
                <a:gd name="connsiteX369" fmla="*/ 24765 w 1035367"/>
                <a:gd name="connsiteY369" fmla="*/ 2573655 h 6842760"/>
                <a:gd name="connsiteX370" fmla="*/ 34290 w 1035367"/>
                <a:gd name="connsiteY370" fmla="*/ 2366963 h 6842760"/>
                <a:gd name="connsiteX371" fmla="*/ 78105 w 1035367"/>
                <a:gd name="connsiteY371" fmla="*/ 2410778 h 6842760"/>
                <a:gd name="connsiteX372" fmla="*/ 121920 w 1035367"/>
                <a:gd name="connsiteY372" fmla="*/ 2366963 h 6842760"/>
                <a:gd name="connsiteX373" fmla="*/ 78105 w 1035367"/>
                <a:gd name="connsiteY373" fmla="*/ 2323148 h 6842760"/>
                <a:gd name="connsiteX374" fmla="*/ 34290 w 1035367"/>
                <a:gd name="connsiteY374" fmla="*/ 2366963 h 6842760"/>
                <a:gd name="connsiteX375" fmla="*/ 16193 w 1035367"/>
                <a:gd name="connsiteY375" fmla="*/ 2779395 h 6842760"/>
                <a:gd name="connsiteX376" fmla="*/ 78105 w 1035367"/>
                <a:gd name="connsiteY376" fmla="*/ 2841308 h 6842760"/>
                <a:gd name="connsiteX377" fmla="*/ 140018 w 1035367"/>
                <a:gd name="connsiteY377" fmla="*/ 2779395 h 6842760"/>
                <a:gd name="connsiteX378" fmla="*/ 78105 w 1035367"/>
                <a:gd name="connsiteY378" fmla="*/ 2717483 h 6842760"/>
                <a:gd name="connsiteX379" fmla="*/ 16193 w 1035367"/>
                <a:gd name="connsiteY379" fmla="*/ 2779395 h 6842760"/>
                <a:gd name="connsiteX380" fmla="*/ 0 w 1035367"/>
                <a:gd name="connsiteY380" fmla="*/ 2985135 h 6842760"/>
                <a:gd name="connsiteX381" fmla="*/ 78105 w 1035367"/>
                <a:gd name="connsiteY381" fmla="*/ 3063240 h 6842760"/>
                <a:gd name="connsiteX382" fmla="*/ 156210 w 1035367"/>
                <a:gd name="connsiteY382" fmla="*/ 2985135 h 6842760"/>
                <a:gd name="connsiteX383" fmla="*/ 78105 w 1035367"/>
                <a:gd name="connsiteY383" fmla="*/ 2907030 h 6842760"/>
                <a:gd name="connsiteX384" fmla="*/ 0 w 1035367"/>
                <a:gd name="connsiteY384" fmla="*/ 2985135 h 6842760"/>
                <a:gd name="connsiteX385" fmla="*/ 266700 w 1035367"/>
                <a:gd name="connsiteY385" fmla="*/ 4495800 h 6842760"/>
                <a:gd name="connsiteX386" fmla="*/ 298133 w 1035367"/>
                <a:gd name="connsiteY386" fmla="*/ 4527233 h 6842760"/>
                <a:gd name="connsiteX387" fmla="*/ 329565 w 1035367"/>
                <a:gd name="connsiteY387" fmla="*/ 4495800 h 6842760"/>
                <a:gd name="connsiteX388" fmla="*/ 298133 w 1035367"/>
                <a:gd name="connsiteY388" fmla="*/ 4464368 h 6842760"/>
                <a:gd name="connsiteX389" fmla="*/ 266700 w 1035367"/>
                <a:gd name="connsiteY389" fmla="*/ 4495800 h 6842760"/>
                <a:gd name="connsiteX390" fmla="*/ 266700 w 1035367"/>
                <a:gd name="connsiteY390" fmla="*/ 4254818 h 6842760"/>
                <a:gd name="connsiteX391" fmla="*/ 298133 w 1035367"/>
                <a:gd name="connsiteY391" fmla="*/ 4286250 h 6842760"/>
                <a:gd name="connsiteX392" fmla="*/ 329565 w 1035367"/>
                <a:gd name="connsiteY392" fmla="*/ 4254818 h 6842760"/>
                <a:gd name="connsiteX393" fmla="*/ 298133 w 1035367"/>
                <a:gd name="connsiteY393" fmla="*/ 4223385 h 6842760"/>
                <a:gd name="connsiteX394" fmla="*/ 266700 w 1035367"/>
                <a:gd name="connsiteY394" fmla="*/ 4254818 h 6842760"/>
                <a:gd name="connsiteX395" fmla="*/ 262890 w 1035367"/>
                <a:gd name="connsiteY395" fmla="*/ 3625215 h 6842760"/>
                <a:gd name="connsiteX396" fmla="*/ 298133 w 1035367"/>
                <a:gd name="connsiteY396" fmla="*/ 3660458 h 6842760"/>
                <a:gd name="connsiteX397" fmla="*/ 333375 w 1035367"/>
                <a:gd name="connsiteY397" fmla="*/ 3625215 h 6842760"/>
                <a:gd name="connsiteX398" fmla="*/ 298133 w 1035367"/>
                <a:gd name="connsiteY398" fmla="*/ 3589973 h 6842760"/>
                <a:gd name="connsiteX399" fmla="*/ 262890 w 1035367"/>
                <a:gd name="connsiteY399" fmla="*/ 3625215 h 6842760"/>
                <a:gd name="connsiteX400" fmla="*/ 253365 w 1035367"/>
                <a:gd name="connsiteY400" fmla="*/ 3415665 h 6842760"/>
                <a:gd name="connsiteX401" fmla="*/ 297180 w 1035367"/>
                <a:gd name="connsiteY401" fmla="*/ 3459480 h 6842760"/>
                <a:gd name="connsiteX402" fmla="*/ 340995 w 1035367"/>
                <a:gd name="connsiteY402" fmla="*/ 3415665 h 6842760"/>
                <a:gd name="connsiteX403" fmla="*/ 297180 w 1035367"/>
                <a:gd name="connsiteY403" fmla="*/ 3371850 h 6842760"/>
                <a:gd name="connsiteX404" fmla="*/ 253365 w 1035367"/>
                <a:gd name="connsiteY404" fmla="*/ 3415665 h 6842760"/>
                <a:gd name="connsiteX405" fmla="*/ 244793 w 1035367"/>
                <a:gd name="connsiteY405" fmla="*/ 3206115 h 6842760"/>
                <a:gd name="connsiteX406" fmla="*/ 298133 w 1035367"/>
                <a:gd name="connsiteY406" fmla="*/ 3259455 h 6842760"/>
                <a:gd name="connsiteX407" fmla="*/ 351473 w 1035367"/>
                <a:gd name="connsiteY407" fmla="*/ 3206115 h 6842760"/>
                <a:gd name="connsiteX408" fmla="*/ 298133 w 1035367"/>
                <a:gd name="connsiteY408" fmla="*/ 3152775 h 6842760"/>
                <a:gd name="connsiteX409" fmla="*/ 244793 w 1035367"/>
                <a:gd name="connsiteY409" fmla="*/ 3206115 h 6842760"/>
                <a:gd name="connsiteX410" fmla="*/ 266700 w 1035367"/>
                <a:gd name="connsiteY410" fmla="*/ 4044315 h 6842760"/>
                <a:gd name="connsiteX411" fmla="*/ 298133 w 1035367"/>
                <a:gd name="connsiteY411" fmla="*/ 4075748 h 6842760"/>
                <a:gd name="connsiteX412" fmla="*/ 329565 w 1035367"/>
                <a:gd name="connsiteY412" fmla="*/ 4044315 h 6842760"/>
                <a:gd name="connsiteX413" fmla="*/ 298133 w 1035367"/>
                <a:gd name="connsiteY413" fmla="*/ 4012883 h 6842760"/>
                <a:gd name="connsiteX414" fmla="*/ 266700 w 1035367"/>
                <a:gd name="connsiteY414" fmla="*/ 4044315 h 6842760"/>
                <a:gd name="connsiteX415" fmla="*/ 266700 w 1035367"/>
                <a:gd name="connsiteY415" fmla="*/ 3834765 h 6842760"/>
                <a:gd name="connsiteX416" fmla="*/ 298133 w 1035367"/>
                <a:gd name="connsiteY416" fmla="*/ 3866198 h 6842760"/>
                <a:gd name="connsiteX417" fmla="*/ 329565 w 1035367"/>
                <a:gd name="connsiteY417" fmla="*/ 3834765 h 6842760"/>
                <a:gd name="connsiteX418" fmla="*/ 298133 w 1035367"/>
                <a:gd name="connsiteY418" fmla="*/ 3803333 h 6842760"/>
                <a:gd name="connsiteX419" fmla="*/ 266700 w 1035367"/>
                <a:gd name="connsiteY419" fmla="*/ 3834765 h 6842760"/>
                <a:gd name="connsiteX420" fmla="*/ 236220 w 1035367"/>
                <a:gd name="connsiteY420" fmla="*/ 2576513 h 6842760"/>
                <a:gd name="connsiteX421" fmla="*/ 298133 w 1035367"/>
                <a:gd name="connsiteY421" fmla="*/ 2638425 h 6842760"/>
                <a:gd name="connsiteX422" fmla="*/ 360045 w 1035367"/>
                <a:gd name="connsiteY422" fmla="*/ 2576513 h 6842760"/>
                <a:gd name="connsiteX423" fmla="*/ 298133 w 1035367"/>
                <a:gd name="connsiteY423" fmla="*/ 2514600 h 6842760"/>
                <a:gd name="connsiteX424" fmla="*/ 236220 w 1035367"/>
                <a:gd name="connsiteY424" fmla="*/ 2576513 h 6842760"/>
                <a:gd name="connsiteX425" fmla="*/ 244793 w 1035367"/>
                <a:gd name="connsiteY425" fmla="*/ 2366963 h 6842760"/>
                <a:gd name="connsiteX426" fmla="*/ 298133 w 1035367"/>
                <a:gd name="connsiteY426" fmla="*/ 2420303 h 6842760"/>
                <a:gd name="connsiteX427" fmla="*/ 351473 w 1035367"/>
                <a:gd name="connsiteY427" fmla="*/ 2366963 h 6842760"/>
                <a:gd name="connsiteX428" fmla="*/ 298133 w 1035367"/>
                <a:gd name="connsiteY428" fmla="*/ 2313623 h 6842760"/>
                <a:gd name="connsiteX429" fmla="*/ 244793 w 1035367"/>
                <a:gd name="connsiteY429" fmla="*/ 2366963 h 6842760"/>
                <a:gd name="connsiteX430" fmla="*/ 236220 w 1035367"/>
                <a:gd name="connsiteY430" fmla="*/ 2996565 h 6842760"/>
                <a:gd name="connsiteX431" fmla="*/ 298133 w 1035367"/>
                <a:gd name="connsiteY431" fmla="*/ 3058478 h 6842760"/>
                <a:gd name="connsiteX432" fmla="*/ 360045 w 1035367"/>
                <a:gd name="connsiteY432" fmla="*/ 2996565 h 6842760"/>
                <a:gd name="connsiteX433" fmla="*/ 298133 w 1035367"/>
                <a:gd name="connsiteY433" fmla="*/ 2934653 h 6842760"/>
                <a:gd name="connsiteX434" fmla="*/ 236220 w 1035367"/>
                <a:gd name="connsiteY434" fmla="*/ 2996565 h 6842760"/>
                <a:gd name="connsiteX435" fmla="*/ 220028 w 1035367"/>
                <a:gd name="connsiteY435" fmla="*/ 2786063 h 6842760"/>
                <a:gd name="connsiteX436" fmla="*/ 298133 w 1035367"/>
                <a:gd name="connsiteY436" fmla="*/ 2864168 h 6842760"/>
                <a:gd name="connsiteX437" fmla="*/ 376238 w 1035367"/>
                <a:gd name="connsiteY437" fmla="*/ 2786063 h 6842760"/>
                <a:gd name="connsiteX438" fmla="*/ 298133 w 1035367"/>
                <a:gd name="connsiteY438" fmla="*/ 2707958 h 6842760"/>
                <a:gd name="connsiteX439" fmla="*/ 220028 w 1035367"/>
                <a:gd name="connsiteY439" fmla="*/ 2786063 h 6842760"/>
                <a:gd name="connsiteX440" fmla="*/ 464820 w 1035367"/>
                <a:gd name="connsiteY440" fmla="*/ 6406515 h 6842760"/>
                <a:gd name="connsiteX441" fmla="*/ 518160 w 1035367"/>
                <a:gd name="connsiteY441" fmla="*/ 6459855 h 6842760"/>
                <a:gd name="connsiteX442" fmla="*/ 571500 w 1035367"/>
                <a:gd name="connsiteY442" fmla="*/ 6406515 h 6842760"/>
                <a:gd name="connsiteX443" fmla="*/ 518160 w 1035367"/>
                <a:gd name="connsiteY443" fmla="*/ 6353175 h 6842760"/>
                <a:gd name="connsiteX444" fmla="*/ 464820 w 1035367"/>
                <a:gd name="connsiteY444" fmla="*/ 6406515 h 6842760"/>
                <a:gd name="connsiteX445" fmla="*/ 481965 w 1035367"/>
                <a:gd name="connsiteY445" fmla="*/ 5980748 h 6842760"/>
                <a:gd name="connsiteX446" fmla="*/ 517208 w 1035367"/>
                <a:gd name="connsiteY446" fmla="*/ 6015990 h 6842760"/>
                <a:gd name="connsiteX447" fmla="*/ 552450 w 1035367"/>
                <a:gd name="connsiteY447" fmla="*/ 5980748 h 6842760"/>
                <a:gd name="connsiteX448" fmla="*/ 517208 w 1035367"/>
                <a:gd name="connsiteY448" fmla="*/ 5945505 h 6842760"/>
                <a:gd name="connsiteX449" fmla="*/ 481965 w 1035367"/>
                <a:gd name="connsiteY449" fmla="*/ 5980748 h 6842760"/>
                <a:gd name="connsiteX450" fmla="*/ 486728 w 1035367"/>
                <a:gd name="connsiteY450" fmla="*/ 5555933 h 6842760"/>
                <a:gd name="connsiteX451" fmla="*/ 518160 w 1035367"/>
                <a:gd name="connsiteY451" fmla="*/ 5587365 h 6842760"/>
                <a:gd name="connsiteX452" fmla="*/ 549593 w 1035367"/>
                <a:gd name="connsiteY452" fmla="*/ 5555933 h 6842760"/>
                <a:gd name="connsiteX453" fmla="*/ 518160 w 1035367"/>
                <a:gd name="connsiteY453" fmla="*/ 5524500 h 6842760"/>
                <a:gd name="connsiteX454" fmla="*/ 486728 w 1035367"/>
                <a:gd name="connsiteY454" fmla="*/ 5555933 h 6842760"/>
                <a:gd name="connsiteX455" fmla="*/ 486728 w 1035367"/>
                <a:gd name="connsiteY455" fmla="*/ 5343525 h 6842760"/>
                <a:gd name="connsiteX456" fmla="*/ 518160 w 1035367"/>
                <a:gd name="connsiteY456" fmla="*/ 5374958 h 6842760"/>
                <a:gd name="connsiteX457" fmla="*/ 549593 w 1035367"/>
                <a:gd name="connsiteY457" fmla="*/ 5343525 h 6842760"/>
                <a:gd name="connsiteX458" fmla="*/ 518160 w 1035367"/>
                <a:gd name="connsiteY458" fmla="*/ 5312093 h 6842760"/>
                <a:gd name="connsiteX459" fmla="*/ 486728 w 1035367"/>
                <a:gd name="connsiteY459" fmla="*/ 5343525 h 6842760"/>
                <a:gd name="connsiteX460" fmla="*/ 473393 w 1035367"/>
                <a:gd name="connsiteY460" fmla="*/ 6194108 h 6842760"/>
                <a:gd name="connsiteX461" fmla="*/ 517208 w 1035367"/>
                <a:gd name="connsiteY461" fmla="*/ 6237923 h 6842760"/>
                <a:gd name="connsiteX462" fmla="*/ 561023 w 1035367"/>
                <a:gd name="connsiteY462" fmla="*/ 6194108 h 6842760"/>
                <a:gd name="connsiteX463" fmla="*/ 517208 w 1035367"/>
                <a:gd name="connsiteY463" fmla="*/ 6150293 h 6842760"/>
                <a:gd name="connsiteX464" fmla="*/ 473393 w 1035367"/>
                <a:gd name="connsiteY464" fmla="*/ 6194108 h 6842760"/>
                <a:gd name="connsiteX465" fmla="*/ 486728 w 1035367"/>
                <a:gd name="connsiteY465" fmla="*/ 5768340 h 6842760"/>
                <a:gd name="connsiteX466" fmla="*/ 518160 w 1035367"/>
                <a:gd name="connsiteY466" fmla="*/ 5799773 h 6842760"/>
                <a:gd name="connsiteX467" fmla="*/ 549593 w 1035367"/>
                <a:gd name="connsiteY467" fmla="*/ 5768340 h 6842760"/>
                <a:gd name="connsiteX468" fmla="*/ 518160 w 1035367"/>
                <a:gd name="connsiteY468" fmla="*/ 5736908 h 6842760"/>
                <a:gd name="connsiteX469" fmla="*/ 486728 w 1035367"/>
                <a:gd name="connsiteY469" fmla="*/ 5768340 h 6842760"/>
                <a:gd name="connsiteX470" fmla="*/ 486728 w 1035367"/>
                <a:gd name="connsiteY470" fmla="*/ 4917758 h 6842760"/>
                <a:gd name="connsiteX471" fmla="*/ 518160 w 1035367"/>
                <a:gd name="connsiteY471" fmla="*/ 4949190 h 6842760"/>
                <a:gd name="connsiteX472" fmla="*/ 549593 w 1035367"/>
                <a:gd name="connsiteY472" fmla="*/ 4917758 h 6842760"/>
                <a:gd name="connsiteX473" fmla="*/ 518160 w 1035367"/>
                <a:gd name="connsiteY473" fmla="*/ 4886325 h 6842760"/>
                <a:gd name="connsiteX474" fmla="*/ 486728 w 1035367"/>
                <a:gd name="connsiteY474" fmla="*/ 4917758 h 6842760"/>
                <a:gd name="connsiteX475" fmla="*/ 486728 w 1035367"/>
                <a:gd name="connsiteY475" fmla="*/ 4705350 h 6842760"/>
                <a:gd name="connsiteX476" fmla="*/ 518160 w 1035367"/>
                <a:gd name="connsiteY476" fmla="*/ 4736783 h 6842760"/>
                <a:gd name="connsiteX477" fmla="*/ 549593 w 1035367"/>
                <a:gd name="connsiteY477" fmla="*/ 4705350 h 6842760"/>
                <a:gd name="connsiteX478" fmla="*/ 518160 w 1035367"/>
                <a:gd name="connsiteY478" fmla="*/ 4673918 h 6842760"/>
                <a:gd name="connsiteX479" fmla="*/ 486728 w 1035367"/>
                <a:gd name="connsiteY479" fmla="*/ 4705350 h 6842760"/>
                <a:gd name="connsiteX480" fmla="*/ 486728 w 1035367"/>
                <a:gd name="connsiteY480" fmla="*/ 5131118 h 6842760"/>
                <a:gd name="connsiteX481" fmla="*/ 518160 w 1035367"/>
                <a:gd name="connsiteY481" fmla="*/ 5162550 h 6842760"/>
                <a:gd name="connsiteX482" fmla="*/ 549593 w 1035367"/>
                <a:gd name="connsiteY482" fmla="*/ 5131118 h 6842760"/>
                <a:gd name="connsiteX483" fmla="*/ 518160 w 1035367"/>
                <a:gd name="connsiteY483" fmla="*/ 5099685 h 6842760"/>
                <a:gd name="connsiteX484" fmla="*/ 486728 w 1035367"/>
                <a:gd name="connsiteY484" fmla="*/ 5131118 h 6842760"/>
                <a:gd name="connsiteX485" fmla="*/ 706755 w 1035367"/>
                <a:gd name="connsiteY485" fmla="*/ 5253038 h 6842760"/>
                <a:gd name="connsiteX486" fmla="*/ 738188 w 1035367"/>
                <a:gd name="connsiteY486" fmla="*/ 5284470 h 6842760"/>
                <a:gd name="connsiteX487" fmla="*/ 769620 w 1035367"/>
                <a:gd name="connsiteY487" fmla="*/ 5253038 h 6842760"/>
                <a:gd name="connsiteX488" fmla="*/ 738188 w 1035367"/>
                <a:gd name="connsiteY488" fmla="*/ 5221605 h 6842760"/>
                <a:gd name="connsiteX489" fmla="*/ 706755 w 1035367"/>
                <a:gd name="connsiteY489" fmla="*/ 5253038 h 6842760"/>
                <a:gd name="connsiteX490" fmla="*/ 706755 w 1035367"/>
                <a:gd name="connsiteY490" fmla="*/ 4840605 h 6842760"/>
                <a:gd name="connsiteX491" fmla="*/ 738188 w 1035367"/>
                <a:gd name="connsiteY491" fmla="*/ 4872038 h 6842760"/>
                <a:gd name="connsiteX492" fmla="*/ 769620 w 1035367"/>
                <a:gd name="connsiteY492" fmla="*/ 4840605 h 6842760"/>
                <a:gd name="connsiteX493" fmla="*/ 738188 w 1035367"/>
                <a:gd name="connsiteY493" fmla="*/ 4809173 h 6842760"/>
                <a:gd name="connsiteX494" fmla="*/ 706755 w 1035367"/>
                <a:gd name="connsiteY494" fmla="*/ 4840605 h 6842760"/>
                <a:gd name="connsiteX495" fmla="*/ 706755 w 1035367"/>
                <a:gd name="connsiteY495" fmla="*/ 4634865 h 6842760"/>
                <a:gd name="connsiteX496" fmla="*/ 738188 w 1035367"/>
                <a:gd name="connsiteY496" fmla="*/ 4666298 h 6842760"/>
                <a:gd name="connsiteX497" fmla="*/ 769620 w 1035367"/>
                <a:gd name="connsiteY497" fmla="*/ 4634865 h 6842760"/>
                <a:gd name="connsiteX498" fmla="*/ 738188 w 1035367"/>
                <a:gd name="connsiteY498" fmla="*/ 4603433 h 6842760"/>
                <a:gd name="connsiteX499" fmla="*/ 706755 w 1035367"/>
                <a:gd name="connsiteY499" fmla="*/ 4634865 h 6842760"/>
                <a:gd name="connsiteX500" fmla="*/ 706755 w 1035367"/>
                <a:gd name="connsiteY500" fmla="*/ 5047298 h 6842760"/>
                <a:gd name="connsiteX501" fmla="*/ 738188 w 1035367"/>
                <a:gd name="connsiteY501" fmla="*/ 5078730 h 6842760"/>
                <a:gd name="connsiteX502" fmla="*/ 769620 w 1035367"/>
                <a:gd name="connsiteY502" fmla="*/ 5047298 h 6842760"/>
                <a:gd name="connsiteX503" fmla="*/ 738188 w 1035367"/>
                <a:gd name="connsiteY503" fmla="*/ 5015865 h 6842760"/>
                <a:gd name="connsiteX504" fmla="*/ 706755 w 1035367"/>
                <a:gd name="connsiteY504" fmla="*/ 5047298 h 6842760"/>
                <a:gd name="connsiteX505" fmla="*/ 486728 w 1035367"/>
                <a:gd name="connsiteY505" fmla="*/ 4492943 h 6842760"/>
                <a:gd name="connsiteX506" fmla="*/ 518160 w 1035367"/>
                <a:gd name="connsiteY506" fmla="*/ 4524375 h 6842760"/>
                <a:gd name="connsiteX507" fmla="*/ 549593 w 1035367"/>
                <a:gd name="connsiteY507" fmla="*/ 4492943 h 6842760"/>
                <a:gd name="connsiteX508" fmla="*/ 518160 w 1035367"/>
                <a:gd name="connsiteY508" fmla="*/ 4461510 h 6842760"/>
                <a:gd name="connsiteX509" fmla="*/ 486728 w 1035367"/>
                <a:gd name="connsiteY509" fmla="*/ 4492943 h 6842760"/>
                <a:gd name="connsiteX510" fmla="*/ 486728 w 1035367"/>
                <a:gd name="connsiteY510" fmla="*/ 4280535 h 6842760"/>
                <a:gd name="connsiteX511" fmla="*/ 518160 w 1035367"/>
                <a:gd name="connsiteY511" fmla="*/ 4311968 h 6842760"/>
                <a:gd name="connsiteX512" fmla="*/ 549593 w 1035367"/>
                <a:gd name="connsiteY512" fmla="*/ 4280535 h 6842760"/>
                <a:gd name="connsiteX513" fmla="*/ 518160 w 1035367"/>
                <a:gd name="connsiteY513" fmla="*/ 4249103 h 6842760"/>
                <a:gd name="connsiteX514" fmla="*/ 486728 w 1035367"/>
                <a:gd name="connsiteY514" fmla="*/ 4280535 h 6842760"/>
                <a:gd name="connsiteX515" fmla="*/ 464820 w 1035367"/>
                <a:gd name="connsiteY515" fmla="*/ 3642360 h 6842760"/>
                <a:gd name="connsiteX516" fmla="*/ 518160 w 1035367"/>
                <a:gd name="connsiteY516" fmla="*/ 3695700 h 6842760"/>
                <a:gd name="connsiteX517" fmla="*/ 571500 w 1035367"/>
                <a:gd name="connsiteY517" fmla="*/ 3642360 h 6842760"/>
                <a:gd name="connsiteX518" fmla="*/ 518160 w 1035367"/>
                <a:gd name="connsiteY518" fmla="*/ 3589020 h 6842760"/>
                <a:gd name="connsiteX519" fmla="*/ 464820 w 1035367"/>
                <a:gd name="connsiteY519" fmla="*/ 3642360 h 6842760"/>
                <a:gd name="connsiteX520" fmla="*/ 456248 w 1035367"/>
                <a:gd name="connsiteY520" fmla="*/ 3429953 h 6842760"/>
                <a:gd name="connsiteX521" fmla="*/ 518160 w 1035367"/>
                <a:gd name="connsiteY521" fmla="*/ 3491865 h 6842760"/>
                <a:gd name="connsiteX522" fmla="*/ 580073 w 1035367"/>
                <a:gd name="connsiteY522" fmla="*/ 3429953 h 6842760"/>
                <a:gd name="connsiteX523" fmla="*/ 518160 w 1035367"/>
                <a:gd name="connsiteY523" fmla="*/ 3368040 h 6842760"/>
                <a:gd name="connsiteX524" fmla="*/ 456248 w 1035367"/>
                <a:gd name="connsiteY524" fmla="*/ 3429953 h 6842760"/>
                <a:gd name="connsiteX525" fmla="*/ 456248 w 1035367"/>
                <a:gd name="connsiteY525" fmla="*/ 3005138 h 6842760"/>
                <a:gd name="connsiteX526" fmla="*/ 518160 w 1035367"/>
                <a:gd name="connsiteY526" fmla="*/ 3067050 h 6842760"/>
                <a:gd name="connsiteX527" fmla="*/ 580073 w 1035367"/>
                <a:gd name="connsiteY527" fmla="*/ 3005138 h 6842760"/>
                <a:gd name="connsiteX528" fmla="*/ 518160 w 1035367"/>
                <a:gd name="connsiteY528" fmla="*/ 2943225 h 6842760"/>
                <a:gd name="connsiteX529" fmla="*/ 456248 w 1035367"/>
                <a:gd name="connsiteY529" fmla="*/ 3005138 h 6842760"/>
                <a:gd name="connsiteX530" fmla="*/ 481965 w 1035367"/>
                <a:gd name="connsiteY530" fmla="*/ 4068128 h 6842760"/>
                <a:gd name="connsiteX531" fmla="*/ 517208 w 1035367"/>
                <a:gd name="connsiteY531" fmla="*/ 4103370 h 6842760"/>
                <a:gd name="connsiteX532" fmla="*/ 552450 w 1035367"/>
                <a:gd name="connsiteY532" fmla="*/ 4068128 h 6842760"/>
                <a:gd name="connsiteX533" fmla="*/ 517208 w 1035367"/>
                <a:gd name="connsiteY533" fmla="*/ 4032885 h 6842760"/>
                <a:gd name="connsiteX534" fmla="*/ 481965 w 1035367"/>
                <a:gd name="connsiteY534" fmla="*/ 4068128 h 6842760"/>
                <a:gd name="connsiteX535" fmla="*/ 473393 w 1035367"/>
                <a:gd name="connsiteY535" fmla="*/ 3854768 h 6842760"/>
                <a:gd name="connsiteX536" fmla="*/ 517208 w 1035367"/>
                <a:gd name="connsiteY536" fmla="*/ 3898583 h 6842760"/>
                <a:gd name="connsiteX537" fmla="*/ 561023 w 1035367"/>
                <a:gd name="connsiteY537" fmla="*/ 3854768 h 6842760"/>
                <a:gd name="connsiteX538" fmla="*/ 517208 w 1035367"/>
                <a:gd name="connsiteY538" fmla="*/ 3810953 h 6842760"/>
                <a:gd name="connsiteX539" fmla="*/ 473393 w 1035367"/>
                <a:gd name="connsiteY539" fmla="*/ 3854768 h 6842760"/>
                <a:gd name="connsiteX540" fmla="*/ 473393 w 1035367"/>
                <a:gd name="connsiteY540" fmla="*/ 2579370 h 6842760"/>
                <a:gd name="connsiteX541" fmla="*/ 517208 w 1035367"/>
                <a:gd name="connsiteY541" fmla="*/ 2623185 h 6842760"/>
                <a:gd name="connsiteX542" fmla="*/ 561023 w 1035367"/>
                <a:gd name="connsiteY542" fmla="*/ 2579370 h 6842760"/>
                <a:gd name="connsiteX543" fmla="*/ 517208 w 1035367"/>
                <a:gd name="connsiteY543" fmla="*/ 2535555 h 6842760"/>
                <a:gd name="connsiteX544" fmla="*/ 473393 w 1035367"/>
                <a:gd name="connsiteY544" fmla="*/ 2579370 h 6842760"/>
                <a:gd name="connsiteX545" fmla="*/ 481965 w 1035367"/>
                <a:gd name="connsiteY545" fmla="*/ 2366963 h 6842760"/>
                <a:gd name="connsiteX546" fmla="*/ 517208 w 1035367"/>
                <a:gd name="connsiteY546" fmla="*/ 2402205 h 6842760"/>
                <a:gd name="connsiteX547" fmla="*/ 552450 w 1035367"/>
                <a:gd name="connsiteY547" fmla="*/ 2366963 h 6842760"/>
                <a:gd name="connsiteX548" fmla="*/ 517208 w 1035367"/>
                <a:gd name="connsiteY548" fmla="*/ 2331720 h 6842760"/>
                <a:gd name="connsiteX549" fmla="*/ 481965 w 1035367"/>
                <a:gd name="connsiteY549" fmla="*/ 2366963 h 6842760"/>
                <a:gd name="connsiteX550" fmla="*/ 464820 w 1035367"/>
                <a:gd name="connsiteY550" fmla="*/ 2791778 h 6842760"/>
                <a:gd name="connsiteX551" fmla="*/ 518160 w 1035367"/>
                <a:gd name="connsiteY551" fmla="*/ 2845118 h 6842760"/>
                <a:gd name="connsiteX552" fmla="*/ 571500 w 1035367"/>
                <a:gd name="connsiteY552" fmla="*/ 2791778 h 6842760"/>
                <a:gd name="connsiteX553" fmla="*/ 518160 w 1035367"/>
                <a:gd name="connsiteY553" fmla="*/ 2738438 h 6842760"/>
                <a:gd name="connsiteX554" fmla="*/ 464820 w 1035367"/>
                <a:gd name="connsiteY554" fmla="*/ 2791778 h 6842760"/>
                <a:gd name="connsiteX555" fmla="*/ 440055 w 1035367"/>
                <a:gd name="connsiteY555" fmla="*/ 3217545 h 6842760"/>
                <a:gd name="connsiteX556" fmla="*/ 518160 w 1035367"/>
                <a:gd name="connsiteY556" fmla="*/ 3295650 h 6842760"/>
                <a:gd name="connsiteX557" fmla="*/ 596265 w 1035367"/>
                <a:gd name="connsiteY557" fmla="*/ 3217545 h 6842760"/>
                <a:gd name="connsiteX558" fmla="*/ 518160 w 1035367"/>
                <a:gd name="connsiteY558" fmla="*/ 3139440 h 6842760"/>
                <a:gd name="connsiteX559" fmla="*/ 440055 w 1035367"/>
                <a:gd name="connsiteY559" fmla="*/ 3217545 h 6842760"/>
                <a:gd name="connsiteX560" fmla="*/ 706755 w 1035367"/>
                <a:gd name="connsiteY560" fmla="*/ 4428173 h 6842760"/>
                <a:gd name="connsiteX561" fmla="*/ 738188 w 1035367"/>
                <a:gd name="connsiteY561" fmla="*/ 4459605 h 6842760"/>
                <a:gd name="connsiteX562" fmla="*/ 769620 w 1035367"/>
                <a:gd name="connsiteY562" fmla="*/ 4428173 h 6842760"/>
                <a:gd name="connsiteX563" fmla="*/ 738188 w 1035367"/>
                <a:gd name="connsiteY563" fmla="*/ 4396740 h 6842760"/>
                <a:gd name="connsiteX564" fmla="*/ 706755 w 1035367"/>
                <a:gd name="connsiteY564" fmla="*/ 4428173 h 6842760"/>
                <a:gd name="connsiteX565" fmla="*/ 706755 w 1035367"/>
                <a:gd name="connsiteY565" fmla="*/ 4222433 h 6842760"/>
                <a:gd name="connsiteX566" fmla="*/ 738188 w 1035367"/>
                <a:gd name="connsiteY566" fmla="*/ 4253865 h 6842760"/>
                <a:gd name="connsiteX567" fmla="*/ 769620 w 1035367"/>
                <a:gd name="connsiteY567" fmla="*/ 4222433 h 6842760"/>
                <a:gd name="connsiteX568" fmla="*/ 738188 w 1035367"/>
                <a:gd name="connsiteY568" fmla="*/ 4191000 h 6842760"/>
                <a:gd name="connsiteX569" fmla="*/ 706755 w 1035367"/>
                <a:gd name="connsiteY569" fmla="*/ 4222433 h 6842760"/>
                <a:gd name="connsiteX570" fmla="*/ 693420 w 1035367"/>
                <a:gd name="connsiteY570" fmla="*/ 3604260 h 6842760"/>
                <a:gd name="connsiteX571" fmla="*/ 737235 w 1035367"/>
                <a:gd name="connsiteY571" fmla="*/ 3648075 h 6842760"/>
                <a:gd name="connsiteX572" fmla="*/ 781050 w 1035367"/>
                <a:gd name="connsiteY572" fmla="*/ 3604260 h 6842760"/>
                <a:gd name="connsiteX573" fmla="*/ 737235 w 1035367"/>
                <a:gd name="connsiteY573" fmla="*/ 3560445 h 6842760"/>
                <a:gd name="connsiteX574" fmla="*/ 693420 w 1035367"/>
                <a:gd name="connsiteY574" fmla="*/ 3604260 h 6842760"/>
                <a:gd name="connsiteX575" fmla="*/ 684848 w 1035367"/>
                <a:gd name="connsiteY575" fmla="*/ 3397568 h 6842760"/>
                <a:gd name="connsiteX576" fmla="*/ 738188 w 1035367"/>
                <a:gd name="connsiteY576" fmla="*/ 3450908 h 6842760"/>
                <a:gd name="connsiteX577" fmla="*/ 791528 w 1035367"/>
                <a:gd name="connsiteY577" fmla="*/ 3397568 h 6842760"/>
                <a:gd name="connsiteX578" fmla="*/ 738188 w 1035367"/>
                <a:gd name="connsiteY578" fmla="*/ 3344228 h 6842760"/>
                <a:gd name="connsiteX579" fmla="*/ 684848 w 1035367"/>
                <a:gd name="connsiteY579" fmla="*/ 3397568 h 6842760"/>
                <a:gd name="connsiteX580" fmla="*/ 675323 w 1035367"/>
                <a:gd name="connsiteY580" fmla="*/ 3191828 h 6842760"/>
                <a:gd name="connsiteX581" fmla="*/ 737235 w 1035367"/>
                <a:gd name="connsiteY581" fmla="*/ 3253740 h 6842760"/>
                <a:gd name="connsiteX582" fmla="*/ 799148 w 1035367"/>
                <a:gd name="connsiteY582" fmla="*/ 3191828 h 6842760"/>
                <a:gd name="connsiteX583" fmla="*/ 737235 w 1035367"/>
                <a:gd name="connsiteY583" fmla="*/ 3129915 h 6842760"/>
                <a:gd name="connsiteX584" fmla="*/ 675323 w 1035367"/>
                <a:gd name="connsiteY584" fmla="*/ 3191828 h 6842760"/>
                <a:gd name="connsiteX585" fmla="*/ 706755 w 1035367"/>
                <a:gd name="connsiteY585" fmla="*/ 4016693 h 6842760"/>
                <a:gd name="connsiteX586" fmla="*/ 738188 w 1035367"/>
                <a:gd name="connsiteY586" fmla="*/ 4048125 h 6842760"/>
                <a:gd name="connsiteX587" fmla="*/ 769620 w 1035367"/>
                <a:gd name="connsiteY587" fmla="*/ 4016693 h 6842760"/>
                <a:gd name="connsiteX588" fmla="*/ 738188 w 1035367"/>
                <a:gd name="connsiteY588" fmla="*/ 3985260 h 6842760"/>
                <a:gd name="connsiteX589" fmla="*/ 706755 w 1035367"/>
                <a:gd name="connsiteY589" fmla="*/ 4016693 h 6842760"/>
                <a:gd name="connsiteX590" fmla="*/ 701993 w 1035367"/>
                <a:gd name="connsiteY590" fmla="*/ 3810000 h 6842760"/>
                <a:gd name="connsiteX591" fmla="*/ 737235 w 1035367"/>
                <a:gd name="connsiteY591" fmla="*/ 3845243 h 6842760"/>
                <a:gd name="connsiteX592" fmla="*/ 772478 w 1035367"/>
                <a:gd name="connsiteY592" fmla="*/ 3810000 h 6842760"/>
                <a:gd name="connsiteX593" fmla="*/ 737235 w 1035367"/>
                <a:gd name="connsiteY593" fmla="*/ 3774758 h 6842760"/>
                <a:gd name="connsiteX594" fmla="*/ 701993 w 1035367"/>
                <a:gd name="connsiteY594" fmla="*/ 3810000 h 6842760"/>
                <a:gd name="connsiteX595" fmla="*/ 684848 w 1035367"/>
                <a:gd name="connsiteY595" fmla="*/ 2573655 h 6842760"/>
                <a:gd name="connsiteX596" fmla="*/ 738188 w 1035367"/>
                <a:gd name="connsiteY596" fmla="*/ 2626995 h 6842760"/>
                <a:gd name="connsiteX597" fmla="*/ 791528 w 1035367"/>
                <a:gd name="connsiteY597" fmla="*/ 2573655 h 6842760"/>
                <a:gd name="connsiteX598" fmla="*/ 738188 w 1035367"/>
                <a:gd name="connsiteY598" fmla="*/ 2520315 h 6842760"/>
                <a:gd name="connsiteX599" fmla="*/ 684848 w 1035367"/>
                <a:gd name="connsiteY599" fmla="*/ 2573655 h 6842760"/>
                <a:gd name="connsiteX600" fmla="*/ 693420 w 1035367"/>
                <a:gd name="connsiteY600" fmla="*/ 2366963 h 6842760"/>
                <a:gd name="connsiteX601" fmla="*/ 737235 w 1035367"/>
                <a:gd name="connsiteY601" fmla="*/ 2410778 h 6842760"/>
                <a:gd name="connsiteX602" fmla="*/ 781050 w 1035367"/>
                <a:gd name="connsiteY602" fmla="*/ 2366963 h 6842760"/>
                <a:gd name="connsiteX603" fmla="*/ 737235 w 1035367"/>
                <a:gd name="connsiteY603" fmla="*/ 2323148 h 6842760"/>
                <a:gd name="connsiteX604" fmla="*/ 693420 w 1035367"/>
                <a:gd name="connsiteY604" fmla="*/ 2366963 h 6842760"/>
                <a:gd name="connsiteX605" fmla="*/ 675323 w 1035367"/>
                <a:gd name="connsiteY605" fmla="*/ 2779395 h 6842760"/>
                <a:gd name="connsiteX606" fmla="*/ 737235 w 1035367"/>
                <a:gd name="connsiteY606" fmla="*/ 2841308 h 6842760"/>
                <a:gd name="connsiteX607" fmla="*/ 799148 w 1035367"/>
                <a:gd name="connsiteY607" fmla="*/ 2779395 h 6842760"/>
                <a:gd name="connsiteX608" fmla="*/ 737235 w 1035367"/>
                <a:gd name="connsiteY608" fmla="*/ 2717483 h 6842760"/>
                <a:gd name="connsiteX609" fmla="*/ 675323 w 1035367"/>
                <a:gd name="connsiteY609" fmla="*/ 2779395 h 6842760"/>
                <a:gd name="connsiteX610" fmla="*/ 659130 w 1035367"/>
                <a:gd name="connsiteY610" fmla="*/ 2985135 h 6842760"/>
                <a:gd name="connsiteX611" fmla="*/ 737235 w 1035367"/>
                <a:gd name="connsiteY611" fmla="*/ 3063240 h 6842760"/>
                <a:gd name="connsiteX612" fmla="*/ 815340 w 1035367"/>
                <a:gd name="connsiteY612" fmla="*/ 2985135 h 6842760"/>
                <a:gd name="connsiteX613" fmla="*/ 737235 w 1035367"/>
                <a:gd name="connsiteY613" fmla="*/ 2907030 h 6842760"/>
                <a:gd name="connsiteX614" fmla="*/ 659130 w 1035367"/>
                <a:gd name="connsiteY614" fmla="*/ 2985135 h 6842760"/>
                <a:gd name="connsiteX615" fmla="*/ 922020 w 1035367"/>
                <a:gd name="connsiteY615" fmla="*/ 3625215 h 6842760"/>
                <a:gd name="connsiteX616" fmla="*/ 957263 w 1035367"/>
                <a:gd name="connsiteY616" fmla="*/ 3660458 h 6842760"/>
                <a:gd name="connsiteX617" fmla="*/ 992505 w 1035367"/>
                <a:gd name="connsiteY617" fmla="*/ 3625215 h 6842760"/>
                <a:gd name="connsiteX618" fmla="*/ 957263 w 1035367"/>
                <a:gd name="connsiteY618" fmla="*/ 3589973 h 6842760"/>
                <a:gd name="connsiteX619" fmla="*/ 922020 w 1035367"/>
                <a:gd name="connsiteY619" fmla="*/ 3625215 h 6842760"/>
                <a:gd name="connsiteX620" fmla="*/ 913448 w 1035367"/>
                <a:gd name="connsiteY620" fmla="*/ 3415665 h 6842760"/>
                <a:gd name="connsiteX621" fmla="*/ 957263 w 1035367"/>
                <a:gd name="connsiteY621" fmla="*/ 3459480 h 6842760"/>
                <a:gd name="connsiteX622" fmla="*/ 1001078 w 1035367"/>
                <a:gd name="connsiteY622" fmla="*/ 3415665 h 6842760"/>
                <a:gd name="connsiteX623" fmla="*/ 957263 w 1035367"/>
                <a:gd name="connsiteY623" fmla="*/ 3371850 h 6842760"/>
                <a:gd name="connsiteX624" fmla="*/ 913448 w 1035367"/>
                <a:gd name="connsiteY624" fmla="*/ 3415665 h 6842760"/>
                <a:gd name="connsiteX625" fmla="*/ 903923 w 1035367"/>
                <a:gd name="connsiteY625" fmla="*/ 3206115 h 6842760"/>
                <a:gd name="connsiteX626" fmla="*/ 957263 w 1035367"/>
                <a:gd name="connsiteY626" fmla="*/ 3259455 h 6842760"/>
                <a:gd name="connsiteX627" fmla="*/ 1010603 w 1035367"/>
                <a:gd name="connsiteY627" fmla="*/ 3206115 h 6842760"/>
                <a:gd name="connsiteX628" fmla="*/ 957263 w 1035367"/>
                <a:gd name="connsiteY628" fmla="*/ 3152775 h 6842760"/>
                <a:gd name="connsiteX629" fmla="*/ 903923 w 1035367"/>
                <a:gd name="connsiteY629" fmla="*/ 3206115 h 6842760"/>
                <a:gd name="connsiteX630" fmla="*/ 895350 w 1035367"/>
                <a:gd name="connsiteY630" fmla="*/ 2576513 h 6842760"/>
                <a:gd name="connsiteX631" fmla="*/ 957263 w 1035367"/>
                <a:gd name="connsiteY631" fmla="*/ 2638425 h 6842760"/>
                <a:gd name="connsiteX632" fmla="*/ 1019175 w 1035367"/>
                <a:gd name="connsiteY632" fmla="*/ 2576513 h 6842760"/>
                <a:gd name="connsiteX633" fmla="*/ 957263 w 1035367"/>
                <a:gd name="connsiteY633" fmla="*/ 2514600 h 6842760"/>
                <a:gd name="connsiteX634" fmla="*/ 895350 w 1035367"/>
                <a:gd name="connsiteY634" fmla="*/ 2576513 h 6842760"/>
                <a:gd name="connsiteX635" fmla="*/ 903923 w 1035367"/>
                <a:gd name="connsiteY635" fmla="*/ 2366963 h 6842760"/>
                <a:gd name="connsiteX636" fmla="*/ 957263 w 1035367"/>
                <a:gd name="connsiteY636" fmla="*/ 2420303 h 6842760"/>
                <a:gd name="connsiteX637" fmla="*/ 1010603 w 1035367"/>
                <a:gd name="connsiteY637" fmla="*/ 2366963 h 6842760"/>
                <a:gd name="connsiteX638" fmla="*/ 957263 w 1035367"/>
                <a:gd name="connsiteY638" fmla="*/ 2313623 h 6842760"/>
                <a:gd name="connsiteX639" fmla="*/ 903923 w 1035367"/>
                <a:gd name="connsiteY639" fmla="*/ 2366963 h 6842760"/>
                <a:gd name="connsiteX640" fmla="*/ 895350 w 1035367"/>
                <a:gd name="connsiteY640" fmla="*/ 2996565 h 6842760"/>
                <a:gd name="connsiteX641" fmla="*/ 957263 w 1035367"/>
                <a:gd name="connsiteY641" fmla="*/ 3058478 h 6842760"/>
                <a:gd name="connsiteX642" fmla="*/ 1019175 w 1035367"/>
                <a:gd name="connsiteY642" fmla="*/ 2996565 h 6842760"/>
                <a:gd name="connsiteX643" fmla="*/ 957263 w 1035367"/>
                <a:gd name="connsiteY643" fmla="*/ 2934653 h 6842760"/>
                <a:gd name="connsiteX644" fmla="*/ 895350 w 1035367"/>
                <a:gd name="connsiteY644" fmla="*/ 2996565 h 6842760"/>
                <a:gd name="connsiteX645" fmla="*/ 879158 w 1035367"/>
                <a:gd name="connsiteY645" fmla="*/ 2786063 h 6842760"/>
                <a:gd name="connsiteX646" fmla="*/ 957263 w 1035367"/>
                <a:gd name="connsiteY646" fmla="*/ 2864168 h 6842760"/>
                <a:gd name="connsiteX647" fmla="*/ 1035368 w 1035367"/>
                <a:gd name="connsiteY647" fmla="*/ 2786063 h 6842760"/>
                <a:gd name="connsiteX648" fmla="*/ 957263 w 1035367"/>
                <a:gd name="connsiteY648" fmla="*/ 2707958 h 6842760"/>
                <a:gd name="connsiteX649" fmla="*/ 879158 w 1035367"/>
                <a:gd name="connsiteY649" fmla="*/ 2786063 h 684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</a:cxnLst>
              <a:rect l="l" t="t" r="r" b="b"/>
              <a:pathLst>
                <a:path w="1035367" h="6842760">
                  <a:moveTo>
                    <a:pt x="0" y="1128713"/>
                  </a:moveTo>
                  <a:cubicBezTo>
                    <a:pt x="0" y="1171575"/>
                    <a:pt x="35243" y="1206818"/>
                    <a:pt x="78105" y="1206818"/>
                  </a:cubicBezTo>
                  <a:cubicBezTo>
                    <a:pt x="120968" y="1206818"/>
                    <a:pt x="156210" y="1171575"/>
                    <a:pt x="156210" y="1128713"/>
                  </a:cubicBezTo>
                  <a:cubicBezTo>
                    <a:pt x="156210" y="1085850"/>
                    <a:pt x="120968" y="1050608"/>
                    <a:pt x="78105" y="1050608"/>
                  </a:cubicBezTo>
                  <a:cubicBezTo>
                    <a:pt x="35243" y="1050608"/>
                    <a:pt x="0" y="1085850"/>
                    <a:pt x="0" y="1128713"/>
                  </a:cubicBezTo>
                  <a:close/>
                  <a:moveTo>
                    <a:pt x="42863" y="2162175"/>
                  </a:moveTo>
                  <a:cubicBezTo>
                    <a:pt x="44768" y="2181225"/>
                    <a:pt x="61913" y="2196465"/>
                    <a:pt x="80963" y="2194560"/>
                  </a:cubicBezTo>
                  <a:cubicBezTo>
                    <a:pt x="100013" y="2192655"/>
                    <a:pt x="115253" y="2175510"/>
                    <a:pt x="113348" y="2156460"/>
                  </a:cubicBezTo>
                  <a:cubicBezTo>
                    <a:pt x="111443" y="2137410"/>
                    <a:pt x="94298" y="2122170"/>
                    <a:pt x="75248" y="2124075"/>
                  </a:cubicBezTo>
                  <a:cubicBezTo>
                    <a:pt x="55245" y="2125980"/>
                    <a:pt x="40958" y="2143125"/>
                    <a:pt x="42863" y="2162175"/>
                  </a:cubicBezTo>
                  <a:close/>
                  <a:moveTo>
                    <a:pt x="34290" y="1953578"/>
                  </a:moveTo>
                  <a:cubicBezTo>
                    <a:pt x="34290" y="1978343"/>
                    <a:pt x="54293" y="1997393"/>
                    <a:pt x="78105" y="1997393"/>
                  </a:cubicBezTo>
                  <a:cubicBezTo>
                    <a:pt x="101918" y="1997393"/>
                    <a:pt x="121920" y="1977390"/>
                    <a:pt x="121920" y="1953578"/>
                  </a:cubicBezTo>
                  <a:cubicBezTo>
                    <a:pt x="121920" y="1929765"/>
                    <a:pt x="101918" y="1909763"/>
                    <a:pt x="78105" y="1909763"/>
                  </a:cubicBezTo>
                  <a:cubicBezTo>
                    <a:pt x="54293" y="1909763"/>
                    <a:pt x="34290" y="1928813"/>
                    <a:pt x="34290" y="1953578"/>
                  </a:cubicBezTo>
                  <a:close/>
                  <a:moveTo>
                    <a:pt x="16193" y="1541145"/>
                  </a:moveTo>
                  <a:cubicBezTo>
                    <a:pt x="16193" y="1575435"/>
                    <a:pt x="43815" y="1603058"/>
                    <a:pt x="78105" y="1603058"/>
                  </a:cubicBezTo>
                  <a:cubicBezTo>
                    <a:pt x="112395" y="1603058"/>
                    <a:pt x="140018" y="1575435"/>
                    <a:pt x="140018" y="1541145"/>
                  </a:cubicBezTo>
                  <a:cubicBezTo>
                    <a:pt x="140018" y="1506855"/>
                    <a:pt x="112395" y="1479233"/>
                    <a:pt x="78105" y="1479233"/>
                  </a:cubicBezTo>
                  <a:cubicBezTo>
                    <a:pt x="43815" y="1479233"/>
                    <a:pt x="16193" y="1506855"/>
                    <a:pt x="16193" y="1541145"/>
                  </a:cubicBezTo>
                  <a:close/>
                  <a:moveTo>
                    <a:pt x="24765" y="716280"/>
                  </a:moveTo>
                  <a:cubicBezTo>
                    <a:pt x="24765" y="745808"/>
                    <a:pt x="48578" y="769620"/>
                    <a:pt x="78105" y="769620"/>
                  </a:cubicBezTo>
                  <a:cubicBezTo>
                    <a:pt x="107633" y="769620"/>
                    <a:pt x="131445" y="745808"/>
                    <a:pt x="131445" y="716280"/>
                  </a:cubicBezTo>
                  <a:cubicBezTo>
                    <a:pt x="131445" y="686753"/>
                    <a:pt x="107633" y="662940"/>
                    <a:pt x="78105" y="662940"/>
                  </a:cubicBezTo>
                  <a:cubicBezTo>
                    <a:pt x="48578" y="662940"/>
                    <a:pt x="24765" y="687705"/>
                    <a:pt x="24765" y="716280"/>
                  </a:cubicBezTo>
                  <a:close/>
                  <a:moveTo>
                    <a:pt x="34290" y="510540"/>
                  </a:moveTo>
                  <a:cubicBezTo>
                    <a:pt x="34290" y="535305"/>
                    <a:pt x="54293" y="554355"/>
                    <a:pt x="78105" y="554355"/>
                  </a:cubicBezTo>
                  <a:cubicBezTo>
                    <a:pt x="101918" y="554355"/>
                    <a:pt x="121920" y="534353"/>
                    <a:pt x="121920" y="510540"/>
                  </a:cubicBezTo>
                  <a:cubicBezTo>
                    <a:pt x="121920" y="485775"/>
                    <a:pt x="101918" y="466725"/>
                    <a:pt x="78105" y="466725"/>
                  </a:cubicBezTo>
                  <a:cubicBezTo>
                    <a:pt x="54293" y="466725"/>
                    <a:pt x="34290" y="485775"/>
                    <a:pt x="34290" y="510540"/>
                  </a:cubicBezTo>
                  <a:close/>
                  <a:moveTo>
                    <a:pt x="24765" y="1746885"/>
                  </a:moveTo>
                  <a:cubicBezTo>
                    <a:pt x="24765" y="1776413"/>
                    <a:pt x="48578" y="1800225"/>
                    <a:pt x="78105" y="1800225"/>
                  </a:cubicBezTo>
                  <a:cubicBezTo>
                    <a:pt x="107633" y="1800225"/>
                    <a:pt x="131445" y="1776413"/>
                    <a:pt x="131445" y="1746885"/>
                  </a:cubicBezTo>
                  <a:cubicBezTo>
                    <a:pt x="131445" y="1717358"/>
                    <a:pt x="107633" y="1693545"/>
                    <a:pt x="78105" y="1693545"/>
                  </a:cubicBezTo>
                  <a:cubicBezTo>
                    <a:pt x="48578" y="1693545"/>
                    <a:pt x="24765" y="1718310"/>
                    <a:pt x="24765" y="1746885"/>
                  </a:cubicBezTo>
                  <a:close/>
                  <a:moveTo>
                    <a:pt x="16193" y="922973"/>
                  </a:moveTo>
                  <a:cubicBezTo>
                    <a:pt x="16193" y="957263"/>
                    <a:pt x="43815" y="984885"/>
                    <a:pt x="78105" y="984885"/>
                  </a:cubicBezTo>
                  <a:cubicBezTo>
                    <a:pt x="112395" y="984885"/>
                    <a:pt x="140018" y="957263"/>
                    <a:pt x="140018" y="922973"/>
                  </a:cubicBezTo>
                  <a:cubicBezTo>
                    <a:pt x="140018" y="888683"/>
                    <a:pt x="112395" y="861060"/>
                    <a:pt x="78105" y="861060"/>
                  </a:cubicBezTo>
                  <a:cubicBezTo>
                    <a:pt x="43815" y="861060"/>
                    <a:pt x="16193" y="888683"/>
                    <a:pt x="16193" y="922973"/>
                  </a:cubicBezTo>
                  <a:close/>
                  <a:moveTo>
                    <a:pt x="46673" y="98108"/>
                  </a:moveTo>
                  <a:cubicBezTo>
                    <a:pt x="46673" y="115253"/>
                    <a:pt x="60960" y="129540"/>
                    <a:pt x="78105" y="129540"/>
                  </a:cubicBezTo>
                  <a:cubicBezTo>
                    <a:pt x="95250" y="129540"/>
                    <a:pt x="109538" y="115253"/>
                    <a:pt x="109538" y="98108"/>
                  </a:cubicBezTo>
                  <a:cubicBezTo>
                    <a:pt x="109538" y="80963"/>
                    <a:pt x="95250" y="66675"/>
                    <a:pt x="78105" y="66675"/>
                  </a:cubicBezTo>
                  <a:cubicBezTo>
                    <a:pt x="60960" y="66675"/>
                    <a:pt x="46673" y="80963"/>
                    <a:pt x="46673" y="98108"/>
                  </a:cubicBezTo>
                  <a:close/>
                  <a:moveTo>
                    <a:pt x="42863" y="303848"/>
                  </a:moveTo>
                  <a:cubicBezTo>
                    <a:pt x="42863" y="322898"/>
                    <a:pt x="59055" y="339090"/>
                    <a:pt x="78105" y="339090"/>
                  </a:cubicBezTo>
                  <a:cubicBezTo>
                    <a:pt x="97155" y="339090"/>
                    <a:pt x="113348" y="322898"/>
                    <a:pt x="113348" y="303848"/>
                  </a:cubicBezTo>
                  <a:cubicBezTo>
                    <a:pt x="113348" y="284798"/>
                    <a:pt x="97155" y="268605"/>
                    <a:pt x="78105" y="268605"/>
                  </a:cubicBezTo>
                  <a:cubicBezTo>
                    <a:pt x="59055" y="268605"/>
                    <a:pt x="42863" y="284798"/>
                    <a:pt x="42863" y="303848"/>
                  </a:cubicBezTo>
                  <a:close/>
                  <a:moveTo>
                    <a:pt x="0" y="1335405"/>
                  </a:moveTo>
                  <a:cubicBezTo>
                    <a:pt x="0" y="1378268"/>
                    <a:pt x="35243" y="1413510"/>
                    <a:pt x="78105" y="1413510"/>
                  </a:cubicBezTo>
                  <a:cubicBezTo>
                    <a:pt x="120968" y="1413510"/>
                    <a:pt x="156210" y="1378268"/>
                    <a:pt x="156210" y="1335405"/>
                  </a:cubicBezTo>
                  <a:cubicBezTo>
                    <a:pt x="156210" y="1292543"/>
                    <a:pt x="120968" y="1257300"/>
                    <a:pt x="78105" y="1257300"/>
                  </a:cubicBezTo>
                  <a:cubicBezTo>
                    <a:pt x="35243" y="1257300"/>
                    <a:pt x="0" y="1291590"/>
                    <a:pt x="0" y="1335405"/>
                  </a:cubicBezTo>
                  <a:close/>
                  <a:moveTo>
                    <a:pt x="266700" y="2159318"/>
                  </a:moveTo>
                  <a:cubicBezTo>
                    <a:pt x="266700" y="2176463"/>
                    <a:pt x="280988" y="2190750"/>
                    <a:pt x="298133" y="2190750"/>
                  </a:cubicBezTo>
                  <a:cubicBezTo>
                    <a:pt x="315278" y="2190750"/>
                    <a:pt x="329565" y="2176463"/>
                    <a:pt x="329565" y="2159318"/>
                  </a:cubicBezTo>
                  <a:cubicBezTo>
                    <a:pt x="329565" y="2142173"/>
                    <a:pt x="315278" y="2127885"/>
                    <a:pt x="298133" y="2127885"/>
                  </a:cubicBezTo>
                  <a:cubicBezTo>
                    <a:pt x="280988" y="2127885"/>
                    <a:pt x="266700" y="2142173"/>
                    <a:pt x="266700" y="2159318"/>
                  </a:cubicBezTo>
                  <a:close/>
                  <a:moveTo>
                    <a:pt x="262890" y="1918335"/>
                  </a:moveTo>
                  <a:cubicBezTo>
                    <a:pt x="262890" y="1937385"/>
                    <a:pt x="279083" y="1953578"/>
                    <a:pt x="298133" y="1953578"/>
                  </a:cubicBezTo>
                  <a:cubicBezTo>
                    <a:pt x="317183" y="1953578"/>
                    <a:pt x="333375" y="1937385"/>
                    <a:pt x="333375" y="1918335"/>
                  </a:cubicBezTo>
                  <a:cubicBezTo>
                    <a:pt x="333375" y="1899285"/>
                    <a:pt x="317183" y="1883093"/>
                    <a:pt x="298133" y="1883093"/>
                  </a:cubicBezTo>
                  <a:cubicBezTo>
                    <a:pt x="279083" y="1883093"/>
                    <a:pt x="262890" y="1899285"/>
                    <a:pt x="262890" y="1918335"/>
                  </a:cubicBezTo>
                  <a:close/>
                  <a:moveTo>
                    <a:pt x="236220" y="1289685"/>
                  </a:moveTo>
                  <a:cubicBezTo>
                    <a:pt x="236220" y="1323975"/>
                    <a:pt x="263843" y="1351598"/>
                    <a:pt x="298133" y="1351598"/>
                  </a:cubicBezTo>
                  <a:cubicBezTo>
                    <a:pt x="332423" y="1351598"/>
                    <a:pt x="360045" y="1323975"/>
                    <a:pt x="360045" y="1289685"/>
                  </a:cubicBezTo>
                  <a:cubicBezTo>
                    <a:pt x="360045" y="1255395"/>
                    <a:pt x="332423" y="1227773"/>
                    <a:pt x="298133" y="1227773"/>
                  </a:cubicBezTo>
                  <a:cubicBezTo>
                    <a:pt x="263843" y="1227773"/>
                    <a:pt x="236220" y="1255395"/>
                    <a:pt x="236220" y="1289685"/>
                  </a:cubicBezTo>
                  <a:close/>
                  <a:moveTo>
                    <a:pt x="236220" y="869633"/>
                  </a:moveTo>
                  <a:cubicBezTo>
                    <a:pt x="236220" y="903923"/>
                    <a:pt x="263843" y="931545"/>
                    <a:pt x="298133" y="931545"/>
                  </a:cubicBezTo>
                  <a:cubicBezTo>
                    <a:pt x="332423" y="931545"/>
                    <a:pt x="360045" y="903923"/>
                    <a:pt x="360045" y="869633"/>
                  </a:cubicBezTo>
                  <a:cubicBezTo>
                    <a:pt x="360045" y="835343"/>
                    <a:pt x="332423" y="807720"/>
                    <a:pt x="298133" y="807720"/>
                  </a:cubicBezTo>
                  <a:cubicBezTo>
                    <a:pt x="263843" y="807720"/>
                    <a:pt x="236220" y="836295"/>
                    <a:pt x="236220" y="869633"/>
                  </a:cubicBezTo>
                  <a:close/>
                  <a:moveTo>
                    <a:pt x="244793" y="660083"/>
                  </a:moveTo>
                  <a:cubicBezTo>
                    <a:pt x="244793" y="689610"/>
                    <a:pt x="268605" y="713423"/>
                    <a:pt x="298133" y="713423"/>
                  </a:cubicBezTo>
                  <a:cubicBezTo>
                    <a:pt x="327660" y="713423"/>
                    <a:pt x="351473" y="689610"/>
                    <a:pt x="351473" y="660083"/>
                  </a:cubicBezTo>
                  <a:cubicBezTo>
                    <a:pt x="351473" y="630555"/>
                    <a:pt x="327660" y="606743"/>
                    <a:pt x="298133" y="606743"/>
                  </a:cubicBezTo>
                  <a:cubicBezTo>
                    <a:pt x="268605" y="606743"/>
                    <a:pt x="244793" y="631508"/>
                    <a:pt x="244793" y="660083"/>
                  </a:cubicBezTo>
                  <a:close/>
                  <a:moveTo>
                    <a:pt x="253365" y="1708785"/>
                  </a:moveTo>
                  <a:cubicBezTo>
                    <a:pt x="253365" y="1733550"/>
                    <a:pt x="273368" y="1752600"/>
                    <a:pt x="297180" y="1752600"/>
                  </a:cubicBezTo>
                  <a:cubicBezTo>
                    <a:pt x="320993" y="1752600"/>
                    <a:pt x="340995" y="1732598"/>
                    <a:pt x="340995" y="1708785"/>
                  </a:cubicBezTo>
                  <a:cubicBezTo>
                    <a:pt x="340995" y="1684020"/>
                    <a:pt x="320993" y="1664970"/>
                    <a:pt x="297180" y="1664970"/>
                  </a:cubicBezTo>
                  <a:cubicBezTo>
                    <a:pt x="273368" y="1664970"/>
                    <a:pt x="253365" y="1684973"/>
                    <a:pt x="253365" y="1708785"/>
                  </a:cubicBezTo>
                  <a:close/>
                  <a:moveTo>
                    <a:pt x="244793" y="1499235"/>
                  </a:moveTo>
                  <a:cubicBezTo>
                    <a:pt x="244793" y="1528763"/>
                    <a:pt x="268605" y="1552575"/>
                    <a:pt x="298133" y="1552575"/>
                  </a:cubicBezTo>
                  <a:cubicBezTo>
                    <a:pt x="327660" y="1552575"/>
                    <a:pt x="351473" y="1528763"/>
                    <a:pt x="351473" y="1499235"/>
                  </a:cubicBezTo>
                  <a:cubicBezTo>
                    <a:pt x="351473" y="1469708"/>
                    <a:pt x="327660" y="1445895"/>
                    <a:pt x="298133" y="1445895"/>
                  </a:cubicBezTo>
                  <a:cubicBezTo>
                    <a:pt x="268605" y="1445895"/>
                    <a:pt x="244793" y="1469708"/>
                    <a:pt x="244793" y="1499235"/>
                  </a:cubicBezTo>
                  <a:close/>
                  <a:moveTo>
                    <a:pt x="262890" y="240983"/>
                  </a:moveTo>
                  <a:cubicBezTo>
                    <a:pt x="262890" y="260033"/>
                    <a:pt x="279083" y="276225"/>
                    <a:pt x="298133" y="276225"/>
                  </a:cubicBezTo>
                  <a:cubicBezTo>
                    <a:pt x="317183" y="276225"/>
                    <a:pt x="333375" y="260033"/>
                    <a:pt x="333375" y="240983"/>
                  </a:cubicBezTo>
                  <a:cubicBezTo>
                    <a:pt x="333375" y="221933"/>
                    <a:pt x="317183" y="205740"/>
                    <a:pt x="298133" y="205740"/>
                  </a:cubicBezTo>
                  <a:cubicBezTo>
                    <a:pt x="279083" y="205740"/>
                    <a:pt x="262890" y="220980"/>
                    <a:pt x="262890" y="240983"/>
                  </a:cubicBezTo>
                  <a:close/>
                  <a:moveTo>
                    <a:pt x="266700" y="31433"/>
                  </a:moveTo>
                  <a:cubicBezTo>
                    <a:pt x="266700" y="48578"/>
                    <a:pt x="280988" y="62865"/>
                    <a:pt x="298133" y="62865"/>
                  </a:cubicBezTo>
                  <a:cubicBezTo>
                    <a:pt x="315278" y="62865"/>
                    <a:pt x="329565" y="48578"/>
                    <a:pt x="329565" y="31433"/>
                  </a:cubicBezTo>
                  <a:cubicBezTo>
                    <a:pt x="329565" y="14288"/>
                    <a:pt x="315278" y="0"/>
                    <a:pt x="298133" y="0"/>
                  </a:cubicBezTo>
                  <a:cubicBezTo>
                    <a:pt x="280988" y="0"/>
                    <a:pt x="266700" y="14288"/>
                    <a:pt x="266700" y="31433"/>
                  </a:cubicBezTo>
                  <a:close/>
                  <a:moveTo>
                    <a:pt x="253365" y="450533"/>
                  </a:moveTo>
                  <a:cubicBezTo>
                    <a:pt x="253365" y="475298"/>
                    <a:pt x="273368" y="494348"/>
                    <a:pt x="297180" y="494348"/>
                  </a:cubicBezTo>
                  <a:cubicBezTo>
                    <a:pt x="320993" y="494348"/>
                    <a:pt x="340995" y="474345"/>
                    <a:pt x="340995" y="450533"/>
                  </a:cubicBezTo>
                  <a:cubicBezTo>
                    <a:pt x="340995" y="426720"/>
                    <a:pt x="320993" y="406718"/>
                    <a:pt x="297180" y="406718"/>
                  </a:cubicBezTo>
                  <a:cubicBezTo>
                    <a:pt x="273368" y="406718"/>
                    <a:pt x="253365" y="426720"/>
                    <a:pt x="253365" y="450533"/>
                  </a:cubicBezTo>
                  <a:close/>
                  <a:moveTo>
                    <a:pt x="220028" y="1080135"/>
                  </a:moveTo>
                  <a:cubicBezTo>
                    <a:pt x="220028" y="1122998"/>
                    <a:pt x="255270" y="1158240"/>
                    <a:pt x="298133" y="1158240"/>
                  </a:cubicBezTo>
                  <a:cubicBezTo>
                    <a:pt x="340995" y="1158240"/>
                    <a:pt x="376238" y="1122998"/>
                    <a:pt x="376238" y="1080135"/>
                  </a:cubicBezTo>
                  <a:cubicBezTo>
                    <a:pt x="376238" y="1037273"/>
                    <a:pt x="340995" y="1002030"/>
                    <a:pt x="298133" y="1002030"/>
                  </a:cubicBezTo>
                  <a:cubicBezTo>
                    <a:pt x="255270" y="1002030"/>
                    <a:pt x="220028" y="1036320"/>
                    <a:pt x="220028" y="1080135"/>
                  </a:cubicBezTo>
                  <a:close/>
                  <a:moveTo>
                    <a:pt x="473393" y="2159318"/>
                  </a:moveTo>
                  <a:cubicBezTo>
                    <a:pt x="473393" y="2184083"/>
                    <a:pt x="493395" y="2203133"/>
                    <a:pt x="517208" y="2203133"/>
                  </a:cubicBezTo>
                  <a:cubicBezTo>
                    <a:pt x="541973" y="2203133"/>
                    <a:pt x="561023" y="2183130"/>
                    <a:pt x="561023" y="2159318"/>
                  </a:cubicBezTo>
                  <a:cubicBezTo>
                    <a:pt x="561023" y="2135505"/>
                    <a:pt x="541020" y="2115503"/>
                    <a:pt x="517208" y="2115503"/>
                  </a:cubicBezTo>
                  <a:cubicBezTo>
                    <a:pt x="493395" y="2115503"/>
                    <a:pt x="473393" y="2135505"/>
                    <a:pt x="473393" y="2159318"/>
                  </a:cubicBezTo>
                  <a:close/>
                  <a:moveTo>
                    <a:pt x="464820" y="1946910"/>
                  </a:moveTo>
                  <a:cubicBezTo>
                    <a:pt x="464820" y="1976438"/>
                    <a:pt x="488633" y="2000250"/>
                    <a:pt x="518160" y="2000250"/>
                  </a:cubicBezTo>
                  <a:cubicBezTo>
                    <a:pt x="547688" y="2000250"/>
                    <a:pt x="571500" y="1976438"/>
                    <a:pt x="571500" y="1946910"/>
                  </a:cubicBezTo>
                  <a:cubicBezTo>
                    <a:pt x="571500" y="1917383"/>
                    <a:pt x="547688" y="1893570"/>
                    <a:pt x="518160" y="1893570"/>
                  </a:cubicBezTo>
                  <a:cubicBezTo>
                    <a:pt x="488633" y="1893570"/>
                    <a:pt x="464820" y="1917383"/>
                    <a:pt x="464820" y="1946910"/>
                  </a:cubicBezTo>
                  <a:close/>
                  <a:moveTo>
                    <a:pt x="456248" y="1309688"/>
                  </a:moveTo>
                  <a:cubicBezTo>
                    <a:pt x="456248" y="1343978"/>
                    <a:pt x="483870" y="1371600"/>
                    <a:pt x="518160" y="1371600"/>
                  </a:cubicBezTo>
                  <a:cubicBezTo>
                    <a:pt x="552450" y="1371600"/>
                    <a:pt x="580073" y="1343978"/>
                    <a:pt x="580073" y="1309688"/>
                  </a:cubicBezTo>
                  <a:cubicBezTo>
                    <a:pt x="580073" y="1275398"/>
                    <a:pt x="552450" y="1247775"/>
                    <a:pt x="518160" y="1247775"/>
                  </a:cubicBezTo>
                  <a:cubicBezTo>
                    <a:pt x="483870" y="1247775"/>
                    <a:pt x="456248" y="1275398"/>
                    <a:pt x="456248" y="1309688"/>
                  </a:cubicBezTo>
                  <a:close/>
                  <a:moveTo>
                    <a:pt x="473393" y="883920"/>
                  </a:moveTo>
                  <a:cubicBezTo>
                    <a:pt x="473393" y="908685"/>
                    <a:pt x="493395" y="927735"/>
                    <a:pt x="517208" y="927735"/>
                  </a:cubicBezTo>
                  <a:cubicBezTo>
                    <a:pt x="541973" y="927735"/>
                    <a:pt x="561023" y="907733"/>
                    <a:pt x="561023" y="883920"/>
                  </a:cubicBezTo>
                  <a:cubicBezTo>
                    <a:pt x="561023" y="859155"/>
                    <a:pt x="541020" y="840105"/>
                    <a:pt x="517208" y="840105"/>
                  </a:cubicBezTo>
                  <a:cubicBezTo>
                    <a:pt x="493395" y="840105"/>
                    <a:pt x="473393" y="859155"/>
                    <a:pt x="473393" y="883920"/>
                  </a:cubicBezTo>
                  <a:close/>
                  <a:moveTo>
                    <a:pt x="481965" y="671513"/>
                  </a:moveTo>
                  <a:cubicBezTo>
                    <a:pt x="481965" y="690563"/>
                    <a:pt x="498158" y="706755"/>
                    <a:pt x="517208" y="706755"/>
                  </a:cubicBezTo>
                  <a:cubicBezTo>
                    <a:pt x="536258" y="706755"/>
                    <a:pt x="552450" y="690563"/>
                    <a:pt x="552450" y="671513"/>
                  </a:cubicBezTo>
                  <a:cubicBezTo>
                    <a:pt x="552450" y="652463"/>
                    <a:pt x="536258" y="636270"/>
                    <a:pt x="517208" y="636270"/>
                  </a:cubicBezTo>
                  <a:cubicBezTo>
                    <a:pt x="498158" y="636270"/>
                    <a:pt x="481965" y="651510"/>
                    <a:pt x="481965" y="671513"/>
                  </a:cubicBezTo>
                  <a:close/>
                  <a:moveTo>
                    <a:pt x="456248" y="1734503"/>
                  </a:moveTo>
                  <a:cubicBezTo>
                    <a:pt x="456248" y="1768793"/>
                    <a:pt x="483870" y="1796415"/>
                    <a:pt x="518160" y="1796415"/>
                  </a:cubicBezTo>
                  <a:cubicBezTo>
                    <a:pt x="552450" y="1796415"/>
                    <a:pt x="580073" y="1768793"/>
                    <a:pt x="580073" y="1734503"/>
                  </a:cubicBezTo>
                  <a:cubicBezTo>
                    <a:pt x="580073" y="1700213"/>
                    <a:pt x="552450" y="1672590"/>
                    <a:pt x="518160" y="1672590"/>
                  </a:cubicBezTo>
                  <a:cubicBezTo>
                    <a:pt x="483870" y="1672590"/>
                    <a:pt x="456248" y="1700213"/>
                    <a:pt x="456248" y="1734503"/>
                  </a:cubicBezTo>
                  <a:close/>
                  <a:moveTo>
                    <a:pt x="464820" y="1096328"/>
                  </a:moveTo>
                  <a:cubicBezTo>
                    <a:pt x="464820" y="1125855"/>
                    <a:pt x="488633" y="1149668"/>
                    <a:pt x="518160" y="1149668"/>
                  </a:cubicBezTo>
                  <a:cubicBezTo>
                    <a:pt x="547688" y="1149668"/>
                    <a:pt x="571500" y="1125855"/>
                    <a:pt x="571500" y="1096328"/>
                  </a:cubicBezTo>
                  <a:cubicBezTo>
                    <a:pt x="571500" y="1066800"/>
                    <a:pt x="547688" y="1042988"/>
                    <a:pt x="518160" y="1042988"/>
                  </a:cubicBezTo>
                  <a:cubicBezTo>
                    <a:pt x="488633" y="1042988"/>
                    <a:pt x="464820" y="1067753"/>
                    <a:pt x="464820" y="1096328"/>
                  </a:cubicBezTo>
                  <a:close/>
                  <a:moveTo>
                    <a:pt x="486728" y="246698"/>
                  </a:moveTo>
                  <a:cubicBezTo>
                    <a:pt x="486728" y="263843"/>
                    <a:pt x="501015" y="278130"/>
                    <a:pt x="518160" y="278130"/>
                  </a:cubicBezTo>
                  <a:cubicBezTo>
                    <a:pt x="535305" y="278130"/>
                    <a:pt x="549593" y="263843"/>
                    <a:pt x="549593" y="246698"/>
                  </a:cubicBezTo>
                  <a:cubicBezTo>
                    <a:pt x="549593" y="229553"/>
                    <a:pt x="535305" y="215265"/>
                    <a:pt x="518160" y="215265"/>
                  </a:cubicBezTo>
                  <a:cubicBezTo>
                    <a:pt x="500063" y="215265"/>
                    <a:pt x="486728" y="228600"/>
                    <a:pt x="486728" y="246698"/>
                  </a:cubicBezTo>
                  <a:close/>
                  <a:moveTo>
                    <a:pt x="486728" y="33338"/>
                  </a:moveTo>
                  <a:cubicBezTo>
                    <a:pt x="486728" y="50483"/>
                    <a:pt x="501015" y="64770"/>
                    <a:pt x="518160" y="64770"/>
                  </a:cubicBezTo>
                  <a:cubicBezTo>
                    <a:pt x="535305" y="64770"/>
                    <a:pt x="549593" y="50483"/>
                    <a:pt x="549593" y="33338"/>
                  </a:cubicBezTo>
                  <a:cubicBezTo>
                    <a:pt x="549593" y="16193"/>
                    <a:pt x="535305" y="1905"/>
                    <a:pt x="518160" y="1905"/>
                  </a:cubicBezTo>
                  <a:cubicBezTo>
                    <a:pt x="500063" y="2858"/>
                    <a:pt x="486728" y="16193"/>
                    <a:pt x="486728" y="33338"/>
                  </a:cubicBezTo>
                  <a:close/>
                  <a:moveTo>
                    <a:pt x="486728" y="459105"/>
                  </a:moveTo>
                  <a:cubicBezTo>
                    <a:pt x="486728" y="476250"/>
                    <a:pt x="501015" y="490538"/>
                    <a:pt x="518160" y="490538"/>
                  </a:cubicBezTo>
                  <a:cubicBezTo>
                    <a:pt x="535305" y="490538"/>
                    <a:pt x="549593" y="476250"/>
                    <a:pt x="549593" y="459105"/>
                  </a:cubicBezTo>
                  <a:cubicBezTo>
                    <a:pt x="549593" y="441960"/>
                    <a:pt x="535305" y="427673"/>
                    <a:pt x="518160" y="427673"/>
                  </a:cubicBezTo>
                  <a:cubicBezTo>
                    <a:pt x="500063" y="427673"/>
                    <a:pt x="486728" y="441960"/>
                    <a:pt x="486728" y="459105"/>
                  </a:cubicBezTo>
                  <a:close/>
                  <a:moveTo>
                    <a:pt x="440055" y="1522095"/>
                  </a:moveTo>
                  <a:cubicBezTo>
                    <a:pt x="440055" y="1564958"/>
                    <a:pt x="475298" y="1600200"/>
                    <a:pt x="518160" y="1600200"/>
                  </a:cubicBezTo>
                  <a:cubicBezTo>
                    <a:pt x="561023" y="1600200"/>
                    <a:pt x="596265" y="1564958"/>
                    <a:pt x="596265" y="1522095"/>
                  </a:cubicBezTo>
                  <a:cubicBezTo>
                    <a:pt x="596265" y="1479233"/>
                    <a:pt x="561023" y="1443990"/>
                    <a:pt x="518160" y="1443990"/>
                  </a:cubicBezTo>
                  <a:cubicBezTo>
                    <a:pt x="475298" y="1443990"/>
                    <a:pt x="440055" y="1478280"/>
                    <a:pt x="440055" y="1522095"/>
                  </a:cubicBezTo>
                  <a:close/>
                  <a:moveTo>
                    <a:pt x="659130" y="1128713"/>
                  </a:moveTo>
                  <a:cubicBezTo>
                    <a:pt x="659130" y="1171575"/>
                    <a:pt x="694373" y="1206818"/>
                    <a:pt x="737235" y="1206818"/>
                  </a:cubicBezTo>
                  <a:cubicBezTo>
                    <a:pt x="780098" y="1206818"/>
                    <a:pt x="815340" y="1171575"/>
                    <a:pt x="815340" y="1128713"/>
                  </a:cubicBezTo>
                  <a:cubicBezTo>
                    <a:pt x="815340" y="1085850"/>
                    <a:pt x="780098" y="1050608"/>
                    <a:pt x="737235" y="1050608"/>
                  </a:cubicBezTo>
                  <a:cubicBezTo>
                    <a:pt x="694373" y="1050608"/>
                    <a:pt x="659130" y="1085850"/>
                    <a:pt x="659130" y="1128713"/>
                  </a:cubicBezTo>
                  <a:close/>
                  <a:moveTo>
                    <a:pt x="701993" y="2162175"/>
                  </a:moveTo>
                  <a:cubicBezTo>
                    <a:pt x="703898" y="2181225"/>
                    <a:pt x="721043" y="2196465"/>
                    <a:pt x="740093" y="2194560"/>
                  </a:cubicBezTo>
                  <a:cubicBezTo>
                    <a:pt x="759143" y="2192655"/>
                    <a:pt x="774383" y="2175510"/>
                    <a:pt x="772478" y="2156460"/>
                  </a:cubicBezTo>
                  <a:cubicBezTo>
                    <a:pt x="770573" y="2137410"/>
                    <a:pt x="753428" y="2122170"/>
                    <a:pt x="734378" y="2124075"/>
                  </a:cubicBezTo>
                  <a:cubicBezTo>
                    <a:pt x="715328" y="2125980"/>
                    <a:pt x="701040" y="2143125"/>
                    <a:pt x="701993" y="2162175"/>
                  </a:cubicBezTo>
                  <a:close/>
                  <a:moveTo>
                    <a:pt x="693420" y="1953578"/>
                  </a:moveTo>
                  <a:cubicBezTo>
                    <a:pt x="693420" y="1978343"/>
                    <a:pt x="713423" y="1997393"/>
                    <a:pt x="737235" y="1997393"/>
                  </a:cubicBezTo>
                  <a:cubicBezTo>
                    <a:pt x="761048" y="1997393"/>
                    <a:pt x="781050" y="1977390"/>
                    <a:pt x="781050" y="1953578"/>
                  </a:cubicBezTo>
                  <a:cubicBezTo>
                    <a:pt x="781050" y="1929765"/>
                    <a:pt x="761048" y="1909763"/>
                    <a:pt x="737235" y="1909763"/>
                  </a:cubicBezTo>
                  <a:cubicBezTo>
                    <a:pt x="713423" y="1909763"/>
                    <a:pt x="693420" y="1928813"/>
                    <a:pt x="693420" y="1953578"/>
                  </a:cubicBezTo>
                  <a:close/>
                  <a:moveTo>
                    <a:pt x="675323" y="1541145"/>
                  </a:moveTo>
                  <a:cubicBezTo>
                    <a:pt x="675323" y="1575435"/>
                    <a:pt x="702945" y="1603058"/>
                    <a:pt x="737235" y="1603058"/>
                  </a:cubicBezTo>
                  <a:cubicBezTo>
                    <a:pt x="771525" y="1603058"/>
                    <a:pt x="799148" y="1575435"/>
                    <a:pt x="799148" y="1541145"/>
                  </a:cubicBezTo>
                  <a:cubicBezTo>
                    <a:pt x="799148" y="1506855"/>
                    <a:pt x="771525" y="1479233"/>
                    <a:pt x="737235" y="1479233"/>
                  </a:cubicBezTo>
                  <a:cubicBezTo>
                    <a:pt x="702945" y="1479233"/>
                    <a:pt x="675323" y="1506855"/>
                    <a:pt x="675323" y="1541145"/>
                  </a:cubicBezTo>
                  <a:close/>
                  <a:moveTo>
                    <a:pt x="684848" y="716280"/>
                  </a:moveTo>
                  <a:cubicBezTo>
                    <a:pt x="684848" y="745808"/>
                    <a:pt x="708660" y="769620"/>
                    <a:pt x="738188" y="769620"/>
                  </a:cubicBezTo>
                  <a:cubicBezTo>
                    <a:pt x="767715" y="769620"/>
                    <a:pt x="791528" y="745808"/>
                    <a:pt x="791528" y="716280"/>
                  </a:cubicBezTo>
                  <a:cubicBezTo>
                    <a:pt x="791528" y="686753"/>
                    <a:pt x="767715" y="662940"/>
                    <a:pt x="738188" y="662940"/>
                  </a:cubicBezTo>
                  <a:cubicBezTo>
                    <a:pt x="708660" y="663893"/>
                    <a:pt x="684848" y="687705"/>
                    <a:pt x="684848" y="716280"/>
                  </a:cubicBezTo>
                  <a:close/>
                  <a:moveTo>
                    <a:pt x="693420" y="510540"/>
                  </a:moveTo>
                  <a:cubicBezTo>
                    <a:pt x="693420" y="535305"/>
                    <a:pt x="713423" y="554355"/>
                    <a:pt x="737235" y="554355"/>
                  </a:cubicBezTo>
                  <a:cubicBezTo>
                    <a:pt x="761048" y="554355"/>
                    <a:pt x="781050" y="534353"/>
                    <a:pt x="781050" y="510540"/>
                  </a:cubicBezTo>
                  <a:cubicBezTo>
                    <a:pt x="781050" y="485775"/>
                    <a:pt x="761048" y="466725"/>
                    <a:pt x="737235" y="466725"/>
                  </a:cubicBezTo>
                  <a:cubicBezTo>
                    <a:pt x="713423" y="466725"/>
                    <a:pt x="693420" y="485775"/>
                    <a:pt x="693420" y="510540"/>
                  </a:cubicBezTo>
                  <a:close/>
                  <a:moveTo>
                    <a:pt x="684848" y="1746885"/>
                  </a:moveTo>
                  <a:cubicBezTo>
                    <a:pt x="684848" y="1776413"/>
                    <a:pt x="708660" y="1800225"/>
                    <a:pt x="738188" y="1800225"/>
                  </a:cubicBezTo>
                  <a:cubicBezTo>
                    <a:pt x="767715" y="1800225"/>
                    <a:pt x="791528" y="1776413"/>
                    <a:pt x="791528" y="1746885"/>
                  </a:cubicBezTo>
                  <a:cubicBezTo>
                    <a:pt x="791528" y="1717358"/>
                    <a:pt x="767715" y="1693545"/>
                    <a:pt x="738188" y="1693545"/>
                  </a:cubicBezTo>
                  <a:cubicBezTo>
                    <a:pt x="708660" y="1694498"/>
                    <a:pt x="684848" y="1718310"/>
                    <a:pt x="684848" y="1746885"/>
                  </a:cubicBezTo>
                  <a:close/>
                  <a:moveTo>
                    <a:pt x="675323" y="922973"/>
                  </a:moveTo>
                  <a:cubicBezTo>
                    <a:pt x="675323" y="957263"/>
                    <a:pt x="702945" y="984885"/>
                    <a:pt x="737235" y="984885"/>
                  </a:cubicBezTo>
                  <a:cubicBezTo>
                    <a:pt x="771525" y="984885"/>
                    <a:pt x="799148" y="957263"/>
                    <a:pt x="799148" y="922973"/>
                  </a:cubicBezTo>
                  <a:cubicBezTo>
                    <a:pt x="799148" y="888683"/>
                    <a:pt x="771525" y="861060"/>
                    <a:pt x="737235" y="861060"/>
                  </a:cubicBezTo>
                  <a:cubicBezTo>
                    <a:pt x="702945" y="861060"/>
                    <a:pt x="675323" y="888683"/>
                    <a:pt x="675323" y="922973"/>
                  </a:cubicBezTo>
                  <a:close/>
                  <a:moveTo>
                    <a:pt x="706755" y="98108"/>
                  </a:moveTo>
                  <a:cubicBezTo>
                    <a:pt x="706755" y="115253"/>
                    <a:pt x="721043" y="129540"/>
                    <a:pt x="738188" y="129540"/>
                  </a:cubicBezTo>
                  <a:cubicBezTo>
                    <a:pt x="755333" y="129540"/>
                    <a:pt x="769620" y="115253"/>
                    <a:pt x="769620" y="98108"/>
                  </a:cubicBezTo>
                  <a:cubicBezTo>
                    <a:pt x="769620" y="80963"/>
                    <a:pt x="754380" y="66675"/>
                    <a:pt x="737235" y="66675"/>
                  </a:cubicBezTo>
                  <a:cubicBezTo>
                    <a:pt x="720090" y="66675"/>
                    <a:pt x="706755" y="80963"/>
                    <a:pt x="706755" y="98108"/>
                  </a:cubicBezTo>
                  <a:close/>
                  <a:moveTo>
                    <a:pt x="701993" y="303848"/>
                  </a:moveTo>
                  <a:cubicBezTo>
                    <a:pt x="701993" y="322898"/>
                    <a:pt x="718185" y="339090"/>
                    <a:pt x="737235" y="339090"/>
                  </a:cubicBezTo>
                  <a:cubicBezTo>
                    <a:pt x="756285" y="339090"/>
                    <a:pt x="772478" y="322898"/>
                    <a:pt x="772478" y="303848"/>
                  </a:cubicBezTo>
                  <a:cubicBezTo>
                    <a:pt x="772478" y="284798"/>
                    <a:pt x="756285" y="268605"/>
                    <a:pt x="737235" y="268605"/>
                  </a:cubicBezTo>
                  <a:cubicBezTo>
                    <a:pt x="718185" y="268605"/>
                    <a:pt x="701993" y="284798"/>
                    <a:pt x="701993" y="303848"/>
                  </a:cubicBezTo>
                  <a:close/>
                  <a:moveTo>
                    <a:pt x="659130" y="1335405"/>
                  </a:moveTo>
                  <a:cubicBezTo>
                    <a:pt x="659130" y="1378268"/>
                    <a:pt x="694373" y="1413510"/>
                    <a:pt x="737235" y="1413510"/>
                  </a:cubicBezTo>
                  <a:cubicBezTo>
                    <a:pt x="780098" y="1413510"/>
                    <a:pt x="815340" y="1378268"/>
                    <a:pt x="815340" y="1335405"/>
                  </a:cubicBezTo>
                  <a:cubicBezTo>
                    <a:pt x="815340" y="1292543"/>
                    <a:pt x="781050" y="1257300"/>
                    <a:pt x="737235" y="1257300"/>
                  </a:cubicBezTo>
                  <a:cubicBezTo>
                    <a:pt x="693420" y="1257300"/>
                    <a:pt x="659130" y="1291590"/>
                    <a:pt x="659130" y="1335405"/>
                  </a:cubicBezTo>
                  <a:close/>
                  <a:moveTo>
                    <a:pt x="925830" y="2159318"/>
                  </a:moveTo>
                  <a:cubicBezTo>
                    <a:pt x="925830" y="2176463"/>
                    <a:pt x="940118" y="2190750"/>
                    <a:pt x="957263" y="2190750"/>
                  </a:cubicBezTo>
                  <a:cubicBezTo>
                    <a:pt x="974408" y="2190750"/>
                    <a:pt x="988695" y="2176463"/>
                    <a:pt x="988695" y="2159318"/>
                  </a:cubicBezTo>
                  <a:cubicBezTo>
                    <a:pt x="988695" y="2142173"/>
                    <a:pt x="974408" y="2127885"/>
                    <a:pt x="957263" y="2127885"/>
                  </a:cubicBezTo>
                  <a:cubicBezTo>
                    <a:pt x="940118" y="2127885"/>
                    <a:pt x="925830" y="2142173"/>
                    <a:pt x="925830" y="2159318"/>
                  </a:cubicBezTo>
                  <a:close/>
                  <a:moveTo>
                    <a:pt x="922020" y="1918335"/>
                  </a:moveTo>
                  <a:cubicBezTo>
                    <a:pt x="922020" y="1937385"/>
                    <a:pt x="938213" y="1953578"/>
                    <a:pt x="957263" y="1953578"/>
                  </a:cubicBezTo>
                  <a:cubicBezTo>
                    <a:pt x="976313" y="1953578"/>
                    <a:pt x="992505" y="1937385"/>
                    <a:pt x="992505" y="1918335"/>
                  </a:cubicBezTo>
                  <a:cubicBezTo>
                    <a:pt x="992505" y="1899285"/>
                    <a:pt x="976313" y="1883093"/>
                    <a:pt x="957263" y="1883093"/>
                  </a:cubicBezTo>
                  <a:cubicBezTo>
                    <a:pt x="938213" y="1883093"/>
                    <a:pt x="922020" y="1899285"/>
                    <a:pt x="922020" y="1918335"/>
                  </a:cubicBezTo>
                  <a:close/>
                  <a:moveTo>
                    <a:pt x="895350" y="1289685"/>
                  </a:moveTo>
                  <a:cubicBezTo>
                    <a:pt x="895350" y="1323975"/>
                    <a:pt x="922973" y="1351598"/>
                    <a:pt x="957263" y="1351598"/>
                  </a:cubicBezTo>
                  <a:cubicBezTo>
                    <a:pt x="991553" y="1351598"/>
                    <a:pt x="1019175" y="1323975"/>
                    <a:pt x="1019175" y="1289685"/>
                  </a:cubicBezTo>
                  <a:cubicBezTo>
                    <a:pt x="1019175" y="1255395"/>
                    <a:pt x="991553" y="1227773"/>
                    <a:pt x="957263" y="1227773"/>
                  </a:cubicBezTo>
                  <a:cubicBezTo>
                    <a:pt x="922973" y="1227773"/>
                    <a:pt x="895350" y="1255395"/>
                    <a:pt x="895350" y="1289685"/>
                  </a:cubicBezTo>
                  <a:close/>
                  <a:moveTo>
                    <a:pt x="895350" y="869633"/>
                  </a:moveTo>
                  <a:cubicBezTo>
                    <a:pt x="895350" y="903923"/>
                    <a:pt x="922973" y="931545"/>
                    <a:pt x="957263" y="931545"/>
                  </a:cubicBezTo>
                  <a:cubicBezTo>
                    <a:pt x="991553" y="931545"/>
                    <a:pt x="1019175" y="903923"/>
                    <a:pt x="1019175" y="869633"/>
                  </a:cubicBezTo>
                  <a:cubicBezTo>
                    <a:pt x="1019175" y="835343"/>
                    <a:pt x="991553" y="807720"/>
                    <a:pt x="957263" y="807720"/>
                  </a:cubicBezTo>
                  <a:cubicBezTo>
                    <a:pt x="922973" y="808673"/>
                    <a:pt x="895350" y="836295"/>
                    <a:pt x="895350" y="869633"/>
                  </a:cubicBezTo>
                  <a:close/>
                  <a:moveTo>
                    <a:pt x="903923" y="660083"/>
                  </a:moveTo>
                  <a:cubicBezTo>
                    <a:pt x="903923" y="689610"/>
                    <a:pt x="927735" y="713423"/>
                    <a:pt x="957263" y="713423"/>
                  </a:cubicBezTo>
                  <a:cubicBezTo>
                    <a:pt x="986790" y="713423"/>
                    <a:pt x="1010603" y="689610"/>
                    <a:pt x="1010603" y="660083"/>
                  </a:cubicBezTo>
                  <a:cubicBezTo>
                    <a:pt x="1010603" y="630555"/>
                    <a:pt x="986790" y="606743"/>
                    <a:pt x="957263" y="606743"/>
                  </a:cubicBezTo>
                  <a:cubicBezTo>
                    <a:pt x="927735" y="607695"/>
                    <a:pt x="903923" y="631508"/>
                    <a:pt x="903923" y="660083"/>
                  </a:cubicBezTo>
                  <a:close/>
                  <a:moveTo>
                    <a:pt x="913448" y="1708785"/>
                  </a:moveTo>
                  <a:cubicBezTo>
                    <a:pt x="913448" y="1733550"/>
                    <a:pt x="933450" y="1752600"/>
                    <a:pt x="957263" y="1752600"/>
                  </a:cubicBezTo>
                  <a:cubicBezTo>
                    <a:pt x="982028" y="1752600"/>
                    <a:pt x="1001078" y="1732598"/>
                    <a:pt x="1001078" y="1708785"/>
                  </a:cubicBezTo>
                  <a:cubicBezTo>
                    <a:pt x="1001078" y="1684020"/>
                    <a:pt x="981075" y="1664970"/>
                    <a:pt x="957263" y="1664970"/>
                  </a:cubicBezTo>
                  <a:cubicBezTo>
                    <a:pt x="933450" y="1664970"/>
                    <a:pt x="913448" y="1684973"/>
                    <a:pt x="913448" y="1708785"/>
                  </a:cubicBezTo>
                  <a:close/>
                  <a:moveTo>
                    <a:pt x="903923" y="1499235"/>
                  </a:moveTo>
                  <a:cubicBezTo>
                    <a:pt x="903923" y="1528763"/>
                    <a:pt x="927735" y="1552575"/>
                    <a:pt x="957263" y="1552575"/>
                  </a:cubicBezTo>
                  <a:cubicBezTo>
                    <a:pt x="986790" y="1552575"/>
                    <a:pt x="1010603" y="1528763"/>
                    <a:pt x="1010603" y="1499235"/>
                  </a:cubicBezTo>
                  <a:cubicBezTo>
                    <a:pt x="1010603" y="1469708"/>
                    <a:pt x="986790" y="1445895"/>
                    <a:pt x="957263" y="1445895"/>
                  </a:cubicBezTo>
                  <a:cubicBezTo>
                    <a:pt x="927735" y="1445895"/>
                    <a:pt x="903923" y="1469708"/>
                    <a:pt x="903923" y="1499235"/>
                  </a:cubicBezTo>
                  <a:close/>
                  <a:moveTo>
                    <a:pt x="922020" y="240983"/>
                  </a:moveTo>
                  <a:cubicBezTo>
                    <a:pt x="922020" y="260033"/>
                    <a:pt x="938213" y="276225"/>
                    <a:pt x="957263" y="276225"/>
                  </a:cubicBezTo>
                  <a:cubicBezTo>
                    <a:pt x="976313" y="276225"/>
                    <a:pt x="992505" y="260033"/>
                    <a:pt x="992505" y="240983"/>
                  </a:cubicBezTo>
                  <a:cubicBezTo>
                    <a:pt x="992505" y="221933"/>
                    <a:pt x="976313" y="205740"/>
                    <a:pt x="957263" y="205740"/>
                  </a:cubicBezTo>
                  <a:cubicBezTo>
                    <a:pt x="938213" y="205740"/>
                    <a:pt x="922020" y="220980"/>
                    <a:pt x="922020" y="240983"/>
                  </a:cubicBezTo>
                  <a:close/>
                  <a:moveTo>
                    <a:pt x="925830" y="31433"/>
                  </a:moveTo>
                  <a:cubicBezTo>
                    <a:pt x="925830" y="48578"/>
                    <a:pt x="940118" y="62865"/>
                    <a:pt x="957263" y="62865"/>
                  </a:cubicBezTo>
                  <a:cubicBezTo>
                    <a:pt x="974408" y="62865"/>
                    <a:pt x="988695" y="48578"/>
                    <a:pt x="988695" y="31433"/>
                  </a:cubicBezTo>
                  <a:cubicBezTo>
                    <a:pt x="988695" y="14288"/>
                    <a:pt x="974408" y="0"/>
                    <a:pt x="957263" y="0"/>
                  </a:cubicBezTo>
                  <a:cubicBezTo>
                    <a:pt x="940118" y="0"/>
                    <a:pt x="925830" y="14288"/>
                    <a:pt x="925830" y="31433"/>
                  </a:cubicBezTo>
                  <a:close/>
                  <a:moveTo>
                    <a:pt x="913448" y="450533"/>
                  </a:moveTo>
                  <a:cubicBezTo>
                    <a:pt x="913448" y="475298"/>
                    <a:pt x="933450" y="494348"/>
                    <a:pt x="957263" y="494348"/>
                  </a:cubicBezTo>
                  <a:cubicBezTo>
                    <a:pt x="982028" y="494348"/>
                    <a:pt x="1001078" y="474345"/>
                    <a:pt x="1001078" y="450533"/>
                  </a:cubicBezTo>
                  <a:cubicBezTo>
                    <a:pt x="1001078" y="426720"/>
                    <a:pt x="981075" y="406718"/>
                    <a:pt x="957263" y="406718"/>
                  </a:cubicBezTo>
                  <a:cubicBezTo>
                    <a:pt x="933450" y="406718"/>
                    <a:pt x="913448" y="426720"/>
                    <a:pt x="913448" y="450533"/>
                  </a:cubicBezTo>
                  <a:close/>
                  <a:moveTo>
                    <a:pt x="879158" y="1080135"/>
                  </a:moveTo>
                  <a:cubicBezTo>
                    <a:pt x="879158" y="1122998"/>
                    <a:pt x="914400" y="1158240"/>
                    <a:pt x="957263" y="1158240"/>
                  </a:cubicBezTo>
                  <a:cubicBezTo>
                    <a:pt x="1000125" y="1158240"/>
                    <a:pt x="1035368" y="1122998"/>
                    <a:pt x="1035368" y="1080135"/>
                  </a:cubicBezTo>
                  <a:cubicBezTo>
                    <a:pt x="1035368" y="1037273"/>
                    <a:pt x="1000125" y="1002030"/>
                    <a:pt x="957263" y="1002030"/>
                  </a:cubicBezTo>
                  <a:cubicBezTo>
                    <a:pt x="914400" y="1002030"/>
                    <a:pt x="879158" y="1036320"/>
                    <a:pt x="879158" y="1080135"/>
                  </a:cubicBezTo>
                  <a:close/>
                  <a:moveTo>
                    <a:pt x="244793" y="6789420"/>
                  </a:moveTo>
                  <a:cubicBezTo>
                    <a:pt x="244793" y="6818948"/>
                    <a:pt x="268605" y="6842760"/>
                    <a:pt x="298133" y="6842760"/>
                  </a:cubicBezTo>
                  <a:cubicBezTo>
                    <a:pt x="327660" y="6842760"/>
                    <a:pt x="351473" y="6818948"/>
                    <a:pt x="351473" y="6789420"/>
                  </a:cubicBezTo>
                  <a:cubicBezTo>
                    <a:pt x="351473" y="6759893"/>
                    <a:pt x="327660" y="6736080"/>
                    <a:pt x="298133" y="6736080"/>
                  </a:cubicBezTo>
                  <a:cubicBezTo>
                    <a:pt x="268605" y="6736080"/>
                    <a:pt x="244793" y="6759893"/>
                    <a:pt x="244793" y="6789420"/>
                  </a:cubicBezTo>
                  <a:close/>
                  <a:moveTo>
                    <a:pt x="236220" y="6548438"/>
                  </a:moveTo>
                  <a:cubicBezTo>
                    <a:pt x="236220" y="6582728"/>
                    <a:pt x="263843" y="6610350"/>
                    <a:pt x="298133" y="6610350"/>
                  </a:cubicBezTo>
                  <a:cubicBezTo>
                    <a:pt x="332423" y="6610350"/>
                    <a:pt x="360045" y="6582728"/>
                    <a:pt x="360045" y="6548438"/>
                  </a:cubicBezTo>
                  <a:cubicBezTo>
                    <a:pt x="360045" y="6514148"/>
                    <a:pt x="332423" y="6486525"/>
                    <a:pt x="298133" y="6486525"/>
                  </a:cubicBezTo>
                  <a:cubicBezTo>
                    <a:pt x="263843" y="6486525"/>
                    <a:pt x="236220" y="6514148"/>
                    <a:pt x="236220" y="6548438"/>
                  </a:cubicBezTo>
                  <a:close/>
                  <a:moveTo>
                    <a:pt x="244793" y="5918835"/>
                  </a:moveTo>
                  <a:cubicBezTo>
                    <a:pt x="244793" y="5948363"/>
                    <a:pt x="268605" y="5972175"/>
                    <a:pt x="298133" y="5972175"/>
                  </a:cubicBezTo>
                  <a:cubicBezTo>
                    <a:pt x="327660" y="5972175"/>
                    <a:pt x="351473" y="5948363"/>
                    <a:pt x="351473" y="5918835"/>
                  </a:cubicBezTo>
                  <a:cubicBezTo>
                    <a:pt x="351473" y="5889308"/>
                    <a:pt x="327660" y="5865495"/>
                    <a:pt x="298133" y="5865495"/>
                  </a:cubicBezTo>
                  <a:cubicBezTo>
                    <a:pt x="268605" y="5865495"/>
                    <a:pt x="244793" y="5890260"/>
                    <a:pt x="244793" y="5918835"/>
                  </a:cubicBezTo>
                  <a:close/>
                  <a:moveTo>
                    <a:pt x="262890" y="5499735"/>
                  </a:moveTo>
                  <a:cubicBezTo>
                    <a:pt x="262890" y="5518785"/>
                    <a:pt x="279083" y="5534978"/>
                    <a:pt x="298133" y="5534978"/>
                  </a:cubicBezTo>
                  <a:cubicBezTo>
                    <a:pt x="317183" y="5534978"/>
                    <a:pt x="333375" y="5518785"/>
                    <a:pt x="333375" y="5499735"/>
                  </a:cubicBezTo>
                  <a:cubicBezTo>
                    <a:pt x="333375" y="5480685"/>
                    <a:pt x="317183" y="5464493"/>
                    <a:pt x="298133" y="5464493"/>
                  </a:cubicBezTo>
                  <a:cubicBezTo>
                    <a:pt x="279083" y="5464493"/>
                    <a:pt x="262890" y="5480685"/>
                    <a:pt x="262890" y="5499735"/>
                  </a:cubicBezTo>
                  <a:close/>
                  <a:moveTo>
                    <a:pt x="266700" y="5290185"/>
                  </a:moveTo>
                  <a:cubicBezTo>
                    <a:pt x="266700" y="5307330"/>
                    <a:pt x="280988" y="5321618"/>
                    <a:pt x="298133" y="5321618"/>
                  </a:cubicBezTo>
                  <a:cubicBezTo>
                    <a:pt x="315278" y="5321618"/>
                    <a:pt x="329565" y="5307330"/>
                    <a:pt x="329565" y="5290185"/>
                  </a:cubicBezTo>
                  <a:cubicBezTo>
                    <a:pt x="329565" y="5273040"/>
                    <a:pt x="315278" y="5258753"/>
                    <a:pt x="298133" y="5258753"/>
                  </a:cubicBezTo>
                  <a:cubicBezTo>
                    <a:pt x="280988" y="5258753"/>
                    <a:pt x="266700" y="5273040"/>
                    <a:pt x="266700" y="5290185"/>
                  </a:cubicBezTo>
                  <a:close/>
                  <a:moveTo>
                    <a:pt x="236220" y="6129338"/>
                  </a:moveTo>
                  <a:cubicBezTo>
                    <a:pt x="236220" y="6163628"/>
                    <a:pt x="263843" y="6191250"/>
                    <a:pt x="298133" y="6191250"/>
                  </a:cubicBezTo>
                  <a:cubicBezTo>
                    <a:pt x="332423" y="6191250"/>
                    <a:pt x="360045" y="6163628"/>
                    <a:pt x="360045" y="6129338"/>
                  </a:cubicBezTo>
                  <a:cubicBezTo>
                    <a:pt x="360045" y="6095048"/>
                    <a:pt x="332423" y="6067425"/>
                    <a:pt x="298133" y="6067425"/>
                  </a:cubicBezTo>
                  <a:cubicBezTo>
                    <a:pt x="263843" y="6067425"/>
                    <a:pt x="236220" y="6095048"/>
                    <a:pt x="236220" y="6129338"/>
                  </a:cubicBezTo>
                  <a:close/>
                  <a:moveTo>
                    <a:pt x="253365" y="5709285"/>
                  </a:moveTo>
                  <a:cubicBezTo>
                    <a:pt x="253365" y="5734050"/>
                    <a:pt x="273368" y="5753100"/>
                    <a:pt x="297180" y="5753100"/>
                  </a:cubicBezTo>
                  <a:cubicBezTo>
                    <a:pt x="320993" y="5753100"/>
                    <a:pt x="340995" y="5733098"/>
                    <a:pt x="340995" y="5709285"/>
                  </a:cubicBezTo>
                  <a:cubicBezTo>
                    <a:pt x="340995" y="5684520"/>
                    <a:pt x="320993" y="5665470"/>
                    <a:pt x="297180" y="5665470"/>
                  </a:cubicBezTo>
                  <a:cubicBezTo>
                    <a:pt x="273368" y="5665470"/>
                    <a:pt x="253365" y="5685473"/>
                    <a:pt x="253365" y="5709285"/>
                  </a:cubicBezTo>
                  <a:close/>
                  <a:moveTo>
                    <a:pt x="266700" y="4871085"/>
                  </a:moveTo>
                  <a:cubicBezTo>
                    <a:pt x="266700" y="4888230"/>
                    <a:pt x="280988" y="4902518"/>
                    <a:pt x="298133" y="4902518"/>
                  </a:cubicBezTo>
                  <a:cubicBezTo>
                    <a:pt x="315278" y="4902518"/>
                    <a:pt x="329565" y="4888230"/>
                    <a:pt x="329565" y="4871085"/>
                  </a:cubicBezTo>
                  <a:cubicBezTo>
                    <a:pt x="329565" y="4853940"/>
                    <a:pt x="315278" y="4839653"/>
                    <a:pt x="298133" y="4839653"/>
                  </a:cubicBezTo>
                  <a:cubicBezTo>
                    <a:pt x="280988" y="4839653"/>
                    <a:pt x="266700" y="4852988"/>
                    <a:pt x="266700" y="4871085"/>
                  </a:cubicBezTo>
                  <a:close/>
                  <a:moveTo>
                    <a:pt x="266700" y="4660583"/>
                  </a:moveTo>
                  <a:cubicBezTo>
                    <a:pt x="266700" y="4677728"/>
                    <a:pt x="280988" y="4692015"/>
                    <a:pt x="298133" y="4692015"/>
                  </a:cubicBezTo>
                  <a:cubicBezTo>
                    <a:pt x="315278" y="4692015"/>
                    <a:pt x="329565" y="4677728"/>
                    <a:pt x="329565" y="4660583"/>
                  </a:cubicBezTo>
                  <a:cubicBezTo>
                    <a:pt x="329565" y="4643438"/>
                    <a:pt x="315278" y="4629150"/>
                    <a:pt x="298133" y="4629150"/>
                  </a:cubicBezTo>
                  <a:cubicBezTo>
                    <a:pt x="280988" y="4630103"/>
                    <a:pt x="266700" y="4643438"/>
                    <a:pt x="266700" y="4660583"/>
                  </a:cubicBezTo>
                  <a:close/>
                  <a:moveTo>
                    <a:pt x="266700" y="5080635"/>
                  </a:moveTo>
                  <a:cubicBezTo>
                    <a:pt x="266700" y="5097780"/>
                    <a:pt x="280988" y="5112068"/>
                    <a:pt x="298133" y="5112068"/>
                  </a:cubicBezTo>
                  <a:cubicBezTo>
                    <a:pt x="315278" y="5112068"/>
                    <a:pt x="329565" y="5097780"/>
                    <a:pt x="329565" y="5080635"/>
                  </a:cubicBezTo>
                  <a:cubicBezTo>
                    <a:pt x="329565" y="5063490"/>
                    <a:pt x="315278" y="5049203"/>
                    <a:pt x="298133" y="5049203"/>
                  </a:cubicBezTo>
                  <a:cubicBezTo>
                    <a:pt x="280988" y="5049203"/>
                    <a:pt x="266700" y="5063490"/>
                    <a:pt x="266700" y="5080635"/>
                  </a:cubicBezTo>
                  <a:close/>
                  <a:moveTo>
                    <a:pt x="220028" y="6338888"/>
                  </a:moveTo>
                  <a:cubicBezTo>
                    <a:pt x="220028" y="6381750"/>
                    <a:pt x="255270" y="6416993"/>
                    <a:pt x="298133" y="6416993"/>
                  </a:cubicBezTo>
                  <a:cubicBezTo>
                    <a:pt x="340995" y="6416993"/>
                    <a:pt x="376238" y="6381750"/>
                    <a:pt x="376238" y="6338888"/>
                  </a:cubicBezTo>
                  <a:cubicBezTo>
                    <a:pt x="376238" y="6296025"/>
                    <a:pt x="340995" y="6260783"/>
                    <a:pt x="298133" y="6260783"/>
                  </a:cubicBezTo>
                  <a:cubicBezTo>
                    <a:pt x="255270" y="6260783"/>
                    <a:pt x="220028" y="6295073"/>
                    <a:pt x="220028" y="6338888"/>
                  </a:cubicBezTo>
                  <a:close/>
                  <a:moveTo>
                    <a:pt x="46673" y="4428173"/>
                  </a:moveTo>
                  <a:cubicBezTo>
                    <a:pt x="46673" y="4445318"/>
                    <a:pt x="60960" y="4459605"/>
                    <a:pt x="78105" y="4459605"/>
                  </a:cubicBezTo>
                  <a:cubicBezTo>
                    <a:pt x="95250" y="4459605"/>
                    <a:pt x="109538" y="4445318"/>
                    <a:pt x="109538" y="4428173"/>
                  </a:cubicBezTo>
                  <a:cubicBezTo>
                    <a:pt x="109538" y="4411028"/>
                    <a:pt x="95250" y="4396740"/>
                    <a:pt x="78105" y="4396740"/>
                  </a:cubicBezTo>
                  <a:cubicBezTo>
                    <a:pt x="60960" y="4396740"/>
                    <a:pt x="46673" y="4411028"/>
                    <a:pt x="46673" y="4428173"/>
                  </a:cubicBezTo>
                  <a:close/>
                  <a:moveTo>
                    <a:pt x="46673" y="4222433"/>
                  </a:moveTo>
                  <a:cubicBezTo>
                    <a:pt x="46673" y="4239578"/>
                    <a:pt x="60960" y="4253865"/>
                    <a:pt x="78105" y="4253865"/>
                  </a:cubicBezTo>
                  <a:cubicBezTo>
                    <a:pt x="95250" y="4253865"/>
                    <a:pt x="109538" y="4239578"/>
                    <a:pt x="109538" y="4222433"/>
                  </a:cubicBezTo>
                  <a:cubicBezTo>
                    <a:pt x="109538" y="4205288"/>
                    <a:pt x="95250" y="4191000"/>
                    <a:pt x="78105" y="4191000"/>
                  </a:cubicBezTo>
                  <a:cubicBezTo>
                    <a:pt x="60960" y="4191000"/>
                    <a:pt x="46673" y="4205288"/>
                    <a:pt x="46673" y="4222433"/>
                  </a:cubicBezTo>
                  <a:close/>
                  <a:moveTo>
                    <a:pt x="34290" y="3604260"/>
                  </a:moveTo>
                  <a:cubicBezTo>
                    <a:pt x="34290" y="3629025"/>
                    <a:pt x="54293" y="3648075"/>
                    <a:pt x="78105" y="3648075"/>
                  </a:cubicBezTo>
                  <a:cubicBezTo>
                    <a:pt x="101918" y="3648075"/>
                    <a:pt x="121920" y="3628073"/>
                    <a:pt x="121920" y="3604260"/>
                  </a:cubicBezTo>
                  <a:cubicBezTo>
                    <a:pt x="121920" y="3580448"/>
                    <a:pt x="101918" y="3560445"/>
                    <a:pt x="78105" y="3560445"/>
                  </a:cubicBezTo>
                  <a:cubicBezTo>
                    <a:pt x="54293" y="3560445"/>
                    <a:pt x="34290" y="3579495"/>
                    <a:pt x="34290" y="3604260"/>
                  </a:cubicBezTo>
                  <a:close/>
                  <a:moveTo>
                    <a:pt x="24765" y="3397568"/>
                  </a:moveTo>
                  <a:cubicBezTo>
                    <a:pt x="24765" y="3427095"/>
                    <a:pt x="48578" y="3450908"/>
                    <a:pt x="78105" y="3450908"/>
                  </a:cubicBezTo>
                  <a:cubicBezTo>
                    <a:pt x="107633" y="3450908"/>
                    <a:pt x="131445" y="3427095"/>
                    <a:pt x="131445" y="3397568"/>
                  </a:cubicBezTo>
                  <a:cubicBezTo>
                    <a:pt x="131445" y="3368040"/>
                    <a:pt x="107633" y="3344228"/>
                    <a:pt x="78105" y="3344228"/>
                  </a:cubicBezTo>
                  <a:cubicBezTo>
                    <a:pt x="48578" y="3344228"/>
                    <a:pt x="24765" y="3368040"/>
                    <a:pt x="24765" y="3397568"/>
                  </a:cubicBezTo>
                  <a:close/>
                  <a:moveTo>
                    <a:pt x="16193" y="3191828"/>
                  </a:moveTo>
                  <a:cubicBezTo>
                    <a:pt x="16193" y="3226118"/>
                    <a:pt x="43815" y="3253740"/>
                    <a:pt x="78105" y="3253740"/>
                  </a:cubicBezTo>
                  <a:cubicBezTo>
                    <a:pt x="112395" y="3253740"/>
                    <a:pt x="140018" y="3226118"/>
                    <a:pt x="140018" y="3191828"/>
                  </a:cubicBezTo>
                  <a:cubicBezTo>
                    <a:pt x="140018" y="3157538"/>
                    <a:pt x="112395" y="3129915"/>
                    <a:pt x="78105" y="3129915"/>
                  </a:cubicBezTo>
                  <a:cubicBezTo>
                    <a:pt x="43815" y="3129915"/>
                    <a:pt x="16193" y="3157538"/>
                    <a:pt x="16193" y="3191828"/>
                  </a:cubicBezTo>
                  <a:close/>
                  <a:moveTo>
                    <a:pt x="46673" y="4016693"/>
                  </a:moveTo>
                  <a:cubicBezTo>
                    <a:pt x="46673" y="4033838"/>
                    <a:pt x="60960" y="4048125"/>
                    <a:pt x="78105" y="4048125"/>
                  </a:cubicBezTo>
                  <a:cubicBezTo>
                    <a:pt x="95250" y="4048125"/>
                    <a:pt x="109538" y="4033838"/>
                    <a:pt x="109538" y="4016693"/>
                  </a:cubicBezTo>
                  <a:cubicBezTo>
                    <a:pt x="109538" y="3999548"/>
                    <a:pt x="95250" y="3985260"/>
                    <a:pt x="78105" y="3985260"/>
                  </a:cubicBezTo>
                  <a:cubicBezTo>
                    <a:pt x="60960" y="3985260"/>
                    <a:pt x="46673" y="3998595"/>
                    <a:pt x="46673" y="4016693"/>
                  </a:cubicBezTo>
                  <a:close/>
                  <a:moveTo>
                    <a:pt x="42863" y="3810000"/>
                  </a:moveTo>
                  <a:cubicBezTo>
                    <a:pt x="42863" y="3829050"/>
                    <a:pt x="59055" y="3845243"/>
                    <a:pt x="78105" y="3845243"/>
                  </a:cubicBezTo>
                  <a:cubicBezTo>
                    <a:pt x="97155" y="3845243"/>
                    <a:pt x="113348" y="3829050"/>
                    <a:pt x="113348" y="3810000"/>
                  </a:cubicBezTo>
                  <a:cubicBezTo>
                    <a:pt x="113348" y="3790950"/>
                    <a:pt x="97155" y="3774758"/>
                    <a:pt x="78105" y="3774758"/>
                  </a:cubicBezTo>
                  <a:cubicBezTo>
                    <a:pt x="59055" y="3774758"/>
                    <a:pt x="42863" y="3790950"/>
                    <a:pt x="42863" y="3810000"/>
                  </a:cubicBezTo>
                  <a:close/>
                  <a:moveTo>
                    <a:pt x="24765" y="2573655"/>
                  </a:moveTo>
                  <a:cubicBezTo>
                    <a:pt x="24765" y="2603183"/>
                    <a:pt x="48578" y="2626995"/>
                    <a:pt x="78105" y="2626995"/>
                  </a:cubicBezTo>
                  <a:cubicBezTo>
                    <a:pt x="107633" y="2626995"/>
                    <a:pt x="131445" y="2603183"/>
                    <a:pt x="131445" y="2573655"/>
                  </a:cubicBezTo>
                  <a:cubicBezTo>
                    <a:pt x="131445" y="2544128"/>
                    <a:pt x="107633" y="2520315"/>
                    <a:pt x="78105" y="2520315"/>
                  </a:cubicBezTo>
                  <a:cubicBezTo>
                    <a:pt x="48578" y="2520315"/>
                    <a:pt x="24765" y="2544128"/>
                    <a:pt x="24765" y="2573655"/>
                  </a:cubicBezTo>
                  <a:close/>
                  <a:moveTo>
                    <a:pt x="34290" y="2366963"/>
                  </a:moveTo>
                  <a:cubicBezTo>
                    <a:pt x="34290" y="2391728"/>
                    <a:pt x="54293" y="2410778"/>
                    <a:pt x="78105" y="2410778"/>
                  </a:cubicBezTo>
                  <a:cubicBezTo>
                    <a:pt x="101918" y="2410778"/>
                    <a:pt x="121920" y="2390775"/>
                    <a:pt x="121920" y="2366963"/>
                  </a:cubicBezTo>
                  <a:cubicBezTo>
                    <a:pt x="121920" y="2343150"/>
                    <a:pt x="101918" y="2323148"/>
                    <a:pt x="78105" y="2323148"/>
                  </a:cubicBezTo>
                  <a:cubicBezTo>
                    <a:pt x="54293" y="2323148"/>
                    <a:pt x="34290" y="2342198"/>
                    <a:pt x="34290" y="2366963"/>
                  </a:cubicBezTo>
                  <a:close/>
                  <a:moveTo>
                    <a:pt x="16193" y="2779395"/>
                  </a:moveTo>
                  <a:cubicBezTo>
                    <a:pt x="16193" y="2813685"/>
                    <a:pt x="43815" y="2841308"/>
                    <a:pt x="78105" y="2841308"/>
                  </a:cubicBezTo>
                  <a:cubicBezTo>
                    <a:pt x="112395" y="2841308"/>
                    <a:pt x="140018" y="2813685"/>
                    <a:pt x="140018" y="2779395"/>
                  </a:cubicBezTo>
                  <a:cubicBezTo>
                    <a:pt x="140018" y="2745105"/>
                    <a:pt x="112395" y="2717483"/>
                    <a:pt x="78105" y="2717483"/>
                  </a:cubicBezTo>
                  <a:cubicBezTo>
                    <a:pt x="43815" y="2717483"/>
                    <a:pt x="16193" y="2745105"/>
                    <a:pt x="16193" y="2779395"/>
                  </a:cubicBezTo>
                  <a:close/>
                  <a:moveTo>
                    <a:pt x="0" y="2985135"/>
                  </a:moveTo>
                  <a:cubicBezTo>
                    <a:pt x="0" y="3027998"/>
                    <a:pt x="35243" y="3063240"/>
                    <a:pt x="78105" y="3063240"/>
                  </a:cubicBezTo>
                  <a:cubicBezTo>
                    <a:pt x="120968" y="3063240"/>
                    <a:pt x="156210" y="3027998"/>
                    <a:pt x="156210" y="2985135"/>
                  </a:cubicBezTo>
                  <a:cubicBezTo>
                    <a:pt x="156210" y="2942273"/>
                    <a:pt x="120968" y="2907030"/>
                    <a:pt x="78105" y="2907030"/>
                  </a:cubicBezTo>
                  <a:cubicBezTo>
                    <a:pt x="35243" y="2907030"/>
                    <a:pt x="0" y="2942273"/>
                    <a:pt x="0" y="2985135"/>
                  </a:cubicBezTo>
                  <a:close/>
                  <a:moveTo>
                    <a:pt x="266700" y="4495800"/>
                  </a:moveTo>
                  <a:cubicBezTo>
                    <a:pt x="266700" y="4512945"/>
                    <a:pt x="280988" y="4527233"/>
                    <a:pt x="298133" y="4527233"/>
                  </a:cubicBezTo>
                  <a:cubicBezTo>
                    <a:pt x="315278" y="4527233"/>
                    <a:pt x="329565" y="4512945"/>
                    <a:pt x="329565" y="4495800"/>
                  </a:cubicBezTo>
                  <a:cubicBezTo>
                    <a:pt x="329565" y="4478655"/>
                    <a:pt x="315278" y="4464368"/>
                    <a:pt x="298133" y="4464368"/>
                  </a:cubicBezTo>
                  <a:cubicBezTo>
                    <a:pt x="280988" y="4464368"/>
                    <a:pt x="266700" y="4477703"/>
                    <a:pt x="266700" y="4495800"/>
                  </a:cubicBezTo>
                  <a:close/>
                  <a:moveTo>
                    <a:pt x="266700" y="4254818"/>
                  </a:moveTo>
                  <a:cubicBezTo>
                    <a:pt x="266700" y="4271963"/>
                    <a:pt x="280988" y="4286250"/>
                    <a:pt x="298133" y="4286250"/>
                  </a:cubicBezTo>
                  <a:cubicBezTo>
                    <a:pt x="315278" y="4286250"/>
                    <a:pt x="329565" y="4271963"/>
                    <a:pt x="329565" y="4254818"/>
                  </a:cubicBezTo>
                  <a:cubicBezTo>
                    <a:pt x="329565" y="4237673"/>
                    <a:pt x="315278" y="4223385"/>
                    <a:pt x="298133" y="4223385"/>
                  </a:cubicBezTo>
                  <a:cubicBezTo>
                    <a:pt x="280988" y="4223385"/>
                    <a:pt x="266700" y="4236720"/>
                    <a:pt x="266700" y="4254818"/>
                  </a:cubicBezTo>
                  <a:close/>
                  <a:moveTo>
                    <a:pt x="262890" y="3625215"/>
                  </a:moveTo>
                  <a:cubicBezTo>
                    <a:pt x="262890" y="3644265"/>
                    <a:pt x="279083" y="3660458"/>
                    <a:pt x="298133" y="3660458"/>
                  </a:cubicBezTo>
                  <a:cubicBezTo>
                    <a:pt x="317183" y="3660458"/>
                    <a:pt x="333375" y="3644265"/>
                    <a:pt x="333375" y="3625215"/>
                  </a:cubicBezTo>
                  <a:cubicBezTo>
                    <a:pt x="333375" y="3606165"/>
                    <a:pt x="317183" y="3589973"/>
                    <a:pt x="298133" y="3589973"/>
                  </a:cubicBezTo>
                  <a:cubicBezTo>
                    <a:pt x="279083" y="3589973"/>
                    <a:pt x="262890" y="3606165"/>
                    <a:pt x="262890" y="3625215"/>
                  </a:cubicBezTo>
                  <a:close/>
                  <a:moveTo>
                    <a:pt x="253365" y="3415665"/>
                  </a:moveTo>
                  <a:cubicBezTo>
                    <a:pt x="253365" y="3440430"/>
                    <a:pt x="273368" y="3459480"/>
                    <a:pt x="297180" y="3459480"/>
                  </a:cubicBezTo>
                  <a:cubicBezTo>
                    <a:pt x="320993" y="3459480"/>
                    <a:pt x="340995" y="3439478"/>
                    <a:pt x="340995" y="3415665"/>
                  </a:cubicBezTo>
                  <a:cubicBezTo>
                    <a:pt x="340995" y="3391853"/>
                    <a:pt x="320993" y="3371850"/>
                    <a:pt x="297180" y="3371850"/>
                  </a:cubicBezTo>
                  <a:cubicBezTo>
                    <a:pt x="273368" y="3371850"/>
                    <a:pt x="253365" y="3390900"/>
                    <a:pt x="253365" y="3415665"/>
                  </a:cubicBezTo>
                  <a:close/>
                  <a:moveTo>
                    <a:pt x="244793" y="3206115"/>
                  </a:moveTo>
                  <a:cubicBezTo>
                    <a:pt x="244793" y="3235643"/>
                    <a:pt x="268605" y="3259455"/>
                    <a:pt x="298133" y="3259455"/>
                  </a:cubicBezTo>
                  <a:cubicBezTo>
                    <a:pt x="327660" y="3259455"/>
                    <a:pt x="351473" y="3235643"/>
                    <a:pt x="351473" y="3206115"/>
                  </a:cubicBezTo>
                  <a:cubicBezTo>
                    <a:pt x="351473" y="3176588"/>
                    <a:pt x="327660" y="3152775"/>
                    <a:pt x="298133" y="3152775"/>
                  </a:cubicBezTo>
                  <a:cubicBezTo>
                    <a:pt x="268605" y="3152775"/>
                    <a:pt x="244793" y="3176588"/>
                    <a:pt x="244793" y="3206115"/>
                  </a:cubicBezTo>
                  <a:close/>
                  <a:moveTo>
                    <a:pt x="266700" y="4044315"/>
                  </a:moveTo>
                  <a:cubicBezTo>
                    <a:pt x="266700" y="4061460"/>
                    <a:pt x="280988" y="4075748"/>
                    <a:pt x="298133" y="4075748"/>
                  </a:cubicBezTo>
                  <a:cubicBezTo>
                    <a:pt x="315278" y="4075748"/>
                    <a:pt x="329565" y="4061460"/>
                    <a:pt x="329565" y="4044315"/>
                  </a:cubicBezTo>
                  <a:cubicBezTo>
                    <a:pt x="329565" y="4027170"/>
                    <a:pt x="315278" y="4012883"/>
                    <a:pt x="298133" y="4012883"/>
                  </a:cubicBezTo>
                  <a:cubicBezTo>
                    <a:pt x="280988" y="4013835"/>
                    <a:pt x="266700" y="4027170"/>
                    <a:pt x="266700" y="4044315"/>
                  </a:cubicBezTo>
                  <a:close/>
                  <a:moveTo>
                    <a:pt x="266700" y="3834765"/>
                  </a:moveTo>
                  <a:cubicBezTo>
                    <a:pt x="266700" y="3851910"/>
                    <a:pt x="280988" y="3866198"/>
                    <a:pt x="298133" y="3866198"/>
                  </a:cubicBezTo>
                  <a:cubicBezTo>
                    <a:pt x="315278" y="3866198"/>
                    <a:pt x="329565" y="3851910"/>
                    <a:pt x="329565" y="3834765"/>
                  </a:cubicBezTo>
                  <a:cubicBezTo>
                    <a:pt x="329565" y="3817620"/>
                    <a:pt x="315278" y="3803333"/>
                    <a:pt x="298133" y="3803333"/>
                  </a:cubicBezTo>
                  <a:cubicBezTo>
                    <a:pt x="280988" y="3803333"/>
                    <a:pt x="266700" y="3817620"/>
                    <a:pt x="266700" y="3834765"/>
                  </a:cubicBezTo>
                  <a:close/>
                  <a:moveTo>
                    <a:pt x="236220" y="2576513"/>
                  </a:moveTo>
                  <a:cubicBezTo>
                    <a:pt x="236220" y="2610803"/>
                    <a:pt x="263843" y="2638425"/>
                    <a:pt x="298133" y="2638425"/>
                  </a:cubicBezTo>
                  <a:cubicBezTo>
                    <a:pt x="332423" y="2638425"/>
                    <a:pt x="360045" y="2610803"/>
                    <a:pt x="360045" y="2576513"/>
                  </a:cubicBezTo>
                  <a:cubicBezTo>
                    <a:pt x="360045" y="2542223"/>
                    <a:pt x="332423" y="2514600"/>
                    <a:pt x="298133" y="2514600"/>
                  </a:cubicBezTo>
                  <a:cubicBezTo>
                    <a:pt x="263843" y="2514600"/>
                    <a:pt x="236220" y="2542223"/>
                    <a:pt x="236220" y="2576513"/>
                  </a:cubicBezTo>
                  <a:close/>
                  <a:moveTo>
                    <a:pt x="244793" y="2366963"/>
                  </a:moveTo>
                  <a:cubicBezTo>
                    <a:pt x="244793" y="2396490"/>
                    <a:pt x="268605" y="2420303"/>
                    <a:pt x="298133" y="2420303"/>
                  </a:cubicBezTo>
                  <a:cubicBezTo>
                    <a:pt x="327660" y="2420303"/>
                    <a:pt x="351473" y="2396490"/>
                    <a:pt x="351473" y="2366963"/>
                  </a:cubicBezTo>
                  <a:cubicBezTo>
                    <a:pt x="351473" y="2337435"/>
                    <a:pt x="327660" y="2313623"/>
                    <a:pt x="298133" y="2313623"/>
                  </a:cubicBezTo>
                  <a:cubicBezTo>
                    <a:pt x="268605" y="2313623"/>
                    <a:pt x="244793" y="2337435"/>
                    <a:pt x="244793" y="2366963"/>
                  </a:cubicBezTo>
                  <a:close/>
                  <a:moveTo>
                    <a:pt x="236220" y="2996565"/>
                  </a:moveTo>
                  <a:cubicBezTo>
                    <a:pt x="236220" y="3030855"/>
                    <a:pt x="263843" y="3058478"/>
                    <a:pt x="298133" y="3058478"/>
                  </a:cubicBezTo>
                  <a:cubicBezTo>
                    <a:pt x="332423" y="3058478"/>
                    <a:pt x="360045" y="3030855"/>
                    <a:pt x="360045" y="2996565"/>
                  </a:cubicBezTo>
                  <a:cubicBezTo>
                    <a:pt x="360045" y="2962275"/>
                    <a:pt x="332423" y="2934653"/>
                    <a:pt x="298133" y="2934653"/>
                  </a:cubicBezTo>
                  <a:cubicBezTo>
                    <a:pt x="263843" y="2934653"/>
                    <a:pt x="236220" y="2962275"/>
                    <a:pt x="236220" y="2996565"/>
                  </a:cubicBezTo>
                  <a:close/>
                  <a:moveTo>
                    <a:pt x="220028" y="2786063"/>
                  </a:moveTo>
                  <a:cubicBezTo>
                    <a:pt x="220028" y="2828925"/>
                    <a:pt x="255270" y="2864168"/>
                    <a:pt x="298133" y="2864168"/>
                  </a:cubicBezTo>
                  <a:cubicBezTo>
                    <a:pt x="340995" y="2864168"/>
                    <a:pt x="376238" y="2828925"/>
                    <a:pt x="376238" y="2786063"/>
                  </a:cubicBezTo>
                  <a:cubicBezTo>
                    <a:pt x="376238" y="2743200"/>
                    <a:pt x="340995" y="2707958"/>
                    <a:pt x="298133" y="2707958"/>
                  </a:cubicBezTo>
                  <a:cubicBezTo>
                    <a:pt x="255270" y="2707958"/>
                    <a:pt x="220028" y="2743200"/>
                    <a:pt x="220028" y="2786063"/>
                  </a:cubicBezTo>
                  <a:close/>
                  <a:moveTo>
                    <a:pt x="464820" y="6406515"/>
                  </a:moveTo>
                  <a:cubicBezTo>
                    <a:pt x="464820" y="6436043"/>
                    <a:pt x="488633" y="6459855"/>
                    <a:pt x="518160" y="6459855"/>
                  </a:cubicBezTo>
                  <a:cubicBezTo>
                    <a:pt x="547688" y="6459855"/>
                    <a:pt x="571500" y="6436043"/>
                    <a:pt x="571500" y="6406515"/>
                  </a:cubicBezTo>
                  <a:cubicBezTo>
                    <a:pt x="571500" y="6376988"/>
                    <a:pt x="547688" y="6353175"/>
                    <a:pt x="518160" y="6353175"/>
                  </a:cubicBezTo>
                  <a:cubicBezTo>
                    <a:pt x="488633" y="6353175"/>
                    <a:pt x="464820" y="6376988"/>
                    <a:pt x="464820" y="6406515"/>
                  </a:cubicBezTo>
                  <a:close/>
                  <a:moveTo>
                    <a:pt x="481965" y="5980748"/>
                  </a:moveTo>
                  <a:cubicBezTo>
                    <a:pt x="481965" y="5999798"/>
                    <a:pt x="498158" y="6015990"/>
                    <a:pt x="517208" y="6015990"/>
                  </a:cubicBezTo>
                  <a:cubicBezTo>
                    <a:pt x="536258" y="6015990"/>
                    <a:pt x="552450" y="5999798"/>
                    <a:pt x="552450" y="5980748"/>
                  </a:cubicBezTo>
                  <a:cubicBezTo>
                    <a:pt x="552450" y="5961698"/>
                    <a:pt x="536258" y="5945505"/>
                    <a:pt x="517208" y="5945505"/>
                  </a:cubicBezTo>
                  <a:cubicBezTo>
                    <a:pt x="498158" y="5945505"/>
                    <a:pt x="481965" y="5961698"/>
                    <a:pt x="481965" y="5980748"/>
                  </a:cubicBezTo>
                  <a:close/>
                  <a:moveTo>
                    <a:pt x="486728" y="5555933"/>
                  </a:moveTo>
                  <a:cubicBezTo>
                    <a:pt x="486728" y="5573078"/>
                    <a:pt x="501015" y="5587365"/>
                    <a:pt x="518160" y="5587365"/>
                  </a:cubicBezTo>
                  <a:cubicBezTo>
                    <a:pt x="535305" y="5587365"/>
                    <a:pt x="549593" y="5573078"/>
                    <a:pt x="549593" y="5555933"/>
                  </a:cubicBezTo>
                  <a:cubicBezTo>
                    <a:pt x="549593" y="5538788"/>
                    <a:pt x="535305" y="5524500"/>
                    <a:pt x="518160" y="5524500"/>
                  </a:cubicBezTo>
                  <a:cubicBezTo>
                    <a:pt x="500063" y="5524500"/>
                    <a:pt x="486728" y="5538788"/>
                    <a:pt x="486728" y="5555933"/>
                  </a:cubicBezTo>
                  <a:close/>
                  <a:moveTo>
                    <a:pt x="486728" y="5343525"/>
                  </a:moveTo>
                  <a:cubicBezTo>
                    <a:pt x="486728" y="5360670"/>
                    <a:pt x="501015" y="5374958"/>
                    <a:pt x="518160" y="5374958"/>
                  </a:cubicBezTo>
                  <a:cubicBezTo>
                    <a:pt x="535305" y="5374958"/>
                    <a:pt x="549593" y="5360670"/>
                    <a:pt x="549593" y="5343525"/>
                  </a:cubicBezTo>
                  <a:cubicBezTo>
                    <a:pt x="549593" y="5326380"/>
                    <a:pt x="535305" y="5312093"/>
                    <a:pt x="518160" y="5312093"/>
                  </a:cubicBezTo>
                  <a:cubicBezTo>
                    <a:pt x="500063" y="5312093"/>
                    <a:pt x="486728" y="5326380"/>
                    <a:pt x="486728" y="5343525"/>
                  </a:cubicBezTo>
                  <a:close/>
                  <a:moveTo>
                    <a:pt x="473393" y="6194108"/>
                  </a:moveTo>
                  <a:cubicBezTo>
                    <a:pt x="473393" y="6218873"/>
                    <a:pt x="493395" y="6237923"/>
                    <a:pt x="517208" y="6237923"/>
                  </a:cubicBezTo>
                  <a:cubicBezTo>
                    <a:pt x="541973" y="6237923"/>
                    <a:pt x="561023" y="6217920"/>
                    <a:pt x="561023" y="6194108"/>
                  </a:cubicBezTo>
                  <a:cubicBezTo>
                    <a:pt x="561023" y="6169343"/>
                    <a:pt x="541020" y="6150293"/>
                    <a:pt x="517208" y="6150293"/>
                  </a:cubicBezTo>
                  <a:cubicBezTo>
                    <a:pt x="493395" y="6149340"/>
                    <a:pt x="473393" y="6169343"/>
                    <a:pt x="473393" y="6194108"/>
                  </a:cubicBezTo>
                  <a:close/>
                  <a:moveTo>
                    <a:pt x="486728" y="5768340"/>
                  </a:moveTo>
                  <a:cubicBezTo>
                    <a:pt x="486728" y="5785485"/>
                    <a:pt x="501015" y="5799773"/>
                    <a:pt x="518160" y="5799773"/>
                  </a:cubicBezTo>
                  <a:cubicBezTo>
                    <a:pt x="535305" y="5799773"/>
                    <a:pt x="549593" y="5785485"/>
                    <a:pt x="549593" y="5768340"/>
                  </a:cubicBezTo>
                  <a:cubicBezTo>
                    <a:pt x="549593" y="5751195"/>
                    <a:pt x="535305" y="5736908"/>
                    <a:pt x="518160" y="5736908"/>
                  </a:cubicBezTo>
                  <a:cubicBezTo>
                    <a:pt x="500063" y="5736908"/>
                    <a:pt x="486728" y="5751195"/>
                    <a:pt x="486728" y="5768340"/>
                  </a:cubicBezTo>
                  <a:close/>
                  <a:moveTo>
                    <a:pt x="486728" y="4917758"/>
                  </a:moveTo>
                  <a:cubicBezTo>
                    <a:pt x="486728" y="4934903"/>
                    <a:pt x="501015" y="4949190"/>
                    <a:pt x="518160" y="4949190"/>
                  </a:cubicBezTo>
                  <a:cubicBezTo>
                    <a:pt x="535305" y="4949190"/>
                    <a:pt x="549593" y="4934903"/>
                    <a:pt x="549593" y="4917758"/>
                  </a:cubicBezTo>
                  <a:cubicBezTo>
                    <a:pt x="549593" y="4900613"/>
                    <a:pt x="535305" y="4886325"/>
                    <a:pt x="518160" y="4886325"/>
                  </a:cubicBezTo>
                  <a:cubicBezTo>
                    <a:pt x="500063" y="4887278"/>
                    <a:pt x="486728" y="4900613"/>
                    <a:pt x="486728" y="4917758"/>
                  </a:cubicBezTo>
                  <a:close/>
                  <a:moveTo>
                    <a:pt x="486728" y="4705350"/>
                  </a:moveTo>
                  <a:cubicBezTo>
                    <a:pt x="486728" y="4722495"/>
                    <a:pt x="501015" y="4736783"/>
                    <a:pt x="518160" y="4736783"/>
                  </a:cubicBezTo>
                  <a:cubicBezTo>
                    <a:pt x="535305" y="4736783"/>
                    <a:pt x="549593" y="4722495"/>
                    <a:pt x="549593" y="4705350"/>
                  </a:cubicBezTo>
                  <a:cubicBezTo>
                    <a:pt x="549593" y="4688205"/>
                    <a:pt x="535305" y="4673918"/>
                    <a:pt x="518160" y="4673918"/>
                  </a:cubicBezTo>
                  <a:cubicBezTo>
                    <a:pt x="500063" y="4673918"/>
                    <a:pt x="486728" y="4688205"/>
                    <a:pt x="486728" y="4705350"/>
                  </a:cubicBezTo>
                  <a:close/>
                  <a:moveTo>
                    <a:pt x="486728" y="5131118"/>
                  </a:moveTo>
                  <a:cubicBezTo>
                    <a:pt x="486728" y="5148263"/>
                    <a:pt x="501015" y="5162550"/>
                    <a:pt x="518160" y="5162550"/>
                  </a:cubicBezTo>
                  <a:cubicBezTo>
                    <a:pt x="535305" y="5162550"/>
                    <a:pt x="549593" y="5148263"/>
                    <a:pt x="549593" y="5131118"/>
                  </a:cubicBezTo>
                  <a:cubicBezTo>
                    <a:pt x="549593" y="5113973"/>
                    <a:pt x="535305" y="5099685"/>
                    <a:pt x="518160" y="5099685"/>
                  </a:cubicBezTo>
                  <a:cubicBezTo>
                    <a:pt x="500063" y="5099685"/>
                    <a:pt x="486728" y="5113020"/>
                    <a:pt x="486728" y="5131118"/>
                  </a:cubicBezTo>
                  <a:close/>
                  <a:moveTo>
                    <a:pt x="706755" y="5253038"/>
                  </a:moveTo>
                  <a:cubicBezTo>
                    <a:pt x="706755" y="5270183"/>
                    <a:pt x="721043" y="5284470"/>
                    <a:pt x="738188" y="5284470"/>
                  </a:cubicBezTo>
                  <a:cubicBezTo>
                    <a:pt x="755333" y="5284470"/>
                    <a:pt x="769620" y="5270183"/>
                    <a:pt x="769620" y="5253038"/>
                  </a:cubicBezTo>
                  <a:cubicBezTo>
                    <a:pt x="769620" y="5235893"/>
                    <a:pt x="755333" y="5221605"/>
                    <a:pt x="738188" y="5221605"/>
                  </a:cubicBezTo>
                  <a:cubicBezTo>
                    <a:pt x="721043" y="5221605"/>
                    <a:pt x="706755" y="5235893"/>
                    <a:pt x="706755" y="5253038"/>
                  </a:cubicBezTo>
                  <a:close/>
                  <a:moveTo>
                    <a:pt x="706755" y="4840605"/>
                  </a:moveTo>
                  <a:cubicBezTo>
                    <a:pt x="706755" y="4857750"/>
                    <a:pt x="721043" y="4872038"/>
                    <a:pt x="738188" y="4872038"/>
                  </a:cubicBezTo>
                  <a:cubicBezTo>
                    <a:pt x="755333" y="4872038"/>
                    <a:pt x="769620" y="4857750"/>
                    <a:pt x="769620" y="4840605"/>
                  </a:cubicBezTo>
                  <a:cubicBezTo>
                    <a:pt x="769620" y="4823460"/>
                    <a:pt x="755333" y="4809173"/>
                    <a:pt x="738188" y="4809173"/>
                  </a:cubicBezTo>
                  <a:cubicBezTo>
                    <a:pt x="721043" y="4809173"/>
                    <a:pt x="706755" y="4823460"/>
                    <a:pt x="706755" y="4840605"/>
                  </a:cubicBezTo>
                  <a:close/>
                  <a:moveTo>
                    <a:pt x="706755" y="4634865"/>
                  </a:moveTo>
                  <a:cubicBezTo>
                    <a:pt x="706755" y="4652010"/>
                    <a:pt x="721043" y="4666298"/>
                    <a:pt x="738188" y="4666298"/>
                  </a:cubicBezTo>
                  <a:cubicBezTo>
                    <a:pt x="755333" y="4666298"/>
                    <a:pt x="769620" y="4652010"/>
                    <a:pt x="769620" y="4634865"/>
                  </a:cubicBezTo>
                  <a:cubicBezTo>
                    <a:pt x="769620" y="4617720"/>
                    <a:pt x="755333" y="4603433"/>
                    <a:pt x="738188" y="4603433"/>
                  </a:cubicBezTo>
                  <a:cubicBezTo>
                    <a:pt x="721043" y="4603433"/>
                    <a:pt x="706755" y="4617720"/>
                    <a:pt x="706755" y="4634865"/>
                  </a:cubicBezTo>
                  <a:close/>
                  <a:moveTo>
                    <a:pt x="706755" y="5047298"/>
                  </a:moveTo>
                  <a:cubicBezTo>
                    <a:pt x="706755" y="5064443"/>
                    <a:pt x="721043" y="5078730"/>
                    <a:pt x="738188" y="5078730"/>
                  </a:cubicBezTo>
                  <a:cubicBezTo>
                    <a:pt x="755333" y="5078730"/>
                    <a:pt x="769620" y="5064443"/>
                    <a:pt x="769620" y="5047298"/>
                  </a:cubicBezTo>
                  <a:cubicBezTo>
                    <a:pt x="769620" y="5030153"/>
                    <a:pt x="755333" y="5015865"/>
                    <a:pt x="738188" y="5015865"/>
                  </a:cubicBezTo>
                  <a:cubicBezTo>
                    <a:pt x="721043" y="5015865"/>
                    <a:pt x="706755" y="5030153"/>
                    <a:pt x="706755" y="5047298"/>
                  </a:cubicBezTo>
                  <a:close/>
                  <a:moveTo>
                    <a:pt x="486728" y="4492943"/>
                  </a:moveTo>
                  <a:cubicBezTo>
                    <a:pt x="486728" y="4510088"/>
                    <a:pt x="501015" y="4524375"/>
                    <a:pt x="518160" y="4524375"/>
                  </a:cubicBezTo>
                  <a:cubicBezTo>
                    <a:pt x="535305" y="4524375"/>
                    <a:pt x="549593" y="4510088"/>
                    <a:pt x="549593" y="4492943"/>
                  </a:cubicBezTo>
                  <a:cubicBezTo>
                    <a:pt x="549593" y="4475798"/>
                    <a:pt x="535305" y="4461510"/>
                    <a:pt x="518160" y="4461510"/>
                  </a:cubicBezTo>
                  <a:cubicBezTo>
                    <a:pt x="500063" y="4461510"/>
                    <a:pt x="486728" y="4475798"/>
                    <a:pt x="486728" y="4492943"/>
                  </a:cubicBezTo>
                  <a:close/>
                  <a:moveTo>
                    <a:pt x="486728" y="4280535"/>
                  </a:moveTo>
                  <a:cubicBezTo>
                    <a:pt x="486728" y="4297680"/>
                    <a:pt x="501015" y="4311968"/>
                    <a:pt x="518160" y="4311968"/>
                  </a:cubicBezTo>
                  <a:cubicBezTo>
                    <a:pt x="535305" y="4311968"/>
                    <a:pt x="549593" y="4297680"/>
                    <a:pt x="549593" y="4280535"/>
                  </a:cubicBezTo>
                  <a:cubicBezTo>
                    <a:pt x="549593" y="4263390"/>
                    <a:pt x="535305" y="4249103"/>
                    <a:pt x="518160" y="4249103"/>
                  </a:cubicBezTo>
                  <a:cubicBezTo>
                    <a:pt x="500063" y="4249103"/>
                    <a:pt x="486728" y="4263390"/>
                    <a:pt x="486728" y="4280535"/>
                  </a:cubicBezTo>
                  <a:close/>
                  <a:moveTo>
                    <a:pt x="464820" y="3642360"/>
                  </a:moveTo>
                  <a:cubicBezTo>
                    <a:pt x="464820" y="3671888"/>
                    <a:pt x="488633" y="3695700"/>
                    <a:pt x="518160" y="3695700"/>
                  </a:cubicBezTo>
                  <a:cubicBezTo>
                    <a:pt x="547688" y="3695700"/>
                    <a:pt x="571500" y="3671888"/>
                    <a:pt x="571500" y="3642360"/>
                  </a:cubicBezTo>
                  <a:cubicBezTo>
                    <a:pt x="571500" y="3612833"/>
                    <a:pt x="547688" y="3589020"/>
                    <a:pt x="518160" y="3589020"/>
                  </a:cubicBezTo>
                  <a:cubicBezTo>
                    <a:pt x="488633" y="3589020"/>
                    <a:pt x="464820" y="3613785"/>
                    <a:pt x="464820" y="3642360"/>
                  </a:cubicBezTo>
                  <a:close/>
                  <a:moveTo>
                    <a:pt x="456248" y="3429953"/>
                  </a:moveTo>
                  <a:cubicBezTo>
                    <a:pt x="456248" y="3464243"/>
                    <a:pt x="483870" y="3491865"/>
                    <a:pt x="518160" y="3491865"/>
                  </a:cubicBezTo>
                  <a:cubicBezTo>
                    <a:pt x="552450" y="3491865"/>
                    <a:pt x="580073" y="3464243"/>
                    <a:pt x="580073" y="3429953"/>
                  </a:cubicBezTo>
                  <a:cubicBezTo>
                    <a:pt x="580073" y="3395663"/>
                    <a:pt x="552450" y="3368040"/>
                    <a:pt x="518160" y="3368040"/>
                  </a:cubicBezTo>
                  <a:cubicBezTo>
                    <a:pt x="483870" y="3368040"/>
                    <a:pt x="456248" y="3395663"/>
                    <a:pt x="456248" y="3429953"/>
                  </a:cubicBezTo>
                  <a:close/>
                  <a:moveTo>
                    <a:pt x="456248" y="3005138"/>
                  </a:moveTo>
                  <a:cubicBezTo>
                    <a:pt x="456248" y="3039428"/>
                    <a:pt x="483870" y="3067050"/>
                    <a:pt x="518160" y="3067050"/>
                  </a:cubicBezTo>
                  <a:cubicBezTo>
                    <a:pt x="552450" y="3067050"/>
                    <a:pt x="580073" y="3039428"/>
                    <a:pt x="580073" y="3005138"/>
                  </a:cubicBezTo>
                  <a:cubicBezTo>
                    <a:pt x="580073" y="2970848"/>
                    <a:pt x="552450" y="2943225"/>
                    <a:pt x="518160" y="2943225"/>
                  </a:cubicBezTo>
                  <a:cubicBezTo>
                    <a:pt x="483870" y="2943225"/>
                    <a:pt x="456248" y="2970848"/>
                    <a:pt x="456248" y="3005138"/>
                  </a:cubicBezTo>
                  <a:close/>
                  <a:moveTo>
                    <a:pt x="481965" y="4068128"/>
                  </a:moveTo>
                  <a:cubicBezTo>
                    <a:pt x="481965" y="4087178"/>
                    <a:pt x="498158" y="4103370"/>
                    <a:pt x="517208" y="4103370"/>
                  </a:cubicBezTo>
                  <a:cubicBezTo>
                    <a:pt x="536258" y="4103370"/>
                    <a:pt x="552450" y="4087178"/>
                    <a:pt x="552450" y="4068128"/>
                  </a:cubicBezTo>
                  <a:cubicBezTo>
                    <a:pt x="552450" y="4049078"/>
                    <a:pt x="536258" y="4032885"/>
                    <a:pt x="517208" y="4032885"/>
                  </a:cubicBezTo>
                  <a:cubicBezTo>
                    <a:pt x="498158" y="4032885"/>
                    <a:pt x="481965" y="4048125"/>
                    <a:pt x="481965" y="4068128"/>
                  </a:cubicBezTo>
                  <a:close/>
                  <a:moveTo>
                    <a:pt x="473393" y="3854768"/>
                  </a:moveTo>
                  <a:cubicBezTo>
                    <a:pt x="473393" y="3879533"/>
                    <a:pt x="493395" y="3898583"/>
                    <a:pt x="517208" y="3898583"/>
                  </a:cubicBezTo>
                  <a:cubicBezTo>
                    <a:pt x="541973" y="3898583"/>
                    <a:pt x="561023" y="3878580"/>
                    <a:pt x="561023" y="3854768"/>
                  </a:cubicBezTo>
                  <a:cubicBezTo>
                    <a:pt x="561023" y="3830003"/>
                    <a:pt x="541020" y="3810953"/>
                    <a:pt x="517208" y="3810953"/>
                  </a:cubicBezTo>
                  <a:cubicBezTo>
                    <a:pt x="493395" y="3810953"/>
                    <a:pt x="473393" y="3830955"/>
                    <a:pt x="473393" y="3854768"/>
                  </a:cubicBezTo>
                  <a:close/>
                  <a:moveTo>
                    <a:pt x="473393" y="2579370"/>
                  </a:moveTo>
                  <a:cubicBezTo>
                    <a:pt x="473393" y="2604135"/>
                    <a:pt x="493395" y="2623185"/>
                    <a:pt x="517208" y="2623185"/>
                  </a:cubicBezTo>
                  <a:cubicBezTo>
                    <a:pt x="541973" y="2623185"/>
                    <a:pt x="561023" y="2603183"/>
                    <a:pt x="561023" y="2579370"/>
                  </a:cubicBezTo>
                  <a:cubicBezTo>
                    <a:pt x="561023" y="2555558"/>
                    <a:pt x="541020" y="2535555"/>
                    <a:pt x="517208" y="2535555"/>
                  </a:cubicBezTo>
                  <a:cubicBezTo>
                    <a:pt x="493395" y="2535555"/>
                    <a:pt x="473393" y="2555558"/>
                    <a:pt x="473393" y="2579370"/>
                  </a:cubicBezTo>
                  <a:close/>
                  <a:moveTo>
                    <a:pt x="481965" y="2366963"/>
                  </a:moveTo>
                  <a:cubicBezTo>
                    <a:pt x="481965" y="2386013"/>
                    <a:pt x="498158" y="2402205"/>
                    <a:pt x="517208" y="2402205"/>
                  </a:cubicBezTo>
                  <a:cubicBezTo>
                    <a:pt x="536258" y="2402205"/>
                    <a:pt x="552450" y="2386013"/>
                    <a:pt x="552450" y="2366963"/>
                  </a:cubicBezTo>
                  <a:cubicBezTo>
                    <a:pt x="552450" y="2347913"/>
                    <a:pt x="536258" y="2331720"/>
                    <a:pt x="517208" y="2331720"/>
                  </a:cubicBezTo>
                  <a:cubicBezTo>
                    <a:pt x="498158" y="2331720"/>
                    <a:pt x="481965" y="2347913"/>
                    <a:pt x="481965" y="2366963"/>
                  </a:cubicBezTo>
                  <a:close/>
                  <a:moveTo>
                    <a:pt x="464820" y="2791778"/>
                  </a:moveTo>
                  <a:cubicBezTo>
                    <a:pt x="464820" y="2821305"/>
                    <a:pt x="488633" y="2845118"/>
                    <a:pt x="518160" y="2845118"/>
                  </a:cubicBezTo>
                  <a:cubicBezTo>
                    <a:pt x="547688" y="2845118"/>
                    <a:pt x="571500" y="2821305"/>
                    <a:pt x="571500" y="2791778"/>
                  </a:cubicBezTo>
                  <a:cubicBezTo>
                    <a:pt x="571500" y="2762250"/>
                    <a:pt x="547688" y="2738438"/>
                    <a:pt x="518160" y="2738438"/>
                  </a:cubicBezTo>
                  <a:cubicBezTo>
                    <a:pt x="488633" y="2738438"/>
                    <a:pt x="464820" y="2763203"/>
                    <a:pt x="464820" y="2791778"/>
                  </a:cubicBezTo>
                  <a:close/>
                  <a:moveTo>
                    <a:pt x="440055" y="3217545"/>
                  </a:moveTo>
                  <a:cubicBezTo>
                    <a:pt x="440055" y="3260408"/>
                    <a:pt x="475298" y="3295650"/>
                    <a:pt x="518160" y="3295650"/>
                  </a:cubicBezTo>
                  <a:cubicBezTo>
                    <a:pt x="561023" y="3295650"/>
                    <a:pt x="596265" y="3260408"/>
                    <a:pt x="596265" y="3217545"/>
                  </a:cubicBezTo>
                  <a:cubicBezTo>
                    <a:pt x="596265" y="3174683"/>
                    <a:pt x="561023" y="3139440"/>
                    <a:pt x="518160" y="3139440"/>
                  </a:cubicBezTo>
                  <a:cubicBezTo>
                    <a:pt x="475298" y="3139440"/>
                    <a:pt x="440055" y="3174683"/>
                    <a:pt x="440055" y="3217545"/>
                  </a:cubicBezTo>
                  <a:close/>
                  <a:moveTo>
                    <a:pt x="706755" y="4428173"/>
                  </a:moveTo>
                  <a:cubicBezTo>
                    <a:pt x="706755" y="4445318"/>
                    <a:pt x="721043" y="4459605"/>
                    <a:pt x="738188" y="4459605"/>
                  </a:cubicBezTo>
                  <a:cubicBezTo>
                    <a:pt x="755333" y="4459605"/>
                    <a:pt x="769620" y="4445318"/>
                    <a:pt x="769620" y="4428173"/>
                  </a:cubicBezTo>
                  <a:cubicBezTo>
                    <a:pt x="769620" y="4411028"/>
                    <a:pt x="755333" y="4396740"/>
                    <a:pt x="738188" y="4396740"/>
                  </a:cubicBezTo>
                  <a:cubicBezTo>
                    <a:pt x="721043" y="4396740"/>
                    <a:pt x="706755" y="4411028"/>
                    <a:pt x="706755" y="4428173"/>
                  </a:cubicBezTo>
                  <a:close/>
                  <a:moveTo>
                    <a:pt x="706755" y="4222433"/>
                  </a:moveTo>
                  <a:cubicBezTo>
                    <a:pt x="706755" y="4239578"/>
                    <a:pt x="721043" y="4253865"/>
                    <a:pt x="738188" y="4253865"/>
                  </a:cubicBezTo>
                  <a:cubicBezTo>
                    <a:pt x="755333" y="4253865"/>
                    <a:pt x="769620" y="4239578"/>
                    <a:pt x="769620" y="4222433"/>
                  </a:cubicBezTo>
                  <a:cubicBezTo>
                    <a:pt x="769620" y="4205288"/>
                    <a:pt x="755333" y="4191000"/>
                    <a:pt x="738188" y="4191000"/>
                  </a:cubicBezTo>
                  <a:cubicBezTo>
                    <a:pt x="721043" y="4191000"/>
                    <a:pt x="706755" y="4205288"/>
                    <a:pt x="706755" y="4222433"/>
                  </a:cubicBezTo>
                  <a:close/>
                  <a:moveTo>
                    <a:pt x="693420" y="3604260"/>
                  </a:moveTo>
                  <a:cubicBezTo>
                    <a:pt x="693420" y="3629025"/>
                    <a:pt x="713423" y="3648075"/>
                    <a:pt x="737235" y="3648075"/>
                  </a:cubicBezTo>
                  <a:cubicBezTo>
                    <a:pt x="761048" y="3648075"/>
                    <a:pt x="781050" y="3628073"/>
                    <a:pt x="781050" y="3604260"/>
                  </a:cubicBezTo>
                  <a:cubicBezTo>
                    <a:pt x="781050" y="3580448"/>
                    <a:pt x="761048" y="3560445"/>
                    <a:pt x="737235" y="3560445"/>
                  </a:cubicBezTo>
                  <a:cubicBezTo>
                    <a:pt x="713423" y="3560445"/>
                    <a:pt x="693420" y="3579495"/>
                    <a:pt x="693420" y="3604260"/>
                  </a:cubicBezTo>
                  <a:close/>
                  <a:moveTo>
                    <a:pt x="684848" y="3397568"/>
                  </a:moveTo>
                  <a:cubicBezTo>
                    <a:pt x="684848" y="3427095"/>
                    <a:pt x="708660" y="3450908"/>
                    <a:pt x="738188" y="3450908"/>
                  </a:cubicBezTo>
                  <a:cubicBezTo>
                    <a:pt x="767715" y="3450908"/>
                    <a:pt x="791528" y="3427095"/>
                    <a:pt x="791528" y="3397568"/>
                  </a:cubicBezTo>
                  <a:cubicBezTo>
                    <a:pt x="791528" y="3368040"/>
                    <a:pt x="767715" y="3344228"/>
                    <a:pt x="738188" y="3344228"/>
                  </a:cubicBezTo>
                  <a:cubicBezTo>
                    <a:pt x="708660" y="3345180"/>
                    <a:pt x="684848" y="3368040"/>
                    <a:pt x="684848" y="3397568"/>
                  </a:cubicBezTo>
                  <a:close/>
                  <a:moveTo>
                    <a:pt x="675323" y="3191828"/>
                  </a:moveTo>
                  <a:cubicBezTo>
                    <a:pt x="675323" y="3226118"/>
                    <a:pt x="702945" y="3253740"/>
                    <a:pt x="737235" y="3253740"/>
                  </a:cubicBezTo>
                  <a:cubicBezTo>
                    <a:pt x="771525" y="3253740"/>
                    <a:pt x="799148" y="3226118"/>
                    <a:pt x="799148" y="3191828"/>
                  </a:cubicBezTo>
                  <a:cubicBezTo>
                    <a:pt x="799148" y="3157538"/>
                    <a:pt x="771525" y="3129915"/>
                    <a:pt x="737235" y="3129915"/>
                  </a:cubicBezTo>
                  <a:cubicBezTo>
                    <a:pt x="702945" y="3129915"/>
                    <a:pt x="675323" y="3157538"/>
                    <a:pt x="675323" y="3191828"/>
                  </a:cubicBezTo>
                  <a:close/>
                  <a:moveTo>
                    <a:pt x="706755" y="4016693"/>
                  </a:moveTo>
                  <a:cubicBezTo>
                    <a:pt x="706755" y="4033838"/>
                    <a:pt x="721043" y="4048125"/>
                    <a:pt x="738188" y="4048125"/>
                  </a:cubicBezTo>
                  <a:cubicBezTo>
                    <a:pt x="755333" y="4048125"/>
                    <a:pt x="769620" y="4033838"/>
                    <a:pt x="769620" y="4016693"/>
                  </a:cubicBezTo>
                  <a:cubicBezTo>
                    <a:pt x="769620" y="3999548"/>
                    <a:pt x="755333" y="3985260"/>
                    <a:pt x="738188" y="3985260"/>
                  </a:cubicBezTo>
                  <a:cubicBezTo>
                    <a:pt x="721043" y="3985260"/>
                    <a:pt x="706755" y="3998595"/>
                    <a:pt x="706755" y="4016693"/>
                  </a:cubicBezTo>
                  <a:close/>
                  <a:moveTo>
                    <a:pt x="701993" y="3810000"/>
                  </a:moveTo>
                  <a:cubicBezTo>
                    <a:pt x="701993" y="3829050"/>
                    <a:pt x="718185" y="3845243"/>
                    <a:pt x="737235" y="3845243"/>
                  </a:cubicBezTo>
                  <a:cubicBezTo>
                    <a:pt x="756285" y="3845243"/>
                    <a:pt x="772478" y="3829050"/>
                    <a:pt x="772478" y="3810000"/>
                  </a:cubicBezTo>
                  <a:cubicBezTo>
                    <a:pt x="772478" y="3790950"/>
                    <a:pt x="756285" y="3774758"/>
                    <a:pt x="737235" y="3774758"/>
                  </a:cubicBezTo>
                  <a:cubicBezTo>
                    <a:pt x="718185" y="3774758"/>
                    <a:pt x="701993" y="3790950"/>
                    <a:pt x="701993" y="3810000"/>
                  </a:cubicBezTo>
                  <a:close/>
                  <a:moveTo>
                    <a:pt x="684848" y="2573655"/>
                  </a:moveTo>
                  <a:cubicBezTo>
                    <a:pt x="684848" y="2603183"/>
                    <a:pt x="708660" y="2626995"/>
                    <a:pt x="738188" y="2626995"/>
                  </a:cubicBezTo>
                  <a:cubicBezTo>
                    <a:pt x="767715" y="2626995"/>
                    <a:pt x="791528" y="2603183"/>
                    <a:pt x="791528" y="2573655"/>
                  </a:cubicBezTo>
                  <a:cubicBezTo>
                    <a:pt x="791528" y="2544128"/>
                    <a:pt x="767715" y="2520315"/>
                    <a:pt x="738188" y="2520315"/>
                  </a:cubicBezTo>
                  <a:cubicBezTo>
                    <a:pt x="708660" y="2520315"/>
                    <a:pt x="684848" y="2544128"/>
                    <a:pt x="684848" y="2573655"/>
                  </a:cubicBezTo>
                  <a:close/>
                  <a:moveTo>
                    <a:pt x="693420" y="2366963"/>
                  </a:moveTo>
                  <a:cubicBezTo>
                    <a:pt x="693420" y="2391728"/>
                    <a:pt x="713423" y="2410778"/>
                    <a:pt x="737235" y="2410778"/>
                  </a:cubicBezTo>
                  <a:cubicBezTo>
                    <a:pt x="761048" y="2410778"/>
                    <a:pt x="781050" y="2390775"/>
                    <a:pt x="781050" y="2366963"/>
                  </a:cubicBezTo>
                  <a:cubicBezTo>
                    <a:pt x="781050" y="2343150"/>
                    <a:pt x="761048" y="2323148"/>
                    <a:pt x="737235" y="2323148"/>
                  </a:cubicBezTo>
                  <a:cubicBezTo>
                    <a:pt x="713423" y="2323148"/>
                    <a:pt x="693420" y="2342198"/>
                    <a:pt x="693420" y="2366963"/>
                  </a:cubicBezTo>
                  <a:close/>
                  <a:moveTo>
                    <a:pt x="675323" y="2779395"/>
                  </a:moveTo>
                  <a:cubicBezTo>
                    <a:pt x="675323" y="2813685"/>
                    <a:pt x="702945" y="2841308"/>
                    <a:pt x="737235" y="2841308"/>
                  </a:cubicBezTo>
                  <a:cubicBezTo>
                    <a:pt x="771525" y="2841308"/>
                    <a:pt x="799148" y="2813685"/>
                    <a:pt x="799148" y="2779395"/>
                  </a:cubicBezTo>
                  <a:cubicBezTo>
                    <a:pt x="799148" y="2745105"/>
                    <a:pt x="771525" y="2717483"/>
                    <a:pt x="737235" y="2717483"/>
                  </a:cubicBezTo>
                  <a:cubicBezTo>
                    <a:pt x="702945" y="2717483"/>
                    <a:pt x="675323" y="2745105"/>
                    <a:pt x="675323" y="2779395"/>
                  </a:cubicBezTo>
                  <a:close/>
                  <a:moveTo>
                    <a:pt x="659130" y="2985135"/>
                  </a:moveTo>
                  <a:cubicBezTo>
                    <a:pt x="659130" y="3027998"/>
                    <a:pt x="694373" y="3063240"/>
                    <a:pt x="737235" y="3063240"/>
                  </a:cubicBezTo>
                  <a:cubicBezTo>
                    <a:pt x="780098" y="3063240"/>
                    <a:pt x="815340" y="3027998"/>
                    <a:pt x="815340" y="2985135"/>
                  </a:cubicBezTo>
                  <a:cubicBezTo>
                    <a:pt x="815340" y="2942273"/>
                    <a:pt x="780098" y="2907030"/>
                    <a:pt x="737235" y="2907030"/>
                  </a:cubicBezTo>
                  <a:cubicBezTo>
                    <a:pt x="694373" y="2907030"/>
                    <a:pt x="659130" y="2942273"/>
                    <a:pt x="659130" y="2985135"/>
                  </a:cubicBezTo>
                  <a:close/>
                  <a:moveTo>
                    <a:pt x="922020" y="3625215"/>
                  </a:moveTo>
                  <a:cubicBezTo>
                    <a:pt x="922020" y="3644265"/>
                    <a:pt x="938213" y="3660458"/>
                    <a:pt x="957263" y="3660458"/>
                  </a:cubicBezTo>
                  <a:cubicBezTo>
                    <a:pt x="976313" y="3660458"/>
                    <a:pt x="992505" y="3644265"/>
                    <a:pt x="992505" y="3625215"/>
                  </a:cubicBezTo>
                  <a:cubicBezTo>
                    <a:pt x="992505" y="3606165"/>
                    <a:pt x="976313" y="3589973"/>
                    <a:pt x="957263" y="3589973"/>
                  </a:cubicBezTo>
                  <a:cubicBezTo>
                    <a:pt x="938213" y="3589973"/>
                    <a:pt x="922020" y="3606165"/>
                    <a:pt x="922020" y="3625215"/>
                  </a:cubicBezTo>
                  <a:close/>
                  <a:moveTo>
                    <a:pt x="913448" y="3415665"/>
                  </a:moveTo>
                  <a:cubicBezTo>
                    <a:pt x="913448" y="3440430"/>
                    <a:pt x="933450" y="3459480"/>
                    <a:pt x="957263" y="3459480"/>
                  </a:cubicBezTo>
                  <a:cubicBezTo>
                    <a:pt x="982028" y="3459480"/>
                    <a:pt x="1001078" y="3439478"/>
                    <a:pt x="1001078" y="3415665"/>
                  </a:cubicBezTo>
                  <a:cubicBezTo>
                    <a:pt x="1001078" y="3391853"/>
                    <a:pt x="981075" y="3371850"/>
                    <a:pt x="957263" y="3371850"/>
                  </a:cubicBezTo>
                  <a:cubicBezTo>
                    <a:pt x="933450" y="3371850"/>
                    <a:pt x="913448" y="3390900"/>
                    <a:pt x="913448" y="3415665"/>
                  </a:cubicBezTo>
                  <a:close/>
                  <a:moveTo>
                    <a:pt x="903923" y="3206115"/>
                  </a:moveTo>
                  <a:cubicBezTo>
                    <a:pt x="903923" y="3235643"/>
                    <a:pt x="927735" y="3259455"/>
                    <a:pt x="957263" y="3259455"/>
                  </a:cubicBezTo>
                  <a:cubicBezTo>
                    <a:pt x="986790" y="3259455"/>
                    <a:pt x="1010603" y="3235643"/>
                    <a:pt x="1010603" y="3206115"/>
                  </a:cubicBezTo>
                  <a:cubicBezTo>
                    <a:pt x="1010603" y="3176588"/>
                    <a:pt x="986790" y="3152775"/>
                    <a:pt x="957263" y="3152775"/>
                  </a:cubicBezTo>
                  <a:cubicBezTo>
                    <a:pt x="927735" y="3152775"/>
                    <a:pt x="903923" y="3176588"/>
                    <a:pt x="903923" y="3206115"/>
                  </a:cubicBezTo>
                  <a:close/>
                  <a:moveTo>
                    <a:pt x="895350" y="2576513"/>
                  </a:moveTo>
                  <a:cubicBezTo>
                    <a:pt x="895350" y="2610803"/>
                    <a:pt x="922973" y="2638425"/>
                    <a:pt x="957263" y="2638425"/>
                  </a:cubicBezTo>
                  <a:cubicBezTo>
                    <a:pt x="991553" y="2638425"/>
                    <a:pt x="1019175" y="2610803"/>
                    <a:pt x="1019175" y="2576513"/>
                  </a:cubicBezTo>
                  <a:cubicBezTo>
                    <a:pt x="1019175" y="2542223"/>
                    <a:pt x="991553" y="2514600"/>
                    <a:pt x="957263" y="2514600"/>
                  </a:cubicBezTo>
                  <a:cubicBezTo>
                    <a:pt x="922973" y="2514600"/>
                    <a:pt x="895350" y="2542223"/>
                    <a:pt x="895350" y="2576513"/>
                  </a:cubicBezTo>
                  <a:close/>
                  <a:moveTo>
                    <a:pt x="903923" y="2366963"/>
                  </a:moveTo>
                  <a:cubicBezTo>
                    <a:pt x="903923" y="2396490"/>
                    <a:pt x="927735" y="2420303"/>
                    <a:pt x="957263" y="2420303"/>
                  </a:cubicBezTo>
                  <a:cubicBezTo>
                    <a:pt x="986790" y="2420303"/>
                    <a:pt x="1010603" y="2396490"/>
                    <a:pt x="1010603" y="2366963"/>
                  </a:cubicBezTo>
                  <a:cubicBezTo>
                    <a:pt x="1010603" y="2337435"/>
                    <a:pt x="986790" y="2313623"/>
                    <a:pt x="957263" y="2313623"/>
                  </a:cubicBezTo>
                  <a:cubicBezTo>
                    <a:pt x="927735" y="2313623"/>
                    <a:pt x="903923" y="2337435"/>
                    <a:pt x="903923" y="2366963"/>
                  </a:cubicBezTo>
                  <a:close/>
                  <a:moveTo>
                    <a:pt x="895350" y="2996565"/>
                  </a:moveTo>
                  <a:cubicBezTo>
                    <a:pt x="895350" y="3030855"/>
                    <a:pt x="922973" y="3058478"/>
                    <a:pt x="957263" y="3058478"/>
                  </a:cubicBezTo>
                  <a:cubicBezTo>
                    <a:pt x="991553" y="3058478"/>
                    <a:pt x="1019175" y="3030855"/>
                    <a:pt x="1019175" y="2996565"/>
                  </a:cubicBezTo>
                  <a:cubicBezTo>
                    <a:pt x="1019175" y="2962275"/>
                    <a:pt x="991553" y="2934653"/>
                    <a:pt x="957263" y="2934653"/>
                  </a:cubicBezTo>
                  <a:cubicBezTo>
                    <a:pt x="922973" y="2934653"/>
                    <a:pt x="895350" y="2962275"/>
                    <a:pt x="895350" y="2996565"/>
                  </a:cubicBezTo>
                  <a:close/>
                  <a:moveTo>
                    <a:pt x="879158" y="2786063"/>
                  </a:moveTo>
                  <a:cubicBezTo>
                    <a:pt x="879158" y="2828925"/>
                    <a:pt x="914400" y="2864168"/>
                    <a:pt x="957263" y="2864168"/>
                  </a:cubicBezTo>
                  <a:cubicBezTo>
                    <a:pt x="1000125" y="2864168"/>
                    <a:pt x="1035368" y="2828925"/>
                    <a:pt x="1035368" y="2786063"/>
                  </a:cubicBezTo>
                  <a:cubicBezTo>
                    <a:pt x="1035368" y="2743200"/>
                    <a:pt x="1000125" y="2707958"/>
                    <a:pt x="957263" y="2707958"/>
                  </a:cubicBezTo>
                  <a:cubicBezTo>
                    <a:pt x="914400" y="2707958"/>
                    <a:pt x="879158" y="2743200"/>
                    <a:pt x="879158" y="2786063"/>
                  </a:cubicBezTo>
                  <a:close/>
                </a:path>
              </a:pathLst>
            </a:custGeom>
            <a:solidFill>
              <a:srgbClr val="E8E8E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3" name="Corner blue">
              <a:extLst>
                <a:ext uri="{FF2B5EF4-FFF2-40B4-BE49-F238E27FC236}">
                  <a16:creationId xmlns:a16="http://schemas.microsoft.com/office/drawing/2014/main" id="{2F96AB9C-A9AE-45A6-9544-6289954EB26E}"/>
                </a:ext>
              </a:extLst>
            </p:cNvPr>
            <p:cNvSpPr/>
            <p:nvPr/>
          </p:nvSpPr>
          <p:spPr>
            <a:xfrm>
              <a:off x="4077651" y="476250"/>
              <a:ext cx="790574" cy="6376035"/>
            </a:xfrm>
            <a:custGeom>
              <a:avLst/>
              <a:gdLst>
                <a:gd name="connsiteX0" fmla="*/ 634365 w 790574"/>
                <a:gd name="connsiteY0" fmla="*/ 661988 h 6376035"/>
                <a:gd name="connsiteX1" fmla="*/ 712470 w 790574"/>
                <a:gd name="connsiteY1" fmla="*/ 740093 h 6376035"/>
                <a:gd name="connsiteX2" fmla="*/ 790575 w 790574"/>
                <a:gd name="connsiteY2" fmla="*/ 661988 h 6376035"/>
                <a:gd name="connsiteX3" fmla="*/ 712470 w 790574"/>
                <a:gd name="connsiteY3" fmla="*/ 583883 h 6376035"/>
                <a:gd name="connsiteX4" fmla="*/ 634365 w 790574"/>
                <a:gd name="connsiteY4" fmla="*/ 661988 h 6376035"/>
                <a:gd name="connsiteX5" fmla="*/ 677228 w 790574"/>
                <a:gd name="connsiteY5" fmla="*/ 1695450 h 6376035"/>
                <a:gd name="connsiteX6" fmla="*/ 715328 w 790574"/>
                <a:gd name="connsiteY6" fmla="*/ 1727835 h 6376035"/>
                <a:gd name="connsiteX7" fmla="*/ 747713 w 790574"/>
                <a:gd name="connsiteY7" fmla="*/ 1689735 h 6376035"/>
                <a:gd name="connsiteX8" fmla="*/ 709613 w 790574"/>
                <a:gd name="connsiteY8" fmla="*/ 1657350 h 6376035"/>
                <a:gd name="connsiteX9" fmla="*/ 677228 w 790574"/>
                <a:gd name="connsiteY9" fmla="*/ 1695450 h 6376035"/>
                <a:gd name="connsiteX10" fmla="*/ 668655 w 790574"/>
                <a:gd name="connsiteY10" fmla="*/ 1486853 h 6376035"/>
                <a:gd name="connsiteX11" fmla="*/ 712470 w 790574"/>
                <a:gd name="connsiteY11" fmla="*/ 1530668 h 6376035"/>
                <a:gd name="connsiteX12" fmla="*/ 756285 w 790574"/>
                <a:gd name="connsiteY12" fmla="*/ 1486853 h 6376035"/>
                <a:gd name="connsiteX13" fmla="*/ 712470 w 790574"/>
                <a:gd name="connsiteY13" fmla="*/ 1443038 h 6376035"/>
                <a:gd name="connsiteX14" fmla="*/ 668655 w 790574"/>
                <a:gd name="connsiteY14" fmla="*/ 1486853 h 6376035"/>
                <a:gd name="connsiteX15" fmla="*/ 650558 w 790574"/>
                <a:gd name="connsiteY15" fmla="*/ 1074420 h 6376035"/>
                <a:gd name="connsiteX16" fmla="*/ 712470 w 790574"/>
                <a:gd name="connsiteY16" fmla="*/ 1136333 h 6376035"/>
                <a:gd name="connsiteX17" fmla="*/ 774383 w 790574"/>
                <a:gd name="connsiteY17" fmla="*/ 1074420 h 6376035"/>
                <a:gd name="connsiteX18" fmla="*/ 712470 w 790574"/>
                <a:gd name="connsiteY18" fmla="*/ 1012508 h 6376035"/>
                <a:gd name="connsiteX19" fmla="*/ 650558 w 790574"/>
                <a:gd name="connsiteY19" fmla="*/ 1074420 h 6376035"/>
                <a:gd name="connsiteX20" fmla="*/ 660083 w 790574"/>
                <a:gd name="connsiteY20" fmla="*/ 249555 h 6376035"/>
                <a:gd name="connsiteX21" fmla="*/ 713423 w 790574"/>
                <a:gd name="connsiteY21" fmla="*/ 302895 h 6376035"/>
                <a:gd name="connsiteX22" fmla="*/ 766763 w 790574"/>
                <a:gd name="connsiteY22" fmla="*/ 249555 h 6376035"/>
                <a:gd name="connsiteX23" fmla="*/ 713423 w 790574"/>
                <a:gd name="connsiteY23" fmla="*/ 196215 h 6376035"/>
                <a:gd name="connsiteX24" fmla="*/ 660083 w 790574"/>
                <a:gd name="connsiteY24" fmla="*/ 249555 h 6376035"/>
                <a:gd name="connsiteX25" fmla="*/ 668655 w 790574"/>
                <a:gd name="connsiteY25" fmla="*/ 43815 h 6376035"/>
                <a:gd name="connsiteX26" fmla="*/ 712470 w 790574"/>
                <a:gd name="connsiteY26" fmla="*/ 87630 h 6376035"/>
                <a:gd name="connsiteX27" fmla="*/ 756285 w 790574"/>
                <a:gd name="connsiteY27" fmla="*/ 43815 h 6376035"/>
                <a:gd name="connsiteX28" fmla="*/ 712470 w 790574"/>
                <a:gd name="connsiteY28" fmla="*/ 0 h 6376035"/>
                <a:gd name="connsiteX29" fmla="*/ 668655 w 790574"/>
                <a:gd name="connsiteY29" fmla="*/ 43815 h 6376035"/>
                <a:gd name="connsiteX30" fmla="*/ 660083 w 790574"/>
                <a:gd name="connsiteY30" fmla="*/ 1280160 h 6376035"/>
                <a:gd name="connsiteX31" fmla="*/ 713423 w 790574"/>
                <a:gd name="connsiteY31" fmla="*/ 1333500 h 6376035"/>
                <a:gd name="connsiteX32" fmla="*/ 766763 w 790574"/>
                <a:gd name="connsiteY32" fmla="*/ 1280160 h 6376035"/>
                <a:gd name="connsiteX33" fmla="*/ 713423 w 790574"/>
                <a:gd name="connsiteY33" fmla="*/ 1226820 h 6376035"/>
                <a:gd name="connsiteX34" fmla="*/ 660083 w 790574"/>
                <a:gd name="connsiteY34" fmla="*/ 1280160 h 6376035"/>
                <a:gd name="connsiteX35" fmla="*/ 650558 w 790574"/>
                <a:gd name="connsiteY35" fmla="*/ 456248 h 6376035"/>
                <a:gd name="connsiteX36" fmla="*/ 712470 w 790574"/>
                <a:gd name="connsiteY36" fmla="*/ 518160 h 6376035"/>
                <a:gd name="connsiteX37" fmla="*/ 774383 w 790574"/>
                <a:gd name="connsiteY37" fmla="*/ 456248 h 6376035"/>
                <a:gd name="connsiteX38" fmla="*/ 712470 w 790574"/>
                <a:gd name="connsiteY38" fmla="*/ 394335 h 6376035"/>
                <a:gd name="connsiteX39" fmla="*/ 650558 w 790574"/>
                <a:gd name="connsiteY39" fmla="*/ 456248 h 6376035"/>
                <a:gd name="connsiteX40" fmla="*/ 634365 w 790574"/>
                <a:gd name="connsiteY40" fmla="*/ 868680 h 6376035"/>
                <a:gd name="connsiteX41" fmla="*/ 712470 w 790574"/>
                <a:gd name="connsiteY41" fmla="*/ 946785 h 6376035"/>
                <a:gd name="connsiteX42" fmla="*/ 790575 w 790574"/>
                <a:gd name="connsiteY42" fmla="*/ 868680 h 6376035"/>
                <a:gd name="connsiteX43" fmla="*/ 712470 w 790574"/>
                <a:gd name="connsiteY43" fmla="*/ 790575 h 6376035"/>
                <a:gd name="connsiteX44" fmla="*/ 634365 w 790574"/>
                <a:gd name="connsiteY44" fmla="*/ 868680 h 6376035"/>
                <a:gd name="connsiteX45" fmla="*/ 18098 w 790574"/>
                <a:gd name="connsiteY45" fmla="*/ 1695450 h 6376035"/>
                <a:gd name="connsiteX46" fmla="*/ 56198 w 790574"/>
                <a:gd name="connsiteY46" fmla="*/ 1727835 h 6376035"/>
                <a:gd name="connsiteX47" fmla="*/ 88583 w 790574"/>
                <a:gd name="connsiteY47" fmla="*/ 1689735 h 6376035"/>
                <a:gd name="connsiteX48" fmla="*/ 50483 w 790574"/>
                <a:gd name="connsiteY48" fmla="*/ 1657350 h 6376035"/>
                <a:gd name="connsiteX49" fmla="*/ 18098 w 790574"/>
                <a:gd name="connsiteY49" fmla="*/ 1695450 h 6376035"/>
                <a:gd name="connsiteX50" fmla="*/ 9525 w 790574"/>
                <a:gd name="connsiteY50" fmla="*/ 1486853 h 6376035"/>
                <a:gd name="connsiteX51" fmla="*/ 53340 w 790574"/>
                <a:gd name="connsiteY51" fmla="*/ 1530668 h 6376035"/>
                <a:gd name="connsiteX52" fmla="*/ 97155 w 790574"/>
                <a:gd name="connsiteY52" fmla="*/ 1486853 h 6376035"/>
                <a:gd name="connsiteX53" fmla="*/ 53340 w 790574"/>
                <a:gd name="connsiteY53" fmla="*/ 1443038 h 6376035"/>
                <a:gd name="connsiteX54" fmla="*/ 9525 w 790574"/>
                <a:gd name="connsiteY54" fmla="*/ 1486853 h 6376035"/>
                <a:gd name="connsiteX55" fmla="*/ 0 w 790574"/>
                <a:gd name="connsiteY55" fmla="*/ 1280160 h 6376035"/>
                <a:gd name="connsiteX56" fmla="*/ 53340 w 790574"/>
                <a:gd name="connsiteY56" fmla="*/ 1333500 h 6376035"/>
                <a:gd name="connsiteX57" fmla="*/ 106680 w 790574"/>
                <a:gd name="connsiteY57" fmla="*/ 1280160 h 6376035"/>
                <a:gd name="connsiteX58" fmla="*/ 53340 w 790574"/>
                <a:gd name="connsiteY58" fmla="*/ 1226820 h 6376035"/>
                <a:gd name="connsiteX59" fmla="*/ 0 w 790574"/>
                <a:gd name="connsiteY59" fmla="*/ 1280160 h 6376035"/>
                <a:gd name="connsiteX60" fmla="*/ 0 w 790574"/>
                <a:gd name="connsiteY60" fmla="*/ 2106930 h 6376035"/>
                <a:gd name="connsiteX61" fmla="*/ 53340 w 790574"/>
                <a:gd name="connsiteY61" fmla="*/ 2160270 h 6376035"/>
                <a:gd name="connsiteX62" fmla="*/ 106680 w 790574"/>
                <a:gd name="connsiteY62" fmla="*/ 2106930 h 6376035"/>
                <a:gd name="connsiteX63" fmla="*/ 53340 w 790574"/>
                <a:gd name="connsiteY63" fmla="*/ 2053590 h 6376035"/>
                <a:gd name="connsiteX64" fmla="*/ 0 w 790574"/>
                <a:gd name="connsiteY64" fmla="*/ 2106930 h 6376035"/>
                <a:gd name="connsiteX65" fmla="*/ 9525 w 790574"/>
                <a:gd name="connsiteY65" fmla="*/ 1900238 h 6376035"/>
                <a:gd name="connsiteX66" fmla="*/ 53340 w 790574"/>
                <a:gd name="connsiteY66" fmla="*/ 1944053 h 6376035"/>
                <a:gd name="connsiteX67" fmla="*/ 97155 w 790574"/>
                <a:gd name="connsiteY67" fmla="*/ 1900238 h 6376035"/>
                <a:gd name="connsiteX68" fmla="*/ 53340 w 790574"/>
                <a:gd name="connsiteY68" fmla="*/ 1856423 h 6376035"/>
                <a:gd name="connsiteX69" fmla="*/ 9525 w 790574"/>
                <a:gd name="connsiteY69" fmla="*/ 1900238 h 6376035"/>
                <a:gd name="connsiteX70" fmla="*/ 220028 w 790574"/>
                <a:gd name="connsiteY70" fmla="*/ 6322695 h 6376035"/>
                <a:gd name="connsiteX71" fmla="*/ 273368 w 790574"/>
                <a:gd name="connsiteY71" fmla="*/ 6376035 h 6376035"/>
                <a:gd name="connsiteX72" fmla="*/ 326708 w 790574"/>
                <a:gd name="connsiteY72" fmla="*/ 6322695 h 6376035"/>
                <a:gd name="connsiteX73" fmla="*/ 273368 w 790574"/>
                <a:gd name="connsiteY73" fmla="*/ 6269355 h 6376035"/>
                <a:gd name="connsiteX74" fmla="*/ 220028 w 790574"/>
                <a:gd name="connsiteY74" fmla="*/ 6322695 h 6376035"/>
                <a:gd name="connsiteX75" fmla="*/ 211455 w 790574"/>
                <a:gd name="connsiteY75" fmla="*/ 6081713 h 6376035"/>
                <a:gd name="connsiteX76" fmla="*/ 273368 w 790574"/>
                <a:gd name="connsiteY76" fmla="*/ 6143625 h 6376035"/>
                <a:gd name="connsiteX77" fmla="*/ 335280 w 790574"/>
                <a:gd name="connsiteY77" fmla="*/ 6081713 h 6376035"/>
                <a:gd name="connsiteX78" fmla="*/ 273368 w 790574"/>
                <a:gd name="connsiteY78" fmla="*/ 6019800 h 6376035"/>
                <a:gd name="connsiteX79" fmla="*/ 211455 w 790574"/>
                <a:gd name="connsiteY79" fmla="*/ 6081713 h 6376035"/>
                <a:gd name="connsiteX80" fmla="*/ 220028 w 790574"/>
                <a:gd name="connsiteY80" fmla="*/ 5452110 h 6376035"/>
                <a:gd name="connsiteX81" fmla="*/ 273368 w 790574"/>
                <a:gd name="connsiteY81" fmla="*/ 5505450 h 6376035"/>
                <a:gd name="connsiteX82" fmla="*/ 326708 w 790574"/>
                <a:gd name="connsiteY82" fmla="*/ 5452110 h 6376035"/>
                <a:gd name="connsiteX83" fmla="*/ 273368 w 790574"/>
                <a:gd name="connsiteY83" fmla="*/ 5398770 h 6376035"/>
                <a:gd name="connsiteX84" fmla="*/ 220028 w 790574"/>
                <a:gd name="connsiteY84" fmla="*/ 5452110 h 6376035"/>
                <a:gd name="connsiteX85" fmla="*/ 238125 w 790574"/>
                <a:gd name="connsiteY85" fmla="*/ 5033010 h 6376035"/>
                <a:gd name="connsiteX86" fmla="*/ 273368 w 790574"/>
                <a:gd name="connsiteY86" fmla="*/ 5068253 h 6376035"/>
                <a:gd name="connsiteX87" fmla="*/ 308610 w 790574"/>
                <a:gd name="connsiteY87" fmla="*/ 5033010 h 6376035"/>
                <a:gd name="connsiteX88" fmla="*/ 273368 w 790574"/>
                <a:gd name="connsiteY88" fmla="*/ 4997768 h 6376035"/>
                <a:gd name="connsiteX89" fmla="*/ 238125 w 790574"/>
                <a:gd name="connsiteY89" fmla="*/ 5033010 h 6376035"/>
                <a:gd name="connsiteX90" fmla="*/ 241935 w 790574"/>
                <a:gd name="connsiteY90" fmla="*/ 4823460 h 6376035"/>
                <a:gd name="connsiteX91" fmla="*/ 273368 w 790574"/>
                <a:gd name="connsiteY91" fmla="*/ 4854893 h 6376035"/>
                <a:gd name="connsiteX92" fmla="*/ 304800 w 790574"/>
                <a:gd name="connsiteY92" fmla="*/ 4823460 h 6376035"/>
                <a:gd name="connsiteX93" fmla="*/ 273368 w 790574"/>
                <a:gd name="connsiteY93" fmla="*/ 4792028 h 6376035"/>
                <a:gd name="connsiteX94" fmla="*/ 241935 w 790574"/>
                <a:gd name="connsiteY94" fmla="*/ 4823460 h 6376035"/>
                <a:gd name="connsiteX95" fmla="*/ 211455 w 790574"/>
                <a:gd name="connsiteY95" fmla="*/ 5662613 h 6376035"/>
                <a:gd name="connsiteX96" fmla="*/ 273368 w 790574"/>
                <a:gd name="connsiteY96" fmla="*/ 5724525 h 6376035"/>
                <a:gd name="connsiteX97" fmla="*/ 335280 w 790574"/>
                <a:gd name="connsiteY97" fmla="*/ 5662613 h 6376035"/>
                <a:gd name="connsiteX98" fmla="*/ 273368 w 790574"/>
                <a:gd name="connsiteY98" fmla="*/ 5600700 h 6376035"/>
                <a:gd name="connsiteX99" fmla="*/ 211455 w 790574"/>
                <a:gd name="connsiteY99" fmla="*/ 5662613 h 6376035"/>
                <a:gd name="connsiteX100" fmla="*/ 228600 w 790574"/>
                <a:gd name="connsiteY100" fmla="*/ 5242560 h 6376035"/>
                <a:gd name="connsiteX101" fmla="*/ 272415 w 790574"/>
                <a:gd name="connsiteY101" fmla="*/ 5286375 h 6376035"/>
                <a:gd name="connsiteX102" fmla="*/ 316230 w 790574"/>
                <a:gd name="connsiteY102" fmla="*/ 5242560 h 6376035"/>
                <a:gd name="connsiteX103" fmla="*/ 272415 w 790574"/>
                <a:gd name="connsiteY103" fmla="*/ 5198745 h 6376035"/>
                <a:gd name="connsiteX104" fmla="*/ 228600 w 790574"/>
                <a:gd name="connsiteY104" fmla="*/ 5242560 h 6376035"/>
                <a:gd name="connsiteX105" fmla="*/ 241935 w 790574"/>
                <a:gd name="connsiteY105" fmla="*/ 4404360 h 6376035"/>
                <a:gd name="connsiteX106" fmla="*/ 273368 w 790574"/>
                <a:gd name="connsiteY106" fmla="*/ 4435793 h 6376035"/>
                <a:gd name="connsiteX107" fmla="*/ 304800 w 790574"/>
                <a:gd name="connsiteY107" fmla="*/ 4404360 h 6376035"/>
                <a:gd name="connsiteX108" fmla="*/ 273368 w 790574"/>
                <a:gd name="connsiteY108" fmla="*/ 4372928 h 6376035"/>
                <a:gd name="connsiteX109" fmla="*/ 241935 w 790574"/>
                <a:gd name="connsiteY109" fmla="*/ 4404360 h 6376035"/>
                <a:gd name="connsiteX110" fmla="*/ 241935 w 790574"/>
                <a:gd name="connsiteY110" fmla="*/ 4193858 h 6376035"/>
                <a:gd name="connsiteX111" fmla="*/ 273368 w 790574"/>
                <a:gd name="connsiteY111" fmla="*/ 4225290 h 6376035"/>
                <a:gd name="connsiteX112" fmla="*/ 304800 w 790574"/>
                <a:gd name="connsiteY112" fmla="*/ 4193858 h 6376035"/>
                <a:gd name="connsiteX113" fmla="*/ 273368 w 790574"/>
                <a:gd name="connsiteY113" fmla="*/ 4162425 h 6376035"/>
                <a:gd name="connsiteX114" fmla="*/ 241935 w 790574"/>
                <a:gd name="connsiteY114" fmla="*/ 4193858 h 6376035"/>
                <a:gd name="connsiteX115" fmla="*/ 241935 w 790574"/>
                <a:gd name="connsiteY115" fmla="*/ 4613910 h 6376035"/>
                <a:gd name="connsiteX116" fmla="*/ 273368 w 790574"/>
                <a:gd name="connsiteY116" fmla="*/ 4645343 h 6376035"/>
                <a:gd name="connsiteX117" fmla="*/ 304800 w 790574"/>
                <a:gd name="connsiteY117" fmla="*/ 4613910 h 6376035"/>
                <a:gd name="connsiteX118" fmla="*/ 273368 w 790574"/>
                <a:gd name="connsiteY118" fmla="*/ 4582478 h 6376035"/>
                <a:gd name="connsiteX119" fmla="*/ 241935 w 790574"/>
                <a:gd name="connsiteY119" fmla="*/ 4613910 h 6376035"/>
                <a:gd name="connsiteX120" fmla="*/ 195263 w 790574"/>
                <a:gd name="connsiteY120" fmla="*/ 5872163 h 6376035"/>
                <a:gd name="connsiteX121" fmla="*/ 273368 w 790574"/>
                <a:gd name="connsiteY121" fmla="*/ 5950268 h 6376035"/>
                <a:gd name="connsiteX122" fmla="*/ 351473 w 790574"/>
                <a:gd name="connsiteY122" fmla="*/ 5872163 h 6376035"/>
                <a:gd name="connsiteX123" fmla="*/ 273368 w 790574"/>
                <a:gd name="connsiteY123" fmla="*/ 5794058 h 6376035"/>
                <a:gd name="connsiteX124" fmla="*/ 195263 w 790574"/>
                <a:gd name="connsiteY124" fmla="*/ 5872163 h 6376035"/>
                <a:gd name="connsiteX125" fmla="*/ 241935 w 790574"/>
                <a:gd name="connsiteY125" fmla="*/ 4029075 h 6376035"/>
                <a:gd name="connsiteX126" fmla="*/ 273368 w 790574"/>
                <a:gd name="connsiteY126" fmla="*/ 4060508 h 6376035"/>
                <a:gd name="connsiteX127" fmla="*/ 304800 w 790574"/>
                <a:gd name="connsiteY127" fmla="*/ 4029075 h 6376035"/>
                <a:gd name="connsiteX128" fmla="*/ 273368 w 790574"/>
                <a:gd name="connsiteY128" fmla="*/ 3997643 h 6376035"/>
                <a:gd name="connsiteX129" fmla="*/ 241935 w 790574"/>
                <a:gd name="connsiteY129" fmla="*/ 4029075 h 6376035"/>
                <a:gd name="connsiteX130" fmla="*/ 241935 w 790574"/>
                <a:gd name="connsiteY130" fmla="*/ 3788093 h 6376035"/>
                <a:gd name="connsiteX131" fmla="*/ 273368 w 790574"/>
                <a:gd name="connsiteY131" fmla="*/ 3819525 h 6376035"/>
                <a:gd name="connsiteX132" fmla="*/ 304800 w 790574"/>
                <a:gd name="connsiteY132" fmla="*/ 3788093 h 6376035"/>
                <a:gd name="connsiteX133" fmla="*/ 273368 w 790574"/>
                <a:gd name="connsiteY133" fmla="*/ 3756660 h 6376035"/>
                <a:gd name="connsiteX134" fmla="*/ 241935 w 790574"/>
                <a:gd name="connsiteY134" fmla="*/ 3788093 h 6376035"/>
                <a:gd name="connsiteX135" fmla="*/ 241935 w 790574"/>
                <a:gd name="connsiteY135" fmla="*/ 3577590 h 6376035"/>
                <a:gd name="connsiteX136" fmla="*/ 273368 w 790574"/>
                <a:gd name="connsiteY136" fmla="*/ 3609023 h 6376035"/>
                <a:gd name="connsiteX137" fmla="*/ 304800 w 790574"/>
                <a:gd name="connsiteY137" fmla="*/ 3577590 h 6376035"/>
                <a:gd name="connsiteX138" fmla="*/ 273368 w 790574"/>
                <a:gd name="connsiteY138" fmla="*/ 3546158 h 6376035"/>
                <a:gd name="connsiteX139" fmla="*/ 241935 w 790574"/>
                <a:gd name="connsiteY139" fmla="*/ 3577590 h 6376035"/>
                <a:gd name="connsiteX140" fmla="*/ 241935 w 790574"/>
                <a:gd name="connsiteY140" fmla="*/ 3368040 h 6376035"/>
                <a:gd name="connsiteX141" fmla="*/ 273368 w 790574"/>
                <a:gd name="connsiteY141" fmla="*/ 3399473 h 6376035"/>
                <a:gd name="connsiteX142" fmla="*/ 304800 w 790574"/>
                <a:gd name="connsiteY142" fmla="*/ 3368040 h 6376035"/>
                <a:gd name="connsiteX143" fmla="*/ 273368 w 790574"/>
                <a:gd name="connsiteY143" fmla="*/ 3336608 h 6376035"/>
                <a:gd name="connsiteX144" fmla="*/ 241935 w 790574"/>
                <a:gd name="connsiteY144" fmla="*/ 3368040 h 6376035"/>
                <a:gd name="connsiteX145" fmla="*/ 461963 w 790574"/>
                <a:gd name="connsiteY145" fmla="*/ 4026218 h 6376035"/>
                <a:gd name="connsiteX146" fmla="*/ 493395 w 790574"/>
                <a:gd name="connsiteY146" fmla="*/ 4057650 h 6376035"/>
                <a:gd name="connsiteX147" fmla="*/ 524828 w 790574"/>
                <a:gd name="connsiteY147" fmla="*/ 4026218 h 6376035"/>
                <a:gd name="connsiteX148" fmla="*/ 493395 w 790574"/>
                <a:gd name="connsiteY148" fmla="*/ 3994785 h 6376035"/>
                <a:gd name="connsiteX149" fmla="*/ 461963 w 790574"/>
                <a:gd name="connsiteY149" fmla="*/ 4026218 h 6376035"/>
                <a:gd name="connsiteX150" fmla="*/ 461963 w 790574"/>
                <a:gd name="connsiteY150" fmla="*/ 3813810 h 6376035"/>
                <a:gd name="connsiteX151" fmla="*/ 493395 w 790574"/>
                <a:gd name="connsiteY151" fmla="*/ 3845243 h 6376035"/>
                <a:gd name="connsiteX152" fmla="*/ 524828 w 790574"/>
                <a:gd name="connsiteY152" fmla="*/ 3813810 h 6376035"/>
                <a:gd name="connsiteX153" fmla="*/ 493395 w 790574"/>
                <a:gd name="connsiteY153" fmla="*/ 3782378 h 6376035"/>
                <a:gd name="connsiteX154" fmla="*/ 461963 w 790574"/>
                <a:gd name="connsiteY154" fmla="*/ 3813810 h 6376035"/>
                <a:gd name="connsiteX155" fmla="*/ 440055 w 790574"/>
                <a:gd name="connsiteY155" fmla="*/ 3175635 h 6376035"/>
                <a:gd name="connsiteX156" fmla="*/ 493395 w 790574"/>
                <a:gd name="connsiteY156" fmla="*/ 3228975 h 6376035"/>
                <a:gd name="connsiteX157" fmla="*/ 546735 w 790574"/>
                <a:gd name="connsiteY157" fmla="*/ 3175635 h 6376035"/>
                <a:gd name="connsiteX158" fmla="*/ 493395 w 790574"/>
                <a:gd name="connsiteY158" fmla="*/ 3122295 h 6376035"/>
                <a:gd name="connsiteX159" fmla="*/ 440055 w 790574"/>
                <a:gd name="connsiteY159" fmla="*/ 3175635 h 6376035"/>
                <a:gd name="connsiteX160" fmla="*/ 431483 w 790574"/>
                <a:gd name="connsiteY160" fmla="*/ 2963228 h 6376035"/>
                <a:gd name="connsiteX161" fmla="*/ 493395 w 790574"/>
                <a:gd name="connsiteY161" fmla="*/ 3025140 h 6376035"/>
                <a:gd name="connsiteX162" fmla="*/ 555308 w 790574"/>
                <a:gd name="connsiteY162" fmla="*/ 2963228 h 6376035"/>
                <a:gd name="connsiteX163" fmla="*/ 493395 w 790574"/>
                <a:gd name="connsiteY163" fmla="*/ 2901315 h 6376035"/>
                <a:gd name="connsiteX164" fmla="*/ 431483 w 790574"/>
                <a:gd name="connsiteY164" fmla="*/ 2963228 h 6376035"/>
                <a:gd name="connsiteX165" fmla="*/ 431483 w 790574"/>
                <a:gd name="connsiteY165" fmla="*/ 2538413 h 6376035"/>
                <a:gd name="connsiteX166" fmla="*/ 493395 w 790574"/>
                <a:gd name="connsiteY166" fmla="*/ 2600325 h 6376035"/>
                <a:gd name="connsiteX167" fmla="*/ 555308 w 790574"/>
                <a:gd name="connsiteY167" fmla="*/ 2538413 h 6376035"/>
                <a:gd name="connsiteX168" fmla="*/ 493395 w 790574"/>
                <a:gd name="connsiteY168" fmla="*/ 2476500 h 6376035"/>
                <a:gd name="connsiteX169" fmla="*/ 431483 w 790574"/>
                <a:gd name="connsiteY169" fmla="*/ 2538413 h 6376035"/>
                <a:gd name="connsiteX170" fmla="*/ 457200 w 790574"/>
                <a:gd name="connsiteY170" fmla="*/ 3601403 h 6376035"/>
                <a:gd name="connsiteX171" fmla="*/ 492443 w 790574"/>
                <a:gd name="connsiteY171" fmla="*/ 3636645 h 6376035"/>
                <a:gd name="connsiteX172" fmla="*/ 527685 w 790574"/>
                <a:gd name="connsiteY172" fmla="*/ 3601403 h 6376035"/>
                <a:gd name="connsiteX173" fmla="*/ 492443 w 790574"/>
                <a:gd name="connsiteY173" fmla="*/ 3566160 h 6376035"/>
                <a:gd name="connsiteX174" fmla="*/ 457200 w 790574"/>
                <a:gd name="connsiteY174" fmla="*/ 3601403 h 6376035"/>
                <a:gd name="connsiteX175" fmla="*/ 448628 w 790574"/>
                <a:gd name="connsiteY175" fmla="*/ 3388043 h 6376035"/>
                <a:gd name="connsiteX176" fmla="*/ 492443 w 790574"/>
                <a:gd name="connsiteY176" fmla="*/ 3431858 h 6376035"/>
                <a:gd name="connsiteX177" fmla="*/ 536258 w 790574"/>
                <a:gd name="connsiteY177" fmla="*/ 3388043 h 6376035"/>
                <a:gd name="connsiteX178" fmla="*/ 492443 w 790574"/>
                <a:gd name="connsiteY178" fmla="*/ 3344228 h 6376035"/>
                <a:gd name="connsiteX179" fmla="*/ 448628 w 790574"/>
                <a:gd name="connsiteY179" fmla="*/ 3388043 h 6376035"/>
                <a:gd name="connsiteX180" fmla="*/ 448628 w 790574"/>
                <a:gd name="connsiteY180" fmla="*/ 2112645 h 6376035"/>
                <a:gd name="connsiteX181" fmla="*/ 492443 w 790574"/>
                <a:gd name="connsiteY181" fmla="*/ 2156460 h 6376035"/>
                <a:gd name="connsiteX182" fmla="*/ 536258 w 790574"/>
                <a:gd name="connsiteY182" fmla="*/ 2112645 h 6376035"/>
                <a:gd name="connsiteX183" fmla="*/ 492443 w 790574"/>
                <a:gd name="connsiteY183" fmla="*/ 2068830 h 6376035"/>
                <a:gd name="connsiteX184" fmla="*/ 448628 w 790574"/>
                <a:gd name="connsiteY184" fmla="*/ 2112645 h 6376035"/>
                <a:gd name="connsiteX185" fmla="*/ 457200 w 790574"/>
                <a:gd name="connsiteY185" fmla="*/ 1900238 h 6376035"/>
                <a:gd name="connsiteX186" fmla="*/ 492443 w 790574"/>
                <a:gd name="connsiteY186" fmla="*/ 1935480 h 6376035"/>
                <a:gd name="connsiteX187" fmla="*/ 527685 w 790574"/>
                <a:gd name="connsiteY187" fmla="*/ 1900238 h 6376035"/>
                <a:gd name="connsiteX188" fmla="*/ 492443 w 790574"/>
                <a:gd name="connsiteY188" fmla="*/ 1864995 h 6376035"/>
                <a:gd name="connsiteX189" fmla="*/ 457200 w 790574"/>
                <a:gd name="connsiteY189" fmla="*/ 1900238 h 6376035"/>
                <a:gd name="connsiteX190" fmla="*/ 440055 w 790574"/>
                <a:gd name="connsiteY190" fmla="*/ 2325053 h 6376035"/>
                <a:gd name="connsiteX191" fmla="*/ 493395 w 790574"/>
                <a:gd name="connsiteY191" fmla="*/ 2378393 h 6376035"/>
                <a:gd name="connsiteX192" fmla="*/ 546735 w 790574"/>
                <a:gd name="connsiteY192" fmla="*/ 2325053 h 6376035"/>
                <a:gd name="connsiteX193" fmla="*/ 493395 w 790574"/>
                <a:gd name="connsiteY193" fmla="*/ 2271713 h 6376035"/>
                <a:gd name="connsiteX194" fmla="*/ 440055 w 790574"/>
                <a:gd name="connsiteY194" fmla="*/ 2325053 h 6376035"/>
                <a:gd name="connsiteX195" fmla="*/ 415290 w 790574"/>
                <a:gd name="connsiteY195" fmla="*/ 2750820 h 6376035"/>
                <a:gd name="connsiteX196" fmla="*/ 493395 w 790574"/>
                <a:gd name="connsiteY196" fmla="*/ 2828925 h 6376035"/>
                <a:gd name="connsiteX197" fmla="*/ 571500 w 790574"/>
                <a:gd name="connsiteY197" fmla="*/ 2750820 h 6376035"/>
                <a:gd name="connsiteX198" fmla="*/ 493395 w 790574"/>
                <a:gd name="connsiteY198" fmla="*/ 2672715 h 6376035"/>
                <a:gd name="connsiteX199" fmla="*/ 415290 w 790574"/>
                <a:gd name="connsiteY199" fmla="*/ 2750820 h 6376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790574" h="6376035">
                  <a:moveTo>
                    <a:pt x="634365" y="661988"/>
                  </a:moveTo>
                  <a:cubicBezTo>
                    <a:pt x="634365" y="704850"/>
                    <a:pt x="669608" y="740093"/>
                    <a:pt x="712470" y="740093"/>
                  </a:cubicBezTo>
                  <a:cubicBezTo>
                    <a:pt x="755333" y="740093"/>
                    <a:pt x="790575" y="704850"/>
                    <a:pt x="790575" y="661988"/>
                  </a:cubicBezTo>
                  <a:cubicBezTo>
                    <a:pt x="790575" y="619125"/>
                    <a:pt x="755333" y="583883"/>
                    <a:pt x="712470" y="583883"/>
                  </a:cubicBezTo>
                  <a:cubicBezTo>
                    <a:pt x="669608" y="583883"/>
                    <a:pt x="634365" y="619125"/>
                    <a:pt x="634365" y="661988"/>
                  </a:cubicBezTo>
                  <a:close/>
                  <a:moveTo>
                    <a:pt x="677228" y="1695450"/>
                  </a:moveTo>
                  <a:cubicBezTo>
                    <a:pt x="679133" y="1714500"/>
                    <a:pt x="696278" y="1729740"/>
                    <a:pt x="715328" y="1727835"/>
                  </a:cubicBezTo>
                  <a:cubicBezTo>
                    <a:pt x="734378" y="1725930"/>
                    <a:pt x="749618" y="1708785"/>
                    <a:pt x="747713" y="1689735"/>
                  </a:cubicBezTo>
                  <a:cubicBezTo>
                    <a:pt x="745808" y="1670685"/>
                    <a:pt x="728663" y="1655445"/>
                    <a:pt x="709613" y="1657350"/>
                  </a:cubicBezTo>
                  <a:cubicBezTo>
                    <a:pt x="690563" y="1659255"/>
                    <a:pt x="676275" y="1676400"/>
                    <a:pt x="677228" y="1695450"/>
                  </a:cubicBezTo>
                  <a:close/>
                  <a:moveTo>
                    <a:pt x="668655" y="1486853"/>
                  </a:moveTo>
                  <a:cubicBezTo>
                    <a:pt x="668655" y="1511618"/>
                    <a:pt x="688658" y="1530668"/>
                    <a:pt x="712470" y="1530668"/>
                  </a:cubicBezTo>
                  <a:cubicBezTo>
                    <a:pt x="736283" y="1530668"/>
                    <a:pt x="756285" y="1510665"/>
                    <a:pt x="756285" y="1486853"/>
                  </a:cubicBezTo>
                  <a:cubicBezTo>
                    <a:pt x="756285" y="1463040"/>
                    <a:pt x="736283" y="1443038"/>
                    <a:pt x="712470" y="1443038"/>
                  </a:cubicBezTo>
                  <a:cubicBezTo>
                    <a:pt x="688658" y="1443038"/>
                    <a:pt x="668655" y="1462088"/>
                    <a:pt x="668655" y="1486853"/>
                  </a:cubicBezTo>
                  <a:close/>
                  <a:moveTo>
                    <a:pt x="650558" y="1074420"/>
                  </a:moveTo>
                  <a:cubicBezTo>
                    <a:pt x="650558" y="1108710"/>
                    <a:pt x="678180" y="1136333"/>
                    <a:pt x="712470" y="1136333"/>
                  </a:cubicBezTo>
                  <a:cubicBezTo>
                    <a:pt x="746760" y="1136333"/>
                    <a:pt x="774383" y="1108710"/>
                    <a:pt x="774383" y="1074420"/>
                  </a:cubicBezTo>
                  <a:cubicBezTo>
                    <a:pt x="774383" y="1040130"/>
                    <a:pt x="746760" y="1012508"/>
                    <a:pt x="712470" y="1012508"/>
                  </a:cubicBezTo>
                  <a:cubicBezTo>
                    <a:pt x="678180" y="1012508"/>
                    <a:pt x="650558" y="1040130"/>
                    <a:pt x="650558" y="1074420"/>
                  </a:cubicBezTo>
                  <a:close/>
                  <a:moveTo>
                    <a:pt x="660083" y="249555"/>
                  </a:moveTo>
                  <a:cubicBezTo>
                    <a:pt x="660083" y="279083"/>
                    <a:pt x="683895" y="302895"/>
                    <a:pt x="713423" y="302895"/>
                  </a:cubicBezTo>
                  <a:cubicBezTo>
                    <a:pt x="742950" y="302895"/>
                    <a:pt x="766763" y="279083"/>
                    <a:pt x="766763" y="249555"/>
                  </a:cubicBezTo>
                  <a:cubicBezTo>
                    <a:pt x="766763" y="220027"/>
                    <a:pt x="742950" y="196215"/>
                    <a:pt x="713423" y="196215"/>
                  </a:cubicBezTo>
                  <a:cubicBezTo>
                    <a:pt x="683895" y="197167"/>
                    <a:pt x="660083" y="220980"/>
                    <a:pt x="660083" y="249555"/>
                  </a:cubicBezTo>
                  <a:close/>
                  <a:moveTo>
                    <a:pt x="668655" y="43815"/>
                  </a:moveTo>
                  <a:cubicBezTo>
                    <a:pt x="668655" y="68580"/>
                    <a:pt x="688658" y="87630"/>
                    <a:pt x="712470" y="87630"/>
                  </a:cubicBezTo>
                  <a:cubicBezTo>
                    <a:pt x="736283" y="87630"/>
                    <a:pt x="756285" y="67627"/>
                    <a:pt x="756285" y="43815"/>
                  </a:cubicBezTo>
                  <a:cubicBezTo>
                    <a:pt x="756285" y="19050"/>
                    <a:pt x="736283" y="0"/>
                    <a:pt x="712470" y="0"/>
                  </a:cubicBezTo>
                  <a:cubicBezTo>
                    <a:pt x="688658" y="0"/>
                    <a:pt x="668655" y="19050"/>
                    <a:pt x="668655" y="43815"/>
                  </a:cubicBezTo>
                  <a:close/>
                  <a:moveTo>
                    <a:pt x="660083" y="1280160"/>
                  </a:moveTo>
                  <a:cubicBezTo>
                    <a:pt x="660083" y="1309688"/>
                    <a:pt x="683895" y="1333500"/>
                    <a:pt x="713423" y="1333500"/>
                  </a:cubicBezTo>
                  <a:cubicBezTo>
                    <a:pt x="742950" y="1333500"/>
                    <a:pt x="766763" y="1309688"/>
                    <a:pt x="766763" y="1280160"/>
                  </a:cubicBezTo>
                  <a:cubicBezTo>
                    <a:pt x="766763" y="1250633"/>
                    <a:pt x="742950" y="1226820"/>
                    <a:pt x="713423" y="1226820"/>
                  </a:cubicBezTo>
                  <a:cubicBezTo>
                    <a:pt x="683895" y="1227773"/>
                    <a:pt x="660083" y="1251585"/>
                    <a:pt x="660083" y="1280160"/>
                  </a:cubicBezTo>
                  <a:close/>
                  <a:moveTo>
                    <a:pt x="650558" y="456248"/>
                  </a:moveTo>
                  <a:cubicBezTo>
                    <a:pt x="650558" y="490538"/>
                    <a:pt x="678180" y="518160"/>
                    <a:pt x="712470" y="518160"/>
                  </a:cubicBezTo>
                  <a:cubicBezTo>
                    <a:pt x="746760" y="518160"/>
                    <a:pt x="774383" y="490538"/>
                    <a:pt x="774383" y="456248"/>
                  </a:cubicBezTo>
                  <a:cubicBezTo>
                    <a:pt x="774383" y="421958"/>
                    <a:pt x="746760" y="394335"/>
                    <a:pt x="712470" y="394335"/>
                  </a:cubicBezTo>
                  <a:cubicBezTo>
                    <a:pt x="678180" y="394335"/>
                    <a:pt x="650558" y="421958"/>
                    <a:pt x="650558" y="456248"/>
                  </a:cubicBezTo>
                  <a:close/>
                  <a:moveTo>
                    <a:pt x="634365" y="868680"/>
                  </a:moveTo>
                  <a:cubicBezTo>
                    <a:pt x="634365" y="911543"/>
                    <a:pt x="669608" y="946785"/>
                    <a:pt x="712470" y="946785"/>
                  </a:cubicBezTo>
                  <a:cubicBezTo>
                    <a:pt x="755333" y="946785"/>
                    <a:pt x="790575" y="911543"/>
                    <a:pt x="790575" y="868680"/>
                  </a:cubicBezTo>
                  <a:cubicBezTo>
                    <a:pt x="790575" y="825818"/>
                    <a:pt x="756285" y="790575"/>
                    <a:pt x="712470" y="790575"/>
                  </a:cubicBezTo>
                  <a:cubicBezTo>
                    <a:pt x="668655" y="790575"/>
                    <a:pt x="634365" y="824865"/>
                    <a:pt x="634365" y="868680"/>
                  </a:cubicBezTo>
                  <a:close/>
                  <a:moveTo>
                    <a:pt x="18098" y="1695450"/>
                  </a:moveTo>
                  <a:cubicBezTo>
                    <a:pt x="20003" y="1714500"/>
                    <a:pt x="37148" y="1729740"/>
                    <a:pt x="56198" y="1727835"/>
                  </a:cubicBezTo>
                  <a:cubicBezTo>
                    <a:pt x="75248" y="1725930"/>
                    <a:pt x="90488" y="1708785"/>
                    <a:pt x="88583" y="1689735"/>
                  </a:cubicBezTo>
                  <a:cubicBezTo>
                    <a:pt x="86678" y="1670685"/>
                    <a:pt x="69533" y="1655445"/>
                    <a:pt x="50483" y="1657350"/>
                  </a:cubicBezTo>
                  <a:cubicBezTo>
                    <a:pt x="30480" y="1659255"/>
                    <a:pt x="16193" y="1676400"/>
                    <a:pt x="18098" y="1695450"/>
                  </a:cubicBezTo>
                  <a:close/>
                  <a:moveTo>
                    <a:pt x="9525" y="1486853"/>
                  </a:moveTo>
                  <a:cubicBezTo>
                    <a:pt x="9525" y="1511618"/>
                    <a:pt x="29528" y="1530668"/>
                    <a:pt x="53340" y="1530668"/>
                  </a:cubicBezTo>
                  <a:cubicBezTo>
                    <a:pt x="77153" y="1530668"/>
                    <a:pt x="97155" y="1510665"/>
                    <a:pt x="97155" y="1486853"/>
                  </a:cubicBezTo>
                  <a:cubicBezTo>
                    <a:pt x="97155" y="1463040"/>
                    <a:pt x="77153" y="1443038"/>
                    <a:pt x="53340" y="1443038"/>
                  </a:cubicBezTo>
                  <a:cubicBezTo>
                    <a:pt x="29528" y="1443038"/>
                    <a:pt x="9525" y="1462088"/>
                    <a:pt x="9525" y="1486853"/>
                  </a:cubicBezTo>
                  <a:close/>
                  <a:moveTo>
                    <a:pt x="0" y="1280160"/>
                  </a:moveTo>
                  <a:cubicBezTo>
                    <a:pt x="0" y="1309688"/>
                    <a:pt x="23813" y="1333500"/>
                    <a:pt x="53340" y="1333500"/>
                  </a:cubicBezTo>
                  <a:cubicBezTo>
                    <a:pt x="82868" y="1333500"/>
                    <a:pt x="106680" y="1309688"/>
                    <a:pt x="106680" y="1280160"/>
                  </a:cubicBezTo>
                  <a:cubicBezTo>
                    <a:pt x="106680" y="1250633"/>
                    <a:pt x="82868" y="1226820"/>
                    <a:pt x="53340" y="1226820"/>
                  </a:cubicBezTo>
                  <a:cubicBezTo>
                    <a:pt x="23813" y="1226820"/>
                    <a:pt x="0" y="1251585"/>
                    <a:pt x="0" y="1280160"/>
                  </a:cubicBezTo>
                  <a:close/>
                  <a:moveTo>
                    <a:pt x="0" y="2106930"/>
                  </a:moveTo>
                  <a:cubicBezTo>
                    <a:pt x="0" y="2136458"/>
                    <a:pt x="23813" y="2160270"/>
                    <a:pt x="53340" y="2160270"/>
                  </a:cubicBezTo>
                  <a:cubicBezTo>
                    <a:pt x="82868" y="2160270"/>
                    <a:pt x="106680" y="2136458"/>
                    <a:pt x="106680" y="2106930"/>
                  </a:cubicBezTo>
                  <a:cubicBezTo>
                    <a:pt x="106680" y="2077403"/>
                    <a:pt x="82868" y="2053590"/>
                    <a:pt x="53340" y="2053590"/>
                  </a:cubicBezTo>
                  <a:cubicBezTo>
                    <a:pt x="23813" y="2053590"/>
                    <a:pt x="0" y="2077403"/>
                    <a:pt x="0" y="2106930"/>
                  </a:cubicBezTo>
                  <a:close/>
                  <a:moveTo>
                    <a:pt x="9525" y="1900238"/>
                  </a:moveTo>
                  <a:cubicBezTo>
                    <a:pt x="9525" y="1925003"/>
                    <a:pt x="29528" y="1944053"/>
                    <a:pt x="53340" y="1944053"/>
                  </a:cubicBezTo>
                  <a:cubicBezTo>
                    <a:pt x="77153" y="1944053"/>
                    <a:pt x="97155" y="1924050"/>
                    <a:pt x="97155" y="1900238"/>
                  </a:cubicBezTo>
                  <a:cubicBezTo>
                    <a:pt x="97155" y="1876425"/>
                    <a:pt x="77153" y="1856423"/>
                    <a:pt x="53340" y="1856423"/>
                  </a:cubicBezTo>
                  <a:cubicBezTo>
                    <a:pt x="29528" y="1856423"/>
                    <a:pt x="9525" y="1875473"/>
                    <a:pt x="9525" y="1900238"/>
                  </a:cubicBezTo>
                  <a:close/>
                  <a:moveTo>
                    <a:pt x="220028" y="6322695"/>
                  </a:moveTo>
                  <a:cubicBezTo>
                    <a:pt x="220028" y="6352223"/>
                    <a:pt x="243840" y="6376035"/>
                    <a:pt x="273368" y="6376035"/>
                  </a:cubicBezTo>
                  <a:cubicBezTo>
                    <a:pt x="302895" y="6376035"/>
                    <a:pt x="326708" y="6352223"/>
                    <a:pt x="326708" y="6322695"/>
                  </a:cubicBezTo>
                  <a:cubicBezTo>
                    <a:pt x="326708" y="6293168"/>
                    <a:pt x="302895" y="6269355"/>
                    <a:pt x="273368" y="6269355"/>
                  </a:cubicBezTo>
                  <a:cubicBezTo>
                    <a:pt x="243840" y="6269355"/>
                    <a:pt x="220028" y="6293168"/>
                    <a:pt x="220028" y="6322695"/>
                  </a:cubicBezTo>
                  <a:close/>
                  <a:moveTo>
                    <a:pt x="211455" y="6081713"/>
                  </a:moveTo>
                  <a:cubicBezTo>
                    <a:pt x="211455" y="6116003"/>
                    <a:pt x="239078" y="6143625"/>
                    <a:pt x="273368" y="6143625"/>
                  </a:cubicBezTo>
                  <a:cubicBezTo>
                    <a:pt x="307658" y="6143625"/>
                    <a:pt x="335280" y="6116003"/>
                    <a:pt x="335280" y="6081713"/>
                  </a:cubicBezTo>
                  <a:cubicBezTo>
                    <a:pt x="335280" y="6047423"/>
                    <a:pt x="307658" y="6019800"/>
                    <a:pt x="273368" y="6019800"/>
                  </a:cubicBezTo>
                  <a:cubicBezTo>
                    <a:pt x="239078" y="6019800"/>
                    <a:pt x="211455" y="6047423"/>
                    <a:pt x="211455" y="6081713"/>
                  </a:cubicBezTo>
                  <a:close/>
                  <a:moveTo>
                    <a:pt x="220028" y="5452110"/>
                  </a:moveTo>
                  <a:cubicBezTo>
                    <a:pt x="220028" y="5481638"/>
                    <a:pt x="243840" y="5505450"/>
                    <a:pt x="273368" y="5505450"/>
                  </a:cubicBezTo>
                  <a:cubicBezTo>
                    <a:pt x="302895" y="5505450"/>
                    <a:pt x="326708" y="5481638"/>
                    <a:pt x="326708" y="5452110"/>
                  </a:cubicBezTo>
                  <a:cubicBezTo>
                    <a:pt x="326708" y="5422583"/>
                    <a:pt x="302895" y="5398770"/>
                    <a:pt x="273368" y="5398770"/>
                  </a:cubicBezTo>
                  <a:cubicBezTo>
                    <a:pt x="243840" y="5398770"/>
                    <a:pt x="220028" y="5423535"/>
                    <a:pt x="220028" y="5452110"/>
                  </a:cubicBezTo>
                  <a:close/>
                  <a:moveTo>
                    <a:pt x="238125" y="5033010"/>
                  </a:moveTo>
                  <a:cubicBezTo>
                    <a:pt x="238125" y="5052060"/>
                    <a:pt x="254318" y="5068253"/>
                    <a:pt x="273368" y="5068253"/>
                  </a:cubicBezTo>
                  <a:cubicBezTo>
                    <a:pt x="292418" y="5068253"/>
                    <a:pt x="308610" y="5052060"/>
                    <a:pt x="308610" y="5033010"/>
                  </a:cubicBezTo>
                  <a:cubicBezTo>
                    <a:pt x="308610" y="5013960"/>
                    <a:pt x="292418" y="4997768"/>
                    <a:pt x="273368" y="4997768"/>
                  </a:cubicBezTo>
                  <a:cubicBezTo>
                    <a:pt x="254318" y="4997768"/>
                    <a:pt x="238125" y="5013960"/>
                    <a:pt x="238125" y="5033010"/>
                  </a:cubicBezTo>
                  <a:close/>
                  <a:moveTo>
                    <a:pt x="241935" y="4823460"/>
                  </a:moveTo>
                  <a:cubicBezTo>
                    <a:pt x="241935" y="4840605"/>
                    <a:pt x="256223" y="4854893"/>
                    <a:pt x="273368" y="4854893"/>
                  </a:cubicBezTo>
                  <a:cubicBezTo>
                    <a:pt x="290513" y="4854893"/>
                    <a:pt x="304800" y="4840605"/>
                    <a:pt x="304800" y="4823460"/>
                  </a:cubicBezTo>
                  <a:cubicBezTo>
                    <a:pt x="304800" y="4806315"/>
                    <a:pt x="290513" y="4792028"/>
                    <a:pt x="273368" y="4792028"/>
                  </a:cubicBezTo>
                  <a:cubicBezTo>
                    <a:pt x="256223" y="4792028"/>
                    <a:pt x="241935" y="4806315"/>
                    <a:pt x="241935" y="4823460"/>
                  </a:cubicBezTo>
                  <a:close/>
                  <a:moveTo>
                    <a:pt x="211455" y="5662613"/>
                  </a:moveTo>
                  <a:cubicBezTo>
                    <a:pt x="211455" y="5696903"/>
                    <a:pt x="239078" y="5724525"/>
                    <a:pt x="273368" y="5724525"/>
                  </a:cubicBezTo>
                  <a:cubicBezTo>
                    <a:pt x="307658" y="5724525"/>
                    <a:pt x="335280" y="5696903"/>
                    <a:pt x="335280" y="5662613"/>
                  </a:cubicBezTo>
                  <a:cubicBezTo>
                    <a:pt x="335280" y="5628323"/>
                    <a:pt x="307658" y="5600700"/>
                    <a:pt x="273368" y="5600700"/>
                  </a:cubicBezTo>
                  <a:cubicBezTo>
                    <a:pt x="239078" y="5600700"/>
                    <a:pt x="211455" y="5628323"/>
                    <a:pt x="211455" y="5662613"/>
                  </a:cubicBezTo>
                  <a:close/>
                  <a:moveTo>
                    <a:pt x="228600" y="5242560"/>
                  </a:moveTo>
                  <a:cubicBezTo>
                    <a:pt x="228600" y="5267325"/>
                    <a:pt x="248603" y="5286375"/>
                    <a:pt x="272415" y="5286375"/>
                  </a:cubicBezTo>
                  <a:cubicBezTo>
                    <a:pt x="296228" y="5286375"/>
                    <a:pt x="316230" y="5266373"/>
                    <a:pt x="316230" y="5242560"/>
                  </a:cubicBezTo>
                  <a:cubicBezTo>
                    <a:pt x="316230" y="5217795"/>
                    <a:pt x="296228" y="5198745"/>
                    <a:pt x="272415" y="5198745"/>
                  </a:cubicBezTo>
                  <a:cubicBezTo>
                    <a:pt x="248603" y="5198745"/>
                    <a:pt x="228600" y="5218748"/>
                    <a:pt x="228600" y="5242560"/>
                  </a:cubicBezTo>
                  <a:close/>
                  <a:moveTo>
                    <a:pt x="241935" y="4404360"/>
                  </a:moveTo>
                  <a:cubicBezTo>
                    <a:pt x="241935" y="4421505"/>
                    <a:pt x="256223" y="4435793"/>
                    <a:pt x="273368" y="4435793"/>
                  </a:cubicBezTo>
                  <a:cubicBezTo>
                    <a:pt x="290513" y="4435793"/>
                    <a:pt x="304800" y="4421505"/>
                    <a:pt x="304800" y="4404360"/>
                  </a:cubicBezTo>
                  <a:cubicBezTo>
                    <a:pt x="304800" y="4387215"/>
                    <a:pt x="290513" y="4372928"/>
                    <a:pt x="273368" y="4372928"/>
                  </a:cubicBezTo>
                  <a:cubicBezTo>
                    <a:pt x="256223" y="4372928"/>
                    <a:pt x="241935" y="4386263"/>
                    <a:pt x="241935" y="4404360"/>
                  </a:cubicBezTo>
                  <a:close/>
                  <a:moveTo>
                    <a:pt x="241935" y="4193858"/>
                  </a:moveTo>
                  <a:cubicBezTo>
                    <a:pt x="241935" y="4211003"/>
                    <a:pt x="256223" y="4225290"/>
                    <a:pt x="273368" y="4225290"/>
                  </a:cubicBezTo>
                  <a:cubicBezTo>
                    <a:pt x="290513" y="4225290"/>
                    <a:pt x="304800" y="4211003"/>
                    <a:pt x="304800" y="4193858"/>
                  </a:cubicBezTo>
                  <a:cubicBezTo>
                    <a:pt x="304800" y="4176713"/>
                    <a:pt x="290513" y="4162425"/>
                    <a:pt x="273368" y="4162425"/>
                  </a:cubicBezTo>
                  <a:cubicBezTo>
                    <a:pt x="256223" y="4163378"/>
                    <a:pt x="241935" y="4176713"/>
                    <a:pt x="241935" y="4193858"/>
                  </a:cubicBezTo>
                  <a:close/>
                  <a:moveTo>
                    <a:pt x="241935" y="4613910"/>
                  </a:moveTo>
                  <a:cubicBezTo>
                    <a:pt x="241935" y="4631055"/>
                    <a:pt x="256223" y="4645343"/>
                    <a:pt x="273368" y="4645343"/>
                  </a:cubicBezTo>
                  <a:cubicBezTo>
                    <a:pt x="290513" y="4645343"/>
                    <a:pt x="304800" y="4631055"/>
                    <a:pt x="304800" y="4613910"/>
                  </a:cubicBezTo>
                  <a:cubicBezTo>
                    <a:pt x="304800" y="4596765"/>
                    <a:pt x="290513" y="4582478"/>
                    <a:pt x="273368" y="4582478"/>
                  </a:cubicBezTo>
                  <a:cubicBezTo>
                    <a:pt x="256223" y="4582478"/>
                    <a:pt x="241935" y="4596765"/>
                    <a:pt x="241935" y="4613910"/>
                  </a:cubicBezTo>
                  <a:close/>
                  <a:moveTo>
                    <a:pt x="195263" y="5872163"/>
                  </a:moveTo>
                  <a:cubicBezTo>
                    <a:pt x="195263" y="5915025"/>
                    <a:pt x="230505" y="5950268"/>
                    <a:pt x="273368" y="5950268"/>
                  </a:cubicBezTo>
                  <a:cubicBezTo>
                    <a:pt x="316230" y="5950268"/>
                    <a:pt x="351473" y="5915025"/>
                    <a:pt x="351473" y="5872163"/>
                  </a:cubicBezTo>
                  <a:cubicBezTo>
                    <a:pt x="351473" y="5829300"/>
                    <a:pt x="316230" y="5794058"/>
                    <a:pt x="273368" y="5794058"/>
                  </a:cubicBezTo>
                  <a:cubicBezTo>
                    <a:pt x="230505" y="5794058"/>
                    <a:pt x="195263" y="5828348"/>
                    <a:pt x="195263" y="5872163"/>
                  </a:cubicBezTo>
                  <a:close/>
                  <a:moveTo>
                    <a:pt x="241935" y="4029075"/>
                  </a:moveTo>
                  <a:cubicBezTo>
                    <a:pt x="241935" y="4046220"/>
                    <a:pt x="256223" y="4060508"/>
                    <a:pt x="273368" y="4060508"/>
                  </a:cubicBezTo>
                  <a:cubicBezTo>
                    <a:pt x="290513" y="4060508"/>
                    <a:pt x="304800" y="4046220"/>
                    <a:pt x="304800" y="4029075"/>
                  </a:cubicBezTo>
                  <a:cubicBezTo>
                    <a:pt x="304800" y="4011930"/>
                    <a:pt x="290513" y="3997643"/>
                    <a:pt x="273368" y="3997643"/>
                  </a:cubicBezTo>
                  <a:cubicBezTo>
                    <a:pt x="256223" y="3997643"/>
                    <a:pt x="241935" y="4010978"/>
                    <a:pt x="241935" y="4029075"/>
                  </a:cubicBezTo>
                  <a:close/>
                  <a:moveTo>
                    <a:pt x="241935" y="3788093"/>
                  </a:moveTo>
                  <a:cubicBezTo>
                    <a:pt x="241935" y="3805238"/>
                    <a:pt x="256223" y="3819525"/>
                    <a:pt x="273368" y="3819525"/>
                  </a:cubicBezTo>
                  <a:cubicBezTo>
                    <a:pt x="290513" y="3819525"/>
                    <a:pt x="304800" y="3805238"/>
                    <a:pt x="304800" y="3788093"/>
                  </a:cubicBezTo>
                  <a:cubicBezTo>
                    <a:pt x="304800" y="3770948"/>
                    <a:pt x="290513" y="3756660"/>
                    <a:pt x="273368" y="3756660"/>
                  </a:cubicBezTo>
                  <a:cubicBezTo>
                    <a:pt x="256223" y="3756660"/>
                    <a:pt x="241935" y="3769995"/>
                    <a:pt x="241935" y="3788093"/>
                  </a:cubicBezTo>
                  <a:close/>
                  <a:moveTo>
                    <a:pt x="241935" y="3577590"/>
                  </a:moveTo>
                  <a:cubicBezTo>
                    <a:pt x="241935" y="3594735"/>
                    <a:pt x="256223" y="3609023"/>
                    <a:pt x="273368" y="3609023"/>
                  </a:cubicBezTo>
                  <a:cubicBezTo>
                    <a:pt x="290513" y="3609023"/>
                    <a:pt x="304800" y="3594735"/>
                    <a:pt x="304800" y="3577590"/>
                  </a:cubicBezTo>
                  <a:cubicBezTo>
                    <a:pt x="304800" y="3560445"/>
                    <a:pt x="290513" y="3546158"/>
                    <a:pt x="273368" y="3546158"/>
                  </a:cubicBezTo>
                  <a:cubicBezTo>
                    <a:pt x="256223" y="3547110"/>
                    <a:pt x="241935" y="3560445"/>
                    <a:pt x="241935" y="3577590"/>
                  </a:cubicBezTo>
                  <a:close/>
                  <a:moveTo>
                    <a:pt x="241935" y="3368040"/>
                  </a:moveTo>
                  <a:cubicBezTo>
                    <a:pt x="241935" y="3385185"/>
                    <a:pt x="256223" y="3399473"/>
                    <a:pt x="273368" y="3399473"/>
                  </a:cubicBezTo>
                  <a:cubicBezTo>
                    <a:pt x="290513" y="3399473"/>
                    <a:pt x="304800" y="3385185"/>
                    <a:pt x="304800" y="3368040"/>
                  </a:cubicBezTo>
                  <a:cubicBezTo>
                    <a:pt x="304800" y="3350895"/>
                    <a:pt x="290513" y="3336608"/>
                    <a:pt x="273368" y="3336608"/>
                  </a:cubicBezTo>
                  <a:cubicBezTo>
                    <a:pt x="256223" y="3336608"/>
                    <a:pt x="241935" y="3350895"/>
                    <a:pt x="241935" y="3368040"/>
                  </a:cubicBezTo>
                  <a:close/>
                  <a:moveTo>
                    <a:pt x="461963" y="4026218"/>
                  </a:moveTo>
                  <a:cubicBezTo>
                    <a:pt x="461963" y="4043363"/>
                    <a:pt x="476250" y="4057650"/>
                    <a:pt x="493395" y="4057650"/>
                  </a:cubicBezTo>
                  <a:cubicBezTo>
                    <a:pt x="510540" y="4057650"/>
                    <a:pt x="524828" y="4043363"/>
                    <a:pt x="524828" y="4026218"/>
                  </a:cubicBezTo>
                  <a:cubicBezTo>
                    <a:pt x="524828" y="4009073"/>
                    <a:pt x="510540" y="3994785"/>
                    <a:pt x="493395" y="3994785"/>
                  </a:cubicBezTo>
                  <a:cubicBezTo>
                    <a:pt x="475298" y="3994785"/>
                    <a:pt x="461963" y="4009073"/>
                    <a:pt x="461963" y="4026218"/>
                  </a:cubicBezTo>
                  <a:close/>
                  <a:moveTo>
                    <a:pt x="461963" y="3813810"/>
                  </a:moveTo>
                  <a:cubicBezTo>
                    <a:pt x="461963" y="3830955"/>
                    <a:pt x="476250" y="3845243"/>
                    <a:pt x="493395" y="3845243"/>
                  </a:cubicBezTo>
                  <a:cubicBezTo>
                    <a:pt x="510540" y="3845243"/>
                    <a:pt x="524828" y="3830955"/>
                    <a:pt x="524828" y="3813810"/>
                  </a:cubicBezTo>
                  <a:cubicBezTo>
                    <a:pt x="524828" y="3796665"/>
                    <a:pt x="510540" y="3782378"/>
                    <a:pt x="493395" y="3782378"/>
                  </a:cubicBezTo>
                  <a:cubicBezTo>
                    <a:pt x="475298" y="3782378"/>
                    <a:pt x="461963" y="3796665"/>
                    <a:pt x="461963" y="3813810"/>
                  </a:cubicBezTo>
                  <a:close/>
                  <a:moveTo>
                    <a:pt x="440055" y="3175635"/>
                  </a:moveTo>
                  <a:cubicBezTo>
                    <a:pt x="440055" y="3205163"/>
                    <a:pt x="463868" y="3228975"/>
                    <a:pt x="493395" y="3228975"/>
                  </a:cubicBezTo>
                  <a:cubicBezTo>
                    <a:pt x="522923" y="3228975"/>
                    <a:pt x="546735" y="3205163"/>
                    <a:pt x="546735" y="3175635"/>
                  </a:cubicBezTo>
                  <a:cubicBezTo>
                    <a:pt x="546735" y="3146108"/>
                    <a:pt x="522923" y="3122295"/>
                    <a:pt x="493395" y="3122295"/>
                  </a:cubicBezTo>
                  <a:cubicBezTo>
                    <a:pt x="463868" y="3122295"/>
                    <a:pt x="440055" y="3147060"/>
                    <a:pt x="440055" y="3175635"/>
                  </a:cubicBezTo>
                  <a:close/>
                  <a:moveTo>
                    <a:pt x="431483" y="2963228"/>
                  </a:moveTo>
                  <a:cubicBezTo>
                    <a:pt x="431483" y="2997518"/>
                    <a:pt x="459105" y="3025140"/>
                    <a:pt x="493395" y="3025140"/>
                  </a:cubicBezTo>
                  <a:cubicBezTo>
                    <a:pt x="527685" y="3025140"/>
                    <a:pt x="555308" y="2997518"/>
                    <a:pt x="555308" y="2963228"/>
                  </a:cubicBezTo>
                  <a:cubicBezTo>
                    <a:pt x="555308" y="2928938"/>
                    <a:pt x="527685" y="2901315"/>
                    <a:pt x="493395" y="2901315"/>
                  </a:cubicBezTo>
                  <a:cubicBezTo>
                    <a:pt x="459105" y="2901315"/>
                    <a:pt x="431483" y="2928938"/>
                    <a:pt x="431483" y="2963228"/>
                  </a:cubicBezTo>
                  <a:moveTo>
                    <a:pt x="431483" y="2538413"/>
                  </a:moveTo>
                  <a:cubicBezTo>
                    <a:pt x="431483" y="2572703"/>
                    <a:pt x="459105" y="2600325"/>
                    <a:pt x="493395" y="2600325"/>
                  </a:cubicBezTo>
                  <a:cubicBezTo>
                    <a:pt x="527685" y="2600325"/>
                    <a:pt x="555308" y="2572703"/>
                    <a:pt x="555308" y="2538413"/>
                  </a:cubicBezTo>
                  <a:cubicBezTo>
                    <a:pt x="555308" y="2504123"/>
                    <a:pt x="527685" y="2476500"/>
                    <a:pt x="493395" y="2476500"/>
                  </a:cubicBezTo>
                  <a:cubicBezTo>
                    <a:pt x="459105" y="2476500"/>
                    <a:pt x="431483" y="2504123"/>
                    <a:pt x="431483" y="2538413"/>
                  </a:cubicBezTo>
                  <a:moveTo>
                    <a:pt x="457200" y="3601403"/>
                  </a:moveTo>
                  <a:cubicBezTo>
                    <a:pt x="457200" y="3620453"/>
                    <a:pt x="473393" y="3636645"/>
                    <a:pt x="492443" y="3636645"/>
                  </a:cubicBezTo>
                  <a:cubicBezTo>
                    <a:pt x="511493" y="3636645"/>
                    <a:pt x="527685" y="3620453"/>
                    <a:pt x="527685" y="3601403"/>
                  </a:cubicBezTo>
                  <a:cubicBezTo>
                    <a:pt x="527685" y="3582353"/>
                    <a:pt x="511493" y="3566160"/>
                    <a:pt x="492443" y="3566160"/>
                  </a:cubicBezTo>
                  <a:cubicBezTo>
                    <a:pt x="473393" y="3566160"/>
                    <a:pt x="457200" y="3581400"/>
                    <a:pt x="457200" y="3601403"/>
                  </a:cubicBezTo>
                  <a:close/>
                  <a:moveTo>
                    <a:pt x="448628" y="3388043"/>
                  </a:moveTo>
                  <a:cubicBezTo>
                    <a:pt x="448628" y="3412808"/>
                    <a:pt x="468630" y="3431858"/>
                    <a:pt x="492443" y="3431858"/>
                  </a:cubicBezTo>
                  <a:cubicBezTo>
                    <a:pt x="517208" y="3431858"/>
                    <a:pt x="536258" y="3411855"/>
                    <a:pt x="536258" y="3388043"/>
                  </a:cubicBezTo>
                  <a:cubicBezTo>
                    <a:pt x="536258" y="3363278"/>
                    <a:pt x="516255" y="3344228"/>
                    <a:pt x="492443" y="3344228"/>
                  </a:cubicBezTo>
                  <a:cubicBezTo>
                    <a:pt x="468630" y="3344228"/>
                    <a:pt x="448628" y="3364230"/>
                    <a:pt x="448628" y="3388043"/>
                  </a:cubicBezTo>
                  <a:close/>
                  <a:moveTo>
                    <a:pt x="448628" y="2112645"/>
                  </a:moveTo>
                  <a:cubicBezTo>
                    <a:pt x="448628" y="2137410"/>
                    <a:pt x="468630" y="2156460"/>
                    <a:pt x="492443" y="2156460"/>
                  </a:cubicBezTo>
                  <a:cubicBezTo>
                    <a:pt x="517208" y="2156460"/>
                    <a:pt x="536258" y="2136458"/>
                    <a:pt x="536258" y="2112645"/>
                  </a:cubicBezTo>
                  <a:cubicBezTo>
                    <a:pt x="536258" y="2088832"/>
                    <a:pt x="516255" y="2068830"/>
                    <a:pt x="492443" y="2068830"/>
                  </a:cubicBezTo>
                  <a:cubicBezTo>
                    <a:pt x="468630" y="2068830"/>
                    <a:pt x="448628" y="2088832"/>
                    <a:pt x="448628" y="2112645"/>
                  </a:cubicBezTo>
                  <a:close/>
                  <a:moveTo>
                    <a:pt x="457200" y="1900238"/>
                  </a:moveTo>
                  <a:cubicBezTo>
                    <a:pt x="457200" y="1919288"/>
                    <a:pt x="473393" y="1935480"/>
                    <a:pt x="492443" y="1935480"/>
                  </a:cubicBezTo>
                  <a:cubicBezTo>
                    <a:pt x="511493" y="1935480"/>
                    <a:pt x="527685" y="1919288"/>
                    <a:pt x="527685" y="1900238"/>
                  </a:cubicBezTo>
                  <a:cubicBezTo>
                    <a:pt x="527685" y="1881188"/>
                    <a:pt x="511493" y="1864995"/>
                    <a:pt x="492443" y="1864995"/>
                  </a:cubicBezTo>
                  <a:cubicBezTo>
                    <a:pt x="473393" y="1864995"/>
                    <a:pt x="457200" y="1881188"/>
                    <a:pt x="457200" y="1900238"/>
                  </a:cubicBezTo>
                  <a:close/>
                  <a:moveTo>
                    <a:pt x="440055" y="2325053"/>
                  </a:moveTo>
                  <a:cubicBezTo>
                    <a:pt x="440055" y="2354580"/>
                    <a:pt x="463868" y="2378393"/>
                    <a:pt x="493395" y="2378393"/>
                  </a:cubicBezTo>
                  <a:cubicBezTo>
                    <a:pt x="522923" y="2378393"/>
                    <a:pt x="546735" y="2354580"/>
                    <a:pt x="546735" y="2325053"/>
                  </a:cubicBezTo>
                  <a:cubicBezTo>
                    <a:pt x="546735" y="2295525"/>
                    <a:pt x="522923" y="2271713"/>
                    <a:pt x="493395" y="2271713"/>
                  </a:cubicBezTo>
                  <a:cubicBezTo>
                    <a:pt x="463868" y="2271713"/>
                    <a:pt x="440055" y="2296478"/>
                    <a:pt x="440055" y="2325053"/>
                  </a:cubicBezTo>
                  <a:close/>
                  <a:moveTo>
                    <a:pt x="415290" y="2750820"/>
                  </a:moveTo>
                  <a:cubicBezTo>
                    <a:pt x="415290" y="2793683"/>
                    <a:pt x="450533" y="2828925"/>
                    <a:pt x="493395" y="2828925"/>
                  </a:cubicBezTo>
                  <a:cubicBezTo>
                    <a:pt x="536258" y="2828925"/>
                    <a:pt x="571500" y="2793683"/>
                    <a:pt x="571500" y="2750820"/>
                  </a:cubicBezTo>
                  <a:cubicBezTo>
                    <a:pt x="571500" y="2707958"/>
                    <a:pt x="536258" y="2672715"/>
                    <a:pt x="493395" y="2672715"/>
                  </a:cubicBezTo>
                  <a:cubicBezTo>
                    <a:pt x="450533" y="2672715"/>
                    <a:pt x="415290" y="2707958"/>
                    <a:pt x="415290" y="2750820"/>
                  </a:cubicBezTo>
                </a:path>
              </a:pathLst>
            </a:custGeom>
            <a:solidFill>
              <a:srgbClr val="00A3D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77B2BC6-FCE1-4B8A-A59B-2653FEFF4759}"/>
              </a:ext>
            </a:extLst>
          </p:cNvPr>
          <p:cNvGrpSpPr/>
          <p:nvPr userDrawn="1"/>
        </p:nvGrpSpPr>
        <p:grpSpPr>
          <a:xfrm>
            <a:off x="722501" y="6477000"/>
            <a:ext cx="2202990" cy="381000"/>
            <a:chOff x="549275" y="6477000"/>
            <a:chExt cx="2202416" cy="381000"/>
          </a:xfrm>
        </p:grpSpPr>
        <p:sp>
          <p:nvSpPr>
            <p:cNvPr id="25" name="BR Logo">
              <a:extLst>
                <a:ext uri="{FF2B5EF4-FFF2-40B4-BE49-F238E27FC236}">
                  <a16:creationId xmlns:a16="http://schemas.microsoft.com/office/drawing/2014/main" id="{B6BA9809-0E4E-41B8-A9B6-B4D0D888BF07}"/>
                </a:ext>
              </a:extLst>
            </p:cNvPr>
            <p:cNvSpPr/>
            <p:nvPr userDrawn="1"/>
          </p:nvSpPr>
          <p:spPr>
            <a:xfrm>
              <a:off x="549275" y="6568107"/>
              <a:ext cx="943806" cy="191218"/>
            </a:xfrm>
            <a:custGeom>
              <a:avLst/>
              <a:gdLst>
                <a:gd name="connsiteX0" fmla="*/ 1803083 w 6365557"/>
                <a:gd name="connsiteY0" fmla="*/ 1002983 h 1289684"/>
                <a:gd name="connsiteX1" fmla="*/ 1579245 w 6365557"/>
                <a:gd name="connsiteY1" fmla="*/ 1002983 h 1289684"/>
                <a:gd name="connsiteX2" fmla="*/ 1579245 w 6365557"/>
                <a:gd name="connsiteY2" fmla="*/ 322898 h 1289684"/>
                <a:gd name="connsiteX3" fmla="*/ 1805940 w 6365557"/>
                <a:gd name="connsiteY3" fmla="*/ 322898 h 1289684"/>
                <a:gd name="connsiteX4" fmla="*/ 2041208 w 6365557"/>
                <a:gd name="connsiteY4" fmla="*/ 492443 h 1289684"/>
                <a:gd name="connsiteX5" fmla="*/ 1920240 w 6365557"/>
                <a:gd name="connsiteY5" fmla="*/ 648653 h 1289684"/>
                <a:gd name="connsiteX6" fmla="*/ 1920240 w 6365557"/>
                <a:gd name="connsiteY6" fmla="*/ 650558 h 1289684"/>
                <a:gd name="connsiteX7" fmla="*/ 2069783 w 6365557"/>
                <a:gd name="connsiteY7" fmla="*/ 814388 h 1289684"/>
                <a:gd name="connsiteX8" fmla="*/ 1803083 w 6365557"/>
                <a:gd name="connsiteY8" fmla="*/ 1002983 h 1289684"/>
                <a:gd name="connsiteX9" fmla="*/ 1790700 w 6365557"/>
                <a:gd name="connsiteY9" fmla="*/ 433388 h 1289684"/>
                <a:gd name="connsiteX10" fmla="*/ 1707833 w 6365557"/>
                <a:gd name="connsiteY10" fmla="*/ 433388 h 1289684"/>
                <a:gd name="connsiteX11" fmla="*/ 1707833 w 6365557"/>
                <a:gd name="connsiteY11" fmla="*/ 602933 h 1289684"/>
                <a:gd name="connsiteX12" fmla="*/ 1787843 w 6365557"/>
                <a:gd name="connsiteY12" fmla="*/ 602933 h 1289684"/>
                <a:gd name="connsiteX13" fmla="*/ 1899285 w 6365557"/>
                <a:gd name="connsiteY13" fmla="*/ 515303 h 1289684"/>
                <a:gd name="connsiteX14" fmla="*/ 1790700 w 6365557"/>
                <a:gd name="connsiteY14" fmla="*/ 433388 h 1289684"/>
                <a:gd name="connsiteX15" fmla="*/ 1789748 w 6365557"/>
                <a:gd name="connsiteY15" fmla="*/ 705803 h 1289684"/>
                <a:gd name="connsiteX16" fmla="*/ 1707833 w 6365557"/>
                <a:gd name="connsiteY16" fmla="*/ 705803 h 1289684"/>
                <a:gd name="connsiteX17" fmla="*/ 1707833 w 6365557"/>
                <a:gd name="connsiteY17" fmla="*/ 892493 h 1289684"/>
                <a:gd name="connsiteX18" fmla="*/ 1783080 w 6365557"/>
                <a:gd name="connsiteY18" fmla="*/ 892493 h 1289684"/>
                <a:gd name="connsiteX19" fmla="*/ 1909763 w 6365557"/>
                <a:gd name="connsiteY19" fmla="*/ 801053 h 1289684"/>
                <a:gd name="connsiteX20" fmla="*/ 1789748 w 6365557"/>
                <a:gd name="connsiteY20" fmla="*/ 705803 h 1289684"/>
                <a:gd name="connsiteX21" fmla="*/ 2473643 w 6365557"/>
                <a:gd name="connsiteY21" fmla="*/ 506730 h 1289684"/>
                <a:gd name="connsiteX22" fmla="*/ 2406015 w 6365557"/>
                <a:gd name="connsiteY22" fmla="*/ 493395 h 1289684"/>
                <a:gd name="connsiteX23" fmla="*/ 2280285 w 6365557"/>
                <a:gd name="connsiteY23" fmla="*/ 573405 h 1289684"/>
                <a:gd name="connsiteX24" fmla="*/ 2280285 w 6365557"/>
                <a:gd name="connsiteY24" fmla="*/ 505778 h 1289684"/>
                <a:gd name="connsiteX25" fmla="*/ 2144078 w 6365557"/>
                <a:gd name="connsiteY25" fmla="*/ 505778 h 1289684"/>
                <a:gd name="connsiteX26" fmla="*/ 2144078 w 6365557"/>
                <a:gd name="connsiteY26" fmla="*/ 1002983 h 1289684"/>
                <a:gd name="connsiteX27" fmla="*/ 2280285 w 6365557"/>
                <a:gd name="connsiteY27" fmla="*/ 1002983 h 1289684"/>
                <a:gd name="connsiteX28" fmla="*/ 2280285 w 6365557"/>
                <a:gd name="connsiteY28" fmla="*/ 689610 h 1289684"/>
                <a:gd name="connsiteX29" fmla="*/ 2388870 w 6365557"/>
                <a:gd name="connsiteY29" fmla="*/ 614363 h 1289684"/>
                <a:gd name="connsiteX30" fmla="*/ 2441258 w 6365557"/>
                <a:gd name="connsiteY30" fmla="*/ 625793 h 1289684"/>
                <a:gd name="connsiteX31" fmla="*/ 2473643 w 6365557"/>
                <a:gd name="connsiteY31" fmla="*/ 506730 h 1289684"/>
                <a:gd name="connsiteX32" fmla="*/ 2715578 w 6365557"/>
                <a:gd name="connsiteY32" fmla="*/ 1015365 h 1289684"/>
                <a:gd name="connsiteX33" fmla="*/ 2466023 w 6365557"/>
                <a:gd name="connsiteY33" fmla="*/ 756285 h 1289684"/>
                <a:gd name="connsiteX34" fmla="*/ 2714625 w 6365557"/>
                <a:gd name="connsiteY34" fmla="*/ 493395 h 1289684"/>
                <a:gd name="connsiteX35" fmla="*/ 2967038 w 6365557"/>
                <a:gd name="connsiteY35" fmla="*/ 751523 h 1289684"/>
                <a:gd name="connsiteX36" fmla="*/ 2715578 w 6365557"/>
                <a:gd name="connsiteY36" fmla="*/ 1015365 h 1289684"/>
                <a:gd name="connsiteX37" fmla="*/ 2712720 w 6365557"/>
                <a:gd name="connsiteY37" fmla="*/ 594360 h 1289684"/>
                <a:gd name="connsiteX38" fmla="*/ 2610803 w 6365557"/>
                <a:gd name="connsiteY38" fmla="*/ 751523 h 1289684"/>
                <a:gd name="connsiteX39" fmla="*/ 2718435 w 6365557"/>
                <a:gd name="connsiteY39" fmla="*/ 911543 h 1289684"/>
                <a:gd name="connsiteX40" fmla="*/ 2824163 w 6365557"/>
                <a:gd name="connsiteY40" fmla="*/ 755333 h 1289684"/>
                <a:gd name="connsiteX41" fmla="*/ 2712720 w 6365557"/>
                <a:gd name="connsiteY41" fmla="*/ 594360 h 1289684"/>
                <a:gd name="connsiteX42" fmla="*/ 3301365 w 6365557"/>
                <a:gd name="connsiteY42" fmla="*/ 1002983 h 1289684"/>
                <a:gd name="connsiteX43" fmla="*/ 3292793 w 6365557"/>
                <a:gd name="connsiteY43" fmla="*/ 949643 h 1289684"/>
                <a:gd name="connsiteX44" fmla="*/ 3152775 w 6365557"/>
                <a:gd name="connsiteY44" fmla="*/ 1015365 h 1289684"/>
                <a:gd name="connsiteX45" fmla="*/ 3002280 w 6365557"/>
                <a:gd name="connsiteY45" fmla="*/ 875348 h 1289684"/>
                <a:gd name="connsiteX46" fmla="*/ 3268028 w 6365557"/>
                <a:gd name="connsiteY46" fmla="*/ 698183 h 1289684"/>
                <a:gd name="connsiteX47" fmla="*/ 3285173 w 6365557"/>
                <a:gd name="connsiteY47" fmla="*/ 698183 h 1289684"/>
                <a:gd name="connsiteX48" fmla="*/ 3285173 w 6365557"/>
                <a:gd name="connsiteY48" fmla="*/ 669608 h 1289684"/>
                <a:gd name="connsiteX49" fmla="*/ 3204210 w 6365557"/>
                <a:gd name="connsiteY49" fmla="*/ 600075 h 1289684"/>
                <a:gd name="connsiteX50" fmla="*/ 3077528 w 6365557"/>
                <a:gd name="connsiteY50" fmla="*/ 646748 h 1289684"/>
                <a:gd name="connsiteX51" fmla="*/ 3018473 w 6365557"/>
                <a:gd name="connsiteY51" fmla="*/ 563880 h 1289684"/>
                <a:gd name="connsiteX52" fmla="*/ 3219450 w 6365557"/>
                <a:gd name="connsiteY52" fmla="*/ 492443 h 1289684"/>
                <a:gd name="connsiteX53" fmla="*/ 3419475 w 6365557"/>
                <a:gd name="connsiteY53" fmla="*/ 676275 h 1289684"/>
                <a:gd name="connsiteX54" fmla="*/ 3419475 w 6365557"/>
                <a:gd name="connsiteY54" fmla="*/ 855345 h 1289684"/>
                <a:gd name="connsiteX55" fmla="*/ 3433763 w 6365557"/>
                <a:gd name="connsiteY55" fmla="*/ 1002030 h 1289684"/>
                <a:gd name="connsiteX56" fmla="*/ 3301365 w 6365557"/>
                <a:gd name="connsiteY56" fmla="*/ 1002030 h 1289684"/>
                <a:gd name="connsiteX57" fmla="*/ 3271838 w 6365557"/>
                <a:gd name="connsiteY57" fmla="*/ 782955 h 1289684"/>
                <a:gd name="connsiteX58" fmla="*/ 3254693 w 6365557"/>
                <a:gd name="connsiteY58" fmla="*/ 782955 h 1289684"/>
                <a:gd name="connsiteX59" fmla="*/ 3119438 w 6365557"/>
                <a:gd name="connsiteY59" fmla="*/ 864870 h 1289684"/>
                <a:gd name="connsiteX60" fmla="*/ 3179445 w 6365557"/>
                <a:gd name="connsiteY60" fmla="*/ 917258 h 1289684"/>
                <a:gd name="connsiteX61" fmla="*/ 3271838 w 6365557"/>
                <a:gd name="connsiteY61" fmla="*/ 873443 h 1289684"/>
                <a:gd name="connsiteX62" fmla="*/ 3271838 w 6365557"/>
                <a:gd name="connsiteY62" fmla="*/ 782955 h 1289684"/>
                <a:gd name="connsiteX63" fmla="*/ 3713798 w 6365557"/>
                <a:gd name="connsiteY63" fmla="*/ 493395 h 1289684"/>
                <a:gd name="connsiteX64" fmla="*/ 3829050 w 6365557"/>
                <a:gd name="connsiteY64" fmla="*/ 527685 h 1289684"/>
                <a:gd name="connsiteX65" fmla="*/ 3829050 w 6365557"/>
                <a:gd name="connsiteY65" fmla="*/ 270510 h 1289684"/>
                <a:gd name="connsiteX66" fmla="*/ 3965258 w 6365557"/>
                <a:gd name="connsiteY66" fmla="*/ 270510 h 1289684"/>
                <a:gd name="connsiteX67" fmla="*/ 3965258 w 6365557"/>
                <a:gd name="connsiteY67" fmla="*/ 861060 h 1289684"/>
                <a:gd name="connsiteX68" fmla="*/ 3979545 w 6365557"/>
                <a:gd name="connsiteY68" fmla="*/ 1002983 h 1289684"/>
                <a:gd name="connsiteX69" fmla="*/ 3845243 w 6365557"/>
                <a:gd name="connsiteY69" fmla="*/ 1002983 h 1289684"/>
                <a:gd name="connsiteX70" fmla="*/ 3834765 w 6365557"/>
                <a:gd name="connsiteY70" fmla="*/ 948690 h 1289684"/>
                <a:gd name="connsiteX71" fmla="*/ 3694748 w 6365557"/>
                <a:gd name="connsiteY71" fmla="*/ 1016318 h 1289684"/>
                <a:gd name="connsiteX72" fmla="*/ 3489960 w 6365557"/>
                <a:gd name="connsiteY72" fmla="*/ 755333 h 1289684"/>
                <a:gd name="connsiteX73" fmla="*/ 3713798 w 6365557"/>
                <a:gd name="connsiteY73" fmla="*/ 493395 h 1289684"/>
                <a:gd name="connsiteX74" fmla="*/ 3736658 w 6365557"/>
                <a:gd name="connsiteY74" fmla="*/ 906780 h 1289684"/>
                <a:gd name="connsiteX75" fmla="*/ 3830003 w 6365557"/>
                <a:gd name="connsiteY75" fmla="*/ 856298 h 1289684"/>
                <a:gd name="connsiteX76" fmla="*/ 3830003 w 6365557"/>
                <a:gd name="connsiteY76" fmla="*/ 632460 h 1289684"/>
                <a:gd name="connsiteX77" fmla="*/ 3743325 w 6365557"/>
                <a:gd name="connsiteY77" fmla="*/ 600075 h 1289684"/>
                <a:gd name="connsiteX78" fmla="*/ 3635693 w 6365557"/>
                <a:gd name="connsiteY78" fmla="*/ 756285 h 1289684"/>
                <a:gd name="connsiteX79" fmla="*/ 3736658 w 6365557"/>
                <a:gd name="connsiteY79" fmla="*/ 906780 h 1289684"/>
                <a:gd name="connsiteX80" fmla="*/ 4397693 w 6365557"/>
                <a:gd name="connsiteY80" fmla="*/ 506730 h 1289684"/>
                <a:gd name="connsiteX81" fmla="*/ 4330065 w 6365557"/>
                <a:gd name="connsiteY81" fmla="*/ 493395 h 1289684"/>
                <a:gd name="connsiteX82" fmla="*/ 4204335 w 6365557"/>
                <a:gd name="connsiteY82" fmla="*/ 573405 h 1289684"/>
                <a:gd name="connsiteX83" fmla="*/ 4204335 w 6365557"/>
                <a:gd name="connsiteY83" fmla="*/ 505778 h 1289684"/>
                <a:gd name="connsiteX84" fmla="*/ 4068128 w 6365557"/>
                <a:gd name="connsiteY84" fmla="*/ 505778 h 1289684"/>
                <a:gd name="connsiteX85" fmla="*/ 4068128 w 6365557"/>
                <a:gd name="connsiteY85" fmla="*/ 1002983 h 1289684"/>
                <a:gd name="connsiteX86" fmla="*/ 4204335 w 6365557"/>
                <a:gd name="connsiteY86" fmla="*/ 1002983 h 1289684"/>
                <a:gd name="connsiteX87" fmla="*/ 4204335 w 6365557"/>
                <a:gd name="connsiteY87" fmla="*/ 689610 h 1289684"/>
                <a:gd name="connsiteX88" fmla="*/ 4312920 w 6365557"/>
                <a:gd name="connsiteY88" fmla="*/ 614363 h 1289684"/>
                <a:gd name="connsiteX89" fmla="*/ 4365308 w 6365557"/>
                <a:gd name="connsiteY89" fmla="*/ 625793 h 1289684"/>
                <a:gd name="connsiteX90" fmla="*/ 4397693 w 6365557"/>
                <a:gd name="connsiteY90" fmla="*/ 506730 h 1289684"/>
                <a:gd name="connsiteX91" fmla="*/ 4517708 w 6365557"/>
                <a:gd name="connsiteY91" fmla="*/ 441008 h 1289684"/>
                <a:gd name="connsiteX92" fmla="*/ 4595813 w 6365557"/>
                <a:gd name="connsiteY92" fmla="*/ 364808 h 1289684"/>
                <a:gd name="connsiteX93" fmla="*/ 4517708 w 6365557"/>
                <a:gd name="connsiteY93" fmla="*/ 290513 h 1289684"/>
                <a:gd name="connsiteX94" fmla="*/ 4440555 w 6365557"/>
                <a:gd name="connsiteY94" fmla="*/ 364808 h 1289684"/>
                <a:gd name="connsiteX95" fmla="*/ 4517708 w 6365557"/>
                <a:gd name="connsiteY95" fmla="*/ 441008 h 1289684"/>
                <a:gd name="connsiteX96" fmla="*/ 4450080 w 6365557"/>
                <a:gd name="connsiteY96" fmla="*/ 1002983 h 1289684"/>
                <a:gd name="connsiteX97" fmla="*/ 4587240 w 6365557"/>
                <a:gd name="connsiteY97" fmla="*/ 1002983 h 1289684"/>
                <a:gd name="connsiteX98" fmla="*/ 4587240 w 6365557"/>
                <a:gd name="connsiteY98" fmla="*/ 505778 h 1289684"/>
                <a:gd name="connsiteX99" fmla="*/ 4450080 w 6365557"/>
                <a:gd name="connsiteY99" fmla="*/ 505778 h 1289684"/>
                <a:gd name="connsiteX100" fmla="*/ 4450080 w 6365557"/>
                <a:gd name="connsiteY100" fmla="*/ 1002983 h 1289684"/>
                <a:gd name="connsiteX101" fmla="*/ 4884420 w 6365557"/>
                <a:gd name="connsiteY101" fmla="*/ 493395 h 1289684"/>
                <a:gd name="connsiteX102" fmla="*/ 4999673 w 6365557"/>
                <a:gd name="connsiteY102" fmla="*/ 527685 h 1289684"/>
                <a:gd name="connsiteX103" fmla="*/ 4999673 w 6365557"/>
                <a:gd name="connsiteY103" fmla="*/ 270510 h 1289684"/>
                <a:gd name="connsiteX104" fmla="*/ 5135880 w 6365557"/>
                <a:gd name="connsiteY104" fmla="*/ 270510 h 1289684"/>
                <a:gd name="connsiteX105" fmla="*/ 5135880 w 6365557"/>
                <a:gd name="connsiteY105" fmla="*/ 861060 h 1289684"/>
                <a:gd name="connsiteX106" fmla="*/ 5150168 w 6365557"/>
                <a:gd name="connsiteY106" fmla="*/ 1002983 h 1289684"/>
                <a:gd name="connsiteX107" fmla="*/ 5015865 w 6365557"/>
                <a:gd name="connsiteY107" fmla="*/ 1002983 h 1289684"/>
                <a:gd name="connsiteX108" fmla="*/ 5005388 w 6365557"/>
                <a:gd name="connsiteY108" fmla="*/ 948690 h 1289684"/>
                <a:gd name="connsiteX109" fmla="*/ 4865370 w 6365557"/>
                <a:gd name="connsiteY109" fmla="*/ 1016318 h 1289684"/>
                <a:gd name="connsiteX110" fmla="*/ 4660583 w 6365557"/>
                <a:gd name="connsiteY110" fmla="*/ 755333 h 1289684"/>
                <a:gd name="connsiteX111" fmla="*/ 4884420 w 6365557"/>
                <a:gd name="connsiteY111" fmla="*/ 493395 h 1289684"/>
                <a:gd name="connsiteX112" fmla="*/ 4907280 w 6365557"/>
                <a:gd name="connsiteY112" fmla="*/ 906780 h 1289684"/>
                <a:gd name="connsiteX113" fmla="*/ 5000625 w 6365557"/>
                <a:gd name="connsiteY113" fmla="*/ 856298 h 1289684"/>
                <a:gd name="connsiteX114" fmla="*/ 5000625 w 6365557"/>
                <a:gd name="connsiteY114" fmla="*/ 632460 h 1289684"/>
                <a:gd name="connsiteX115" fmla="*/ 4913948 w 6365557"/>
                <a:gd name="connsiteY115" fmla="*/ 600075 h 1289684"/>
                <a:gd name="connsiteX116" fmla="*/ 4806315 w 6365557"/>
                <a:gd name="connsiteY116" fmla="*/ 756285 h 1289684"/>
                <a:gd name="connsiteX117" fmla="*/ 4907280 w 6365557"/>
                <a:gd name="connsiteY117" fmla="*/ 906780 h 1289684"/>
                <a:gd name="connsiteX118" fmla="*/ 5695950 w 6365557"/>
                <a:gd name="connsiteY118" fmla="*/ 493395 h 1289684"/>
                <a:gd name="connsiteX119" fmla="*/ 5695950 w 6365557"/>
                <a:gd name="connsiteY119" fmla="*/ 594360 h 1289684"/>
                <a:gd name="connsiteX120" fmla="*/ 5629275 w 6365557"/>
                <a:gd name="connsiteY120" fmla="*/ 594360 h 1289684"/>
                <a:gd name="connsiteX121" fmla="*/ 5647373 w 6365557"/>
                <a:gd name="connsiteY121" fmla="*/ 674370 h 1289684"/>
                <a:gd name="connsiteX122" fmla="*/ 5433060 w 6365557"/>
                <a:gd name="connsiteY122" fmla="*/ 854393 h 1289684"/>
                <a:gd name="connsiteX123" fmla="*/ 5374005 w 6365557"/>
                <a:gd name="connsiteY123" fmla="*/ 849630 h 1289684"/>
                <a:gd name="connsiteX124" fmla="*/ 5355908 w 6365557"/>
                <a:gd name="connsiteY124" fmla="*/ 879158 h 1289684"/>
                <a:gd name="connsiteX125" fmla="*/ 5455920 w 6365557"/>
                <a:gd name="connsiteY125" fmla="*/ 914400 h 1289684"/>
                <a:gd name="connsiteX126" fmla="*/ 5690235 w 6365557"/>
                <a:gd name="connsiteY126" fmla="*/ 1067753 h 1289684"/>
                <a:gd name="connsiteX127" fmla="*/ 5417820 w 6365557"/>
                <a:gd name="connsiteY127" fmla="*/ 1247775 h 1289684"/>
                <a:gd name="connsiteX128" fmla="*/ 5198745 w 6365557"/>
                <a:gd name="connsiteY128" fmla="*/ 1115378 h 1289684"/>
                <a:gd name="connsiteX129" fmla="*/ 5282565 w 6365557"/>
                <a:gd name="connsiteY129" fmla="*/ 993458 h 1289684"/>
                <a:gd name="connsiteX130" fmla="*/ 5238750 w 6365557"/>
                <a:gd name="connsiteY130" fmla="*/ 918210 h 1289684"/>
                <a:gd name="connsiteX131" fmla="*/ 5294948 w 6365557"/>
                <a:gd name="connsiteY131" fmla="*/ 823913 h 1289684"/>
                <a:gd name="connsiteX132" fmla="*/ 5206365 w 6365557"/>
                <a:gd name="connsiteY132" fmla="*/ 674370 h 1289684"/>
                <a:gd name="connsiteX133" fmla="*/ 5427345 w 6365557"/>
                <a:gd name="connsiteY133" fmla="*/ 493395 h 1289684"/>
                <a:gd name="connsiteX134" fmla="*/ 5695950 w 6365557"/>
                <a:gd name="connsiteY134" fmla="*/ 493395 h 1289684"/>
                <a:gd name="connsiteX135" fmla="*/ 5314950 w 6365557"/>
                <a:gd name="connsiteY135" fmla="*/ 1088708 h 1289684"/>
                <a:gd name="connsiteX136" fmla="*/ 5412105 w 6365557"/>
                <a:gd name="connsiteY136" fmla="*/ 1156335 h 1289684"/>
                <a:gd name="connsiteX137" fmla="*/ 5541645 w 6365557"/>
                <a:gd name="connsiteY137" fmla="*/ 1082993 h 1289684"/>
                <a:gd name="connsiteX138" fmla="*/ 5422583 w 6365557"/>
                <a:gd name="connsiteY138" fmla="*/ 1026795 h 1289684"/>
                <a:gd name="connsiteX139" fmla="*/ 5354955 w 6365557"/>
                <a:gd name="connsiteY139" fmla="*/ 1020128 h 1289684"/>
                <a:gd name="connsiteX140" fmla="*/ 5314950 w 6365557"/>
                <a:gd name="connsiteY140" fmla="*/ 1088708 h 1289684"/>
                <a:gd name="connsiteX141" fmla="*/ 5517833 w 6365557"/>
                <a:gd name="connsiteY141" fmla="*/ 674370 h 1289684"/>
                <a:gd name="connsiteX142" fmla="*/ 5428298 w 6365557"/>
                <a:gd name="connsiteY142" fmla="*/ 581978 h 1289684"/>
                <a:gd name="connsiteX143" fmla="*/ 5338763 w 6365557"/>
                <a:gd name="connsiteY143" fmla="*/ 674370 h 1289684"/>
                <a:gd name="connsiteX144" fmla="*/ 5428298 w 6365557"/>
                <a:gd name="connsiteY144" fmla="*/ 766763 h 1289684"/>
                <a:gd name="connsiteX145" fmla="*/ 5517833 w 6365557"/>
                <a:gd name="connsiteY145" fmla="*/ 674370 h 1289684"/>
                <a:gd name="connsiteX146" fmla="*/ 5992178 w 6365557"/>
                <a:gd name="connsiteY146" fmla="*/ 914400 h 1289684"/>
                <a:gd name="connsiteX147" fmla="*/ 6121718 w 6365557"/>
                <a:gd name="connsiteY147" fmla="*/ 880110 h 1289684"/>
                <a:gd name="connsiteX148" fmla="*/ 6165533 w 6365557"/>
                <a:gd name="connsiteY148" fmla="*/ 967740 h 1289684"/>
                <a:gd name="connsiteX149" fmla="*/ 5979795 w 6365557"/>
                <a:gd name="connsiteY149" fmla="*/ 1015365 h 1289684"/>
                <a:gd name="connsiteX150" fmla="*/ 5719763 w 6365557"/>
                <a:gd name="connsiteY150" fmla="*/ 751523 h 1289684"/>
                <a:gd name="connsiteX151" fmla="*/ 5965508 w 6365557"/>
                <a:gd name="connsiteY151" fmla="*/ 492443 h 1289684"/>
                <a:gd name="connsiteX152" fmla="*/ 6179820 w 6365557"/>
                <a:gd name="connsiteY152" fmla="*/ 784860 h 1289684"/>
                <a:gd name="connsiteX153" fmla="*/ 5863590 w 6365557"/>
                <a:gd name="connsiteY153" fmla="*/ 784860 h 1289684"/>
                <a:gd name="connsiteX154" fmla="*/ 5992178 w 6365557"/>
                <a:gd name="connsiteY154" fmla="*/ 914400 h 1289684"/>
                <a:gd name="connsiteX155" fmla="*/ 6049328 w 6365557"/>
                <a:gd name="connsiteY155" fmla="*/ 693420 h 1289684"/>
                <a:gd name="connsiteX156" fmla="*/ 5963603 w 6365557"/>
                <a:gd name="connsiteY156" fmla="*/ 591503 h 1289684"/>
                <a:gd name="connsiteX157" fmla="*/ 5864543 w 6365557"/>
                <a:gd name="connsiteY157" fmla="*/ 693420 h 1289684"/>
                <a:gd name="connsiteX158" fmla="*/ 6049328 w 6365557"/>
                <a:gd name="connsiteY158" fmla="*/ 693420 h 1289684"/>
                <a:gd name="connsiteX159" fmla="*/ 6296025 w 6365557"/>
                <a:gd name="connsiteY159" fmla="*/ 634365 h 1289684"/>
                <a:gd name="connsiteX160" fmla="*/ 6226493 w 6365557"/>
                <a:gd name="connsiteY160" fmla="*/ 564833 h 1289684"/>
                <a:gd name="connsiteX161" fmla="*/ 6296025 w 6365557"/>
                <a:gd name="connsiteY161" fmla="*/ 495300 h 1289684"/>
                <a:gd name="connsiteX162" fmla="*/ 6365558 w 6365557"/>
                <a:gd name="connsiteY162" fmla="*/ 564833 h 1289684"/>
                <a:gd name="connsiteX163" fmla="*/ 6296025 w 6365557"/>
                <a:gd name="connsiteY163" fmla="*/ 634365 h 1289684"/>
                <a:gd name="connsiteX164" fmla="*/ 6296025 w 6365557"/>
                <a:gd name="connsiteY164" fmla="*/ 505778 h 1289684"/>
                <a:gd name="connsiteX165" fmla="*/ 6237923 w 6365557"/>
                <a:gd name="connsiteY165" fmla="*/ 564833 h 1289684"/>
                <a:gd name="connsiteX166" fmla="*/ 6296025 w 6365557"/>
                <a:gd name="connsiteY166" fmla="*/ 623888 h 1289684"/>
                <a:gd name="connsiteX167" fmla="*/ 6354128 w 6365557"/>
                <a:gd name="connsiteY167" fmla="*/ 564833 h 1289684"/>
                <a:gd name="connsiteX168" fmla="*/ 6296025 w 6365557"/>
                <a:gd name="connsiteY168" fmla="*/ 505778 h 1289684"/>
                <a:gd name="connsiteX169" fmla="*/ 6316028 w 6365557"/>
                <a:gd name="connsiteY169" fmla="*/ 605790 h 1289684"/>
                <a:gd name="connsiteX170" fmla="*/ 6296978 w 6365557"/>
                <a:gd name="connsiteY170" fmla="*/ 577215 h 1289684"/>
                <a:gd name="connsiteX171" fmla="*/ 6284595 w 6365557"/>
                <a:gd name="connsiteY171" fmla="*/ 569595 h 1289684"/>
                <a:gd name="connsiteX172" fmla="*/ 6284595 w 6365557"/>
                <a:gd name="connsiteY172" fmla="*/ 606743 h 1289684"/>
                <a:gd name="connsiteX173" fmla="*/ 6271260 w 6365557"/>
                <a:gd name="connsiteY173" fmla="*/ 606743 h 1289684"/>
                <a:gd name="connsiteX174" fmla="*/ 6271260 w 6365557"/>
                <a:gd name="connsiteY174" fmla="*/ 522923 h 1289684"/>
                <a:gd name="connsiteX175" fmla="*/ 6298883 w 6365557"/>
                <a:gd name="connsiteY175" fmla="*/ 522923 h 1289684"/>
                <a:gd name="connsiteX176" fmla="*/ 6325553 w 6365557"/>
                <a:gd name="connsiteY176" fmla="*/ 546735 h 1289684"/>
                <a:gd name="connsiteX177" fmla="*/ 6303645 w 6365557"/>
                <a:gd name="connsiteY177" fmla="*/ 568643 h 1289684"/>
                <a:gd name="connsiteX178" fmla="*/ 6313170 w 6365557"/>
                <a:gd name="connsiteY178" fmla="*/ 580073 h 1289684"/>
                <a:gd name="connsiteX179" fmla="*/ 6331268 w 6365557"/>
                <a:gd name="connsiteY179" fmla="*/ 606743 h 1289684"/>
                <a:gd name="connsiteX180" fmla="*/ 6316028 w 6365557"/>
                <a:gd name="connsiteY180" fmla="*/ 606743 h 1289684"/>
                <a:gd name="connsiteX181" fmla="*/ 6296025 w 6365557"/>
                <a:gd name="connsiteY181" fmla="*/ 533400 h 1289684"/>
                <a:gd name="connsiteX182" fmla="*/ 6284595 w 6365557"/>
                <a:gd name="connsiteY182" fmla="*/ 533400 h 1289684"/>
                <a:gd name="connsiteX183" fmla="*/ 6284595 w 6365557"/>
                <a:gd name="connsiteY183" fmla="*/ 559118 h 1289684"/>
                <a:gd name="connsiteX184" fmla="*/ 6293168 w 6365557"/>
                <a:gd name="connsiteY184" fmla="*/ 559118 h 1289684"/>
                <a:gd name="connsiteX185" fmla="*/ 6311265 w 6365557"/>
                <a:gd name="connsiteY185" fmla="*/ 546735 h 1289684"/>
                <a:gd name="connsiteX186" fmla="*/ 6296025 w 6365557"/>
                <a:gd name="connsiteY186" fmla="*/ 533400 h 1289684"/>
                <a:gd name="connsiteX187" fmla="*/ 1146810 w 6365557"/>
                <a:gd name="connsiteY187" fmla="*/ 1905 h 1289684"/>
                <a:gd name="connsiteX188" fmla="*/ 1146810 w 6365557"/>
                <a:gd name="connsiteY188" fmla="*/ 0 h 1289684"/>
                <a:gd name="connsiteX189" fmla="*/ 0 w 6365557"/>
                <a:gd name="connsiteY189" fmla="*/ 0 h 1289684"/>
                <a:gd name="connsiteX190" fmla="*/ 0 w 6365557"/>
                <a:gd name="connsiteY190" fmla="*/ 1905 h 1289684"/>
                <a:gd name="connsiteX191" fmla="*/ 0 w 6365557"/>
                <a:gd name="connsiteY191" fmla="*/ 1289685 h 1289684"/>
                <a:gd name="connsiteX192" fmla="*/ 1146810 w 6365557"/>
                <a:gd name="connsiteY192" fmla="*/ 1289685 h 1289684"/>
                <a:gd name="connsiteX193" fmla="*/ 1146810 w 6365557"/>
                <a:gd name="connsiteY193" fmla="*/ 1905 h 1289684"/>
                <a:gd name="connsiteX194" fmla="*/ 897255 w 6365557"/>
                <a:gd name="connsiteY194" fmla="*/ 880110 h 1289684"/>
                <a:gd name="connsiteX195" fmla="*/ 897255 w 6365557"/>
                <a:gd name="connsiteY195" fmla="*/ 934403 h 1289684"/>
                <a:gd name="connsiteX196" fmla="*/ 642938 w 6365557"/>
                <a:gd name="connsiteY196" fmla="*/ 843915 h 1289684"/>
                <a:gd name="connsiteX197" fmla="*/ 672465 w 6365557"/>
                <a:gd name="connsiteY197" fmla="*/ 915353 h 1289684"/>
                <a:gd name="connsiteX198" fmla="*/ 1126808 w 6365557"/>
                <a:gd name="connsiteY198" fmla="*/ 1173480 h 1289684"/>
                <a:gd name="connsiteX199" fmla="*/ 1126808 w 6365557"/>
                <a:gd name="connsiteY199" fmla="*/ 1243965 h 1289684"/>
                <a:gd name="connsiteX200" fmla="*/ 608648 w 6365557"/>
                <a:gd name="connsiteY200" fmla="*/ 944880 h 1289684"/>
                <a:gd name="connsiteX201" fmla="*/ 572453 w 6365557"/>
                <a:gd name="connsiteY201" fmla="*/ 857250 h 1289684"/>
                <a:gd name="connsiteX202" fmla="*/ 189548 w 6365557"/>
                <a:gd name="connsiteY202" fmla="*/ 1110615 h 1289684"/>
                <a:gd name="connsiteX203" fmla="*/ 189548 w 6365557"/>
                <a:gd name="connsiteY203" fmla="*/ 1032510 h 1289684"/>
                <a:gd name="connsiteX204" fmla="*/ 531495 w 6365557"/>
                <a:gd name="connsiteY204" fmla="*/ 644843 h 1289684"/>
                <a:gd name="connsiteX205" fmla="*/ 615315 w 6365557"/>
                <a:gd name="connsiteY205" fmla="*/ 644843 h 1289684"/>
                <a:gd name="connsiteX206" fmla="*/ 957263 w 6365557"/>
                <a:gd name="connsiteY206" fmla="*/ 265748 h 1289684"/>
                <a:gd name="connsiteX207" fmla="*/ 957263 w 6365557"/>
                <a:gd name="connsiteY207" fmla="*/ 187643 h 1289684"/>
                <a:gd name="connsiteX208" fmla="*/ 574358 w 6365557"/>
                <a:gd name="connsiteY208" fmla="*/ 441008 h 1289684"/>
                <a:gd name="connsiteX209" fmla="*/ 538163 w 6365557"/>
                <a:gd name="connsiteY209" fmla="*/ 353378 h 1289684"/>
                <a:gd name="connsiteX210" fmla="*/ 19050 w 6365557"/>
                <a:gd name="connsiteY210" fmla="*/ 54293 h 1289684"/>
                <a:gd name="connsiteX211" fmla="*/ 19050 w 6365557"/>
                <a:gd name="connsiteY211" fmla="*/ 19050 h 1289684"/>
                <a:gd name="connsiteX212" fmla="*/ 1127760 w 6365557"/>
                <a:gd name="connsiteY212" fmla="*/ 19050 h 1289684"/>
                <a:gd name="connsiteX213" fmla="*/ 1127760 w 6365557"/>
                <a:gd name="connsiteY213" fmla="*/ 644843 h 1289684"/>
                <a:gd name="connsiteX214" fmla="*/ 615315 w 6365557"/>
                <a:gd name="connsiteY214" fmla="*/ 644843 h 1289684"/>
                <a:gd name="connsiteX215" fmla="*/ 897255 w 6365557"/>
                <a:gd name="connsiteY215" fmla="*/ 880110 h 1289684"/>
                <a:gd name="connsiteX216" fmla="*/ 19050 w 6365557"/>
                <a:gd name="connsiteY216" fmla="*/ 124778 h 1289684"/>
                <a:gd name="connsiteX217" fmla="*/ 473393 w 6365557"/>
                <a:gd name="connsiteY217" fmla="*/ 382905 h 1289684"/>
                <a:gd name="connsiteX218" fmla="*/ 502920 w 6365557"/>
                <a:gd name="connsiteY218" fmla="*/ 453390 h 1289684"/>
                <a:gd name="connsiteX219" fmla="*/ 248603 w 6365557"/>
                <a:gd name="connsiteY219" fmla="*/ 362903 h 1289684"/>
                <a:gd name="connsiteX220" fmla="*/ 248603 w 6365557"/>
                <a:gd name="connsiteY220" fmla="*/ 418148 h 1289684"/>
                <a:gd name="connsiteX221" fmla="*/ 530543 w 6365557"/>
                <a:gd name="connsiteY221" fmla="*/ 644843 h 1289684"/>
                <a:gd name="connsiteX222" fmla="*/ 19050 w 6365557"/>
                <a:gd name="connsiteY222" fmla="*/ 644843 h 1289684"/>
                <a:gd name="connsiteX223" fmla="*/ 19050 w 6365557"/>
                <a:gd name="connsiteY223" fmla="*/ 124778 h 1289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6365557" h="1289684">
                  <a:moveTo>
                    <a:pt x="1803083" y="1002983"/>
                  </a:moveTo>
                  <a:lnTo>
                    <a:pt x="1579245" y="1002983"/>
                  </a:lnTo>
                  <a:lnTo>
                    <a:pt x="1579245" y="322898"/>
                  </a:lnTo>
                  <a:lnTo>
                    <a:pt x="1805940" y="322898"/>
                  </a:lnTo>
                  <a:cubicBezTo>
                    <a:pt x="1931670" y="322898"/>
                    <a:pt x="2041208" y="363855"/>
                    <a:pt x="2041208" y="492443"/>
                  </a:cubicBezTo>
                  <a:cubicBezTo>
                    <a:pt x="2041208" y="580073"/>
                    <a:pt x="1994535" y="629603"/>
                    <a:pt x="1920240" y="648653"/>
                  </a:cubicBezTo>
                  <a:lnTo>
                    <a:pt x="1920240" y="650558"/>
                  </a:lnTo>
                  <a:cubicBezTo>
                    <a:pt x="2001203" y="662940"/>
                    <a:pt x="2069783" y="717233"/>
                    <a:pt x="2069783" y="814388"/>
                  </a:cubicBezTo>
                  <a:cubicBezTo>
                    <a:pt x="2069783" y="953453"/>
                    <a:pt x="1958340" y="1002983"/>
                    <a:pt x="1803083" y="1002983"/>
                  </a:cubicBezTo>
                  <a:moveTo>
                    <a:pt x="1790700" y="433388"/>
                  </a:moveTo>
                  <a:lnTo>
                    <a:pt x="1707833" y="433388"/>
                  </a:lnTo>
                  <a:lnTo>
                    <a:pt x="1707833" y="602933"/>
                  </a:lnTo>
                  <a:lnTo>
                    <a:pt x="1787843" y="602933"/>
                  </a:lnTo>
                  <a:cubicBezTo>
                    <a:pt x="1865948" y="602933"/>
                    <a:pt x="1899285" y="575310"/>
                    <a:pt x="1899285" y="515303"/>
                  </a:cubicBezTo>
                  <a:cubicBezTo>
                    <a:pt x="1899285" y="459105"/>
                    <a:pt x="1862138" y="433388"/>
                    <a:pt x="1790700" y="433388"/>
                  </a:cubicBezTo>
                  <a:moveTo>
                    <a:pt x="1789748" y="705803"/>
                  </a:moveTo>
                  <a:lnTo>
                    <a:pt x="1707833" y="705803"/>
                  </a:lnTo>
                  <a:lnTo>
                    <a:pt x="1707833" y="892493"/>
                  </a:lnTo>
                  <a:lnTo>
                    <a:pt x="1783080" y="892493"/>
                  </a:lnTo>
                  <a:cubicBezTo>
                    <a:pt x="1865948" y="892493"/>
                    <a:pt x="1909763" y="866775"/>
                    <a:pt x="1909763" y="801053"/>
                  </a:cubicBezTo>
                  <a:cubicBezTo>
                    <a:pt x="1909763" y="738188"/>
                    <a:pt x="1873568" y="705803"/>
                    <a:pt x="1789748" y="705803"/>
                  </a:cubicBezTo>
                  <a:moveTo>
                    <a:pt x="2473643" y="506730"/>
                  </a:moveTo>
                  <a:cubicBezTo>
                    <a:pt x="2462213" y="501015"/>
                    <a:pt x="2443163" y="493395"/>
                    <a:pt x="2406015" y="493395"/>
                  </a:cubicBezTo>
                  <a:cubicBezTo>
                    <a:pt x="2343150" y="493395"/>
                    <a:pt x="2302193" y="536258"/>
                    <a:pt x="2280285" y="573405"/>
                  </a:cubicBezTo>
                  <a:lnTo>
                    <a:pt x="2280285" y="505778"/>
                  </a:lnTo>
                  <a:lnTo>
                    <a:pt x="2144078" y="505778"/>
                  </a:lnTo>
                  <a:lnTo>
                    <a:pt x="2144078" y="1002983"/>
                  </a:lnTo>
                  <a:lnTo>
                    <a:pt x="2280285" y="1002983"/>
                  </a:lnTo>
                  <a:lnTo>
                    <a:pt x="2280285" y="689610"/>
                  </a:lnTo>
                  <a:cubicBezTo>
                    <a:pt x="2292668" y="666750"/>
                    <a:pt x="2327910" y="614363"/>
                    <a:pt x="2388870" y="614363"/>
                  </a:cubicBezTo>
                  <a:cubicBezTo>
                    <a:pt x="2417445" y="614363"/>
                    <a:pt x="2432685" y="620078"/>
                    <a:pt x="2441258" y="625793"/>
                  </a:cubicBezTo>
                  <a:lnTo>
                    <a:pt x="2473643" y="506730"/>
                  </a:lnTo>
                  <a:close/>
                  <a:moveTo>
                    <a:pt x="2715578" y="1015365"/>
                  </a:moveTo>
                  <a:cubicBezTo>
                    <a:pt x="2542223" y="1015365"/>
                    <a:pt x="2466023" y="883920"/>
                    <a:pt x="2466023" y="756285"/>
                  </a:cubicBezTo>
                  <a:cubicBezTo>
                    <a:pt x="2466023" y="628650"/>
                    <a:pt x="2540318" y="493395"/>
                    <a:pt x="2714625" y="493395"/>
                  </a:cubicBezTo>
                  <a:cubicBezTo>
                    <a:pt x="2887980" y="493395"/>
                    <a:pt x="2967038" y="623888"/>
                    <a:pt x="2967038" y="751523"/>
                  </a:cubicBezTo>
                  <a:cubicBezTo>
                    <a:pt x="2967038" y="877253"/>
                    <a:pt x="2890838" y="1015365"/>
                    <a:pt x="2715578" y="1015365"/>
                  </a:cubicBezTo>
                  <a:moveTo>
                    <a:pt x="2712720" y="594360"/>
                  </a:moveTo>
                  <a:cubicBezTo>
                    <a:pt x="2636520" y="594360"/>
                    <a:pt x="2610803" y="659130"/>
                    <a:pt x="2610803" y="751523"/>
                  </a:cubicBezTo>
                  <a:cubicBezTo>
                    <a:pt x="2610803" y="843915"/>
                    <a:pt x="2641283" y="911543"/>
                    <a:pt x="2718435" y="911543"/>
                  </a:cubicBezTo>
                  <a:cubicBezTo>
                    <a:pt x="2796540" y="911543"/>
                    <a:pt x="2824163" y="847725"/>
                    <a:pt x="2824163" y="755333"/>
                  </a:cubicBezTo>
                  <a:cubicBezTo>
                    <a:pt x="2823210" y="662940"/>
                    <a:pt x="2789873" y="594360"/>
                    <a:pt x="2712720" y="594360"/>
                  </a:cubicBezTo>
                  <a:moveTo>
                    <a:pt x="3301365" y="1002983"/>
                  </a:moveTo>
                  <a:cubicBezTo>
                    <a:pt x="3297555" y="990600"/>
                    <a:pt x="3293745" y="964883"/>
                    <a:pt x="3292793" y="949643"/>
                  </a:cubicBezTo>
                  <a:cubicBezTo>
                    <a:pt x="3269933" y="976313"/>
                    <a:pt x="3223260" y="1015365"/>
                    <a:pt x="3152775" y="1015365"/>
                  </a:cubicBezTo>
                  <a:cubicBezTo>
                    <a:pt x="3068003" y="1015365"/>
                    <a:pt x="3002280" y="963930"/>
                    <a:pt x="3002280" y="875348"/>
                  </a:cubicBezTo>
                  <a:cubicBezTo>
                    <a:pt x="3002280" y="745808"/>
                    <a:pt x="3135630" y="698183"/>
                    <a:pt x="3268028" y="698183"/>
                  </a:cubicBezTo>
                  <a:lnTo>
                    <a:pt x="3285173" y="698183"/>
                  </a:lnTo>
                  <a:lnTo>
                    <a:pt x="3285173" y="669608"/>
                  </a:lnTo>
                  <a:cubicBezTo>
                    <a:pt x="3285173" y="626745"/>
                    <a:pt x="3268028" y="600075"/>
                    <a:pt x="3204210" y="600075"/>
                  </a:cubicBezTo>
                  <a:cubicBezTo>
                    <a:pt x="3139440" y="600075"/>
                    <a:pt x="3095625" y="633413"/>
                    <a:pt x="3077528" y="646748"/>
                  </a:cubicBezTo>
                  <a:lnTo>
                    <a:pt x="3018473" y="563880"/>
                  </a:lnTo>
                  <a:cubicBezTo>
                    <a:pt x="3048000" y="537210"/>
                    <a:pt x="3113723" y="492443"/>
                    <a:pt x="3219450" y="492443"/>
                  </a:cubicBezTo>
                  <a:cubicBezTo>
                    <a:pt x="3355658" y="492443"/>
                    <a:pt x="3419475" y="544830"/>
                    <a:pt x="3419475" y="676275"/>
                  </a:cubicBezTo>
                  <a:lnTo>
                    <a:pt x="3419475" y="855345"/>
                  </a:lnTo>
                  <a:cubicBezTo>
                    <a:pt x="3419475" y="922973"/>
                    <a:pt x="3426143" y="970598"/>
                    <a:pt x="3433763" y="1002030"/>
                  </a:cubicBezTo>
                  <a:lnTo>
                    <a:pt x="3301365" y="1002030"/>
                  </a:lnTo>
                  <a:close/>
                  <a:moveTo>
                    <a:pt x="3271838" y="782955"/>
                  </a:moveTo>
                  <a:lnTo>
                    <a:pt x="3254693" y="782955"/>
                  </a:lnTo>
                  <a:cubicBezTo>
                    <a:pt x="3174683" y="782955"/>
                    <a:pt x="3119438" y="806768"/>
                    <a:pt x="3119438" y="864870"/>
                  </a:cubicBezTo>
                  <a:cubicBezTo>
                    <a:pt x="3119438" y="902018"/>
                    <a:pt x="3148965" y="917258"/>
                    <a:pt x="3179445" y="917258"/>
                  </a:cubicBezTo>
                  <a:cubicBezTo>
                    <a:pt x="3228023" y="917258"/>
                    <a:pt x="3257550" y="888683"/>
                    <a:pt x="3271838" y="873443"/>
                  </a:cubicBezTo>
                  <a:lnTo>
                    <a:pt x="3271838" y="782955"/>
                  </a:lnTo>
                  <a:close/>
                  <a:moveTo>
                    <a:pt x="3713798" y="493395"/>
                  </a:moveTo>
                  <a:cubicBezTo>
                    <a:pt x="3774758" y="493395"/>
                    <a:pt x="3810953" y="515303"/>
                    <a:pt x="3829050" y="527685"/>
                  </a:cubicBezTo>
                  <a:lnTo>
                    <a:pt x="3829050" y="270510"/>
                  </a:lnTo>
                  <a:lnTo>
                    <a:pt x="3965258" y="270510"/>
                  </a:lnTo>
                  <a:lnTo>
                    <a:pt x="3965258" y="861060"/>
                  </a:lnTo>
                  <a:cubicBezTo>
                    <a:pt x="3965258" y="925830"/>
                    <a:pt x="3973830" y="975360"/>
                    <a:pt x="3979545" y="1002983"/>
                  </a:cubicBezTo>
                  <a:lnTo>
                    <a:pt x="3845243" y="1002983"/>
                  </a:lnTo>
                  <a:cubicBezTo>
                    <a:pt x="3841433" y="990600"/>
                    <a:pt x="3835718" y="963930"/>
                    <a:pt x="3834765" y="948690"/>
                  </a:cubicBezTo>
                  <a:cubicBezTo>
                    <a:pt x="3804285" y="984885"/>
                    <a:pt x="3761423" y="1016318"/>
                    <a:pt x="3694748" y="1016318"/>
                  </a:cubicBezTo>
                  <a:cubicBezTo>
                    <a:pt x="3569970" y="1016318"/>
                    <a:pt x="3489960" y="922020"/>
                    <a:pt x="3489960" y="755333"/>
                  </a:cubicBezTo>
                  <a:cubicBezTo>
                    <a:pt x="3490913" y="596265"/>
                    <a:pt x="3586163" y="493395"/>
                    <a:pt x="3713798" y="493395"/>
                  </a:cubicBezTo>
                  <a:moveTo>
                    <a:pt x="3736658" y="906780"/>
                  </a:moveTo>
                  <a:cubicBezTo>
                    <a:pt x="3786188" y="906780"/>
                    <a:pt x="3818573" y="871538"/>
                    <a:pt x="3830003" y="856298"/>
                  </a:cubicBezTo>
                  <a:lnTo>
                    <a:pt x="3830003" y="632460"/>
                  </a:lnTo>
                  <a:cubicBezTo>
                    <a:pt x="3812858" y="617220"/>
                    <a:pt x="3787140" y="600075"/>
                    <a:pt x="3743325" y="600075"/>
                  </a:cubicBezTo>
                  <a:cubicBezTo>
                    <a:pt x="3673793" y="600075"/>
                    <a:pt x="3635693" y="658178"/>
                    <a:pt x="3635693" y="756285"/>
                  </a:cubicBezTo>
                  <a:cubicBezTo>
                    <a:pt x="3635693" y="850583"/>
                    <a:pt x="3667125" y="906780"/>
                    <a:pt x="3736658" y="906780"/>
                  </a:cubicBezTo>
                  <a:moveTo>
                    <a:pt x="4397693" y="506730"/>
                  </a:moveTo>
                  <a:cubicBezTo>
                    <a:pt x="4386263" y="501015"/>
                    <a:pt x="4367213" y="493395"/>
                    <a:pt x="4330065" y="493395"/>
                  </a:cubicBezTo>
                  <a:cubicBezTo>
                    <a:pt x="4267200" y="493395"/>
                    <a:pt x="4226243" y="536258"/>
                    <a:pt x="4204335" y="573405"/>
                  </a:cubicBezTo>
                  <a:lnTo>
                    <a:pt x="4204335" y="505778"/>
                  </a:lnTo>
                  <a:lnTo>
                    <a:pt x="4068128" y="505778"/>
                  </a:lnTo>
                  <a:lnTo>
                    <a:pt x="4068128" y="1002983"/>
                  </a:lnTo>
                  <a:lnTo>
                    <a:pt x="4204335" y="1002983"/>
                  </a:lnTo>
                  <a:lnTo>
                    <a:pt x="4204335" y="689610"/>
                  </a:lnTo>
                  <a:cubicBezTo>
                    <a:pt x="4216718" y="666750"/>
                    <a:pt x="4251960" y="614363"/>
                    <a:pt x="4312920" y="614363"/>
                  </a:cubicBezTo>
                  <a:cubicBezTo>
                    <a:pt x="4341495" y="614363"/>
                    <a:pt x="4356735" y="620078"/>
                    <a:pt x="4365308" y="625793"/>
                  </a:cubicBezTo>
                  <a:lnTo>
                    <a:pt x="4397693" y="506730"/>
                  </a:lnTo>
                  <a:close/>
                  <a:moveTo>
                    <a:pt x="4517708" y="441008"/>
                  </a:moveTo>
                  <a:cubicBezTo>
                    <a:pt x="4562475" y="441008"/>
                    <a:pt x="4595813" y="405765"/>
                    <a:pt x="4595813" y="364808"/>
                  </a:cubicBezTo>
                  <a:cubicBezTo>
                    <a:pt x="4595813" y="324803"/>
                    <a:pt x="4562475" y="290513"/>
                    <a:pt x="4517708" y="290513"/>
                  </a:cubicBezTo>
                  <a:cubicBezTo>
                    <a:pt x="4472940" y="290513"/>
                    <a:pt x="4440555" y="324803"/>
                    <a:pt x="4440555" y="364808"/>
                  </a:cubicBezTo>
                  <a:cubicBezTo>
                    <a:pt x="4441508" y="406718"/>
                    <a:pt x="4473893" y="441008"/>
                    <a:pt x="4517708" y="441008"/>
                  </a:cubicBezTo>
                  <a:moveTo>
                    <a:pt x="4450080" y="1002983"/>
                  </a:moveTo>
                  <a:lnTo>
                    <a:pt x="4587240" y="1002983"/>
                  </a:lnTo>
                  <a:lnTo>
                    <a:pt x="4587240" y="505778"/>
                  </a:lnTo>
                  <a:lnTo>
                    <a:pt x="4450080" y="505778"/>
                  </a:lnTo>
                  <a:lnTo>
                    <a:pt x="4450080" y="1002983"/>
                  </a:lnTo>
                  <a:close/>
                  <a:moveTo>
                    <a:pt x="4884420" y="493395"/>
                  </a:moveTo>
                  <a:cubicBezTo>
                    <a:pt x="4945380" y="493395"/>
                    <a:pt x="4981575" y="515303"/>
                    <a:pt x="4999673" y="527685"/>
                  </a:cubicBezTo>
                  <a:lnTo>
                    <a:pt x="4999673" y="270510"/>
                  </a:lnTo>
                  <a:lnTo>
                    <a:pt x="5135880" y="270510"/>
                  </a:lnTo>
                  <a:lnTo>
                    <a:pt x="5135880" y="861060"/>
                  </a:lnTo>
                  <a:cubicBezTo>
                    <a:pt x="5135880" y="925830"/>
                    <a:pt x="5144453" y="975360"/>
                    <a:pt x="5150168" y="1002983"/>
                  </a:cubicBezTo>
                  <a:lnTo>
                    <a:pt x="5015865" y="1002983"/>
                  </a:lnTo>
                  <a:cubicBezTo>
                    <a:pt x="5012055" y="990600"/>
                    <a:pt x="5006340" y="963930"/>
                    <a:pt x="5005388" y="948690"/>
                  </a:cubicBezTo>
                  <a:cubicBezTo>
                    <a:pt x="4974908" y="984885"/>
                    <a:pt x="4932045" y="1016318"/>
                    <a:pt x="4865370" y="1016318"/>
                  </a:cubicBezTo>
                  <a:cubicBezTo>
                    <a:pt x="4740593" y="1016318"/>
                    <a:pt x="4660583" y="922020"/>
                    <a:pt x="4660583" y="755333"/>
                  </a:cubicBezTo>
                  <a:cubicBezTo>
                    <a:pt x="4662488" y="596265"/>
                    <a:pt x="4756785" y="493395"/>
                    <a:pt x="4884420" y="493395"/>
                  </a:cubicBezTo>
                  <a:moveTo>
                    <a:pt x="4907280" y="906780"/>
                  </a:moveTo>
                  <a:cubicBezTo>
                    <a:pt x="4955858" y="906780"/>
                    <a:pt x="4989195" y="871538"/>
                    <a:pt x="5000625" y="856298"/>
                  </a:cubicBezTo>
                  <a:lnTo>
                    <a:pt x="5000625" y="632460"/>
                  </a:lnTo>
                  <a:cubicBezTo>
                    <a:pt x="4983480" y="617220"/>
                    <a:pt x="4957763" y="600075"/>
                    <a:pt x="4913948" y="600075"/>
                  </a:cubicBezTo>
                  <a:cubicBezTo>
                    <a:pt x="4844415" y="600075"/>
                    <a:pt x="4806315" y="658178"/>
                    <a:pt x="4806315" y="756285"/>
                  </a:cubicBezTo>
                  <a:cubicBezTo>
                    <a:pt x="4806315" y="850583"/>
                    <a:pt x="4837748" y="906780"/>
                    <a:pt x="4907280" y="906780"/>
                  </a:cubicBezTo>
                  <a:moveTo>
                    <a:pt x="5695950" y="493395"/>
                  </a:moveTo>
                  <a:lnTo>
                    <a:pt x="5695950" y="594360"/>
                  </a:lnTo>
                  <a:lnTo>
                    <a:pt x="5629275" y="594360"/>
                  </a:lnTo>
                  <a:cubicBezTo>
                    <a:pt x="5641658" y="618173"/>
                    <a:pt x="5647373" y="645795"/>
                    <a:pt x="5647373" y="674370"/>
                  </a:cubicBezTo>
                  <a:cubicBezTo>
                    <a:pt x="5647373" y="781050"/>
                    <a:pt x="5572125" y="854393"/>
                    <a:pt x="5433060" y="854393"/>
                  </a:cubicBezTo>
                  <a:cubicBezTo>
                    <a:pt x="5411153" y="854393"/>
                    <a:pt x="5392103" y="852488"/>
                    <a:pt x="5374005" y="849630"/>
                  </a:cubicBezTo>
                  <a:cubicBezTo>
                    <a:pt x="5365433" y="855345"/>
                    <a:pt x="5355908" y="864870"/>
                    <a:pt x="5355908" y="879158"/>
                  </a:cubicBezTo>
                  <a:cubicBezTo>
                    <a:pt x="5355908" y="905828"/>
                    <a:pt x="5384483" y="910590"/>
                    <a:pt x="5455920" y="914400"/>
                  </a:cubicBezTo>
                  <a:cubicBezTo>
                    <a:pt x="5558790" y="919163"/>
                    <a:pt x="5690235" y="920115"/>
                    <a:pt x="5690235" y="1067753"/>
                  </a:cubicBezTo>
                  <a:cubicBezTo>
                    <a:pt x="5690235" y="1172528"/>
                    <a:pt x="5580698" y="1247775"/>
                    <a:pt x="5417820" y="1247775"/>
                  </a:cubicBezTo>
                  <a:cubicBezTo>
                    <a:pt x="5280660" y="1247775"/>
                    <a:pt x="5198745" y="1204913"/>
                    <a:pt x="5198745" y="1115378"/>
                  </a:cubicBezTo>
                  <a:cubicBezTo>
                    <a:pt x="5198745" y="1060133"/>
                    <a:pt x="5232083" y="1020128"/>
                    <a:pt x="5282565" y="993458"/>
                  </a:cubicBezTo>
                  <a:cubicBezTo>
                    <a:pt x="5254943" y="977265"/>
                    <a:pt x="5238750" y="953453"/>
                    <a:pt x="5238750" y="918210"/>
                  </a:cubicBezTo>
                  <a:cubicBezTo>
                    <a:pt x="5238750" y="871538"/>
                    <a:pt x="5265420" y="842010"/>
                    <a:pt x="5294948" y="823913"/>
                  </a:cubicBezTo>
                  <a:cubicBezTo>
                    <a:pt x="5238750" y="792480"/>
                    <a:pt x="5206365" y="740093"/>
                    <a:pt x="5206365" y="674370"/>
                  </a:cubicBezTo>
                  <a:cubicBezTo>
                    <a:pt x="5206365" y="566738"/>
                    <a:pt x="5289233" y="493395"/>
                    <a:pt x="5427345" y="493395"/>
                  </a:cubicBezTo>
                  <a:cubicBezTo>
                    <a:pt x="5459730" y="493395"/>
                    <a:pt x="5695950" y="493395"/>
                    <a:pt x="5695950" y="493395"/>
                  </a:cubicBezTo>
                  <a:moveTo>
                    <a:pt x="5314950" y="1088708"/>
                  </a:moveTo>
                  <a:cubicBezTo>
                    <a:pt x="5314950" y="1128713"/>
                    <a:pt x="5342573" y="1156335"/>
                    <a:pt x="5412105" y="1156335"/>
                  </a:cubicBezTo>
                  <a:cubicBezTo>
                    <a:pt x="5494973" y="1156335"/>
                    <a:pt x="5541645" y="1124903"/>
                    <a:pt x="5541645" y="1082993"/>
                  </a:cubicBezTo>
                  <a:cubicBezTo>
                    <a:pt x="5541645" y="1029653"/>
                    <a:pt x="5494973" y="1031558"/>
                    <a:pt x="5422583" y="1026795"/>
                  </a:cubicBezTo>
                  <a:cubicBezTo>
                    <a:pt x="5398770" y="1024890"/>
                    <a:pt x="5376863" y="1022985"/>
                    <a:pt x="5354955" y="1020128"/>
                  </a:cubicBezTo>
                  <a:cubicBezTo>
                    <a:pt x="5329238" y="1037273"/>
                    <a:pt x="5314950" y="1059180"/>
                    <a:pt x="5314950" y="1088708"/>
                  </a:cubicBezTo>
                  <a:moveTo>
                    <a:pt x="5517833" y="674370"/>
                  </a:moveTo>
                  <a:cubicBezTo>
                    <a:pt x="5517833" y="616268"/>
                    <a:pt x="5484495" y="581978"/>
                    <a:pt x="5428298" y="581978"/>
                  </a:cubicBezTo>
                  <a:cubicBezTo>
                    <a:pt x="5372100" y="581978"/>
                    <a:pt x="5338763" y="615315"/>
                    <a:pt x="5338763" y="674370"/>
                  </a:cubicBezTo>
                  <a:cubicBezTo>
                    <a:pt x="5338763" y="731520"/>
                    <a:pt x="5372100" y="766763"/>
                    <a:pt x="5428298" y="766763"/>
                  </a:cubicBezTo>
                  <a:cubicBezTo>
                    <a:pt x="5483543" y="765810"/>
                    <a:pt x="5517833" y="731520"/>
                    <a:pt x="5517833" y="674370"/>
                  </a:cubicBezTo>
                  <a:moveTo>
                    <a:pt x="5992178" y="914400"/>
                  </a:moveTo>
                  <a:cubicBezTo>
                    <a:pt x="6059805" y="914400"/>
                    <a:pt x="6096953" y="891540"/>
                    <a:pt x="6121718" y="880110"/>
                  </a:cubicBezTo>
                  <a:lnTo>
                    <a:pt x="6165533" y="967740"/>
                  </a:lnTo>
                  <a:cubicBezTo>
                    <a:pt x="6133148" y="985838"/>
                    <a:pt x="6081713" y="1015365"/>
                    <a:pt x="5979795" y="1015365"/>
                  </a:cubicBezTo>
                  <a:cubicBezTo>
                    <a:pt x="5813108" y="1015365"/>
                    <a:pt x="5719763" y="910590"/>
                    <a:pt x="5719763" y="751523"/>
                  </a:cubicBezTo>
                  <a:cubicBezTo>
                    <a:pt x="5719763" y="594360"/>
                    <a:pt x="5828348" y="492443"/>
                    <a:pt x="5965508" y="492443"/>
                  </a:cubicBezTo>
                  <a:cubicBezTo>
                    <a:pt x="6120765" y="492443"/>
                    <a:pt x="6196965" y="601028"/>
                    <a:pt x="6179820" y="784860"/>
                  </a:cubicBezTo>
                  <a:lnTo>
                    <a:pt x="5863590" y="784860"/>
                  </a:lnTo>
                  <a:cubicBezTo>
                    <a:pt x="5871210" y="862013"/>
                    <a:pt x="5909310" y="914400"/>
                    <a:pt x="5992178" y="914400"/>
                  </a:cubicBezTo>
                  <a:moveTo>
                    <a:pt x="6049328" y="693420"/>
                  </a:moveTo>
                  <a:cubicBezTo>
                    <a:pt x="6048375" y="637223"/>
                    <a:pt x="6025515" y="591503"/>
                    <a:pt x="5963603" y="591503"/>
                  </a:cubicBezTo>
                  <a:cubicBezTo>
                    <a:pt x="5906453" y="591503"/>
                    <a:pt x="5874068" y="628650"/>
                    <a:pt x="5864543" y="693420"/>
                  </a:cubicBezTo>
                  <a:lnTo>
                    <a:pt x="6049328" y="693420"/>
                  </a:lnTo>
                  <a:close/>
                  <a:moveTo>
                    <a:pt x="6296025" y="634365"/>
                  </a:moveTo>
                  <a:cubicBezTo>
                    <a:pt x="6257925" y="634365"/>
                    <a:pt x="6226493" y="602933"/>
                    <a:pt x="6226493" y="564833"/>
                  </a:cubicBezTo>
                  <a:cubicBezTo>
                    <a:pt x="6226493" y="526733"/>
                    <a:pt x="6257925" y="495300"/>
                    <a:pt x="6296025" y="495300"/>
                  </a:cubicBezTo>
                  <a:cubicBezTo>
                    <a:pt x="6334125" y="495300"/>
                    <a:pt x="6365558" y="526733"/>
                    <a:pt x="6365558" y="564833"/>
                  </a:cubicBezTo>
                  <a:cubicBezTo>
                    <a:pt x="6365558" y="602933"/>
                    <a:pt x="6335078" y="634365"/>
                    <a:pt x="6296025" y="634365"/>
                  </a:cubicBezTo>
                  <a:moveTo>
                    <a:pt x="6296025" y="505778"/>
                  </a:moveTo>
                  <a:cubicBezTo>
                    <a:pt x="6262688" y="505778"/>
                    <a:pt x="6237923" y="530543"/>
                    <a:pt x="6237923" y="564833"/>
                  </a:cubicBezTo>
                  <a:cubicBezTo>
                    <a:pt x="6237923" y="599123"/>
                    <a:pt x="6262688" y="623888"/>
                    <a:pt x="6296025" y="623888"/>
                  </a:cubicBezTo>
                  <a:cubicBezTo>
                    <a:pt x="6329363" y="623888"/>
                    <a:pt x="6354128" y="599123"/>
                    <a:pt x="6354128" y="564833"/>
                  </a:cubicBezTo>
                  <a:cubicBezTo>
                    <a:pt x="6355080" y="530543"/>
                    <a:pt x="6329363" y="505778"/>
                    <a:pt x="6296025" y="505778"/>
                  </a:cubicBezTo>
                  <a:moveTo>
                    <a:pt x="6316028" y="605790"/>
                  </a:moveTo>
                  <a:lnTo>
                    <a:pt x="6296978" y="577215"/>
                  </a:lnTo>
                  <a:cubicBezTo>
                    <a:pt x="6293168" y="571500"/>
                    <a:pt x="6290310" y="569595"/>
                    <a:pt x="6284595" y="569595"/>
                  </a:cubicBezTo>
                  <a:lnTo>
                    <a:pt x="6284595" y="606743"/>
                  </a:lnTo>
                  <a:lnTo>
                    <a:pt x="6271260" y="606743"/>
                  </a:lnTo>
                  <a:lnTo>
                    <a:pt x="6271260" y="522923"/>
                  </a:lnTo>
                  <a:lnTo>
                    <a:pt x="6298883" y="522923"/>
                  </a:lnTo>
                  <a:cubicBezTo>
                    <a:pt x="6316028" y="522923"/>
                    <a:pt x="6325553" y="533400"/>
                    <a:pt x="6325553" y="546735"/>
                  </a:cubicBezTo>
                  <a:cubicBezTo>
                    <a:pt x="6325553" y="559118"/>
                    <a:pt x="6316980" y="566738"/>
                    <a:pt x="6303645" y="568643"/>
                  </a:cubicBezTo>
                  <a:cubicBezTo>
                    <a:pt x="6307455" y="571500"/>
                    <a:pt x="6310313" y="574358"/>
                    <a:pt x="6313170" y="580073"/>
                  </a:cubicBezTo>
                  <a:lnTo>
                    <a:pt x="6331268" y="606743"/>
                  </a:lnTo>
                  <a:lnTo>
                    <a:pt x="6316028" y="606743"/>
                  </a:lnTo>
                  <a:close/>
                  <a:moveTo>
                    <a:pt x="6296025" y="533400"/>
                  </a:moveTo>
                  <a:lnTo>
                    <a:pt x="6284595" y="533400"/>
                  </a:lnTo>
                  <a:lnTo>
                    <a:pt x="6284595" y="559118"/>
                  </a:lnTo>
                  <a:lnTo>
                    <a:pt x="6293168" y="559118"/>
                  </a:lnTo>
                  <a:cubicBezTo>
                    <a:pt x="6302693" y="559118"/>
                    <a:pt x="6311265" y="558165"/>
                    <a:pt x="6311265" y="546735"/>
                  </a:cubicBezTo>
                  <a:cubicBezTo>
                    <a:pt x="6310313" y="539115"/>
                    <a:pt x="6306503" y="533400"/>
                    <a:pt x="6296025" y="533400"/>
                  </a:cubicBezTo>
                  <a:moveTo>
                    <a:pt x="1146810" y="1905"/>
                  </a:moveTo>
                  <a:lnTo>
                    <a:pt x="1146810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0" y="1289685"/>
                  </a:lnTo>
                  <a:lnTo>
                    <a:pt x="1146810" y="1289685"/>
                  </a:lnTo>
                  <a:lnTo>
                    <a:pt x="1146810" y="1905"/>
                  </a:lnTo>
                  <a:close/>
                  <a:moveTo>
                    <a:pt x="897255" y="880110"/>
                  </a:moveTo>
                  <a:lnTo>
                    <a:pt x="897255" y="934403"/>
                  </a:lnTo>
                  <a:cubicBezTo>
                    <a:pt x="771525" y="934403"/>
                    <a:pt x="692468" y="894398"/>
                    <a:pt x="642938" y="843915"/>
                  </a:cubicBezTo>
                  <a:cubicBezTo>
                    <a:pt x="651510" y="866775"/>
                    <a:pt x="661035" y="890588"/>
                    <a:pt x="672465" y="915353"/>
                  </a:cubicBezTo>
                  <a:cubicBezTo>
                    <a:pt x="758190" y="1083945"/>
                    <a:pt x="908685" y="1170623"/>
                    <a:pt x="1126808" y="1173480"/>
                  </a:cubicBezTo>
                  <a:lnTo>
                    <a:pt x="1126808" y="1243965"/>
                  </a:lnTo>
                  <a:cubicBezTo>
                    <a:pt x="819150" y="1241108"/>
                    <a:pt x="675323" y="1080135"/>
                    <a:pt x="608648" y="944880"/>
                  </a:cubicBezTo>
                  <a:cubicBezTo>
                    <a:pt x="593408" y="915353"/>
                    <a:pt x="581978" y="885825"/>
                    <a:pt x="572453" y="857250"/>
                  </a:cubicBezTo>
                  <a:cubicBezTo>
                    <a:pt x="470535" y="1106805"/>
                    <a:pt x="192405" y="1110615"/>
                    <a:pt x="189548" y="1110615"/>
                  </a:cubicBezTo>
                  <a:lnTo>
                    <a:pt x="189548" y="1032510"/>
                  </a:lnTo>
                  <a:cubicBezTo>
                    <a:pt x="203835" y="1032510"/>
                    <a:pt x="531495" y="1022033"/>
                    <a:pt x="531495" y="644843"/>
                  </a:cubicBezTo>
                  <a:lnTo>
                    <a:pt x="615315" y="644843"/>
                  </a:lnTo>
                  <a:cubicBezTo>
                    <a:pt x="615315" y="267653"/>
                    <a:pt x="942975" y="265748"/>
                    <a:pt x="957263" y="265748"/>
                  </a:cubicBezTo>
                  <a:lnTo>
                    <a:pt x="957263" y="187643"/>
                  </a:lnTo>
                  <a:cubicBezTo>
                    <a:pt x="953453" y="187643"/>
                    <a:pt x="676275" y="191453"/>
                    <a:pt x="574358" y="441008"/>
                  </a:cubicBezTo>
                  <a:cubicBezTo>
                    <a:pt x="564833" y="412433"/>
                    <a:pt x="553403" y="382905"/>
                    <a:pt x="538163" y="353378"/>
                  </a:cubicBezTo>
                  <a:cubicBezTo>
                    <a:pt x="470535" y="218123"/>
                    <a:pt x="326708" y="58103"/>
                    <a:pt x="19050" y="54293"/>
                  </a:cubicBezTo>
                  <a:lnTo>
                    <a:pt x="19050" y="19050"/>
                  </a:lnTo>
                  <a:lnTo>
                    <a:pt x="1127760" y="19050"/>
                  </a:lnTo>
                  <a:lnTo>
                    <a:pt x="1127760" y="644843"/>
                  </a:lnTo>
                  <a:lnTo>
                    <a:pt x="615315" y="644843"/>
                  </a:lnTo>
                  <a:cubicBezTo>
                    <a:pt x="615315" y="654368"/>
                    <a:pt x="620078" y="880110"/>
                    <a:pt x="897255" y="880110"/>
                  </a:cubicBezTo>
                  <a:close/>
                  <a:moveTo>
                    <a:pt x="19050" y="124778"/>
                  </a:moveTo>
                  <a:cubicBezTo>
                    <a:pt x="237173" y="127635"/>
                    <a:pt x="388620" y="214313"/>
                    <a:pt x="473393" y="382905"/>
                  </a:cubicBezTo>
                  <a:cubicBezTo>
                    <a:pt x="485775" y="406718"/>
                    <a:pt x="495300" y="430530"/>
                    <a:pt x="502920" y="453390"/>
                  </a:cubicBezTo>
                  <a:cubicBezTo>
                    <a:pt x="453390" y="402908"/>
                    <a:pt x="374333" y="362903"/>
                    <a:pt x="248603" y="362903"/>
                  </a:cubicBezTo>
                  <a:lnTo>
                    <a:pt x="248603" y="418148"/>
                  </a:lnTo>
                  <a:cubicBezTo>
                    <a:pt x="526733" y="418148"/>
                    <a:pt x="530543" y="635318"/>
                    <a:pt x="530543" y="644843"/>
                  </a:cubicBezTo>
                  <a:lnTo>
                    <a:pt x="19050" y="644843"/>
                  </a:lnTo>
                  <a:lnTo>
                    <a:pt x="19050" y="124778"/>
                  </a:lnTo>
                  <a:close/>
                </a:path>
              </a:pathLst>
            </a:custGeom>
            <a:solidFill>
              <a:srgbClr val="00578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B64DD0A-6F72-4F61-B6DB-0E401F3D560A}"/>
                </a:ext>
              </a:extLst>
            </p:cNvPr>
            <p:cNvSpPr txBox="1"/>
            <p:nvPr userDrawn="1"/>
          </p:nvSpPr>
          <p:spPr>
            <a:xfrm>
              <a:off x="1490237" y="6477000"/>
              <a:ext cx="492735" cy="381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kern="1200">
                  <a:solidFill>
                    <a:schemeClr val="bg2">
                      <a:lumMod val="75000"/>
                    </a:schemeClr>
                  </a:solidFill>
                  <a:latin typeface="+mn-lt"/>
                  <a:ea typeface="+mn-ea"/>
                  <a:cs typeface="+mn-cs"/>
                </a:rPr>
                <a:t>| </a:t>
              </a:r>
              <a:endParaRPr lang="en-US" sz="900" kern="1200" cap="all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27" name="Picture 26" descr="A close up of a sign&#10;&#10;Description automatically generated">
              <a:extLst>
                <a:ext uri="{FF2B5EF4-FFF2-40B4-BE49-F238E27FC236}">
                  <a16:creationId xmlns:a16="http://schemas.microsoft.com/office/drawing/2014/main" id="{16147F2B-6FF0-481D-B68F-9060F5180D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69317" y="6592132"/>
              <a:ext cx="782374" cy="182880"/>
            </a:xfrm>
            <a:prstGeom prst="rect">
              <a:avLst/>
            </a:prstGeom>
          </p:spPr>
        </p:pic>
      </p:grpSp>
    </p:spTree>
    <p:custDataLst>
      <p:tags r:id="rId12"/>
    </p:custDataLst>
    <p:extLst>
      <p:ext uri="{BB962C8B-B14F-4D97-AF65-F5344CB8AC3E}">
        <p14:creationId xmlns:p14="http://schemas.microsoft.com/office/powerpoint/2010/main" val="36195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</p:sldLayoutIdLst>
  <p:transition spd="med">
    <p:wipe dir="r"/>
  </p:transition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Font typeface="Arial"/>
        <a:buNone/>
        <a:defRPr sz="1500" b="0" kern="1200" cap="all" baseline="0">
          <a:solidFill>
            <a:schemeClr val="accent4"/>
          </a:solidFill>
          <a:latin typeface="+mj-lt"/>
          <a:ea typeface="+mn-ea"/>
          <a:cs typeface="Calibri Light" panose="020F0302020204030204" pitchFamily="34" charset="0"/>
        </a:defRPr>
      </a:lvl1pPr>
      <a:lvl2pPr marL="173038" marR="0" indent="-173038" algn="l" defTabSz="457200" rtl="0" eaLnBrk="1" fontAlgn="auto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marR="0" indent="-228600" algn="l" defTabSz="457200" rtl="0" eaLnBrk="1" fontAlgn="auto" latinLnBrk="0" hangingPunct="1">
        <a:lnSpc>
          <a:spcPct val="95000"/>
        </a:lnSpc>
        <a:spcBef>
          <a:spcPts val="400"/>
        </a:spcBef>
        <a:spcAft>
          <a:spcPts val="400"/>
        </a:spcAft>
        <a:buClr>
          <a:schemeClr val="tx1"/>
        </a:buClr>
        <a:buSzPct val="100000"/>
        <a:buFont typeface="Calibri" panose="020F0502020204030204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Arial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73138" indent="-22860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Calibri" panose="020F05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80">
          <p15:clr>
            <a:srgbClr val="F26B43"/>
          </p15:clr>
        </p15:guide>
        <p15:guide id="3" pos="5414">
          <p15:clr>
            <a:srgbClr val="F26B43"/>
          </p15:clr>
        </p15:guide>
        <p15:guide id="4" orient="horz" pos="776">
          <p15:clr>
            <a:srgbClr val="F26B43"/>
          </p15:clr>
        </p15:guide>
        <p15:guide id="5" orient="horz" pos="468">
          <p15:clr>
            <a:srgbClr val="F26B43"/>
          </p15:clr>
        </p15:guide>
        <p15:guide id="8" pos="5642">
          <p15:clr>
            <a:srgbClr val="F26B43"/>
          </p15:clr>
        </p15:guide>
        <p15:guide id="9" pos="346">
          <p15:clr>
            <a:srgbClr val="F26B43"/>
          </p15:clr>
        </p15:guide>
        <p15:guide id="10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711" y="91440"/>
            <a:ext cx="10061020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insert slide title, sentence ca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711" y="1233488"/>
            <a:ext cx="10061020" cy="49377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/>
              <a:t>List Level 1 Optional header (To change format to body copy, Click ”Increase list level” button and remove the bulle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1407E2D-8BE1-47B7-A03A-69D91335FC4A}"/>
              </a:ext>
            </a:extLst>
          </p:cNvPr>
          <p:cNvSpPr/>
          <p:nvPr userDrawn="1"/>
        </p:nvSpPr>
        <p:spPr bwMode="white">
          <a:xfrm>
            <a:off x="0" y="819176"/>
            <a:ext cx="751418" cy="21558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rIns="182880"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2" name="Rectangle 5" hidden="1">
            <a:extLst>
              <a:ext uri="{FF2B5EF4-FFF2-40B4-BE49-F238E27FC236}">
                <a16:creationId xmlns:a16="http://schemas.microsoft.com/office/drawing/2014/main" id="{BAF48043-DC06-40C3-A241-77283C777A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27263" y="6477000"/>
            <a:ext cx="376335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 algn="r"/>
            <a:fld id="{2C78AFB4-C6FC-46C2-866E-1D035D18C516}" type="slidenum">
              <a:rPr lang="en-US" sz="900" noProof="0" smtClean="0">
                <a:solidFill>
                  <a:schemeClr val="accent1"/>
                </a:solidFill>
              </a:rPr>
              <a:pPr lvl="0" algn="r"/>
              <a:t>‹#›</a:t>
            </a:fld>
            <a:endParaRPr lang="en-US" sz="900" noProof="0">
              <a:solidFill>
                <a:schemeClr val="accent1"/>
              </a:solidFill>
            </a:endParaRPr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5329EF45-A083-4D1C-864B-D1D7B8DBDC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2242" y="6477000"/>
            <a:ext cx="365220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R="0" indent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2"/>
                </a:solidFill>
              </a:defRPr>
            </a:lvl1pPr>
          </a:lstStyle>
          <a:p>
            <a:pPr lvl="0" algn="r"/>
            <a:fld id="{2C78AFB4-C6FC-46C2-866E-1D035D18C516}" type="slidenum">
              <a:rPr lang="en-US" sz="900" noProof="0" smtClean="0">
                <a:solidFill>
                  <a:schemeClr val="accent1"/>
                </a:solidFill>
              </a:rPr>
              <a:pPr lvl="0" algn="r"/>
              <a:t>‹#›</a:t>
            </a:fld>
            <a:endParaRPr lang="en-US" sz="900" noProof="0">
              <a:solidFill>
                <a:schemeClr val="accent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B868C8C-FF48-45E9-B8D1-9960270FA5F8}"/>
              </a:ext>
            </a:extLst>
          </p:cNvPr>
          <p:cNvCxnSpPr>
            <a:cxnSpLocks/>
          </p:cNvCxnSpPr>
          <p:nvPr userDrawn="1"/>
        </p:nvCxnSpPr>
        <p:spPr>
          <a:xfrm>
            <a:off x="1" y="6477000"/>
            <a:ext cx="12192000" cy="0"/>
          </a:xfrm>
          <a:prstGeom prst="line">
            <a:avLst/>
          </a:prstGeom>
          <a:ln w="6350" cmpd="sng">
            <a:solidFill>
              <a:schemeClr val="bg2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D1AA51E-7026-4ACF-9F55-276A36D64D75}"/>
              </a:ext>
            </a:extLst>
          </p:cNvPr>
          <p:cNvSpPr txBox="1"/>
          <p:nvPr userDrawn="1"/>
        </p:nvSpPr>
        <p:spPr>
          <a:xfrm>
            <a:off x="11012181" y="6482454"/>
            <a:ext cx="457319" cy="37554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© 2022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9DDE9F4-9D2D-4F82-81D4-71BA7EA246D0}"/>
              </a:ext>
            </a:extLst>
          </p:cNvPr>
          <p:cNvSpPr txBox="1"/>
          <p:nvPr userDrawn="1"/>
        </p:nvSpPr>
        <p:spPr>
          <a:xfrm>
            <a:off x="8120591" y="6477000"/>
            <a:ext cx="2835378" cy="381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4572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Confidential information</a:t>
            </a:r>
            <a:r>
              <a:rPr lang="en-US" sz="90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       |</a:t>
            </a:r>
            <a:endParaRPr lang="en-US" sz="900" kern="1200" cap="all" baseline="0">
              <a:solidFill>
                <a:schemeClr val="bg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8" name="Corner graphic">
            <a:extLst>
              <a:ext uri="{FF2B5EF4-FFF2-40B4-BE49-F238E27FC236}">
                <a16:creationId xmlns:a16="http://schemas.microsoft.com/office/drawing/2014/main" id="{E421F02D-A901-46BC-97FE-F4F169E5D93B}"/>
              </a:ext>
            </a:extLst>
          </p:cNvPr>
          <p:cNvGrpSpPr/>
          <p:nvPr userDrawn="1"/>
        </p:nvGrpSpPr>
        <p:grpSpPr>
          <a:xfrm>
            <a:off x="83474" y="15903"/>
            <a:ext cx="345041" cy="2279788"/>
            <a:chOff x="4052887" y="9525"/>
            <a:chExt cx="1035367" cy="6842760"/>
          </a:xfrm>
        </p:grpSpPr>
        <p:sp>
          <p:nvSpPr>
            <p:cNvPr id="29" name="Corner gray">
              <a:extLst>
                <a:ext uri="{FF2B5EF4-FFF2-40B4-BE49-F238E27FC236}">
                  <a16:creationId xmlns:a16="http://schemas.microsoft.com/office/drawing/2014/main" id="{93B63811-E662-4AA7-9D25-AC05AC19C9D3}"/>
                </a:ext>
              </a:extLst>
            </p:cNvPr>
            <p:cNvSpPr/>
            <p:nvPr/>
          </p:nvSpPr>
          <p:spPr>
            <a:xfrm>
              <a:off x="4052887" y="9525"/>
              <a:ext cx="1035367" cy="6842760"/>
            </a:xfrm>
            <a:custGeom>
              <a:avLst/>
              <a:gdLst>
                <a:gd name="connsiteX0" fmla="*/ 0 w 1035367"/>
                <a:gd name="connsiteY0" fmla="*/ 1128713 h 6842760"/>
                <a:gd name="connsiteX1" fmla="*/ 78105 w 1035367"/>
                <a:gd name="connsiteY1" fmla="*/ 1206818 h 6842760"/>
                <a:gd name="connsiteX2" fmla="*/ 156210 w 1035367"/>
                <a:gd name="connsiteY2" fmla="*/ 1128713 h 6842760"/>
                <a:gd name="connsiteX3" fmla="*/ 78105 w 1035367"/>
                <a:gd name="connsiteY3" fmla="*/ 1050608 h 6842760"/>
                <a:gd name="connsiteX4" fmla="*/ 0 w 1035367"/>
                <a:gd name="connsiteY4" fmla="*/ 1128713 h 6842760"/>
                <a:gd name="connsiteX5" fmla="*/ 42863 w 1035367"/>
                <a:gd name="connsiteY5" fmla="*/ 2162175 h 6842760"/>
                <a:gd name="connsiteX6" fmla="*/ 80963 w 1035367"/>
                <a:gd name="connsiteY6" fmla="*/ 2194560 h 6842760"/>
                <a:gd name="connsiteX7" fmla="*/ 113348 w 1035367"/>
                <a:gd name="connsiteY7" fmla="*/ 2156460 h 6842760"/>
                <a:gd name="connsiteX8" fmla="*/ 75248 w 1035367"/>
                <a:gd name="connsiteY8" fmla="*/ 2124075 h 6842760"/>
                <a:gd name="connsiteX9" fmla="*/ 42863 w 1035367"/>
                <a:gd name="connsiteY9" fmla="*/ 2162175 h 6842760"/>
                <a:gd name="connsiteX10" fmla="*/ 34290 w 1035367"/>
                <a:gd name="connsiteY10" fmla="*/ 1953578 h 6842760"/>
                <a:gd name="connsiteX11" fmla="*/ 78105 w 1035367"/>
                <a:gd name="connsiteY11" fmla="*/ 1997393 h 6842760"/>
                <a:gd name="connsiteX12" fmla="*/ 121920 w 1035367"/>
                <a:gd name="connsiteY12" fmla="*/ 1953578 h 6842760"/>
                <a:gd name="connsiteX13" fmla="*/ 78105 w 1035367"/>
                <a:gd name="connsiteY13" fmla="*/ 1909763 h 6842760"/>
                <a:gd name="connsiteX14" fmla="*/ 34290 w 1035367"/>
                <a:gd name="connsiteY14" fmla="*/ 1953578 h 6842760"/>
                <a:gd name="connsiteX15" fmla="*/ 16193 w 1035367"/>
                <a:gd name="connsiteY15" fmla="*/ 1541145 h 6842760"/>
                <a:gd name="connsiteX16" fmla="*/ 78105 w 1035367"/>
                <a:gd name="connsiteY16" fmla="*/ 1603058 h 6842760"/>
                <a:gd name="connsiteX17" fmla="*/ 140018 w 1035367"/>
                <a:gd name="connsiteY17" fmla="*/ 1541145 h 6842760"/>
                <a:gd name="connsiteX18" fmla="*/ 78105 w 1035367"/>
                <a:gd name="connsiteY18" fmla="*/ 1479233 h 6842760"/>
                <a:gd name="connsiteX19" fmla="*/ 16193 w 1035367"/>
                <a:gd name="connsiteY19" fmla="*/ 1541145 h 6842760"/>
                <a:gd name="connsiteX20" fmla="*/ 24765 w 1035367"/>
                <a:gd name="connsiteY20" fmla="*/ 716280 h 6842760"/>
                <a:gd name="connsiteX21" fmla="*/ 78105 w 1035367"/>
                <a:gd name="connsiteY21" fmla="*/ 769620 h 6842760"/>
                <a:gd name="connsiteX22" fmla="*/ 131445 w 1035367"/>
                <a:gd name="connsiteY22" fmla="*/ 716280 h 6842760"/>
                <a:gd name="connsiteX23" fmla="*/ 78105 w 1035367"/>
                <a:gd name="connsiteY23" fmla="*/ 662940 h 6842760"/>
                <a:gd name="connsiteX24" fmla="*/ 24765 w 1035367"/>
                <a:gd name="connsiteY24" fmla="*/ 716280 h 6842760"/>
                <a:gd name="connsiteX25" fmla="*/ 34290 w 1035367"/>
                <a:gd name="connsiteY25" fmla="*/ 510540 h 6842760"/>
                <a:gd name="connsiteX26" fmla="*/ 78105 w 1035367"/>
                <a:gd name="connsiteY26" fmla="*/ 554355 h 6842760"/>
                <a:gd name="connsiteX27" fmla="*/ 121920 w 1035367"/>
                <a:gd name="connsiteY27" fmla="*/ 510540 h 6842760"/>
                <a:gd name="connsiteX28" fmla="*/ 78105 w 1035367"/>
                <a:gd name="connsiteY28" fmla="*/ 466725 h 6842760"/>
                <a:gd name="connsiteX29" fmla="*/ 34290 w 1035367"/>
                <a:gd name="connsiteY29" fmla="*/ 510540 h 6842760"/>
                <a:gd name="connsiteX30" fmla="*/ 24765 w 1035367"/>
                <a:gd name="connsiteY30" fmla="*/ 1746885 h 6842760"/>
                <a:gd name="connsiteX31" fmla="*/ 78105 w 1035367"/>
                <a:gd name="connsiteY31" fmla="*/ 1800225 h 6842760"/>
                <a:gd name="connsiteX32" fmla="*/ 131445 w 1035367"/>
                <a:gd name="connsiteY32" fmla="*/ 1746885 h 6842760"/>
                <a:gd name="connsiteX33" fmla="*/ 78105 w 1035367"/>
                <a:gd name="connsiteY33" fmla="*/ 1693545 h 6842760"/>
                <a:gd name="connsiteX34" fmla="*/ 24765 w 1035367"/>
                <a:gd name="connsiteY34" fmla="*/ 1746885 h 6842760"/>
                <a:gd name="connsiteX35" fmla="*/ 16193 w 1035367"/>
                <a:gd name="connsiteY35" fmla="*/ 922973 h 6842760"/>
                <a:gd name="connsiteX36" fmla="*/ 78105 w 1035367"/>
                <a:gd name="connsiteY36" fmla="*/ 984885 h 6842760"/>
                <a:gd name="connsiteX37" fmla="*/ 140018 w 1035367"/>
                <a:gd name="connsiteY37" fmla="*/ 922973 h 6842760"/>
                <a:gd name="connsiteX38" fmla="*/ 78105 w 1035367"/>
                <a:gd name="connsiteY38" fmla="*/ 861060 h 6842760"/>
                <a:gd name="connsiteX39" fmla="*/ 16193 w 1035367"/>
                <a:gd name="connsiteY39" fmla="*/ 922973 h 6842760"/>
                <a:gd name="connsiteX40" fmla="*/ 46673 w 1035367"/>
                <a:gd name="connsiteY40" fmla="*/ 98108 h 6842760"/>
                <a:gd name="connsiteX41" fmla="*/ 78105 w 1035367"/>
                <a:gd name="connsiteY41" fmla="*/ 129540 h 6842760"/>
                <a:gd name="connsiteX42" fmla="*/ 109538 w 1035367"/>
                <a:gd name="connsiteY42" fmla="*/ 98108 h 6842760"/>
                <a:gd name="connsiteX43" fmla="*/ 78105 w 1035367"/>
                <a:gd name="connsiteY43" fmla="*/ 66675 h 6842760"/>
                <a:gd name="connsiteX44" fmla="*/ 46673 w 1035367"/>
                <a:gd name="connsiteY44" fmla="*/ 98108 h 6842760"/>
                <a:gd name="connsiteX45" fmla="*/ 42863 w 1035367"/>
                <a:gd name="connsiteY45" fmla="*/ 303848 h 6842760"/>
                <a:gd name="connsiteX46" fmla="*/ 78105 w 1035367"/>
                <a:gd name="connsiteY46" fmla="*/ 339090 h 6842760"/>
                <a:gd name="connsiteX47" fmla="*/ 113348 w 1035367"/>
                <a:gd name="connsiteY47" fmla="*/ 303848 h 6842760"/>
                <a:gd name="connsiteX48" fmla="*/ 78105 w 1035367"/>
                <a:gd name="connsiteY48" fmla="*/ 268605 h 6842760"/>
                <a:gd name="connsiteX49" fmla="*/ 42863 w 1035367"/>
                <a:gd name="connsiteY49" fmla="*/ 303848 h 6842760"/>
                <a:gd name="connsiteX50" fmla="*/ 0 w 1035367"/>
                <a:gd name="connsiteY50" fmla="*/ 1335405 h 6842760"/>
                <a:gd name="connsiteX51" fmla="*/ 78105 w 1035367"/>
                <a:gd name="connsiteY51" fmla="*/ 1413510 h 6842760"/>
                <a:gd name="connsiteX52" fmla="*/ 156210 w 1035367"/>
                <a:gd name="connsiteY52" fmla="*/ 1335405 h 6842760"/>
                <a:gd name="connsiteX53" fmla="*/ 78105 w 1035367"/>
                <a:gd name="connsiteY53" fmla="*/ 1257300 h 6842760"/>
                <a:gd name="connsiteX54" fmla="*/ 0 w 1035367"/>
                <a:gd name="connsiteY54" fmla="*/ 1335405 h 6842760"/>
                <a:gd name="connsiteX55" fmla="*/ 266700 w 1035367"/>
                <a:gd name="connsiteY55" fmla="*/ 2159318 h 6842760"/>
                <a:gd name="connsiteX56" fmla="*/ 298133 w 1035367"/>
                <a:gd name="connsiteY56" fmla="*/ 2190750 h 6842760"/>
                <a:gd name="connsiteX57" fmla="*/ 329565 w 1035367"/>
                <a:gd name="connsiteY57" fmla="*/ 2159318 h 6842760"/>
                <a:gd name="connsiteX58" fmla="*/ 298133 w 1035367"/>
                <a:gd name="connsiteY58" fmla="*/ 2127885 h 6842760"/>
                <a:gd name="connsiteX59" fmla="*/ 266700 w 1035367"/>
                <a:gd name="connsiteY59" fmla="*/ 2159318 h 6842760"/>
                <a:gd name="connsiteX60" fmla="*/ 262890 w 1035367"/>
                <a:gd name="connsiteY60" fmla="*/ 1918335 h 6842760"/>
                <a:gd name="connsiteX61" fmla="*/ 298133 w 1035367"/>
                <a:gd name="connsiteY61" fmla="*/ 1953578 h 6842760"/>
                <a:gd name="connsiteX62" fmla="*/ 333375 w 1035367"/>
                <a:gd name="connsiteY62" fmla="*/ 1918335 h 6842760"/>
                <a:gd name="connsiteX63" fmla="*/ 298133 w 1035367"/>
                <a:gd name="connsiteY63" fmla="*/ 1883093 h 6842760"/>
                <a:gd name="connsiteX64" fmla="*/ 262890 w 1035367"/>
                <a:gd name="connsiteY64" fmla="*/ 1918335 h 6842760"/>
                <a:gd name="connsiteX65" fmla="*/ 236220 w 1035367"/>
                <a:gd name="connsiteY65" fmla="*/ 1289685 h 6842760"/>
                <a:gd name="connsiteX66" fmla="*/ 298133 w 1035367"/>
                <a:gd name="connsiteY66" fmla="*/ 1351598 h 6842760"/>
                <a:gd name="connsiteX67" fmla="*/ 360045 w 1035367"/>
                <a:gd name="connsiteY67" fmla="*/ 1289685 h 6842760"/>
                <a:gd name="connsiteX68" fmla="*/ 298133 w 1035367"/>
                <a:gd name="connsiteY68" fmla="*/ 1227773 h 6842760"/>
                <a:gd name="connsiteX69" fmla="*/ 236220 w 1035367"/>
                <a:gd name="connsiteY69" fmla="*/ 1289685 h 6842760"/>
                <a:gd name="connsiteX70" fmla="*/ 236220 w 1035367"/>
                <a:gd name="connsiteY70" fmla="*/ 869633 h 6842760"/>
                <a:gd name="connsiteX71" fmla="*/ 298133 w 1035367"/>
                <a:gd name="connsiteY71" fmla="*/ 931545 h 6842760"/>
                <a:gd name="connsiteX72" fmla="*/ 360045 w 1035367"/>
                <a:gd name="connsiteY72" fmla="*/ 869633 h 6842760"/>
                <a:gd name="connsiteX73" fmla="*/ 298133 w 1035367"/>
                <a:gd name="connsiteY73" fmla="*/ 807720 h 6842760"/>
                <a:gd name="connsiteX74" fmla="*/ 236220 w 1035367"/>
                <a:gd name="connsiteY74" fmla="*/ 869633 h 6842760"/>
                <a:gd name="connsiteX75" fmla="*/ 244793 w 1035367"/>
                <a:gd name="connsiteY75" fmla="*/ 660083 h 6842760"/>
                <a:gd name="connsiteX76" fmla="*/ 298133 w 1035367"/>
                <a:gd name="connsiteY76" fmla="*/ 713423 h 6842760"/>
                <a:gd name="connsiteX77" fmla="*/ 351473 w 1035367"/>
                <a:gd name="connsiteY77" fmla="*/ 660083 h 6842760"/>
                <a:gd name="connsiteX78" fmla="*/ 298133 w 1035367"/>
                <a:gd name="connsiteY78" fmla="*/ 606743 h 6842760"/>
                <a:gd name="connsiteX79" fmla="*/ 244793 w 1035367"/>
                <a:gd name="connsiteY79" fmla="*/ 660083 h 6842760"/>
                <a:gd name="connsiteX80" fmla="*/ 253365 w 1035367"/>
                <a:gd name="connsiteY80" fmla="*/ 1708785 h 6842760"/>
                <a:gd name="connsiteX81" fmla="*/ 297180 w 1035367"/>
                <a:gd name="connsiteY81" fmla="*/ 1752600 h 6842760"/>
                <a:gd name="connsiteX82" fmla="*/ 340995 w 1035367"/>
                <a:gd name="connsiteY82" fmla="*/ 1708785 h 6842760"/>
                <a:gd name="connsiteX83" fmla="*/ 297180 w 1035367"/>
                <a:gd name="connsiteY83" fmla="*/ 1664970 h 6842760"/>
                <a:gd name="connsiteX84" fmla="*/ 253365 w 1035367"/>
                <a:gd name="connsiteY84" fmla="*/ 1708785 h 6842760"/>
                <a:gd name="connsiteX85" fmla="*/ 244793 w 1035367"/>
                <a:gd name="connsiteY85" fmla="*/ 1499235 h 6842760"/>
                <a:gd name="connsiteX86" fmla="*/ 298133 w 1035367"/>
                <a:gd name="connsiteY86" fmla="*/ 1552575 h 6842760"/>
                <a:gd name="connsiteX87" fmla="*/ 351473 w 1035367"/>
                <a:gd name="connsiteY87" fmla="*/ 1499235 h 6842760"/>
                <a:gd name="connsiteX88" fmla="*/ 298133 w 1035367"/>
                <a:gd name="connsiteY88" fmla="*/ 1445895 h 6842760"/>
                <a:gd name="connsiteX89" fmla="*/ 244793 w 1035367"/>
                <a:gd name="connsiteY89" fmla="*/ 1499235 h 6842760"/>
                <a:gd name="connsiteX90" fmla="*/ 262890 w 1035367"/>
                <a:gd name="connsiteY90" fmla="*/ 240983 h 6842760"/>
                <a:gd name="connsiteX91" fmla="*/ 298133 w 1035367"/>
                <a:gd name="connsiteY91" fmla="*/ 276225 h 6842760"/>
                <a:gd name="connsiteX92" fmla="*/ 333375 w 1035367"/>
                <a:gd name="connsiteY92" fmla="*/ 240983 h 6842760"/>
                <a:gd name="connsiteX93" fmla="*/ 298133 w 1035367"/>
                <a:gd name="connsiteY93" fmla="*/ 205740 h 6842760"/>
                <a:gd name="connsiteX94" fmla="*/ 262890 w 1035367"/>
                <a:gd name="connsiteY94" fmla="*/ 240983 h 6842760"/>
                <a:gd name="connsiteX95" fmla="*/ 266700 w 1035367"/>
                <a:gd name="connsiteY95" fmla="*/ 31433 h 6842760"/>
                <a:gd name="connsiteX96" fmla="*/ 298133 w 1035367"/>
                <a:gd name="connsiteY96" fmla="*/ 62865 h 6842760"/>
                <a:gd name="connsiteX97" fmla="*/ 329565 w 1035367"/>
                <a:gd name="connsiteY97" fmla="*/ 31433 h 6842760"/>
                <a:gd name="connsiteX98" fmla="*/ 298133 w 1035367"/>
                <a:gd name="connsiteY98" fmla="*/ 0 h 6842760"/>
                <a:gd name="connsiteX99" fmla="*/ 266700 w 1035367"/>
                <a:gd name="connsiteY99" fmla="*/ 31433 h 6842760"/>
                <a:gd name="connsiteX100" fmla="*/ 253365 w 1035367"/>
                <a:gd name="connsiteY100" fmla="*/ 450533 h 6842760"/>
                <a:gd name="connsiteX101" fmla="*/ 297180 w 1035367"/>
                <a:gd name="connsiteY101" fmla="*/ 494348 h 6842760"/>
                <a:gd name="connsiteX102" fmla="*/ 340995 w 1035367"/>
                <a:gd name="connsiteY102" fmla="*/ 450533 h 6842760"/>
                <a:gd name="connsiteX103" fmla="*/ 297180 w 1035367"/>
                <a:gd name="connsiteY103" fmla="*/ 406718 h 6842760"/>
                <a:gd name="connsiteX104" fmla="*/ 253365 w 1035367"/>
                <a:gd name="connsiteY104" fmla="*/ 450533 h 6842760"/>
                <a:gd name="connsiteX105" fmla="*/ 220028 w 1035367"/>
                <a:gd name="connsiteY105" fmla="*/ 1080135 h 6842760"/>
                <a:gd name="connsiteX106" fmla="*/ 298133 w 1035367"/>
                <a:gd name="connsiteY106" fmla="*/ 1158240 h 6842760"/>
                <a:gd name="connsiteX107" fmla="*/ 376238 w 1035367"/>
                <a:gd name="connsiteY107" fmla="*/ 1080135 h 6842760"/>
                <a:gd name="connsiteX108" fmla="*/ 298133 w 1035367"/>
                <a:gd name="connsiteY108" fmla="*/ 1002030 h 6842760"/>
                <a:gd name="connsiteX109" fmla="*/ 220028 w 1035367"/>
                <a:gd name="connsiteY109" fmla="*/ 1080135 h 6842760"/>
                <a:gd name="connsiteX110" fmla="*/ 473393 w 1035367"/>
                <a:gd name="connsiteY110" fmla="*/ 2159318 h 6842760"/>
                <a:gd name="connsiteX111" fmla="*/ 517208 w 1035367"/>
                <a:gd name="connsiteY111" fmla="*/ 2203133 h 6842760"/>
                <a:gd name="connsiteX112" fmla="*/ 561023 w 1035367"/>
                <a:gd name="connsiteY112" fmla="*/ 2159318 h 6842760"/>
                <a:gd name="connsiteX113" fmla="*/ 517208 w 1035367"/>
                <a:gd name="connsiteY113" fmla="*/ 2115503 h 6842760"/>
                <a:gd name="connsiteX114" fmla="*/ 473393 w 1035367"/>
                <a:gd name="connsiteY114" fmla="*/ 2159318 h 6842760"/>
                <a:gd name="connsiteX115" fmla="*/ 464820 w 1035367"/>
                <a:gd name="connsiteY115" fmla="*/ 1946910 h 6842760"/>
                <a:gd name="connsiteX116" fmla="*/ 518160 w 1035367"/>
                <a:gd name="connsiteY116" fmla="*/ 2000250 h 6842760"/>
                <a:gd name="connsiteX117" fmla="*/ 571500 w 1035367"/>
                <a:gd name="connsiteY117" fmla="*/ 1946910 h 6842760"/>
                <a:gd name="connsiteX118" fmla="*/ 518160 w 1035367"/>
                <a:gd name="connsiteY118" fmla="*/ 1893570 h 6842760"/>
                <a:gd name="connsiteX119" fmla="*/ 464820 w 1035367"/>
                <a:gd name="connsiteY119" fmla="*/ 1946910 h 6842760"/>
                <a:gd name="connsiteX120" fmla="*/ 456248 w 1035367"/>
                <a:gd name="connsiteY120" fmla="*/ 1309688 h 6842760"/>
                <a:gd name="connsiteX121" fmla="*/ 518160 w 1035367"/>
                <a:gd name="connsiteY121" fmla="*/ 1371600 h 6842760"/>
                <a:gd name="connsiteX122" fmla="*/ 580073 w 1035367"/>
                <a:gd name="connsiteY122" fmla="*/ 1309688 h 6842760"/>
                <a:gd name="connsiteX123" fmla="*/ 518160 w 1035367"/>
                <a:gd name="connsiteY123" fmla="*/ 1247775 h 6842760"/>
                <a:gd name="connsiteX124" fmla="*/ 456248 w 1035367"/>
                <a:gd name="connsiteY124" fmla="*/ 1309688 h 6842760"/>
                <a:gd name="connsiteX125" fmla="*/ 473393 w 1035367"/>
                <a:gd name="connsiteY125" fmla="*/ 883920 h 6842760"/>
                <a:gd name="connsiteX126" fmla="*/ 517208 w 1035367"/>
                <a:gd name="connsiteY126" fmla="*/ 927735 h 6842760"/>
                <a:gd name="connsiteX127" fmla="*/ 561023 w 1035367"/>
                <a:gd name="connsiteY127" fmla="*/ 883920 h 6842760"/>
                <a:gd name="connsiteX128" fmla="*/ 517208 w 1035367"/>
                <a:gd name="connsiteY128" fmla="*/ 840105 h 6842760"/>
                <a:gd name="connsiteX129" fmla="*/ 473393 w 1035367"/>
                <a:gd name="connsiteY129" fmla="*/ 883920 h 6842760"/>
                <a:gd name="connsiteX130" fmla="*/ 481965 w 1035367"/>
                <a:gd name="connsiteY130" fmla="*/ 671513 h 6842760"/>
                <a:gd name="connsiteX131" fmla="*/ 517208 w 1035367"/>
                <a:gd name="connsiteY131" fmla="*/ 706755 h 6842760"/>
                <a:gd name="connsiteX132" fmla="*/ 552450 w 1035367"/>
                <a:gd name="connsiteY132" fmla="*/ 671513 h 6842760"/>
                <a:gd name="connsiteX133" fmla="*/ 517208 w 1035367"/>
                <a:gd name="connsiteY133" fmla="*/ 636270 h 6842760"/>
                <a:gd name="connsiteX134" fmla="*/ 481965 w 1035367"/>
                <a:gd name="connsiteY134" fmla="*/ 671513 h 6842760"/>
                <a:gd name="connsiteX135" fmla="*/ 456248 w 1035367"/>
                <a:gd name="connsiteY135" fmla="*/ 1734503 h 6842760"/>
                <a:gd name="connsiteX136" fmla="*/ 518160 w 1035367"/>
                <a:gd name="connsiteY136" fmla="*/ 1796415 h 6842760"/>
                <a:gd name="connsiteX137" fmla="*/ 580073 w 1035367"/>
                <a:gd name="connsiteY137" fmla="*/ 1734503 h 6842760"/>
                <a:gd name="connsiteX138" fmla="*/ 518160 w 1035367"/>
                <a:gd name="connsiteY138" fmla="*/ 1672590 h 6842760"/>
                <a:gd name="connsiteX139" fmla="*/ 456248 w 1035367"/>
                <a:gd name="connsiteY139" fmla="*/ 1734503 h 6842760"/>
                <a:gd name="connsiteX140" fmla="*/ 464820 w 1035367"/>
                <a:gd name="connsiteY140" fmla="*/ 1096328 h 6842760"/>
                <a:gd name="connsiteX141" fmla="*/ 518160 w 1035367"/>
                <a:gd name="connsiteY141" fmla="*/ 1149668 h 6842760"/>
                <a:gd name="connsiteX142" fmla="*/ 571500 w 1035367"/>
                <a:gd name="connsiteY142" fmla="*/ 1096328 h 6842760"/>
                <a:gd name="connsiteX143" fmla="*/ 518160 w 1035367"/>
                <a:gd name="connsiteY143" fmla="*/ 1042988 h 6842760"/>
                <a:gd name="connsiteX144" fmla="*/ 464820 w 1035367"/>
                <a:gd name="connsiteY144" fmla="*/ 1096328 h 6842760"/>
                <a:gd name="connsiteX145" fmla="*/ 486728 w 1035367"/>
                <a:gd name="connsiteY145" fmla="*/ 246698 h 6842760"/>
                <a:gd name="connsiteX146" fmla="*/ 518160 w 1035367"/>
                <a:gd name="connsiteY146" fmla="*/ 278130 h 6842760"/>
                <a:gd name="connsiteX147" fmla="*/ 549593 w 1035367"/>
                <a:gd name="connsiteY147" fmla="*/ 246698 h 6842760"/>
                <a:gd name="connsiteX148" fmla="*/ 518160 w 1035367"/>
                <a:gd name="connsiteY148" fmla="*/ 215265 h 6842760"/>
                <a:gd name="connsiteX149" fmla="*/ 486728 w 1035367"/>
                <a:gd name="connsiteY149" fmla="*/ 246698 h 6842760"/>
                <a:gd name="connsiteX150" fmla="*/ 486728 w 1035367"/>
                <a:gd name="connsiteY150" fmla="*/ 33338 h 6842760"/>
                <a:gd name="connsiteX151" fmla="*/ 518160 w 1035367"/>
                <a:gd name="connsiteY151" fmla="*/ 64770 h 6842760"/>
                <a:gd name="connsiteX152" fmla="*/ 549593 w 1035367"/>
                <a:gd name="connsiteY152" fmla="*/ 33338 h 6842760"/>
                <a:gd name="connsiteX153" fmla="*/ 518160 w 1035367"/>
                <a:gd name="connsiteY153" fmla="*/ 1905 h 6842760"/>
                <a:gd name="connsiteX154" fmla="*/ 486728 w 1035367"/>
                <a:gd name="connsiteY154" fmla="*/ 33338 h 6842760"/>
                <a:gd name="connsiteX155" fmla="*/ 486728 w 1035367"/>
                <a:gd name="connsiteY155" fmla="*/ 459105 h 6842760"/>
                <a:gd name="connsiteX156" fmla="*/ 518160 w 1035367"/>
                <a:gd name="connsiteY156" fmla="*/ 490538 h 6842760"/>
                <a:gd name="connsiteX157" fmla="*/ 549593 w 1035367"/>
                <a:gd name="connsiteY157" fmla="*/ 459105 h 6842760"/>
                <a:gd name="connsiteX158" fmla="*/ 518160 w 1035367"/>
                <a:gd name="connsiteY158" fmla="*/ 427673 h 6842760"/>
                <a:gd name="connsiteX159" fmla="*/ 486728 w 1035367"/>
                <a:gd name="connsiteY159" fmla="*/ 459105 h 6842760"/>
                <a:gd name="connsiteX160" fmla="*/ 440055 w 1035367"/>
                <a:gd name="connsiteY160" fmla="*/ 1522095 h 6842760"/>
                <a:gd name="connsiteX161" fmla="*/ 518160 w 1035367"/>
                <a:gd name="connsiteY161" fmla="*/ 1600200 h 6842760"/>
                <a:gd name="connsiteX162" fmla="*/ 596265 w 1035367"/>
                <a:gd name="connsiteY162" fmla="*/ 1522095 h 6842760"/>
                <a:gd name="connsiteX163" fmla="*/ 518160 w 1035367"/>
                <a:gd name="connsiteY163" fmla="*/ 1443990 h 6842760"/>
                <a:gd name="connsiteX164" fmla="*/ 440055 w 1035367"/>
                <a:gd name="connsiteY164" fmla="*/ 1522095 h 6842760"/>
                <a:gd name="connsiteX165" fmla="*/ 659130 w 1035367"/>
                <a:gd name="connsiteY165" fmla="*/ 1128713 h 6842760"/>
                <a:gd name="connsiteX166" fmla="*/ 737235 w 1035367"/>
                <a:gd name="connsiteY166" fmla="*/ 1206818 h 6842760"/>
                <a:gd name="connsiteX167" fmla="*/ 815340 w 1035367"/>
                <a:gd name="connsiteY167" fmla="*/ 1128713 h 6842760"/>
                <a:gd name="connsiteX168" fmla="*/ 737235 w 1035367"/>
                <a:gd name="connsiteY168" fmla="*/ 1050608 h 6842760"/>
                <a:gd name="connsiteX169" fmla="*/ 659130 w 1035367"/>
                <a:gd name="connsiteY169" fmla="*/ 1128713 h 6842760"/>
                <a:gd name="connsiteX170" fmla="*/ 701993 w 1035367"/>
                <a:gd name="connsiteY170" fmla="*/ 2162175 h 6842760"/>
                <a:gd name="connsiteX171" fmla="*/ 740093 w 1035367"/>
                <a:gd name="connsiteY171" fmla="*/ 2194560 h 6842760"/>
                <a:gd name="connsiteX172" fmla="*/ 772478 w 1035367"/>
                <a:gd name="connsiteY172" fmla="*/ 2156460 h 6842760"/>
                <a:gd name="connsiteX173" fmla="*/ 734378 w 1035367"/>
                <a:gd name="connsiteY173" fmla="*/ 2124075 h 6842760"/>
                <a:gd name="connsiteX174" fmla="*/ 701993 w 1035367"/>
                <a:gd name="connsiteY174" fmla="*/ 2162175 h 6842760"/>
                <a:gd name="connsiteX175" fmla="*/ 693420 w 1035367"/>
                <a:gd name="connsiteY175" fmla="*/ 1953578 h 6842760"/>
                <a:gd name="connsiteX176" fmla="*/ 737235 w 1035367"/>
                <a:gd name="connsiteY176" fmla="*/ 1997393 h 6842760"/>
                <a:gd name="connsiteX177" fmla="*/ 781050 w 1035367"/>
                <a:gd name="connsiteY177" fmla="*/ 1953578 h 6842760"/>
                <a:gd name="connsiteX178" fmla="*/ 737235 w 1035367"/>
                <a:gd name="connsiteY178" fmla="*/ 1909763 h 6842760"/>
                <a:gd name="connsiteX179" fmla="*/ 693420 w 1035367"/>
                <a:gd name="connsiteY179" fmla="*/ 1953578 h 6842760"/>
                <a:gd name="connsiteX180" fmla="*/ 675323 w 1035367"/>
                <a:gd name="connsiteY180" fmla="*/ 1541145 h 6842760"/>
                <a:gd name="connsiteX181" fmla="*/ 737235 w 1035367"/>
                <a:gd name="connsiteY181" fmla="*/ 1603058 h 6842760"/>
                <a:gd name="connsiteX182" fmla="*/ 799148 w 1035367"/>
                <a:gd name="connsiteY182" fmla="*/ 1541145 h 6842760"/>
                <a:gd name="connsiteX183" fmla="*/ 737235 w 1035367"/>
                <a:gd name="connsiteY183" fmla="*/ 1479233 h 6842760"/>
                <a:gd name="connsiteX184" fmla="*/ 675323 w 1035367"/>
                <a:gd name="connsiteY184" fmla="*/ 1541145 h 6842760"/>
                <a:gd name="connsiteX185" fmla="*/ 684848 w 1035367"/>
                <a:gd name="connsiteY185" fmla="*/ 716280 h 6842760"/>
                <a:gd name="connsiteX186" fmla="*/ 738188 w 1035367"/>
                <a:gd name="connsiteY186" fmla="*/ 769620 h 6842760"/>
                <a:gd name="connsiteX187" fmla="*/ 791528 w 1035367"/>
                <a:gd name="connsiteY187" fmla="*/ 716280 h 6842760"/>
                <a:gd name="connsiteX188" fmla="*/ 738188 w 1035367"/>
                <a:gd name="connsiteY188" fmla="*/ 662940 h 6842760"/>
                <a:gd name="connsiteX189" fmla="*/ 684848 w 1035367"/>
                <a:gd name="connsiteY189" fmla="*/ 716280 h 6842760"/>
                <a:gd name="connsiteX190" fmla="*/ 693420 w 1035367"/>
                <a:gd name="connsiteY190" fmla="*/ 510540 h 6842760"/>
                <a:gd name="connsiteX191" fmla="*/ 737235 w 1035367"/>
                <a:gd name="connsiteY191" fmla="*/ 554355 h 6842760"/>
                <a:gd name="connsiteX192" fmla="*/ 781050 w 1035367"/>
                <a:gd name="connsiteY192" fmla="*/ 510540 h 6842760"/>
                <a:gd name="connsiteX193" fmla="*/ 737235 w 1035367"/>
                <a:gd name="connsiteY193" fmla="*/ 466725 h 6842760"/>
                <a:gd name="connsiteX194" fmla="*/ 693420 w 1035367"/>
                <a:gd name="connsiteY194" fmla="*/ 510540 h 6842760"/>
                <a:gd name="connsiteX195" fmla="*/ 684848 w 1035367"/>
                <a:gd name="connsiteY195" fmla="*/ 1746885 h 6842760"/>
                <a:gd name="connsiteX196" fmla="*/ 738188 w 1035367"/>
                <a:gd name="connsiteY196" fmla="*/ 1800225 h 6842760"/>
                <a:gd name="connsiteX197" fmla="*/ 791528 w 1035367"/>
                <a:gd name="connsiteY197" fmla="*/ 1746885 h 6842760"/>
                <a:gd name="connsiteX198" fmla="*/ 738188 w 1035367"/>
                <a:gd name="connsiteY198" fmla="*/ 1693545 h 6842760"/>
                <a:gd name="connsiteX199" fmla="*/ 684848 w 1035367"/>
                <a:gd name="connsiteY199" fmla="*/ 1746885 h 6842760"/>
                <a:gd name="connsiteX200" fmla="*/ 675323 w 1035367"/>
                <a:gd name="connsiteY200" fmla="*/ 922973 h 6842760"/>
                <a:gd name="connsiteX201" fmla="*/ 737235 w 1035367"/>
                <a:gd name="connsiteY201" fmla="*/ 984885 h 6842760"/>
                <a:gd name="connsiteX202" fmla="*/ 799148 w 1035367"/>
                <a:gd name="connsiteY202" fmla="*/ 922973 h 6842760"/>
                <a:gd name="connsiteX203" fmla="*/ 737235 w 1035367"/>
                <a:gd name="connsiteY203" fmla="*/ 861060 h 6842760"/>
                <a:gd name="connsiteX204" fmla="*/ 675323 w 1035367"/>
                <a:gd name="connsiteY204" fmla="*/ 922973 h 6842760"/>
                <a:gd name="connsiteX205" fmla="*/ 706755 w 1035367"/>
                <a:gd name="connsiteY205" fmla="*/ 98108 h 6842760"/>
                <a:gd name="connsiteX206" fmla="*/ 738188 w 1035367"/>
                <a:gd name="connsiteY206" fmla="*/ 129540 h 6842760"/>
                <a:gd name="connsiteX207" fmla="*/ 769620 w 1035367"/>
                <a:gd name="connsiteY207" fmla="*/ 98108 h 6842760"/>
                <a:gd name="connsiteX208" fmla="*/ 737235 w 1035367"/>
                <a:gd name="connsiteY208" fmla="*/ 66675 h 6842760"/>
                <a:gd name="connsiteX209" fmla="*/ 706755 w 1035367"/>
                <a:gd name="connsiteY209" fmla="*/ 98108 h 6842760"/>
                <a:gd name="connsiteX210" fmla="*/ 701993 w 1035367"/>
                <a:gd name="connsiteY210" fmla="*/ 303848 h 6842760"/>
                <a:gd name="connsiteX211" fmla="*/ 737235 w 1035367"/>
                <a:gd name="connsiteY211" fmla="*/ 339090 h 6842760"/>
                <a:gd name="connsiteX212" fmla="*/ 772478 w 1035367"/>
                <a:gd name="connsiteY212" fmla="*/ 303848 h 6842760"/>
                <a:gd name="connsiteX213" fmla="*/ 737235 w 1035367"/>
                <a:gd name="connsiteY213" fmla="*/ 268605 h 6842760"/>
                <a:gd name="connsiteX214" fmla="*/ 701993 w 1035367"/>
                <a:gd name="connsiteY214" fmla="*/ 303848 h 6842760"/>
                <a:gd name="connsiteX215" fmla="*/ 659130 w 1035367"/>
                <a:gd name="connsiteY215" fmla="*/ 1335405 h 6842760"/>
                <a:gd name="connsiteX216" fmla="*/ 737235 w 1035367"/>
                <a:gd name="connsiteY216" fmla="*/ 1413510 h 6842760"/>
                <a:gd name="connsiteX217" fmla="*/ 815340 w 1035367"/>
                <a:gd name="connsiteY217" fmla="*/ 1335405 h 6842760"/>
                <a:gd name="connsiteX218" fmla="*/ 737235 w 1035367"/>
                <a:gd name="connsiteY218" fmla="*/ 1257300 h 6842760"/>
                <a:gd name="connsiteX219" fmla="*/ 659130 w 1035367"/>
                <a:gd name="connsiteY219" fmla="*/ 1335405 h 6842760"/>
                <a:gd name="connsiteX220" fmla="*/ 925830 w 1035367"/>
                <a:gd name="connsiteY220" fmla="*/ 2159318 h 6842760"/>
                <a:gd name="connsiteX221" fmla="*/ 957263 w 1035367"/>
                <a:gd name="connsiteY221" fmla="*/ 2190750 h 6842760"/>
                <a:gd name="connsiteX222" fmla="*/ 988695 w 1035367"/>
                <a:gd name="connsiteY222" fmla="*/ 2159318 h 6842760"/>
                <a:gd name="connsiteX223" fmla="*/ 957263 w 1035367"/>
                <a:gd name="connsiteY223" fmla="*/ 2127885 h 6842760"/>
                <a:gd name="connsiteX224" fmla="*/ 925830 w 1035367"/>
                <a:gd name="connsiteY224" fmla="*/ 2159318 h 6842760"/>
                <a:gd name="connsiteX225" fmla="*/ 922020 w 1035367"/>
                <a:gd name="connsiteY225" fmla="*/ 1918335 h 6842760"/>
                <a:gd name="connsiteX226" fmla="*/ 957263 w 1035367"/>
                <a:gd name="connsiteY226" fmla="*/ 1953578 h 6842760"/>
                <a:gd name="connsiteX227" fmla="*/ 992505 w 1035367"/>
                <a:gd name="connsiteY227" fmla="*/ 1918335 h 6842760"/>
                <a:gd name="connsiteX228" fmla="*/ 957263 w 1035367"/>
                <a:gd name="connsiteY228" fmla="*/ 1883093 h 6842760"/>
                <a:gd name="connsiteX229" fmla="*/ 922020 w 1035367"/>
                <a:gd name="connsiteY229" fmla="*/ 1918335 h 6842760"/>
                <a:gd name="connsiteX230" fmla="*/ 895350 w 1035367"/>
                <a:gd name="connsiteY230" fmla="*/ 1289685 h 6842760"/>
                <a:gd name="connsiteX231" fmla="*/ 957263 w 1035367"/>
                <a:gd name="connsiteY231" fmla="*/ 1351598 h 6842760"/>
                <a:gd name="connsiteX232" fmla="*/ 1019175 w 1035367"/>
                <a:gd name="connsiteY232" fmla="*/ 1289685 h 6842760"/>
                <a:gd name="connsiteX233" fmla="*/ 957263 w 1035367"/>
                <a:gd name="connsiteY233" fmla="*/ 1227773 h 6842760"/>
                <a:gd name="connsiteX234" fmla="*/ 895350 w 1035367"/>
                <a:gd name="connsiteY234" fmla="*/ 1289685 h 6842760"/>
                <a:gd name="connsiteX235" fmla="*/ 895350 w 1035367"/>
                <a:gd name="connsiteY235" fmla="*/ 869633 h 6842760"/>
                <a:gd name="connsiteX236" fmla="*/ 957263 w 1035367"/>
                <a:gd name="connsiteY236" fmla="*/ 931545 h 6842760"/>
                <a:gd name="connsiteX237" fmla="*/ 1019175 w 1035367"/>
                <a:gd name="connsiteY237" fmla="*/ 869633 h 6842760"/>
                <a:gd name="connsiteX238" fmla="*/ 957263 w 1035367"/>
                <a:gd name="connsiteY238" fmla="*/ 807720 h 6842760"/>
                <a:gd name="connsiteX239" fmla="*/ 895350 w 1035367"/>
                <a:gd name="connsiteY239" fmla="*/ 869633 h 6842760"/>
                <a:gd name="connsiteX240" fmla="*/ 903923 w 1035367"/>
                <a:gd name="connsiteY240" fmla="*/ 660083 h 6842760"/>
                <a:gd name="connsiteX241" fmla="*/ 957263 w 1035367"/>
                <a:gd name="connsiteY241" fmla="*/ 713423 h 6842760"/>
                <a:gd name="connsiteX242" fmla="*/ 1010603 w 1035367"/>
                <a:gd name="connsiteY242" fmla="*/ 660083 h 6842760"/>
                <a:gd name="connsiteX243" fmla="*/ 957263 w 1035367"/>
                <a:gd name="connsiteY243" fmla="*/ 606743 h 6842760"/>
                <a:gd name="connsiteX244" fmla="*/ 903923 w 1035367"/>
                <a:gd name="connsiteY244" fmla="*/ 660083 h 6842760"/>
                <a:gd name="connsiteX245" fmla="*/ 913448 w 1035367"/>
                <a:gd name="connsiteY245" fmla="*/ 1708785 h 6842760"/>
                <a:gd name="connsiteX246" fmla="*/ 957263 w 1035367"/>
                <a:gd name="connsiteY246" fmla="*/ 1752600 h 6842760"/>
                <a:gd name="connsiteX247" fmla="*/ 1001078 w 1035367"/>
                <a:gd name="connsiteY247" fmla="*/ 1708785 h 6842760"/>
                <a:gd name="connsiteX248" fmla="*/ 957263 w 1035367"/>
                <a:gd name="connsiteY248" fmla="*/ 1664970 h 6842760"/>
                <a:gd name="connsiteX249" fmla="*/ 913448 w 1035367"/>
                <a:gd name="connsiteY249" fmla="*/ 1708785 h 6842760"/>
                <a:gd name="connsiteX250" fmla="*/ 903923 w 1035367"/>
                <a:gd name="connsiteY250" fmla="*/ 1499235 h 6842760"/>
                <a:gd name="connsiteX251" fmla="*/ 957263 w 1035367"/>
                <a:gd name="connsiteY251" fmla="*/ 1552575 h 6842760"/>
                <a:gd name="connsiteX252" fmla="*/ 1010603 w 1035367"/>
                <a:gd name="connsiteY252" fmla="*/ 1499235 h 6842760"/>
                <a:gd name="connsiteX253" fmla="*/ 957263 w 1035367"/>
                <a:gd name="connsiteY253" fmla="*/ 1445895 h 6842760"/>
                <a:gd name="connsiteX254" fmla="*/ 903923 w 1035367"/>
                <a:gd name="connsiteY254" fmla="*/ 1499235 h 6842760"/>
                <a:gd name="connsiteX255" fmla="*/ 922020 w 1035367"/>
                <a:gd name="connsiteY255" fmla="*/ 240983 h 6842760"/>
                <a:gd name="connsiteX256" fmla="*/ 957263 w 1035367"/>
                <a:gd name="connsiteY256" fmla="*/ 276225 h 6842760"/>
                <a:gd name="connsiteX257" fmla="*/ 992505 w 1035367"/>
                <a:gd name="connsiteY257" fmla="*/ 240983 h 6842760"/>
                <a:gd name="connsiteX258" fmla="*/ 957263 w 1035367"/>
                <a:gd name="connsiteY258" fmla="*/ 205740 h 6842760"/>
                <a:gd name="connsiteX259" fmla="*/ 922020 w 1035367"/>
                <a:gd name="connsiteY259" fmla="*/ 240983 h 6842760"/>
                <a:gd name="connsiteX260" fmla="*/ 925830 w 1035367"/>
                <a:gd name="connsiteY260" fmla="*/ 31433 h 6842760"/>
                <a:gd name="connsiteX261" fmla="*/ 957263 w 1035367"/>
                <a:gd name="connsiteY261" fmla="*/ 62865 h 6842760"/>
                <a:gd name="connsiteX262" fmla="*/ 988695 w 1035367"/>
                <a:gd name="connsiteY262" fmla="*/ 31433 h 6842760"/>
                <a:gd name="connsiteX263" fmla="*/ 957263 w 1035367"/>
                <a:gd name="connsiteY263" fmla="*/ 0 h 6842760"/>
                <a:gd name="connsiteX264" fmla="*/ 925830 w 1035367"/>
                <a:gd name="connsiteY264" fmla="*/ 31433 h 6842760"/>
                <a:gd name="connsiteX265" fmla="*/ 913448 w 1035367"/>
                <a:gd name="connsiteY265" fmla="*/ 450533 h 6842760"/>
                <a:gd name="connsiteX266" fmla="*/ 957263 w 1035367"/>
                <a:gd name="connsiteY266" fmla="*/ 494348 h 6842760"/>
                <a:gd name="connsiteX267" fmla="*/ 1001078 w 1035367"/>
                <a:gd name="connsiteY267" fmla="*/ 450533 h 6842760"/>
                <a:gd name="connsiteX268" fmla="*/ 957263 w 1035367"/>
                <a:gd name="connsiteY268" fmla="*/ 406718 h 6842760"/>
                <a:gd name="connsiteX269" fmla="*/ 913448 w 1035367"/>
                <a:gd name="connsiteY269" fmla="*/ 450533 h 6842760"/>
                <a:gd name="connsiteX270" fmla="*/ 879158 w 1035367"/>
                <a:gd name="connsiteY270" fmla="*/ 1080135 h 6842760"/>
                <a:gd name="connsiteX271" fmla="*/ 957263 w 1035367"/>
                <a:gd name="connsiteY271" fmla="*/ 1158240 h 6842760"/>
                <a:gd name="connsiteX272" fmla="*/ 1035368 w 1035367"/>
                <a:gd name="connsiteY272" fmla="*/ 1080135 h 6842760"/>
                <a:gd name="connsiteX273" fmla="*/ 957263 w 1035367"/>
                <a:gd name="connsiteY273" fmla="*/ 1002030 h 6842760"/>
                <a:gd name="connsiteX274" fmla="*/ 879158 w 1035367"/>
                <a:gd name="connsiteY274" fmla="*/ 1080135 h 6842760"/>
                <a:gd name="connsiteX275" fmla="*/ 244793 w 1035367"/>
                <a:gd name="connsiteY275" fmla="*/ 6789420 h 6842760"/>
                <a:gd name="connsiteX276" fmla="*/ 298133 w 1035367"/>
                <a:gd name="connsiteY276" fmla="*/ 6842760 h 6842760"/>
                <a:gd name="connsiteX277" fmla="*/ 351473 w 1035367"/>
                <a:gd name="connsiteY277" fmla="*/ 6789420 h 6842760"/>
                <a:gd name="connsiteX278" fmla="*/ 298133 w 1035367"/>
                <a:gd name="connsiteY278" fmla="*/ 6736080 h 6842760"/>
                <a:gd name="connsiteX279" fmla="*/ 244793 w 1035367"/>
                <a:gd name="connsiteY279" fmla="*/ 6789420 h 6842760"/>
                <a:gd name="connsiteX280" fmla="*/ 236220 w 1035367"/>
                <a:gd name="connsiteY280" fmla="*/ 6548438 h 6842760"/>
                <a:gd name="connsiteX281" fmla="*/ 298133 w 1035367"/>
                <a:gd name="connsiteY281" fmla="*/ 6610350 h 6842760"/>
                <a:gd name="connsiteX282" fmla="*/ 360045 w 1035367"/>
                <a:gd name="connsiteY282" fmla="*/ 6548438 h 6842760"/>
                <a:gd name="connsiteX283" fmla="*/ 298133 w 1035367"/>
                <a:gd name="connsiteY283" fmla="*/ 6486525 h 6842760"/>
                <a:gd name="connsiteX284" fmla="*/ 236220 w 1035367"/>
                <a:gd name="connsiteY284" fmla="*/ 6548438 h 6842760"/>
                <a:gd name="connsiteX285" fmla="*/ 244793 w 1035367"/>
                <a:gd name="connsiteY285" fmla="*/ 5918835 h 6842760"/>
                <a:gd name="connsiteX286" fmla="*/ 298133 w 1035367"/>
                <a:gd name="connsiteY286" fmla="*/ 5972175 h 6842760"/>
                <a:gd name="connsiteX287" fmla="*/ 351473 w 1035367"/>
                <a:gd name="connsiteY287" fmla="*/ 5918835 h 6842760"/>
                <a:gd name="connsiteX288" fmla="*/ 298133 w 1035367"/>
                <a:gd name="connsiteY288" fmla="*/ 5865495 h 6842760"/>
                <a:gd name="connsiteX289" fmla="*/ 244793 w 1035367"/>
                <a:gd name="connsiteY289" fmla="*/ 5918835 h 6842760"/>
                <a:gd name="connsiteX290" fmla="*/ 262890 w 1035367"/>
                <a:gd name="connsiteY290" fmla="*/ 5499735 h 6842760"/>
                <a:gd name="connsiteX291" fmla="*/ 298133 w 1035367"/>
                <a:gd name="connsiteY291" fmla="*/ 5534978 h 6842760"/>
                <a:gd name="connsiteX292" fmla="*/ 333375 w 1035367"/>
                <a:gd name="connsiteY292" fmla="*/ 5499735 h 6842760"/>
                <a:gd name="connsiteX293" fmla="*/ 298133 w 1035367"/>
                <a:gd name="connsiteY293" fmla="*/ 5464493 h 6842760"/>
                <a:gd name="connsiteX294" fmla="*/ 262890 w 1035367"/>
                <a:gd name="connsiteY294" fmla="*/ 5499735 h 6842760"/>
                <a:gd name="connsiteX295" fmla="*/ 266700 w 1035367"/>
                <a:gd name="connsiteY295" fmla="*/ 5290185 h 6842760"/>
                <a:gd name="connsiteX296" fmla="*/ 298133 w 1035367"/>
                <a:gd name="connsiteY296" fmla="*/ 5321618 h 6842760"/>
                <a:gd name="connsiteX297" fmla="*/ 329565 w 1035367"/>
                <a:gd name="connsiteY297" fmla="*/ 5290185 h 6842760"/>
                <a:gd name="connsiteX298" fmla="*/ 298133 w 1035367"/>
                <a:gd name="connsiteY298" fmla="*/ 5258753 h 6842760"/>
                <a:gd name="connsiteX299" fmla="*/ 266700 w 1035367"/>
                <a:gd name="connsiteY299" fmla="*/ 5290185 h 6842760"/>
                <a:gd name="connsiteX300" fmla="*/ 236220 w 1035367"/>
                <a:gd name="connsiteY300" fmla="*/ 6129338 h 6842760"/>
                <a:gd name="connsiteX301" fmla="*/ 298133 w 1035367"/>
                <a:gd name="connsiteY301" fmla="*/ 6191250 h 6842760"/>
                <a:gd name="connsiteX302" fmla="*/ 360045 w 1035367"/>
                <a:gd name="connsiteY302" fmla="*/ 6129338 h 6842760"/>
                <a:gd name="connsiteX303" fmla="*/ 298133 w 1035367"/>
                <a:gd name="connsiteY303" fmla="*/ 6067425 h 6842760"/>
                <a:gd name="connsiteX304" fmla="*/ 236220 w 1035367"/>
                <a:gd name="connsiteY304" fmla="*/ 6129338 h 6842760"/>
                <a:gd name="connsiteX305" fmla="*/ 253365 w 1035367"/>
                <a:gd name="connsiteY305" fmla="*/ 5709285 h 6842760"/>
                <a:gd name="connsiteX306" fmla="*/ 297180 w 1035367"/>
                <a:gd name="connsiteY306" fmla="*/ 5753100 h 6842760"/>
                <a:gd name="connsiteX307" fmla="*/ 340995 w 1035367"/>
                <a:gd name="connsiteY307" fmla="*/ 5709285 h 6842760"/>
                <a:gd name="connsiteX308" fmla="*/ 297180 w 1035367"/>
                <a:gd name="connsiteY308" fmla="*/ 5665470 h 6842760"/>
                <a:gd name="connsiteX309" fmla="*/ 253365 w 1035367"/>
                <a:gd name="connsiteY309" fmla="*/ 5709285 h 6842760"/>
                <a:gd name="connsiteX310" fmla="*/ 266700 w 1035367"/>
                <a:gd name="connsiteY310" fmla="*/ 4871085 h 6842760"/>
                <a:gd name="connsiteX311" fmla="*/ 298133 w 1035367"/>
                <a:gd name="connsiteY311" fmla="*/ 4902518 h 6842760"/>
                <a:gd name="connsiteX312" fmla="*/ 329565 w 1035367"/>
                <a:gd name="connsiteY312" fmla="*/ 4871085 h 6842760"/>
                <a:gd name="connsiteX313" fmla="*/ 298133 w 1035367"/>
                <a:gd name="connsiteY313" fmla="*/ 4839653 h 6842760"/>
                <a:gd name="connsiteX314" fmla="*/ 266700 w 1035367"/>
                <a:gd name="connsiteY314" fmla="*/ 4871085 h 6842760"/>
                <a:gd name="connsiteX315" fmla="*/ 266700 w 1035367"/>
                <a:gd name="connsiteY315" fmla="*/ 4660583 h 6842760"/>
                <a:gd name="connsiteX316" fmla="*/ 298133 w 1035367"/>
                <a:gd name="connsiteY316" fmla="*/ 4692015 h 6842760"/>
                <a:gd name="connsiteX317" fmla="*/ 329565 w 1035367"/>
                <a:gd name="connsiteY317" fmla="*/ 4660583 h 6842760"/>
                <a:gd name="connsiteX318" fmla="*/ 298133 w 1035367"/>
                <a:gd name="connsiteY318" fmla="*/ 4629150 h 6842760"/>
                <a:gd name="connsiteX319" fmla="*/ 266700 w 1035367"/>
                <a:gd name="connsiteY319" fmla="*/ 4660583 h 6842760"/>
                <a:gd name="connsiteX320" fmla="*/ 266700 w 1035367"/>
                <a:gd name="connsiteY320" fmla="*/ 5080635 h 6842760"/>
                <a:gd name="connsiteX321" fmla="*/ 298133 w 1035367"/>
                <a:gd name="connsiteY321" fmla="*/ 5112068 h 6842760"/>
                <a:gd name="connsiteX322" fmla="*/ 329565 w 1035367"/>
                <a:gd name="connsiteY322" fmla="*/ 5080635 h 6842760"/>
                <a:gd name="connsiteX323" fmla="*/ 298133 w 1035367"/>
                <a:gd name="connsiteY323" fmla="*/ 5049203 h 6842760"/>
                <a:gd name="connsiteX324" fmla="*/ 266700 w 1035367"/>
                <a:gd name="connsiteY324" fmla="*/ 5080635 h 6842760"/>
                <a:gd name="connsiteX325" fmla="*/ 220028 w 1035367"/>
                <a:gd name="connsiteY325" fmla="*/ 6338888 h 6842760"/>
                <a:gd name="connsiteX326" fmla="*/ 298133 w 1035367"/>
                <a:gd name="connsiteY326" fmla="*/ 6416993 h 6842760"/>
                <a:gd name="connsiteX327" fmla="*/ 376238 w 1035367"/>
                <a:gd name="connsiteY327" fmla="*/ 6338888 h 6842760"/>
                <a:gd name="connsiteX328" fmla="*/ 298133 w 1035367"/>
                <a:gd name="connsiteY328" fmla="*/ 6260783 h 6842760"/>
                <a:gd name="connsiteX329" fmla="*/ 220028 w 1035367"/>
                <a:gd name="connsiteY329" fmla="*/ 6338888 h 6842760"/>
                <a:gd name="connsiteX330" fmla="*/ 46673 w 1035367"/>
                <a:gd name="connsiteY330" fmla="*/ 4428173 h 6842760"/>
                <a:gd name="connsiteX331" fmla="*/ 78105 w 1035367"/>
                <a:gd name="connsiteY331" fmla="*/ 4459605 h 6842760"/>
                <a:gd name="connsiteX332" fmla="*/ 109538 w 1035367"/>
                <a:gd name="connsiteY332" fmla="*/ 4428173 h 6842760"/>
                <a:gd name="connsiteX333" fmla="*/ 78105 w 1035367"/>
                <a:gd name="connsiteY333" fmla="*/ 4396740 h 6842760"/>
                <a:gd name="connsiteX334" fmla="*/ 46673 w 1035367"/>
                <a:gd name="connsiteY334" fmla="*/ 4428173 h 6842760"/>
                <a:gd name="connsiteX335" fmla="*/ 46673 w 1035367"/>
                <a:gd name="connsiteY335" fmla="*/ 4222433 h 6842760"/>
                <a:gd name="connsiteX336" fmla="*/ 78105 w 1035367"/>
                <a:gd name="connsiteY336" fmla="*/ 4253865 h 6842760"/>
                <a:gd name="connsiteX337" fmla="*/ 109538 w 1035367"/>
                <a:gd name="connsiteY337" fmla="*/ 4222433 h 6842760"/>
                <a:gd name="connsiteX338" fmla="*/ 78105 w 1035367"/>
                <a:gd name="connsiteY338" fmla="*/ 4191000 h 6842760"/>
                <a:gd name="connsiteX339" fmla="*/ 46673 w 1035367"/>
                <a:gd name="connsiteY339" fmla="*/ 4222433 h 6842760"/>
                <a:gd name="connsiteX340" fmla="*/ 34290 w 1035367"/>
                <a:gd name="connsiteY340" fmla="*/ 3604260 h 6842760"/>
                <a:gd name="connsiteX341" fmla="*/ 78105 w 1035367"/>
                <a:gd name="connsiteY341" fmla="*/ 3648075 h 6842760"/>
                <a:gd name="connsiteX342" fmla="*/ 121920 w 1035367"/>
                <a:gd name="connsiteY342" fmla="*/ 3604260 h 6842760"/>
                <a:gd name="connsiteX343" fmla="*/ 78105 w 1035367"/>
                <a:gd name="connsiteY343" fmla="*/ 3560445 h 6842760"/>
                <a:gd name="connsiteX344" fmla="*/ 34290 w 1035367"/>
                <a:gd name="connsiteY344" fmla="*/ 3604260 h 6842760"/>
                <a:gd name="connsiteX345" fmla="*/ 24765 w 1035367"/>
                <a:gd name="connsiteY345" fmla="*/ 3397568 h 6842760"/>
                <a:gd name="connsiteX346" fmla="*/ 78105 w 1035367"/>
                <a:gd name="connsiteY346" fmla="*/ 3450908 h 6842760"/>
                <a:gd name="connsiteX347" fmla="*/ 131445 w 1035367"/>
                <a:gd name="connsiteY347" fmla="*/ 3397568 h 6842760"/>
                <a:gd name="connsiteX348" fmla="*/ 78105 w 1035367"/>
                <a:gd name="connsiteY348" fmla="*/ 3344228 h 6842760"/>
                <a:gd name="connsiteX349" fmla="*/ 24765 w 1035367"/>
                <a:gd name="connsiteY349" fmla="*/ 3397568 h 6842760"/>
                <a:gd name="connsiteX350" fmla="*/ 16193 w 1035367"/>
                <a:gd name="connsiteY350" fmla="*/ 3191828 h 6842760"/>
                <a:gd name="connsiteX351" fmla="*/ 78105 w 1035367"/>
                <a:gd name="connsiteY351" fmla="*/ 3253740 h 6842760"/>
                <a:gd name="connsiteX352" fmla="*/ 140018 w 1035367"/>
                <a:gd name="connsiteY352" fmla="*/ 3191828 h 6842760"/>
                <a:gd name="connsiteX353" fmla="*/ 78105 w 1035367"/>
                <a:gd name="connsiteY353" fmla="*/ 3129915 h 6842760"/>
                <a:gd name="connsiteX354" fmla="*/ 16193 w 1035367"/>
                <a:gd name="connsiteY354" fmla="*/ 3191828 h 6842760"/>
                <a:gd name="connsiteX355" fmla="*/ 46673 w 1035367"/>
                <a:gd name="connsiteY355" fmla="*/ 4016693 h 6842760"/>
                <a:gd name="connsiteX356" fmla="*/ 78105 w 1035367"/>
                <a:gd name="connsiteY356" fmla="*/ 4048125 h 6842760"/>
                <a:gd name="connsiteX357" fmla="*/ 109538 w 1035367"/>
                <a:gd name="connsiteY357" fmla="*/ 4016693 h 6842760"/>
                <a:gd name="connsiteX358" fmla="*/ 78105 w 1035367"/>
                <a:gd name="connsiteY358" fmla="*/ 3985260 h 6842760"/>
                <a:gd name="connsiteX359" fmla="*/ 46673 w 1035367"/>
                <a:gd name="connsiteY359" fmla="*/ 4016693 h 6842760"/>
                <a:gd name="connsiteX360" fmla="*/ 42863 w 1035367"/>
                <a:gd name="connsiteY360" fmla="*/ 3810000 h 6842760"/>
                <a:gd name="connsiteX361" fmla="*/ 78105 w 1035367"/>
                <a:gd name="connsiteY361" fmla="*/ 3845243 h 6842760"/>
                <a:gd name="connsiteX362" fmla="*/ 113348 w 1035367"/>
                <a:gd name="connsiteY362" fmla="*/ 3810000 h 6842760"/>
                <a:gd name="connsiteX363" fmla="*/ 78105 w 1035367"/>
                <a:gd name="connsiteY363" fmla="*/ 3774758 h 6842760"/>
                <a:gd name="connsiteX364" fmla="*/ 42863 w 1035367"/>
                <a:gd name="connsiteY364" fmla="*/ 3810000 h 6842760"/>
                <a:gd name="connsiteX365" fmla="*/ 24765 w 1035367"/>
                <a:gd name="connsiteY365" fmla="*/ 2573655 h 6842760"/>
                <a:gd name="connsiteX366" fmla="*/ 78105 w 1035367"/>
                <a:gd name="connsiteY366" fmla="*/ 2626995 h 6842760"/>
                <a:gd name="connsiteX367" fmla="*/ 131445 w 1035367"/>
                <a:gd name="connsiteY367" fmla="*/ 2573655 h 6842760"/>
                <a:gd name="connsiteX368" fmla="*/ 78105 w 1035367"/>
                <a:gd name="connsiteY368" fmla="*/ 2520315 h 6842760"/>
                <a:gd name="connsiteX369" fmla="*/ 24765 w 1035367"/>
                <a:gd name="connsiteY369" fmla="*/ 2573655 h 6842760"/>
                <a:gd name="connsiteX370" fmla="*/ 34290 w 1035367"/>
                <a:gd name="connsiteY370" fmla="*/ 2366963 h 6842760"/>
                <a:gd name="connsiteX371" fmla="*/ 78105 w 1035367"/>
                <a:gd name="connsiteY371" fmla="*/ 2410778 h 6842760"/>
                <a:gd name="connsiteX372" fmla="*/ 121920 w 1035367"/>
                <a:gd name="connsiteY372" fmla="*/ 2366963 h 6842760"/>
                <a:gd name="connsiteX373" fmla="*/ 78105 w 1035367"/>
                <a:gd name="connsiteY373" fmla="*/ 2323148 h 6842760"/>
                <a:gd name="connsiteX374" fmla="*/ 34290 w 1035367"/>
                <a:gd name="connsiteY374" fmla="*/ 2366963 h 6842760"/>
                <a:gd name="connsiteX375" fmla="*/ 16193 w 1035367"/>
                <a:gd name="connsiteY375" fmla="*/ 2779395 h 6842760"/>
                <a:gd name="connsiteX376" fmla="*/ 78105 w 1035367"/>
                <a:gd name="connsiteY376" fmla="*/ 2841308 h 6842760"/>
                <a:gd name="connsiteX377" fmla="*/ 140018 w 1035367"/>
                <a:gd name="connsiteY377" fmla="*/ 2779395 h 6842760"/>
                <a:gd name="connsiteX378" fmla="*/ 78105 w 1035367"/>
                <a:gd name="connsiteY378" fmla="*/ 2717483 h 6842760"/>
                <a:gd name="connsiteX379" fmla="*/ 16193 w 1035367"/>
                <a:gd name="connsiteY379" fmla="*/ 2779395 h 6842760"/>
                <a:gd name="connsiteX380" fmla="*/ 0 w 1035367"/>
                <a:gd name="connsiteY380" fmla="*/ 2985135 h 6842760"/>
                <a:gd name="connsiteX381" fmla="*/ 78105 w 1035367"/>
                <a:gd name="connsiteY381" fmla="*/ 3063240 h 6842760"/>
                <a:gd name="connsiteX382" fmla="*/ 156210 w 1035367"/>
                <a:gd name="connsiteY382" fmla="*/ 2985135 h 6842760"/>
                <a:gd name="connsiteX383" fmla="*/ 78105 w 1035367"/>
                <a:gd name="connsiteY383" fmla="*/ 2907030 h 6842760"/>
                <a:gd name="connsiteX384" fmla="*/ 0 w 1035367"/>
                <a:gd name="connsiteY384" fmla="*/ 2985135 h 6842760"/>
                <a:gd name="connsiteX385" fmla="*/ 266700 w 1035367"/>
                <a:gd name="connsiteY385" fmla="*/ 4495800 h 6842760"/>
                <a:gd name="connsiteX386" fmla="*/ 298133 w 1035367"/>
                <a:gd name="connsiteY386" fmla="*/ 4527233 h 6842760"/>
                <a:gd name="connsiteX387" fmla="*/ 329565 w 1035367"/>
                <a:gd name="connsiteY387" fmla="*/ 4495800 h 6842760"/>
                <a:gd name="connsiteX388" fmla="*/ 298133 w 1035367"/>
                <a:gd name="connsiteY388" fmla="*/ 4464368 h 6842760"/>
                <a:gd name="connsiteX389" fmla="*/ 266700 w 1035367"/>
                <a:gd name="connsiteY389" fmla="*/ 4495800 h 6842760"/>
                <a:gd name="connsiteX390" fmla="*/ 266700 w 1035367"/>
                <a:gd name="connsiteY390" fmla="*/ 4254818 h 6842760"/>
                <a:gd name="connsiteX391" fmla="*/ 298133 w 1035367"/>
                <a:gd name="connsiteY391" fmla="*/ 4286250 h 6842760"/>
                <a:gd name="connsiteX392" fmla="*/ 329565 w 1035367"/>
                <a:gd name="connsiteY392" fmla="*/ 4254818 h 6842760"/>
                <a:gd name="connsiteX393" fmla="*/ 298133 w 1035367"/>
                <a:gd name="connsiteY393" fmla="*/ 4223385 h 6842760"/>
                <a:gd name="connsiteX394" fmla="*/ 266700 w 1035367"/>
                <a:gd name="connsiteY394" fmla="*/ 4254818 h 6842760"/>
                <a:gd name="connsiteX395" fmla="*/ 262890 w 1035367"/>
                <a:gd name="connsiteY395" fmla="*/ 3625215 h 6842760"/>
                <a:gd name="connsiteX396" fmla="*/ 298133 w 1035367"/>
                <a:gd name="connsiteY396" fmla="*/ 3660458 h 6842760"/>
                <a:gd name="connsiteX397" fmla="*/ 333375 w 1035367"/>
                <a:gd name="connsiteY397" fmla="*/ 3625215 h 6842760"/>
                <a:gd name="connsiteX398" fmla="*/ 298133 w 1035367"/>
                <a:gd name="connsiteY398" fmla="*/ 3589973 h 6842760"/>
                <a:gd name="connsiteX399" fmla="*/ 262890 w 1035367"/>
                <a:gd name="connsiteY399" fmla="*/ 3625215 h 6842760"/>
                <a:gd name="connsiteX400" fmla="*/ 253365 w 1035367"/>
                <a:gd name="connsiteY400" fmla="*/ 3415665 h 6842760"/>
                <a:gd name="connsiteX401" fmla="*/ 297180 w 1035367"/>
                <a:gd name="connsiteY401" fmla="*/ 3459480 h 6842760"/>
                <a:gd name="connsiteX402" fmla="*/ 340995 w 1035367"/>
                <a:gd name="connsiteY402" fmla="*/ 3415665 h 6842760"/>
                <a:gd name="connsiteX403" fmla="*/ 297180 w 1035367"/>
                <a:gd name="connsiteY403" fmla="*/ 3371850 h 6842760"/>
                <a:gd name="connsiteX404" fmla="*/ 253365 w 1035367"/>
                <a:gd name="connsiteY404" fmla="*/ 3415665 h 6842760"/>
                <a:gd name="connsiteX405" fmla="*/ 244793 w 1035367"/>
                <a:gd name="connsiteY405" fmla="*/ 3206115 h 6842760"/>
                <a:gd name="connsiteX406" fmla="*/ 298133 w 1035367"/>
                <a:gd name="connsiteY406" fmla="*/ 3259455 h 6842760"/>
                <a:gd name="connsiteX407" fmla="*/ 351473 w 1035367"/>
                <a:gd name="connsiteY407" fmla="*/ 3206115 h 6842760"/>
                <a:gd name="connsiteX408" fmla="*/ 298133 w 1035367"/>
                <a:gd name="connsiteY408" fmla="*/ 3152775 h 6842760"/>
                <a:gd name="connsiteX409" fmla="*/ 244793 w 1035367"/>
                <a:gd name="connsiteY409" fmla="*/ 3206115 h 6842760"/>
                <a:gd name="connsiteX410" fmla="*/ 266700 w 1035367"/>
                <a:gd name="connsiteY410" fmla="*/ 4044315 h 6842760"/>
                <a:gd name="connsiteX411" fmla="*/ 298133 w 1035367"/>
                <a:gd name="connsiteY411" fmla="*/ 4075748 h 6842760"/>
                <a:gd name="connsiteX412" fmla="*/ 329565 w 1035367"/>
                <a:gd name="connsiteY412" fmla="*/ 4044315 h 6842760"/>
                <a:gd name="connsiteX413" fmla="*/ 298133 w 1035367"/>
                <a:gd name="connsiteY413" fmla="*/ 4012883 h 6842760"/>
                <a:gd name="connsiteX414" fmla="*/ 266700 w 1035367"/>
                <a:gd name="connsiteY414" fmla="*/ 4044315 h 6842760"/>
                <a:gd name="connsiteX415" fmla="*/ 266700 w 1035367"/>
                <a:gd name="connsiteY415" fmla="*/ 3834765 h 6842760"/>
                <a:gd name="connsiteX416" fmla="*/ 298133 w 1035367"/>
                <a:gd name="connsiteY416" fmla="*/ 3866198 h 6842760"/>
                <a:gd name="connsiteX417" fmla="*/ 329565 w 1035367"/>
                <a:gd name="connsiteY417" fmla="*/ 3834765 h 6842760"/>
                <a:gd name="connsiteX418" fmla="*/ 298133 w 1035367"/>
                <a:gd name="connsiteY418" fmla="*/ 3803333 h 6842760"/>
                <a:gd name="connsiteX419" fmla="*/ 266700 w 1035367"/>
                <a:gd name="connsiteY419" fmla="*/ 3834765 h 6842760"/>
                <a:gd name="connsiteX420" fmla="*/ 236220 w 1035367"/>
                <a:gd name="connsiteY420" fmla="*/ 2576513 h 6842760"/>
                <a:gd name="connsiteX421" fmla="*/ 298133 w 1035367"/>
                <a:gd name="connsiteY421" fmla="*/ 2638425 h 6842760"/>
                <a:gd name="connsiteX422" fmla="*/ 360045 w 1035367"/>
                <a:gd name="connsiteY422" fmla="*/ 2576513 h 6842760"/>
                <a:gd name="connsiteX423" fmla="*/ 298133 w 1035367"/>
                <a:gd name="connsiteY423" fmla="*/ 2514600 h 6842760"/>
                <a:gd name="connsiteX424" fmla="*/ 236220 w 1035367"/>
                <a:gd name="connsiteY424" fmla="*/ 2576513 h 6842760"/>
                <a:gd name="connsiteX425" fmla="*/ 244793 w 1035367"/>
                <a:gd name="connsiteY425" fmla="*/ 2366963 h 6842760"/>
                <a:gd name="connsiteX426" fmla="*/ 298133 w 1035367"/>
                <a:gd name="connsiteY426" fmla="*/ 2420303 h 6842760"/>
                <a:gd name="connsiteX427" fmla="*/ 351473 w 1035367"/>
                <a:gd name="connsiteY427" fmla="*/ 2366963 h 6842760"/>
                <a:gd name="connsiteX428" fmla="*/ 298133 w 1035367"/>
                <a:gd name="connsiteY428" fmla="*/ 2313623 h 6842760"/>
                <a:gd name="connsiteX429" fmla="*/ 244793 w 1035367"/>
                <a:gd name="connsiteY429" fmla="*/ 2366963 h 6842760"/>
                <a:gd name="connsiteX430" fmla="*/ 236220 w 1035367"/>
                <a:gd name="connsiteY430" fmla="*/ 2996565 h 6842760"/>
                <a:gd name="connsiteX431" fmla="*/ 298133 w 1035367"/>
                <a:gd name="connsiteY431" fmla="*/ 3058478 h 6842760"/>
                <a:gd name="connsiteX432" fmla="*/ 360045 w 1035367"/>
                <a:gd name="connsiteY432" fmla="*/ 2996565 h 6842760"/>
                <a:gd name="connsiteX433" fmla="*/ 298133 w 1035367"/>
                <a:gd name="connsiteY433" fmla="*/ 2934653 h 6842760"/>
                <a:gd name="connsiteX434" fmla="*/ 236220 w 1035367"/>
                <a:gd name="connsiteY434" fmla="*/ 2996565 h 6842760"/>
                <a:gd name="connsiteX435" fmla="*/ 220028 w 1035367"/>
                <a:gd name="connsiteY435" fmla="*/ 2786063 h 6842760"/>
                <a:gd name="connsiteX436" fmla="*/ 298133 w 1035367"/>
                <a:gd name="connsiteY436" fmla="*/ 2864168 h 6842760"/>
                <a:gd name="connsiteX437" fmla="*/ 376238 w 1035367"/>
                <a:gd name="connsiteY437" fmla="*/ 2786063 h 6842760"/>
                <a:gd name="connsiteX438" fmla="*/ 298133 w 1035367"/>
                <a:gd name="connsiteY438" fmla="*/ 2707958 h 6842760"/>
                <a:gd name="connsiteX439" fmla="*/ 220028 w 1035367"/>
                <a:gd name="connsiteY439" fmla="*/ 2786063 h 6842760"/>
                <a:gd name="connsiteX440" fmla="*/ 464820 w 1035367"/>
                <a:gd name="connsiteY440" fmla="*/ 6406515 h 6842760"/>
                <a:gd name="connsiteX441" fmla="*/ 518160 w 1035367"/>
                <a:gd name="connsiteY441" fmla="*/ 6459855 h 6842760"/>
                <a:gd name="connsiteX442" fmla="*/ 571500 w 1035367"/>
                <a:gd name="connsiteY442" fmla="*/ 6406515 h 6842760"/>
                <a:gd name="connsiteX443" fmla="*/ 518160 w 1035367"/>
                <a:gd name="connsiteY443" fmla="*/ 6353175 h 6842760"/>
                <a:gd name="connsiteX444" fmla="*/ 464820 w 1035367"/>
                <a:gd name="connsiteY444" fmla="*/ 6406515 h 6842760"/>
                <a:gd name="connsiteX445" fmla="*/ 481965 w 1035367"/>
                <a:gd name="connsiteY445" fmla="*/ 5980748 h 6842760"/>
                <a:gd name="connsiteX446" fmla="*/ 517208 w 1035367"/>
                <a:gd name="connsiteY446" fmla="*/ 6015990 h 6842760"/>
                <a:gd name="connsiteX447" fmla="*/ 552450 w 1035367"/>
                <a:gd name="connsiteY447" fmla="*/ 5980748 h 6842760"/>
                <a:gd name="connsiteX448" fmla="*/ 517208 w 1035367"/>
                <a:gd name="connsiteY448" fmla="*/ 5945505 h 6842760"/>
                <a:gd name="connsiteX449" fmla="*/ 481965 w 1035367"/>
                <a:gd name="connsiteY449" fmla="*/ 5980748 h 6842760"/>
                <a:gd name="connsiteX450" fmla="*/ 486728 w 1035367"/>
                <a:gd name="connsiteY450" fmla="*/ 5555933 h 6842760"/>
                <a:gd name="connsiteX451" fmla="*/ 518160 w 1035367"/>
                <a:gd name="connsiteY451" fmla="*/ 5587365 h 6842760"/>
                <a:gd name="connsiteX452" fmla="*/ 549593 w 1035367"/>
                <a:gd name="connsiteY452" fmla="*/ 5555933 h 6842760"/>
                <a:gd name="connsiteX453" fmla="*/ 518160 w 1035367"/>
                <a:gd name="connsiteY453" fmla="*/ 5524500 h 6842760"/>
                <a:gd name="connsiteX454" fmla="*/ 486728 w 1035367"/>
                <a:gd name="connsiteY454" fmla="*/ 5555933 h 6842760"/>
                <a:gd name="connsiteX455" fmla="*/ 486728 w 1035367"/>
                <a:gd name="connsiteY455" fmla="*/ 5343525 h 6842760"/>
                <a:gd name="connsiteX456" fmla="*/ 518160 w 1035367"/>
                <a:gd name="connsiteY456" fmla="*/ 5374958 h 6842760"/>
                <a:gd name="connsiteX457" fmla="*/ 549593 w 1035367"/>
                <a:gd name="connsiteY457" fmla="*/ 5343525 h 6842760"/>
                <a:gd name="connsiteX458" fmla="*/ 518160 w 1035367"/>
                <a:gd name="connsiteY458" fmla="*/ 5312093 h 6842760"/>
                <a:gd name="connsiteX459" fmla="*/ 486728 w 1035367"/>
                <a:gd name="connsiteY459" fmla="*/ 5343525 h 6842760"/>
                <a:gd name="connsiteX460" fmla="*/ 473393 w 1035367"/>
                <a:gd name="connsiteY460" fmla="*/ 6194108 h 6842760"/>
                <a:gd name="connsiteX461" fmla="*/ 517208 w 1035367"/>
                <a:gd name="connsiteY461" fmla="*/ 6237923 h 6842760"/>
                <a:gd name="connsiteX462" fmla="*/ 561023 w 1035367"/>
                <a:gd name="connsiteY462" fmla="*/ 6194108 h 6842760"/>
                <a:gd name="connsiteX463" fmla="*/ 517208 w 1035367"/>
                <a:gd name="connsiteY463" fmla="*/ 6150293 h 6842760"/>
                <a:gd name="connsiteX464" fmla="*/ 473393 w 1035367"/>
                <a:gd name="connsiteY464" fmla="*/ 6194108 h 6842760"/>
                <a:gd name="connsiteX465" fmla="*/ 486728 w 1035367"/>
                <a:gd name="connsiteY465" fmla="*/ 5768340 h 6842760"/>
                <a:gd name="connsiteX466" fmla="*/ 518160 w 1035367"/>
                <a:gd name="connsiteY466" fmla="*/ 5799773 h 6842760"/>
                <a:gd name="connsiteX467" fmla="*/ 549593 w 1035367"/>
                <a:gd name="connsiteY467" fmla="*/ 5768340 h 6842760"/>
                <a:gd name="connsiteX468" fmla="*/ 518160 w 1035367"/>
                <a:gd name="connsiteY468" fmla="*/ 5736908 h 6842760"/>
                <a:gd name="connsiteX469" fmla="*/ 486728 w 1035367"/>
                <a:gd name="connsiteY469" fmla="*/ 5768340 h 6842760"/>
                <a:gd name="connsiteX470" fmla="*/ 486728 w 1035367"/>
                <a:gd name="connsiteY470" fmla="*/ 4917758 h 6842760"/>
                <a:gd name="connsiteX471" fmla="*/ 518160 w 1035367"/>
                <a:gd name="connsiteY471" fmla="*/ 4949190 h 6842760"/>
                <a:gd name="connsiteX472" fmla="*/ 549593 w 1035367"/>
                <a:gd name="connsiteY472" fmla="*/ 4917758 h 6842760"/>
                <a:gd name="connsiteX473" fmla="*/ 518160 w 1035367"/>
                <a:gd name="connsiteY473" fmla="*/ 4886325 h 6842760"/>
                <a:gd name="connsiteX474" fmla="*/ 486728 w 1035367"/>
                <a:gd name="connsiteY474" fmla="*/ 4917758 h 6842760"/>
                <a:gd name="connsiteX475" fmla="*/ 486728 w 1035367"/>
                <a:gd name="connsiteY475" fmla="*/ 4705350 h 6842760"/>
                <a:gd name="connsiteX476" fmla="*/ 518160 w 1035367"/>
                <a:gd name="connsiteY476" fmla="*/ 4736783 h 6842760"/>
                <a:gd name="connsiteX477" fmla="*/ 549593 w 1035367"/>
                <a:gd name="connsiteY477" fmla="*/ 4705350 h 6842760"/>
                <a:gd name="connsiteX478" fmla="*/ 518160 w 1035367"/>
                <a:gd name="connsiteY478" fmla="*/ 4673918 h 6842760"/>
                <a:gd name="connsiteX479" fmla="*/ 486728 w 1035367"/>
                <a:gd name="connsiteY479" fmla="*/ 4705350 h 6842760"/>
                <a:gd name="connsiteX480" fmla="*/ 486728 w 1035367"/>
                <a:gd name="connsiteY480" fmla="*/ 5131118 h 6842760"/>
                <a:gd name="connsiteX481" fmla="*/ 518160 w 1035367"/>
                <a:gd name="connsiteY481" fmla="*/ 5162550 h 6842760"/>
                <a:gd name="connsiteX482" fmla="*/ 549593 w 1035367"/>
                <a:gd name="connsiteY482" fmla="*/ 5131118 h 6842760"/>
                <a:gd name="connsiteX483" fmla="*/ 518160 w 1035367"/>
                <a:gd name="connsiteY483" fmla="*/ 5099685 h 6842760"/>
                <a:gd name="connsiteX484" fmla="*/ 486728 w 1035367"/>
                <a:gd name="connsiteY484" fmla="*/ 5131118 h 6842760"/>
                <a:gd name="connsiteX485" fmla="*/ 706755 w 1035367"/>
                <a:gd name="connsiteY485" fmla="*/ 5253038 h 6842760"/>
                <a:gd name="connsiteX486" fmla="*/ 738188 w 1035367"/>
                <a:gd name="connsiteY486" fmla="*/ 5284470 h 6842760"/>
                <a:gd name="connsiteX487" fmla="*/ 769620 w 1035367"/>
                <a:gd name="connsiteY487" fmla="*/ 5253038 h 6842760"/>
                <a:gd name="connsiteX488" fmla="*/ 738188 w 1035367"/>
                <a:gd name="connsiteY488" fmla="*/ 5221605 h 6842760"/>
                <a:gd name="connsiteX489" fmla="*/ 706755 w 1035367"/>
                <a:gd name="connsiteY489" fmla="*/ 5253038 h 6842760"/>
                <a:gd name="connsiteX490" fmla="*/ 706755 w 1035367"/>
                <a:gd name="connsiteY490" fmla="*/ 4840605 h 6842760"/>
                <a:gd name="connsiteX491" fmla="*/ 738188 w 1035367"/>
                <a:gd name="connsiteY491" fmla="*/ 4872038 h 6842760"/>
                <a:gd name="connsiteX492" fmla="*/ 769620 w 1035367"/>
                <a:gd name="connsiteY492" fmla="*/ 4840605 h 6842760"/>
                <a:gd name="connsiteX493" fmla="*/ 738188 w 1035367"/>
                <a:gd name="connsiteY493" fmla="*/ 4809173 h 6842760"/>
                <a:gd name="connsiteX494" fmla="*/ 706755 w 1035367"/>
                <a:gd name="connsiteY494" fmla="*/ 4840605 h 6842760"/>
                <a:gd name="connsiteX495" fmla="*/ 706755 w 1035367"/>
                <a:gd name="connsiteY495" fmla="*/ 4634865 h 6842760"/>
                <a:gd name="connsiteX496" fmla="*/ 738188 w 1035367"/>
                <a:gd name="connsiteY496" fmla="*/ 4666298 h 6842760"/>
                <a:gd name="connsiteX497" fmla="*/ 769620 w 1035367"/>
                <a:gd name="connsiteY497" fmla="*/ 4634865 h 6842760"/>
                <a:gd name="connsiteX498" fmla="*/ 738188 w 1035367"/>
                <a:gd name="connsiteY498" fmla="*/ 4603433 h 6842760"/>
                <a:gd name="connsiteX499" fmla="*/ 706755 w 1035367"/>
                <a:gd name="connsiteY499" fmla="*/ 4634865 h 6842760"/>
                <a:gd name="connsiteX500" fmla="*/ 706755 w 1035367"/>
                <a:gd name="connsiteY500" fmla="*/ 5047298 h 6842760"/>
                <a:gd name="connsiteX501" fmla="*/ 738188 w 1035367"/>
                <a:gd name="connsiteY501" fmla="*/ 5078730 h 6842760"/>
                <a:gd name="connsiteX502" fmla="*/ 769620 w 1035367"/>
                <a:gd name="connsiteY502" fmla="*/ 5047298 h 6842760"/>
                <a:gd name="connsiteX503" fmla="*/ 738188 w 1035367"/>
                <a:gd name="connsiteY503" fmla="*/ 5015865 h 6842760"/>
                <a:gd name="connsiteX504" fmla="*/ 706755 w 1035367"/>
                <a:gd name="connsiteY504" fmla="*/ 5047298 h 6842760"/>
                <a:gd name="connsiteX505" fmla="*/ 486728 w 1035367"/>
                <a:gd name="connsiteY505" fmla="*/ 4492943 h 6842760"/>
                <a:gd name="connsiteX506" fmla="*/ 518160 w 1035367"/>
                <a:gd name="connsiteY506" fmla="*/ 4524375 h 6842760"/>
                <a:gd name="connsiteX507" fmla="*/ 549593 w 1035367"/>
                <a:gd name="connsiteY507" fmla="*/ 4492943 h 6842760"/>
                <a:gd name="connsiteX508" fmla="*/ 518160 w 1035367"/>
                <a:gd name="connsiteY508" fmla="*/ 4461510 h 6842760"/>
                <a:gd name="connsiteX509" fmla="*/ 486728 w 1035367"/>
                <a:gd name="connsiteY509" fmla="*/ 4492943 h 6842760"/>
                <a:gd name="connsiteX510" fmla="*/ 486728 w 1035367"/>
                <a:gd name="connsiteY510" fmla="*/ 4280535 h 6842760"/>
                <a:gd name="connsiteX511" fmla="*/ 518160 w 1035367"/>
                <a:gd name="connsiteY511" fmla="*/ 4311968 h 6842760"/>
                <a:gd name="connsiteX512" fmla="*/ 549593 w 1035367"/>
                <a:gd name="connsiteY512" fmla="*/ 4280535 h 6842760"/>
                <a:gd name="connsiteX513" fmla="*/ 518160 w 1035367"/>
                <a:gd name="connsiteY513" fmla="*/ 4249103 h 6842760"/>
                <a:gd name="connsiteX514" fmla="*/ 486728 w 1035367"/>
                <a:gd name="connsiteY514" fmla="*/ 4280535 h 6842760"/>
                <a:gd name="connsiteX515" fmla="*/ 464820 w 1035367"/>
                <a:gd name="connsiteY515" fmla="*/ 3642360 h 6842760"/>
                <a:gd name="connsiteX516" fmla="*/ 518160 w 1035367"/>
                <a:gd name="connsiteY516" fmla="*/ 3695700 h 6842760"/>
                <a:gd name="connsiteX517" fmla="*/ 571500 w 1035367"/>
                <a:gd name="connsiteY517" fmla="*/ 3642360 h 6842760"/>
                <a:gd name="connsiteX518" fmla="*/ 518160 w 1035367"/>
                <a:gd name="connsiteY518" fmla="*/ 3589020 h 6842760"/>
                <a:gd name="connsiteX519" fmla="*/ 464820 w 1035367"/>
                <a:gd name="connsiteY519" fmla="*/ 3642360 h 6842760"/>
                <a:gd name="connsiteX520" fmla="*/ 456248 w 1035367"/>
                <a:gd name="connsiteY520" fmla="*/ 3429953 h 6842760"/>
                <a:gd name="connsiteX521" fmla="*/ 518160 w 1035367"/>
                <a:gd name="connsiteY521" fmla="*/ 3491865 h 6842760"/>
                <a:gd name="connsiteX522" fmla="*/ 580073 w 1035367"/>
                <a:gd name="connsiteY522" fmla="*/ 3429953 h 6842760"/>
                <a:gd name="connsiteX523" fmla="*/ 518160 w 1035367"/>
                <a:gd name="connsiteY523" fmla="*/ 3368040 h 6842760"/>
                <a:gd name="connsiteX524" fmla="*/ 456248 w 1035367"/>
                <a:gd name="connsiteY524" fmla="*/ 3429953 h 6842760"/>
                <a:gd name="connsiteX525" fmla="*/ 456248 w 1035367"/>
                <a:gd name="connsiteY525" fmla="*/ 3005138 h 6842760"/>
                <a:gd name="connsiteX526" fmla="*/ 518160 w 1035367"/>
                <a:gd name="connsiteY526" fmla="*/ 3067050 h 6842760"/>
                <a:gd name="connsiteX527" fmla="*/ 580073 w 1035367"/>
                <a:gd name="connsiteY527" fmla="*/ 3005138 h 6842760"/>
                <a:gd name="connsiteX528" fmla="*/ 518160 w 1035367"/>
                <a:gd name="connsiteY528" fmla="*/ 2943225 h 6842760"/>
                <a:gd name="connsiteX529" fmla="*/ 456248 w 1035367"/>
                <a:gd name="connsiteY529" fmla="*/ 3005138 h 6842760"/>
                <a:gd name="connsiteX530" fmla="*/ 481965 w 1035367"/>
                <a:gd name="connsiteY530" fmla="*/ 4068128 h 6842760"/>
                <a:gd name="connsiteX531" fmla="*/ 517208 w 1035367"/>
                <a:gd name="connsiteY531" fmla="*/ 4103370 h 6842760"/>
                <a:gd name="connsiteX532" fmla="*/ 552450 w 1035367"/>
                <a:gd name="connsiteY532" fmla="*/ 4068128 h 6842760"/>
                <a:gd name="connsiteX533" fmla="*/ 517208 w 1035367"/>
                <a:gd name="connsiteY533" fmla="*/ 4032885 h 6842760"/>
                <a:gd name="connsiteX534" fmla="*/ 481965 w 1035367"/>
                <a:gd name="connsiteY534" fmla="*/ 4068128 h 6842760"/>
                <a:gd name="connsiteX535" fmla="*/ 473393 w 1035367"/>
                <a:gd name="connsiteY535" fmla="*/ 3854768 h 6842760"/>
                <a:gd name="connsiteX536" fmla="*/ 517208 w 1035367"/>
                <a:gd name="connsiteY536" fmla="*/ 3898583 h 6842760"/>
                <a:gd name="connsiteX537" fmla="*/ 561023 w 1035367"/>
                <a:gd name="connsiteY537" fmla="*/ 3854768 h 6842760"/>
                <a:gd name="connsiteX538" fmla="*/ 517208 w 1035367"/>
                <a:gd name="connsiteY538" fmla="*/ 3810953 h 6842760"/>
                <a:gd name="connsiteX539" fmla="*/ 473393 w 1035367"/>
                <a:gd name="connsiteY539" fmla="*/ 3854768 h 6842760"/>
                <a:gd name="connsiteX540" fmla="*/ 473393 w 1035367"/>
                <a:gd name="connsiteY540" fmla="*/ 2579370 h 6842760"/>
                <a:gd name="connsiteX541" fmla="*/ 517208 w 1035367"/>
                <a:gd name="connsiteY541" fmla="*/ 2623185 h 6842760"/>
                <a:gd name="connsiteX542" fmla="*/ 561023 w 1035367"/>
                <a:gd name="connsiteY542" fmla="*/ 2579370 h 6842760"/>
                <a:gd name="connsiteX543" fmla="*/ 517208 w 1035367"/>
                <a:gd name="connsiteY543" fmla="*/ 2535555 h 6842760"/>
                <a:gd name="connsiteX544" fmla="*/ 473393 w 1035367"/>
                <a:gd name="connsiteY544" fmla="*/ 2579370 h 6842760"/>
                <a:gd name="connsiteX545" fmla="*/ 481965 w 1035367"/>
                <a:gd name="connsiteY545" fmla="*/ 2366963 h 6842760"/>
                <a:gd name="connsiteX546" fmla="*/ 517208 w 1035367"/>
                <a:gd name="connsiteY546" fmla="*/ 2402205 h 6842760"/>
                <a:gd name="connsiteX547" fmla="*/ 552450 w 1035367"/>
                <a:gd name="connsiteY547" fmla="*/ 2366963 h 6842760"/>
                <a:gd name="connsiteX548" fmla="*/ 517208 w 1035367"/>
                <a:gd name="connsiteY548" fmla="*/ 2331720 h 6842760"/>
                <a:gd name="connsiteX549" fmla="*/ 481965 w 1035367"/>
                <a:gd name="connsiteY549" fmla="*/ 2366963 h 6842760"/>
                <a:gd name="connsiteX550" fmla="*/ 464820 w 1035367"/>
                <a:gd name="connsiteY550" fmla="*/ 2791778 h 6842760"/>
                <a:gd name="connsiteX551" fmla="*/ 518160 w 1035367"/>
                <a:gd name="connsiteY551" fmla="*/ 2845118 h 6842760"/>
                <a:gd name="connsiteX552" fmla="*/ 571500 w 1035367"/>
                <a:gd name="connsiteY552" fmla="*/ 2791778 h 6842760"/>
                <a:gd name="connsiteX553" fmla="*/ 518160 w 1035367"/>
                <a:gd name="connsiteY553" fmla="*/ 2738438 h 6842760"/>
                <a:gd name="connsiteX554" fmla="*/ 464820 w 1035367"/>
                <a:gd name="connsiteY554" fmla="*/ 2791778 h 6842760"/>
                <a:gd name="connsiteX555" fmla="*/ 440055 w 1035367"/>
                <a:gd name="connsiteY555" fmla="*/ 3217545 h 6842760"/>
                <a:gd name="connsiteX556" fmla="*/ 518160 w 1035367"/>
                <a:gd name="connsiteY556" fmla="*/ 3295650 h 6842760"/>
                <a:gd name="connsiteX557" fmla="*/ 596265 w 1035367"/>
                <a:gd name="connsiteY557" fmla="*/ 3217545 h 6842760"/>
                <a:gd name="connsiteX558" fmla="*/ 518160 w 1035367"/>
                <a:gd name="connsiteY558" fmla="*/ 3139440 h 6842760"/>
                <a:gd name="connsiteX559" fmla="*/ 440055 w 1035367"/>
                <a:gd name="connsiteY559" fmla="*/ 3217545 h 6842760"/>
                <a:gd name="connsiteX560" fmla="*/ 706755 w 1035367"/>
                <a:gd name="connsiteY560" fmla="*/ 4428173 h 6842760"/>
                <a:gd name="connsiteX561" fmla="*/ 738188 w 1035367"/>
                <a:gd name="connsiteY561" fmla="*/ 4459605 h 6842760"/>
                <a:gd name="connsiteX562" fmla="*/ 769620 w 1035367"/>
                <a:gd name="connsiteY562" fmla="*/ 4428173 h 6842760"/>
                <a:gd name="connsiteX563" fmla="*/ 738188 w 1035367"/>
                <a:gd name="connsiteY563" fmla="*/ 4396740 h 6842760"/>
                <a:gd name="connsiteX564" fmla="*/ 706755 w 1035367"/>
                <a:gd name="connsiteY564" fmla="*/ 4428173 h 6842760"/>
                <a:gd name="connsiteX565" fmla="*/ 706755 w 1035367"/>
                <a:gd name="connsiteY565" fmla="*/ 4222433 h 6842760"/>
                <a:gd name="connsiteX566" fmla="*/ 738188 w 1035367"/>
                <a:gd name="connsiteY566" fmla="*/ 4253865 h 6842760"/>
                <a:gd name="connsiteX567" fmla="*/ 769620 w 1035367"/>
                <a:gd name="connsiteY567" fmla="*/ 4222433 h 6842760"/>
                <a:gd name="connsiteX568" fmla="*/ 738188 w 1035367"/>
                <a:gd name="connsiteY568" fmla="*/ 4191000 h 6842760"/>
                <a:gd name="connsiteX569" fmla="*/ 706755 w 1035367"/>
                <a:gd name="connsiteY569" fmla="*/ 4222433 h 6842760"/>
                <a:gd name="connsiteX570" fmla="*/ 693420 w 1035367"/>
                <a:gd name="connsiteY570" fmla="*/ 3604260 h 6842760"/>
                <a:gd name="connsiteX571" fmla="*/ 737235 w 1035367"/>
                <a:gd name="connsiteY571" fmla="*/ 3648075 h 6842760"/>
                <a:gd name="connsiteX572" fmla="*/ 781050 w 1035367"/>
                <a:gd name="connsiteY572" fmla="*/ 3604260 h 6842760"/>
                <a:gd name="connsiteX573" fmla="*/ 737235 w 1035367"/>
                <a:gd name="connsiteY573" fmla="*/ 3560445 h 6842760"/>
                <a:gd name="connsiteX574" fmla="*/ 693420 w 1035367"/>
                <a:gd name="connsiteY574" fmla="*/ 3604260 h 6842760"/>
                <a:gd name="connsiteX575" fmla="*/ 684848 w 1035367"/>
                <a:gd name="connsiteY575" fmla="*/ 3397568 h 6842760"/>
                <a:gd name="connsiteX576" fmla="*/ 738188 w 1035367"/>
                <a:gd name="connsiteY576" fmla="*/ 3450908 h 6842760"/>
                <a:gd name="connsiteX577" fmla="*/ 791528 w 1035367"/>
                <a:gd name="connsiteY577" fmla="*/ 3397568 h 6842760"/>
                <a:gd name="connsiteX578" fmla="*/ 738188 w 1035367"/>
                <a:gd name="connsiteY578" fmla="*/ 3344228 h 6842760"/>
                <a:gd name="connsiteX579" fmla="*/ 684848 w 1035367"/>
                <a:gd name="connsiteY579" fmla="*/ 3397568 h 6842760"/>
                <a:gd name="connsiteX580" fmla="*/ 675323 w 1035367"/>
                <a:gd name="connsiteY580" fmla="*/ 3191828 h 6842760"/>
                <a:gd name="connsiteX581" fmla="*/ 737235 w 1035367"/>
                <a:gd name="connsiteY581" fmla="*/ 3253740 h 6842760"/>
                <a:gd name="connsiteX582" fmla="*/ 799148 w 1035367"/>
                <a:gd name="connsiteY582" fmla="*/ 3191828 h 6842760"/>
                <a:gd name="connsiteX583" fmla="*/ 737235 w 1035367"/>
                <a:gd name="connsiteY583" fmla="*/ 3129915 h 6842760"/>
                <a:gd name="connsiteX584" fmla="*/ 675323 w 1035367"/>
                <a:gd name="connsiteY584" fmla="*/ 3191828 h 6842760"/>
                <a:gd name="connsiteX585" fmla="*/ 706755 w 1035367"/>
                <a:gd name="connsiteY585" fmla="*/ 4016693 h 6842760"/>
                <a:gd name="connsiteX586" fmla="*/ 738188 w 1035367"/>
                <a:gd name="connsiteY586" fmla="*/ 4048125 h 6842760"/>
                <a:gd name="connsiteX587" fmla="*/ 769620 w 1035367"/>
                <a:gd name="connsiteY587" fmla="*/ 4016693 h 6842760"/>
                <a:gd name="connsiteX588" fmla="*/ 738188 w 1035367"/>
                <a:gd name="connsiteY588" fmla="*/ 3985260 h 6842760"/>
                <a:gd name="connsiteX589" fmla="*/ 706755 w 1035367"/>
                <a:gd name="connsiteY589" fmla="*/ 4016693 h 6842760"/>
                <a:gd name="connsiteX590" fmla="*/ 701993 w 1035367"/>
                <a:gd name="connsiteY590" fmla="*/ 3810000 h 6842760"/>
                <a:gd name="connsiteX591" fmla="*/ 737235 w 1035367"/>
                <a:gd name="connsiteY591" fmla="*/ 3845243 h 6842760"/>
                <a:gd name="connsiteX592" fmla="*/ 772478 w 1035367"/>
                <a:gd name="connsiteY592" fmla="*/ 3810000 h 6842760"/>
                <a:gd name="connsiteX593" fmla="*/ 737235 w 1035367"/>
                <a:gd name="connsiteY593" fmla="*/ 3774758 h 6842760"/>
                <a:gd name="connsiteX594" fmla="*/ 701993 w 1035367"/>
                <a:gd name="connsiteY594" fmla="*/ 3810000 h 6842760"/>
                <a:gd name="connsiteX595" fmla="*/ 684848 w 1035367"/>
                <a:gd name="connsiteY595" fmla="*/ 2573655 h 6842760"/>
                <a:gd name="connsiteX596" fmla="*/ 738188 w 1035367"/>
                <a:gd name="connsiteY596" fmla="*/ 2626995 h 6842760"/>
                <a:gd name="connsiteX597" fmla="*/ 791528 w 1035367"/>
                <a:gd name="connsiteY597" fmla="*/ 2573655 h 6842760"/>
                <a:gd name="connsiteX598" fmla="*/ 738188 w 1035367"/>
                <a:gd name="connsiteY598" fmla="*/ 2520315 h 6842760"/>
                <a:gd name="connsiteX599" fmla="*/ 684848 w 1035367"/>
                <a:gd name="connsiteY599" fmla="*/ 2573655 h 6842760"/>
                <a:gd name="connsiteX600" fmla="*/ 693420 w 1035367"/>
                <a:gd name="connsiteY600" fmla="*/ 2366963 h 6842760"/>
                <a:gd name="connsiteX601" fmla="*/ 737235 w 1035367"/>
                <a:gd name="connsiteY601" fmla="*/ 2410778 h 6842760"/>
                <a:gd name="connsiteX602" fmla="*/ 781050 w 1035367"/>
                <a:gd name="connsiteY602" fmla="*/ 2366963 h 6842760"/>
                <a:gd name="connsiteX603" fmla="*/ 737235 w 1035367"/>
                <a:gd name="connsiteY603" fmla="*/ 2323148 h 6842760"/>
                <a:gd name="connsiteX604" fmla="*/ 693420 w 1035367"/>
                <a:gd name="connsiteY604" fmla="*/ 2366963 h 6842760"/>
                <a:gd name="connsiteX605" fmla="*/ 675323 w 1035367"/>
                <a:gd name="connsiteY605" fmla="*/ 2779395 h 6842760"/>
                <a:gd name="connsiteX606" fmla="*/ 737235 w 1035367"/>
                <a:gd name="connsiteY606" fmla="*/ 2841308 h 6842760"/>
                <a:gd name="connsiteX607" fmla="*/ 799148 w 1035367"/>
                <a:gd name="connsiteY607" fmla="*/ 2779395 h 6842760"/>
                <a:gd name="connsiteX608" fmla="*/ 737235 w 1035367"/>
                <a:gd name="connsiteY608" fmla="*/ 2717483 h 6842760"/>
                <a:gd name="connsiteX609" fmla="*/ 675323 w 1035367"/>
                <a:gd name="connsiteY609" fmla="*/ 2779395 h 6842760"/>
                <a:gd name="connsiteX610" fmla="*/ 659130 w 1035367"/>
                <a:gd name="connsiteY610" fmla="*/ 2985135 h 6842760"/>
                <a:gd name="connsiteX611" fmla="*/ 737235 w 1035367"/>
                <a:gd name="connsiteY611" fmla="*/ 3063240 h 6842760"/>
                <a:gd name="connsiteX612" fmla="*/ 815340 w 1035367"/>
                <a:gd name="connsiteY612" fmla="*/ 2985135 h 6842760"/>
                <a:gd name="connsiteX613" fmla="*/ 737235 w 1035367"/>
                <a:gd name="connsiteY613" fmla="*/ 2907030 h 6842760"/>
                <a:gd name="connsiteX614" fmla="*/ 659130 w 1035367"/>
                <a:gd name="connsiteY614" fmla="*/ 2985135 h 6842760"/>
                <a:gd name="connsiteX615" fmla="*/ 922020 w 1035367"/>
                <a:gd name="connsiteY615" fmla="*/ 3625215 h 6842760"/>
                <a:gd name="connsiteX616" fmla="*/ 957263 w 1035367"/>
                <a:gd name="connsiteY616" fmla="*/ 3660458 h 6842760"/>
                <a:gd name="connsiteX617" fmla="*/ 992505 w 1035367"/>
                <a:gd name="connsiteY617" fmla="*/ 3625215 h 6842760"/>
                <a:gd name="connsiteX618" fmla="*/ 957263 w 1035367"/>
                <a:gd name="connsiteY618" fmla="*/ 3589973 h 6842760"/>
                <a:gd name="connsiteX619" fmla="*/ 922020 w 1035367"/>
                <a:gd name="connsiteY619" fmla="*/ 3625215 h 6842760"/>
                <a:gd name="connsiteX620" fmla="*/ 913448 w 1035367"/>
                <a:gd name="connsiteY620" fmla="*/ 3415665 h 6842760"/>
                <a:gd name="connsiteX621" fmla="*/ 957263 w 1035367"/>
                <a:gd name="connsiteY621" fmla="*/ 3459480 h 6842760"/>
                <a:gd name="connsiteX622" fmla="*/ 1001078 w 1035367"/>
                <a:gd name="connsiteY622" fmla="*/ 3415665 h 6842760"/>
                <a:gd name="connsiteX623" fmla="*/ 957263 w 1035367"/>
                <a:gd name="connsiteY623" fmla="*/ 3371850 h 6842760"/>
                <a:gd name="connsiteX624" fmla="*/ 913448 w 1035367"/>
                <a:gd name="connsiteY624" fmla="*/ 3415665 h 6842760"/>
                <a:gd name="connsiteX625" fmla="*/ 903923 w 1035367"/>
                <a:gd name="connsiteY625" fmla="*/ 3206115 h 6842760"/>
                <a:gd name="connsiteX626" fmla="*/ 957263 w 1035367"/>
                <a:gd name="connsiteY626" fmla="*/ 3259455 h 6842760"/>
                <a:gd name="connsiteX627" fmla="*/ 1010603 w 1035367"/>
                <a:gd name="connsiteY627" fmla="*/ 3206115 h 6842760"/>
                <a:gd name="connsiteX628" fmla="*/ 957263 w 1035367"/>
                <a:gd name="connsiteY628" fmla="*/ 3152775 h 6842760"/>
                <a:gd name="connsiteX629" fmla="*/ 903923 w 1035367"/>
                <a:gd name="connsiteY629" fmla="*/ 3206115 h 6842760"/>
                <a:gd name="connsiteX630" fmla="*/ 895350 w 1035367"/>
                <a:gd name="connsiteY630" fmla="*/ 2576513 h 6842760"/>
                <a:gd name="connsiteX631" fmla="*/ 957263 w 1035367"/>
                <a:gd name="connsiteY631" fmla="*/ 2638425 h 6842760"/>
                <a:gd name="connsiteX632" fmla="*/ 1019175 w 1035367"/>
                <a:gd name="connsiteY632" fmla="*/ 2576513 h 6842760"/>
                <a:gd name="connsiteX633" fmla="*/ 957263 w 1035367"/>
                <a:gd name="connsiteY633" fmla="*/ 2514600 h 6842760"/>
                <a:gd name="connsiteX634" fmla="*/ 895350 w 1035367"/>
                <a:gd name="connsiteY634" fmla="*/ 2576513 h 6842760"/>
                <a:gd name="connsiteX635" fmla="*/ 903923 w 1035367"/>
                <a:gd name="connsiteY635" fmla="*/ 2366963 h 6842760"/>
                <a:gd name="connsiteX636" fmla="*/ 957263 w 1035367"/>
                <a:gd name="connsiteY636" fmla="*/ 2420303 h 6842760"/>
                <a:gd name="connsiteX637" fmla="*/ 1010603 w 1035367"/>
                <a:gd name="connsiteY637" fmla="*/ 2366963 h 6842760"/>
                <a:gd name="connsiteX638" fmla="*/ 957263 w 1035367"/>
                <a:gd name="connsiteY638" fmla="*/ 2313623 h 6842760"/>
                <a:gd name="connsiteX639" fmla="*/ 903923 w 1035367"/>
                <a:gd name="connsiteY639" fmla="*/ 2366963 h 6842760"/>
                <a:gd name="connsiteX640" fmla="*/ 895350 w 1035367"/>
                <a:gd name="connsiteY640" fmla="*/ 2996565 h 6842760"/>
                <a:gd name="connsiteX641" fmla="*/ 957263 w 1035367"/>
                <a:gd name="connsiteY641" fmla="*/ 3058478 h 6842760"/>
                <a:gd name="connsiteX642" fmla="*/ 1019175 w 1035367"/>
                <a:gd name="connsiteY642" fmla="*/ 2996565 h 6842760"/>
                <a:gd name="connsiteX643" fmla="*/ 957263 w 1035367"/>
                <a:gd name="connsiteY643" fmla="*/ 2934653 h 6842760"/>
                <a:gd name="connsiteX644" fmla="*/ 895350 w 1035367"/>
                <a:gd name="connsiteY644" fmla="*/ 2996565 h 6842760"/>
                <a:gd name="connsiteX645" fmla="*/ 879158 w 1035367"/>
                <a:gd name="connsiteY645" fmla="*/ 2786063 h 6842760"/>
                <a:gd name="connsiteX646" fmla="*/ 957263 w 1035367"/>
                <a:gd name="connsiteY646" fmla="*/ 2864168 h 6842760"/>
                <a:gd name="connsiteX647" fmla="*/ 1035368 w 1035367"/>
                <a:gd name="connsiteY647" fmla="*/ 2786063 h 6842760"/>
                <a:gd name="connsiteX648" fmla="*/ 957263 w 1035367"/>
                <a:gd name="connsiteY648" fmla="*/ 2707958 h 6842760"/>
                <a:gd name="connsiteX649" fmla="*/ 879158 w 1035367"/>
                <a:gd name="connsiteY649" fmla="*/ 2786063 h 6842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</a:cxnLst>
              <a:rect l="l" t="t" r="r" b="b"/>
              <a:pathLst>
                <a:path w="1035367" h="6842760">
                  <a:moveTo>
                    <a:pt x="0" y="1128713"/>
                  </a:moveTo>
                  <a:cubicBezTo>
                    <a:pt x="0" y="1171575"/>
                    <a:pt x="35243" y="1206818"/>
                    <a:pt x="78105" y="1206818"/>
                  </a:cubicBezTo>
                  <a:cubicBezTo>
                    <a:pt x="120968" y="1206818"/>
                    <a:pt x="156210" y="1171575"/>
                    <a:pt x="156210" y="1128713"/>
                  </a:cubicBezTo>
                  <a:cubicBezTo>
                    <a:pt x="156210" y="1085850"/>
                    <a:pt x="120968" y="1050608"/>
                    <a:pt x="78105" y="1050608"/>
                  </a:cubicBezTo>
                  <a:cubicBezTo>
                    <a:pt x="35243" y="1050608"/>
                    <a:pt x="0" y="1085850"/>
                    <a:pt x="0" y="1128713"/>
                  </a:cubicBezTo>
                  <a:close/>
                  <a:moveTo>
                    <a:pt x="42863" y="2162175"/>
                  </a:moveTo>
                  <a:cubicBezTo>
                    <a:pt x="44768" y="2181225"/>
                    <a:pt x="61913" y="2196465"/>
                    <a:pt x="80963" y="2194560"/>
                  </a:cubicBezTo>
                  <a:cubicBezTo>
                    <a:pt x="100013" y="2192655"/>
                    <a:pt x="115253" y="2175510"/>
                    <a:pt x="113348" y="2156460"/>
                  </a:cubicBezTo>
                  <a:cubicBezTo>
                    <a:pt x="111443" y="2137410"/>
                    <a:pt x="94298" y="2122170"/>
                    <a:pt x="75248" y="2124075"/>
                  </a:cubicBezTo>
                  <a:cubicBezTo>
                    <a:pt x="55245" y="2125980"/>
                    <a:pt x="40958" y="2143125"/>
                    <a:pt x="42863" y="2162175"/>
                  </a:cubicBezTo>
                  <a:close/>
                  <a:moveTo>
                    <a:pt x="34290" y="1953578"/>
                  </a:moveTo>
                  <a:cubicBezTo>
                    <a:pt x="34290" y="1978343"/>
                    <a:pt x="54293" y="1997393"/>
                    <a:pt x="78105" y="1997393"/>
                  </a:cubicBezTo>
                  <a:cubicBezTo>
                    <a:pt x="101918" y="1997393"/>
                    <a:pt x="121920" y="1977390"/>
                    <a:pt x="121920" y="1953578"/>
                  </a:cubicBezTo>
                  <a:cubicBezTo>
                    <a:pt x="121920" y="1929765"/>
                    <a:pt x="101918" y="1909763"/>
                    <a:pt x="78105" y="1909763"/>
                  </a:cubicBezTo>
                  <a:cubicBezTo>
                    <a:pt x="54293" y="1909763"/>
                    <a:pt x="34290" y="1928813"/>
                    <a:pt x="34290" y="1953578"/>
                  </a:cubicBezTo>
                  <a:close/>
                  <a:moveTo>
                    <a:pt x="16193" y="1541145"/>
                  </a:moveTo>
                  <a:cubicBezTo>
                    <a:pt x="16193" y="1575435"/>
                    <a:pt x="43815" y="1603058"/>
                    <a:pt x="78105" y="1603058"/>
                  </a:cubicBezTo>
                  <a:cubicBezTo>
                    <a:pt x="112395" y="1603058"/>
                    <a:pt x="140018" y="1575435"/>
                    <a:pt x="140018" y="1541145"/>
                  </a:cubicBezTo>
                  <a:cubicBezTo>
                    <a:pt x="140018" y="1506855"/>
                    <a:pt x="112395" y="1479233"/>
                    <a:pt x="78105" y="1479233"/>
                  </a:cubicBezTo>
                  <a:cubicBezTo>
                    <a:pt x="43815" y="1479233"/>
                    <a:pt x="16193" y="1506855"/>
                    <a:pt x="16193" y="1541145"/>
                  </a:cubicBezTo>
                  <a:close/>
                  <a:moveTo>
                    <a:pt x="24765" y="716280"/>
                  </a:moveTo>
                  <a:cubicBezTo>
                    <a:pt x="24765" y="745808"/>
                    <a:pt x="48578" y="769620"/>
                    <a:pt x="78105" y="769620"/>
                  </a:cubicBezTo>
                  <a:cubicBezTo>
                    <a:pt x="107633" y="769620"/>
                    <a:pt x="131445" y="745808"/>
                    <a:pt x="131445" y="716280"/>
                  </a:cubicBezTo>
                  <a:cubicBezTo>
                    <a:pt x="131445" y="686753"/>
                    <a:pt x="107633" y="662940"/>
                    <a:pt x="78105" y="662940"/>
                  </a:cubicBezTo>
                  <a:cubicBezTo>
                    <a:pt x="48578" y="662940"/>
                    <a:pt x="24765" y="687705"/>
                    <a:pt x="24765" y="716280"/>
                  </a:cubicBezTo>
                  <a:close/>
                  <a:moveTo>
                    <a:pt x="34290" y="510540"/>
                  </a:moveTo>
                  <a:cubicBezTo>
                    <a:pt x="34290" y="535305"/>
                    <a:pt x="54293" y="554355"/>
                    <a:pt x="78105" y="554355"/>
                  </a:cubicBezTo>
                  <a:cubicBezTo>
                    <a:pt x="101918" y="554355"/>
                    <a:pt x="121920" y="534353"/>
                    <a:pt x="121920" y="510540"/>
                  </a:cubicBezTo>
                  <a:cubicBezTo>
                    <a:pt x="121920" y="485775"/>
                    <a:pt x="101918" y="466725"/>
                    <a:pt x="78105" y="466725"/>
                  </a:cubicBezTo>
                  <a:cubicBezTo>
                    <a:pt x="54293" y="466725"/>
                    <a:pt x="34290" y="485775"/>
                    <a:pt x="34290" y="510540"/>
                  </a:cubicBezTo>
                  <a:close/>
                  <a:moveTo>
                    <a:pt x="24765" y="1746885"/>
                  </a:moveTo>
                  <a:cubicBezTo>
                    <a:pt x="24765" y="1776413"/>
                    <a:pt x="48578" y="1800225"/>
                    <a:pt x="78105" y="1800225"/>
                  </a:cubicBezTo>
                  <a:cubicBezTo>
                    <a:pt x="107633" y="1800225"/>
                    <a:pt x="131445" y="1776413"/>
                    <a:pt x="131445" y="1746885"/>
                  </a:cubicBezTo>
                  <a:cubicBezTo>
                    <a:pt x="131445" y="1717358"/>
                    <a:pt x="107633" y="1693545"/>
                    <a:pt x="78105" y="1693545"/>
                  </a:cubicBezTo>
                  <a:cubicBezTo>
                    <a:pt x="48578" y="1693545"/>
                    <a:pt x="24765" y="1718310"/>
                    <a:pt x="24765" y="1746885"/>
                  </a:cubicBezTo>
                  <a:close/>
                  <a:moveTo>
                    <a:pt x="16193" y="922973"/>
                  </a:moveTo>
                  <a:cubicBezTo>
                    <a:pt x="16193" y="957263"/>
                    <a:pt x="43815" y="984885"/>
                    <a:pt x="78105" y="984885"/>
                  </a:cubicBezTo>
                  <a:cubicBezTo>
                    <a:pt x="112395" y="984885"/>
                    <a:pt x="140018" y="957263"/>
                    <a:pt x="140018" y="922973"/>
                  </a:cubicBezTo>
                  <a:cubicBezTo>
                    <a:pt x="140018" y="888683"/>
                    <a:pt x="112395" y="861060"/>
                    <a:pt x="78105" y="861060"/>
                  </a:cubicBezTo>
                  <a:cubicBezTo>
                    <a:pt x="43815" y="861060"/>
                    <a:pt x="16193" y="888683"/>
                    <a:pt x="16193" y="922973"/>
                  </a:cubicBezTo>
                  <a:close/>
                  <a:moveTo>
                    <a:pt x="46673" y="98108"/>
                  </a:moveTo>
                  <a:cubicBezTo>
                    <a:pt x="46673" y="115253"/>
                    <a:pt x="60960" y="129540"/>
                    <a:pt x="78105" y="129540"/>
                  </a:cubicBezTo>
                  <a:cubicBezTo>
                    <a:pt x="95250" y="129540"/>
                    <a:pt x="109538" y="115253"/>
                    <a:pt x="109538" y="98108"/>
                  </a:cubicBezTo>
                  <a:cubicBezTo>
                    <a:pt x="109538" y="80963"/>
                    <a:pt x="95250" y="66675"/>
                    <a:pt x="78105" y="66675"/>
                  </a:cubicBezTo>
                  <a:cubicBezTo>
                    <a:pt x="60960" y="66675"/>
                    <a:pt x="46673" y="80963"/>
                    <a:pt x="46673" y="98108"/>
                  </a:cubicBezTo>
                  <a:close/>
                  <a:moveTo>
                    <a:pt x="42863" y="303848"/>
                  </a:moveTo>
                  <a:cubicBezTo>
                    <a:pt x="42863" y="322898"/>
                    <a:pt x="59055" y="339090"/>
                    <a:pt x="78105" y="339090"/>
                  </a:cubicBezTo>
                  <a:cubicBezTo>
                    <a:pt x="97155" y="339090"/>
                    <a:pt x="113348" y="322898"/>
                    <a:pt x="113348" y="303848"/>
                  </a:cubicBezTo>
                  <a:cubicBezTo>
                    <a:pt x="113348" y="284798"/>
                    <a:pt x="97155" y="268605"/>
                    <a:pt x="78105" y="268605"/>
                  </a:cubicBezTo>
                  <a:cubicBezTo>
                    <a:pt x="59055" y="268605"/>
                    <a:pt x="42863" y="284798"/>
                    <a:pt x="42863" y="303848"/>
                  </a:cubicBezTo>
                  <a:close/>
                  <a:moveTo>
                    <a:pt x="0" y="1335405"/>
                  </a:moveTo>
                  <a:cubicBezTo>
                    <a:pt x="0" y="1378268"/>
                    <a:pt x="35243" y="1413510"/>
                    <a:pt x="78105" y="1413510"/>
                  </a:cubicBezTo>
                  <a:cubicBezTo>
                    <a:pt x="120968" y="1413510"/>
                    <a:pt x="156210" y="1378268"/>
                    <a:pt x="156210" y="1335405"/>
                  </a:cubicBezTo>
                  <a:cubicBezTo>
                    <a:pt x="156210" y="1292543"/>
                    <a:pt x="120968" y="1257300"/>
                    <a:pt x="78105" y="1257300"/>
                  </a:cubicBezTo>
                  <a:cubicBezTo>
                    <a:pt x="35243" y="1257300"/>
                    <a:pt x="0" y="1291590"/>
                    <a:pt x="0" y="1335405"/>
                  </a:cubicBezTo>
                  <a:close/>
                  <a:moveTo>
                    <a:pt x="266700" y="2159318"/>
                  </a:moveTo>
                  <a:cubicBezTo>
                    <a:pt x="266700" y="2176463"/>
                    <a:pt x="280988" y="2190750"/>
                    <a:pt x="298133" y="2190750"/>
                  </a:cubicBezTo>
                  <a:cubicBezTo>
                    <a:pt x="315278" y="2190750"/>
                    <a:pt x="329565" y="2176463"/>
                    <a:pt x="329565" y="2159318"/>
                  </a:cubicBezTo>
                  <a:cubicBezTo>
                    <a:pt x="329565" y="2142173"/>
                    <a:pt x="315278" y="2127885"/>
                    <a:pt x="298133" y="2127885"/>
                  </a:cubicBezTo>
                  <a:cubicBezTo>
                    <a:pt x="280988" y="2127885"/>
                    <a:pt x="266700" y="2142173"/>
                    <a:pt x="266700" y="2159318"/>
                  </a:cubicBezTo>
                  <a:close/>
                  <a:moveTo>
                    <a:pt x="262890" y="1918335"/>
                  </a:moveTo>
                  <a:cubicBezTo>
                    <a:pt x="262890" y="1937385"/>
                    <a:pt x="279083" y="1953578"/>
                    <a:pt x="298133" y="1953578"/>
                  </a:cubicBezTo>
                  <a:cubicBezTo>
                    <a:pt x="317183" y="1953578"/>
                    <a:pt x="333375" y="1937385"/>
                    <a:pt x="333375" y="1918335"/>
                  </a:cubicBezTo>
                  <a:cubicBezTo>
                    <a:pt x="333375" y="1899285"/>
                    <a:pt x="317183" y="1883093"/>
                    <a:pt x="298133" y="1883093"/>
                  </a:cubicBezTo>
                  <a:cubicBezTo>
                    <a:pt x="279083" y="1883093"/>
                    <a:pt x="262890" y="1899285"/>
                    <a:pt x="262890" y="1918335"/>
                  </a:cubicBezTo>
                  <a:close/>
                  <a:moveTo>
                    <a:pt x="236220" y="1289685"/>
                  </a:moveTo>
                  <a:cubicBezTo>
                    <a:pt x="236220" y="1323975"/>
                    <a:pt x="263843" y="1351598"/>
                    <a:pt x="298133" y="1351598"/>
                  </a:cubicBezTo>
                  <a:cubicBezTo>
                    <a:pt x="332423" y="1351598"/>
                    <a:pt x="360045" y="1323975"/>
                    <a:pt x="360045" y="1289685"/>
                  </a:cubicBezTo>
                  <a:cubicBezTo>
                    <a:pt x="360045" y="1255395"/>
                    <a:pt x="332423" y="1227773"/>
                    <a:pt x="298133" y="1227773"/>
                  </a:cubicBezTo>
                  <a:cubicBezTo>
                    <a:pt x="263843" y="1227773"/>
                    <a:pt x="236220" y="1255395"/>
                    <a:pt x="236220" y="1289685"/>
                  </a:cubicBezTo>
                  <a:close/>
                  <a:moveTo>
                    <a:pt x="236220" y="869633"/>
                  </a:moveTo>
                  <a:cubicBezTo>
                    <a:pt x="236220" y="903923"/>
                    <a:pt x="263843" y="931545"/>
                    <a:pt x="298133" y="931545"/>
                  </a:cubicBezTo>
                  <a:cubicBezTo>
                    <a:pt x="332423" y="931545"/>
                    <a:pt x="360045" y="903923"/>
                    <a:pt x="360045" y="869633"/>
                  </a:cubicBezTo>
                  <a:cubicBezTo>
                    <a:pt x="360045" y="835343"/>
                    <a:pt x="332423" y="807720"/>
                    <a:pt x="298133" y="807720"/>
                  </a:cubicBezTo>
                  <a:cubicBezTo>
                    <a:pt x="263843" y="807720"/>
                    <a:pt x="236220" y="836295"/>
                    <a:pt x="236220" y="869633"/>
                  </a:cubicBezTo>
                  <a:close/>
                  <a:moveTo>
                    <a:pt x="244793" y="660083"/>
                  </a:moveTo>
                  <a:cubicBezTo>
                    <a:pt x="244793" y="689610"/>
                    <a:pt x="268605" y="713423"/>
                    <a:pt x="298133" y="713423"/>
                  </a:cubicBezTo>
                  <a:cubicBezTo>
                    <a:pt x="327660" y="713423"/>
                    <a:pt x="351473" y="689610"/>
                    <a:pt x="351473" y="660083"/>
                  </a:cubicBezTo>
                  <a:cubicBezTo>
                    <a:pt x="351473" y="630555"/>
                    <a:pt x="327660" y="606743"/>
                    <a:pt x="298133" y="606743"/>
                  </a:cubicBezTo>
                  <a:cubicBezTo>
                    <a:pt x="268605" y="606743"/>
                    <a:pt x="244793" y="631508"/>
                    <a:pt x="244793" y="660083"/>
                  </a:cubicBezTo>
                  <a:close/>
                  <a:moveTo>
                    <a:pt x="253365" y="1708785"/>
                  </a:moveTo>
                  <a:cubicBezTo>
                    <a:pt x="253365" y="1733550"/>
                    <a:pt x="273368" y="1752600"/>
                    <a:pt x="297180" y="1752600"/>
                  </a:cubicBezTo>
                  <a:cubicBezTo>
                    <a:pt x="320993" y="1752600"/>
                    <a:pt x="340995" y="1732598"/>
                    <a:pt x="340995" y="1708785"/>
                  </a:cubicBezTo>
                  <a:cubicBezTo>
                    <a:pt x="340995" y="1684020"/>
                    <a:pt x="320993" y="1664970"/>
                    <a:pt x="297180" y="1664970"/>
                  </a:cubicBezTo>
                  <a:cubicBezTo>
                    <a:pt x="273368" y="1664970"/>
                    <a:pt x="253365" y="1684973"/>
                    <a:pt x="253365" y="1708785"/>
                  </a:cubicBezTo>
                  <a:close/>
                  <a:moveTo>
                    <a:pt x="244793" y="1499235"/>
                  </a:moveTo>
                  <a:cubicBezTo>
                    <a:pt x="244793" y="1528763"/>
                    <a:pt x="268605" y="1552575"/>
                    <a:pt x="298133" y="1552575"/>
                  </a:cubicBezTo>
                  <a:cubicBezTo>
                    <a:pt x="327660" y="1552575"/>
                    <a:pt x="351473" y="1528763"/>
                    <a:pt x="351473" y="1499235"/>
                  </a:cubicBezTo>
                  <a:cubicBezTo>
                    <a:pt x="351473" y="1469708"/>
                    <a:pt x="327660" y="1445895"/>
                    <a:pt x="298133" y="1445895"/>
                  </a:cubicBezTo>
                  <a:cubicBezTo>
                    <a:pt x="268605" y="1445895"/>
                    <a:pt x="244793" y="1469708"/>
                    <a:pt x="244793" y="1499235"/>
                  </a:cubicBezTo>
                  <a:close/>
                  <a:moveTo>
                    <a:pt x="262890" y="240983"/>
                  </a:moveTo>
                  <a:cubicBezTo>
                    <a:pt x="262890" y="260033"/>
                    <a:pt x="279083" y="276225"/>
                    <a:pt x="298133" y="276225"/>
                  </a:cubicBezTo>
                  <a:cubicBezTo>
                    <a:pt x="317183" y="276225"/>
                    <a:pt x="333375" y="260033"/>
                    <a:pt x="333375" y="240983"/>
                  </a:cubicBezTo>
                  <a:cubicBezTo>
                    <a:pt x="333375" y="221933"/>
                    <a:pt x="317183" y="205740"/>
                    <a:pt x="298133" y="205740"/>
                  </a:cubicBezTo>
                  <a:cubicBezTo>
                    <a:pt x="279083" y="205740"/>
                    <a:pt x="262890" y="220980"/>
                    <a:pt x="262890" y="240983"/>
                  </a:cubicBezTo>
                  <a:close/>
                  <a:moveTo>
                    <a:pt x="266700" y="31433"/>
                  </a:moveTo>
                  <a:cubicBezTo>
                    <a:pt x="266700" y="48578"/>
                    <a:pt x="280988" y="62865"/>
                    <a:pt x="298133" y="62865"/>
                  </a:cubicBezTo>
                  <a:cubicBezTo>
                    <a:pt x="315278" y="62865"/>
                    <a:pt x="329565" y="48578"/>
                    <a:pt x="329565" y="31433"/>
                  </a:cubicBezTo>
                  <a:cubicBezTo>
                    <a:pt x="329565" y="14288"/>
                    <a:pt x="315278" y="0"/>
                    <a:pt x="298133" y="0"/>
                  </a:cubicBezTo>
                  <a:cubicBezTo>
                    <a:pt x="280988" y="0"/>
                    <a:pt x="266700" y="14288"/>
                    <a:pt x="266700" y="31433"/>
                  </a:cubicBezTo>
                  <a:close/>
                  <a:moveTo>
                    <a:pt x="253365" y="450533"/>
                  </a:moveTo>
                  <a:cubicBezTo>
                    <a:pt x="253365" y="475298"/>
                    <a:pt x="273368" y="494348"/>
                    <a:pt x="297180" y="494348"/>
                  </a:cubicBezTo>
                  <a:cubicBezTo>
                    <a:pt x="320993" y="494348"/>
                    <a:pt x="340995" y="474345"/>
                    <a:pt x="340995" y="450533"/>
                  </a:cubicBezTo>
                  <a:cubicBezTo>
                    <a:pt x="340995" y="426720"/>
                    <a:pt x="320993" y="406718"/>
                    <a:pt x="297180" y="406718"/>
                  </a:cubicBezTo>
                  <a:cubicBezTo>
                    <a:pt x="273368" y="406718"/>
                    <a:pt x="253365" y="426720"/>
                    <a:pt x="253365" y="450533"/>
                  </a:cubicBezTo>
                  <a:close/>
                  <a:moveTo>
                    <a:pt x="220028" y="1080135"/>
                  </a:moveTo>
                  <a:cubicBezTo>
                    <a:pt x="220028" y="1122998"/>
                    <a:pt x="255270" y="1158240"/>
                    <a:pt x="298133" y="1158240"/>
                  </a:cubicBezTo>
                  <a:cubicBezTo>
                    <a:pt x="340995" y="1158240"/>
                    <a:pt x="376238" y="1122998"/>
                    <a:pt x="376238" y="1080135"/>
                  </a:cubicBezTo>
                  <a:cubicBezTo>
                    <a:pt x="376238" y="1037273"/>
                    <a:pt x="340995" y="1002030"/>
                    <a:pt x="298133" y="1002030"/>
                  </a:cubicBezTo>
                  <a:cubicBezTo>
                    <a:pt x="255270" y="1002030"/>
                    <a:pt x="220028" y="1036320"/>
                    <a:pt x="220028" y="1080135"/>
                  </a:cubicBezTo>
                  <a:close/>
                  <a:moveTo>
                    <a:pt x="473393" y="2159318"/>
                  </a:moveTo>
                  <a:cubicBezTo>
                    <a:pt x="473393" y="2184083"/>
                    <a:pt x="493395" y="2203133"/>
                    <a:pt x="517208" y="2203133"/>
                  </a:cubicBezTo>
                  <a:cubicBezTo>
                    <a:pt x="541973" y="2203133"/>
                    <a:pt x="561023" y="2183130"/>
                    <a:pt x="561023" y="2159318"/>
                  </a:cubicBezTo>
                  <a:cubicBezTo>
                    <a:pt x="561023" y="2135505"/>
                    <a:pt x="541020" y="2115503"/>
                    <a:pt x="517208" y="2115503"/>
                  </a:cubicBezTo>
                  <a:cubicBezTo>
                    <a:pt x="493395" y="2115503"/>
                    <a:pt x="473393" y="2135505"/>
                    <a:pt x="473393" y="2159318"/>
                  </a:cubicBezTo>
                  <a:close/>
                  <a:moveTo>
                    <a:pt x="464820" y="1946910"/>
                  </a:moveTo>
                  <a:cubicBezTo>
                    <a:pt x="464820" y="1976438"/>
                    <a:pt x="488633" y="2000250"/>
                    <a:pt x="518160" y="2000250"/>
                  </a:cubicBezTo>
                  <a:cubicBezTo>
                    <a:pt x="547688" y="2000250"/>
                    <a:pt x="571500" y="1976438"/>
                    <a:pt x="571500" y="1946910"/>
                  </a:cubicBezTo>
                  <a:cubicBezTo>
                    <a:pt x="571500" y="1917383"/>
                    <a:pt x="547688" y="1893570"/>
                    <a:pt x="518160" y="1893570"/>
                  </a:cubicBezTo>
                  <a:cubicBezTo>
                    <a:pt x="488633" y="1893570"/>
                    <a:pt x="464820" y="1917383"/>
                    <a:pt x="464820" y="1946910"/>
                  </a:cubicBezTo>
                  <a:close/>
                  <a:moveTo>
                    <a:pt x="456248" y="1309688"/>
                  </a:moveTo>
                  <a:cubicBezTo>
                    <a:pt x="456248" y="1343978"/>
                    <a:pt x="483870" y="1371600"/>
                    <a:pt x="518160" y="1371600"/>
                  </a:cubicBezTo>
                  <a:cubicBezTo>
                    <a:pt x="552450" y="1371600"/>
                    <a:pt x="580073" y="1343978"/>
                    <a:pt x="580073" y="1309688"/>
                  </a:cubicBezTo>
                  <a:cubicBezTo>
                    <a:pt x="580073" y="1275398"/>
                    <a:pt x="552450" y="1247775"/>
                    <a:pt x="518160" y="1247775"/>
                  </a:cubicBezTo>
                  <a:cubicBezTo>
                    <a:pt x="483870" y="1247775"/>
                    <a:pt x="456248" y="1275398"/>
                    <a:pt x="456248" y="1309688"/>
                  </a:cubicBezTo>
                  <a:close/>
                  <a:moveTo>
                    <a:pt x="473393" y="883920"/>
                  </a:moveTo>
                  <a:cubicBezTo>
                    <a:pt x="473393" y="908685"/>
                    <a:pt x="493395" y="927735"/>
                    <a:pt x="517208" y="927735"/>
                  </a:cubicBezTo>
                  <a:cubicBezTo>
                    <a:pt x="541973" y="927735"/>
                    <a:pt x="561023" y="907733"/>
                    <a:pt x="561023" y="883920"/>
                  </a:cubicBezTo>
                  <a:cubicBezTo>
                    <a:pt x="561023" y="859155"/>
                    <a:pt x="541020" y="840105"/>
                    <a:pt x="517208" y="840105"/>
                  </a:cubicBezTo>
                  <a:cubicBezTo>
                    <a:pt x="493395" y="840105"/>
                    <a:pt x="473393" y="859155"/>
                    <a:pt x="473393" y="883920"/>
                  </a:cubicBezTo>
                  <a:close/>
                  <a:moveTo>
                    <a:pt x="481965" y="671513"/>
                  </a:moveTo>
                  <a:cubicBezTo>
                    <a:pt x="481965" y="690563"/>
                    <a:pt x="498158" y="706755"/>
                    <a:pt x="517208" y="706755"/>
                  </a:cubicBezTo>
                  <a:cubicBezTo>
                    <a:pt x="536258" y="706755"/>
                    <a:pt x="552450" y="690563"/>
                    <a:pt x="552450" y="671513"/>
                  </a:cubicBezTo>
                  <a:cubicBezTo>
                    <a:pt x="552450" y="652463"/>
                    <a:pt x="536258" y="636270"/>
                    <a:pt x="517208" y="636270"/>
                  </a:cubicBezTo>
                  <a:cubicBezTo>
                    <a:pt x="498158" y="636270"/>
                    <a:pt x="481965" y="651510"/>
                    <a:pt x="481965" y="671513"/>
                  </a:cubicBezTo>
                  <a:close/>
                  <a:moveTo>
                    <a:pt x="456248" y="1734503"/>
                  </a:moveTo>
                  <a:cubicBezTo>
                    <a:pt x="456248" y="1768793"/>
                    <a:pt x="483870" y="1796415"/>
                    <a:pt x="518160" y="1796415"/>
                  </a:cubicBezTo>
                  <a:cubicBezTo>
                    <a:pt x="552450" y="1796415"/>
                    <a:pt x="580073" y="1768793"/>
                    <a:pt x="580073" y="1734503"/>
                  </a:cubicBezTo>
                  <a:cubicBezTo>
                    <a:pt x="580073" y="1700213"/>
                    <a:pt x="552450" y="1672590"/>
                    <a:pt x="518160" y="1672590"/>
                  </a:cubicBezTo>
                  <a:cubicBezTo>
                    <a:pt x="483870" y="1672590"/>
                    <a:pt x="456248" y="1700213"/>
                    <a:pt x="456248" y="1734503"/>
                  </a:cubicBezTo>
                  <a:close/>
                  <a:moveTo>
                    <a:pt x="464820" y="1096328"/>
                  </a:moveTo>
                  <a:cubicBezTo>
                    <a:pt x="464820" y="1125855"/>
                    <a:pt x="488633" y="1149668"/>
                    <a:pt x="518160" y="1149668"/>
                  </a:cubicBezTo>
                  <a:cubicBezTo>
                    <a:pt x="547688" y="1149668"/>
                    <a:pt x="571500" y="1125855"/>
                    <a:pt x="571500" y="1096328"/>
                  </a:cubicBezTo>
                  <a:cubicBezTo>
                    <a:pt x="571500" y="1066800"/>
                    <a:pt x="547688" y="1042988"/>
                    <a:pt x="518160" y="1042988"/>
                  </a:cubicBezTo>
                  <a:cubicBezTo>
                    <a:pt x="488633" y="1042988"/>
                    <a:pt x="464820" y="1067753"/>
                    <a:pt x="464820" y="1096328"/>
                  </a:cubicBezTo>
                  <a:close/>
                  <a:moveTo>
                    <a:pt x="486728" y="246698"/>
                  </a:moveTo>
                  <a:cubicBezTo>
                    <a:pt x="486728" y="263843"/>
                    <a:pt x="501015" y="278130"/>
                    <a:pt x="518160" y="278130"/>
                  </a:cubicBezTo>
                  <a:cubicBezTo>
                    <a:pt x="535305" y="278130"/>
                    <a:pt x="549593" y="263843"/>
                    <a:pt x="549593" y="246698"/>
                  </a:cubicBezTo>
                  <a:cubicBezTo>
                    <a:pt x="549593" y="229553"/>
                    <a:pt x="535305" y="215265"/>
                    <a:pt x="518160" y="215265"/>
                  </a:cubicBezTo>
                  <a:cubicBezTo>
                    <a:pt x="500063" y="215265"/>
                    <a:pt x="486728" y="228600"/>
                    <a:pt x="486728" y="246698"/>
                  </a:cubicBezTo>
                  <a:close/>
                  <a:moveTo>
                    <a:pt x="486728" y="33338"/>
                  </a:moveTo>
                  <a:cubicBezTo>
                    <a:pt x="486728" y="50483"/>
                    <a:pt x="501015" y="64770"/>
                    <a:pt x="518160" y="64770"/>
                  </a:cubicBezTo>
                  <a:cubicBezTo>
                    <a:pt x="535305" y="64770"/>
                    <a:pt x="549593" y="50483"/>
                    <a:pt x="549593" y="33338"/>
                  </a:cubicBezTo>
                  <a:cubicBezTo>
                    <a:pt x="549593" y="16193"/>
                    <a:pt x="535305" y="1905"/>
                    <a:pt x="518160" y="1905"/>
                  </a:cubicBezTo>
                  <a:cubicBezTo>
                    <a:pt x="500063" y="2858"/>
                    <a:pt x="486728" y="16193"/>
                    <a:pt x="486728" y="33338"/>
                  </a:cubicBezTo>
                  <a:close/>
                  <a:moveTo>
                    <a:pt x="486728" y="459105"/>
                  </a:moveTo>
                  <a:cubicBezTo>
                    <a:pt x="486728" y="476250"/>
                    <a:pt x="501015" y="490538"/>
                    <a:pt x="518160" y="490538"/>
                  </a:cubicBezTo>
                  <a:cubicBezTo>
                    <a:pt x="535305" y="490538"/>
                    <a:pt x="549593" y="476250"/>
                    <a:pt x="549593" y="459105"/>
                  </a:cubicBezTo>
                  <a:cubicBezTo>
                    <a:pt x="549593" y="441960"/>
                    <a:pt x="535305" y="427673"/>
                    <a:pt x="518160" y="427673"/>
                  </a:cubicBezTo>
                  <a:cubicBezTo>
                    <a:pt x="500063" y="427673"/>
                    <a:pt x="486728" y="441960"/>
                    <a:pt x="486728" y="459105"/>
                  </a:cubicBezTo>
                  <a:close/>
                  <a:moveTo>
                    <a:pt x="440055" y="1522095"/>
                  </a:moveTo>
                  <a:cubicBezTo>
                    <a:pt x="440055" y="1564958"/>
                    <a:pt x="475298" y="1600200"/>
                    <a:pt x="518160" y="1600200"/>
                  </a:cubicBezTo>
                  <a:cubicBezTo>
                    <a:pt x="561023" y="1600200"/>
                    <a:pt x="596265" y="1564958"/>
                    <a:pt x="596265" y="1522095"/>
                  </a:cubicBezTo>
                  <a:cubicBezTo>
                    <a:pt x="596265" y="1479233"/>
                    <a:pt x="561023" y="1443990"/>
                    <a:pt x="518160" y="1443990"/>
                  </a:cubicBezTo>
                  <a:cubicBezTo>
                    <a:pt x="475298" y="1443990"/>
                    <a:pt x="440055" y="1478280"/>
                    <a:pt x="440055" y="1522095"/>
                  </a:cubicBezTo>
                  <a:close/>
                  <a:moveTo>
                    <a:pt x="659130" y="1128713"/>
                  </a:moveTo>
                  <a:cubicBezTo>
                    <a:pt x="659130" y="1171575"/>
                    <a:pt x="694373" y="1206818"/>
                    <a:pt x="737235" y="1206818"/>
                  </a:cubicBezTo>
                  <a:cubicBezTo>
                    <a:pt x="780098" y="1206818"/>
                    <a:pt x="815340" y="1171575"/>
                    <a:pt x="815340" y="1128713"/>
                  </a:cubicBezTo>
                  <a:cubicBezTo>
                    <a:pt x="815340" y="1085850"/>
                    <a:pt x="780098" y="1050608"/>
                    <a:pt x="737235" y="1050608"/>
                  </a:cubicBezTo>
                  <a:cubicBezTo>
                    <a:pt x="694373" y="1050608"/>
                    <a:pt x="659130" y="1085850"/>
                    <a:pt x="659130" y="1128713"/>
                  </a:cubicBezTo>
                  <a:close/>
                  <a:moveTo>
                    <a:pt x="701993" y="2162175"/>
                  </a:moveTo>
                  <a:cubicBezTo>
                    <a:pt x="703898" y="2181225"/>
                    <a:pt x="721043" y="2196465"/>
                    <a:pt x="740093" y="2194560"/>
                  </a:cubicBezTo>
                  <a:cubicBezTo>
                    <a:pt x="759143" y="2192655"/>
                    <a:pt x="774383" y="2175510"/>
                    <a:pt x="772478" y="2156460"/>
                  </a:cubicBezTo>
                  <a:cubicBezTo>
                    <a:pt x="770573" y="2137410"/>
                    <a:pt x="753428" y="2122170"/>
                    <a:pt x="734378" y="2124075"/>
                  </a:cubicBezTo>
                  <a:cubicBezTo>
                    <a:pt x="715328" y="2125980"/>
                    <a:pt x="701040" y="2143125"/>
                    <a:pt x="701993" y="2162175"/>
                  </a:cubicBezTo>
                  <a:close/>
                  <a:moveTo>
                    <a:pt x="693420" y="1953578"/>
                  </a:moveTo>
                  <a:cubicBezTo>
                    <a:pt x="693420" y="1978343"/>
                    <a:pt x="713423" y="1997393"/>
                    <a:pt x="737235" y="1997393"/>
                  </a:cubicBezTo>
                  <a:cubicBezTo>
                    <a:pt x="761048" y="1997393"/>
                    <a:pt x="781050" y="1977390"/>
                    <a:pt x="781050" y="1953578"/>
                  </a:cubicBezTo>
                  <a:cubicBezTo>
                    <a:pt x="781050" y="1929765"/>
                    <a:pt x="761048" y="1909763"/>
                    <a:pt x="737235" y="1909763"/>
                  </a:cubicBezTo>
                  <a:cubicBezTo>
                    <a:pt x="713423" y="1909763"/>
                    <a:pt x="693420" y="1928813"/>
                    <a:pt x="693420" y="1953578"/>
                  </a:cubicBezTo>
                  <a:close/>
                  <a:moveTo>
                    <a:pt x="675323" y="1541145"/>
                  </a:moveTo>
                  <a:cubicBezTo>
                    <a:pt x="675323" y="1575435"/>
                    <a:pt x="702945" y="1603058"/>
                    <a:pt x="737235" y="1603058"/>
                  </a:cubicBezTo>
                  <a:cubicBezTo>
                    <a:pt x="771525" y="1603058"/>
                    <a:pt x="799148" y="1575435"/>
                    <a:pt x="799148" y="1541145"/>
                  </a:cubicBezTo>
                  <a:cubicBezTo>
                    <a:pt x="799148" y="1506855"/>
                    <a:pt x="771525" y="1479233"/>
                    <a:pt x="737235" y="1479233"/>
                  </a:cubicBezTo>
                  <a:cubicBezTo>
                    <a:pt x="702945" y="1479233"/>
                    <a:pt x="675323" y="1506855"/>
                    <a:pt x="675323" y="1541145"/>
                  </a:cubicBezTo>
                  <a:close/>
                  <a:moveTo>
                    <a:pt x="684848" y="716280"/>
                  </a:moveTo>
                  <a:cubicBezTo>
                    <a:pt x="684848" y="745808"/>
                    <a:pt x="708660" y="769620"/>
                    <a:pt x="738188" y="769620"/>
                  </a:cubicBezTo>
                  <a:cubicBezTo>
                    <a:pt x="767715" y="769620"/>
                    <a:pt x="791528" y="745808"/>
                    <a:pt x="791528" y="716280"/>
                  </a:cubicBezTo>
                  <a:cubicBezTo>
                    <a:pt x="791528" y="686753"/>
                    <a:pt x="767715" y="662940"/>
                    <a:pt x="738188" y="662940"/>
                  </a:cubicBezTo>
                  <a:cubicBezTo>
                    <a:pt x="708660" y="663893"/>
                    <a:pt x="684848" y="687705"/>
                    <a:pt x="684848" y="716280"/>
                  </a:cubicBezTo>
                  <a:close/>
                  <a:moveTo>
                    <a:pt x="693420" y="510540"/>
                  </a:moveTo>
                  <a:cubicBezTo>
                    <a:pt x="693420" y="535305"/>
                    <a:pt x="713423" y="554355"/>
                    <a:pt x="737235" y="554355"/>
                  </a:cubicBezTo>
                  <a:cubicBezTo>
                    <a:pt x="761048" y="554355"/>
                    <a:pt x="781050" y="534353"/>
                    <a:pt x="781050" y="510540"/>
                  </a:cubicBezTo>
                  <a:cubicBezTo>
                    <a:pt x="781050" y="485775"/>
                    <a:pt x="761048" y="466725"/>
                    <a:pt x="737235" y="466725"/>
                  </a:cubicBezTo>
                  <a:cubicBezTo>
                    <a:pt x="713423" y="466725"/>
                    <a:pt x="693420" y="485775"/>
                    <a:pt x="693420" y="510540"/>
                  </a:cubicBezTo>
                  <a:close/>
                  <a:moveTo>
                    <a:pt x="684848" y="1746885"/>
                  </a:moveTo>
                  <a:cubicBezTo>
                    <a:pt x="684848" y="1776413"/>
                    <a:pt x="708660" y="1800225"/>
                    <a:pt x="738188" y="1800225"/>
                  </a:cubicBezTo>
                  <a:cubicBezTo>
                    <a:pt x="767715" y="1800225"/>
                    <a:pt x="791528" y="1776413"/>
                    <a:pt x="791528" y="1746885"/>
                  </a:cubicBezTo>
                  <a:cubicBezTo>
                    <a:pt x="791528" y="1717358"/>
                    <a:pt x="767715" y="1693545"/>
                    <a:pt x="738188" y="1693545"/>
                  </a:cubicBezTo>
                  <a:cubicBezTo>
                    <a:pt x="708660" y="1694498"/>
                    <a:pt x="684848" y="1718310"/>
                    <a:pt x="684848" y="1746885"/>
                  </a:cubicBezTo>
                  <a:close/>
                  <a:moveTo>
                    <a:pt x="675323" y="922973"/>
                  </a:moveTo>
                  <a:cubicBezTo>
                    <a:pt x="675323" y="957263"/>
                    <a:pt x="702945" y="984885"/>
                    <a:pt x="737235" y="984885"/>
                  </a:cubicBezTo>
                  <a:cubicBezTo>
                    <a:pt x="771525" y="984885"/>
                    <a:pt x="799148" y="957263"/>
                    <a:pt x="799148" y="922973"/>
                  </a:cubicBezTo>
                  <a:cubicBezTo>
                    <a:pt x="799148" y="888683"/>
                    <a:pt x="771525" y="861060"/>
                    <a:pt x="737235" y="861060"/>
                  </a:cubicBezTo>
                  <a:cubicBezTo>
                    <a:pt x="702945" y="861060"/>
                    <a:pt x="675323" y="888683"/>
                    <a:pt x="675323" y="922973"/>
                  </a:cubicBezTo>
                  <a:close/>
                  <a:moveTo>
                    <a:pt x="706755" y="98108"/>
                  </a:moveTo>
                  <a:cubicBezTo>
                    <a:pt x="706755" y="115253"/>
                    <a:pt x="721043" y="129540"/>
                    <a:pt x="738188" y="129540"/>
                  </a:cubicBezTo>
                  <a:cubicBezTo>
                    <a:pt x="755333" y="129540"/>
                    <a:pt x="769620" y="115253"/>
                    <a:pt x="769620" y="98108"/>
                  </a:cubicBezTo>
                  <a:cubicBezTo>
                    <a:pt x="769620" y="80963"/>
                    <a:pt x="754380" y="66675"/>
                    <a:pt x="737235" y="66675"/>
                  </a:cubicBezTo>
                  <a:cubicBezTo>
                    <a:pt x="720090" y="66675"/>
                    <a:pt x="706755" y="80963"/>
                    <a:pt x="706755" y="98108"/>
                  </a:cubicBezTo>
                  <a:close/>
                  <a:moveTo>
                    <a:pt x="701993" y="303848"/>
                  </a:moveTo>
                  <a:cubicBezTo>
                    <a:pt x="701993" y="322898"/>
                    <a:pt x="718185" y="339090"/>
                    <a:pt x="737235" y="339090"/>
                  </a:cubicBezTo>
                  <a:cubicBezTo>
                    <a:pt x="756285" y="339090"/>
                    <a:pt x="772478" y="322898"/>
                    <a:pt x="772478" y="303848"/>
                  </a:cubicBezTo>
                  <a:cubicBezTo>
                    <a:pt x="772478" y="284798"/>
                    <a:pt x="756285" y="268605"/>
                    <a:pt x="737235" y="268605"/>
                  </a:cubicBezTo>
                  <a:cubicBezTo>
                    <a:pt x="718185" y="268605"/>
                    <a:pt x="701993" y="284798"/>
                    <a:pt x="701993" y="303848"/>
                  </a:cubicBezTo>
                  <a:close/>
                  <a:moveTo>
                    <a:pt x="659130" y="1335405"/>
                  </a:moveTo>
                  <a:cubicBezTo>
                    <a:pt x="659130" y="1378268"/>
                    <a:pt x="694373" y="1413510"/>
                    <a:pt x="737235" y="1413510"/>
                  </a:cubicBezTo>
                  <a:cubicBezTo>
                    <a:pt x="780098" y="1413510"/>
                    <a:pt x="815340" y="1378268"/>
                    <a:pt x="815340" y="1335405"/>
                  </a:cubicBezTo>
                  <a:cubicBezTo>
                    <a:pt x="815340" y="1292543"/>
                    <a:pt x="781050" y="1257300"/>
                    <a:pt x="737235" y="1257300"/>
                  </a:cubicBezTo>
                  <a:cubicBezTo>
                    <a:pt x="693420" y="1257300"/>
                    <a:pt x="659130" y="1291590"/>
                    <a:pt x="659130" y="1335405"/>
                  </a:cubicBezTo>
                  <a:close/>
                  <a:moveTo>
                    <a:pt x="925830" y="2159318"/>
                  </a:moveTo>
                  <a:cubicBezTo>
                    <a:pt x="925830" y="2176463"/>
                    <a:pt x="940118" y="2190750"/>
                    <a:pt x="957263" y="2190750"/>
                  </a:cubicBezTo>
                  <a:cubicBezTo>
                    <a:pt x="974408" y="2190750"/>
                    <a:pt x="988695" y="2176463"/>
                    <a:pt x="988695" y="2159318"/>
                  </a:cubicBezTo>
                  <a:cubicBezTo>
                    <a:pt x="988695" y="2142173"/>
                    <a:pt x="974408" y="2127885"/>
                    <a:pt x="957263" y="2127885"/>
                  </a:cubicBezTo>
                  <a:cubicBezTo>
                    <a:pt x="940118" y="2127885"/>
                    <a:pt x="925830" y="2142173"/>
                    <a:pt x="925830" y="2159318"/>
                  </a:cubicBezTo>
                  <a:close/>
                  <a:moveTo>
                    <a:pt x="922020" y="1918335"/>
                  </a:moveTo>
                  <a:cubicBezTo>
                    <a:pt x="922020" y="1937385"/>
                    <a:pt x="938213" y="1953578"/>
                    <a:pt x="957263" y="1953578"/>
                  </a:cubicBezTo>
                  <a:cubicBezTo>
                    <a:pt x="976313" y="1953578"/>
                    <a:pt x="992505" y="1937385"/>
                    <a:pt x="992505" y="1918335"/>
                  </a:cubicBezTo>
                  <a:cubicBezTo>
                    <a:pt x="992505" y="1899285"/>
                    <a:pt x="976313" y="1883093"/>
                    <a:pt x="957263" y="1883093"/>
                  </a:cubicBezTo>
                  <a:cubicBezTo>
                    <a:pt x="938213" y="1883093"/>
                    <a:pt x="922020" y="1899285"/>
                    <a:pt x="922020" y="1918335"/>
                  </a:cubicBezTo>
                  <a:close/>
                  <a:moveTo>
                    <a:pt x="895350" y="1289685"/>
                  </a:moveTo>
                  <a:cubicBezTo>
                    <a:pt x="895350" y="1323975"/>
                    <a:pt x="922973" y="1351598"/>
                    <a:pt x="957263" y="1351598"/>
                  </a:cubicBezTo>
                  <a:cubicBezTo>
                    <a:pt x="991553" y="1351598"/>
                    <a:pt x="1019175" y="1323975"/>
                    <a:pt x="1019175" y="1289685"/>
                  </a:cubicBezTo>
                  <a:cubicBezTo>
                    <a:pt x="1019175" y="1255395"/>
                    <a:pt x="991553" y="1227773"/>
                    <a:pt x="957263" y="1227773"/>
                  </a:cubicBezTo>
                  <a:cubicBezTo>
                    <a:pt x="922973" y="1227773"/>
                    <a:pt x="895350" y="1255395"/>
                    <a:pt x="895350" y="1289685"/>
                  </a:cubicBezTo>
                  <a:close/>
                  <a:moveTo>
                    <a:pt x="895350" y="869633"/>
                  </a:moveTo>
                  <a:cubicBezTo>
                    <a:pt x="895350" y="903923"/>
                    <a:pt x="922973" y="931545"/>
                    <a:pt x="957263" y="931545"/>
                  </a:cubicBezTo>
                  <a:cubicBezTo>
                    <a:pt x="991553" y="931545"/>
                    <a:pt x="1019175" y="903923"/>
                    <a:pt x="1019175" y="869633"/>
                  </a:cubicBezTo>
                  <a:cubicBezTo>
                    <a:pt x="1019175" y="835343"/>
                    <a:pt x="991553" y="807720"/>
                    <a:pt x="957263" y="807720"/>
                  </a:cubicBezTo>
                  <a:cubicBezTo>
                    <a:pt x="922973" y="808673"/>
                    <a:pt x="895350" y="836295"/>
                    <a:pt x="895350" y="869633"/>
                  </a:cubicBezTo>
                  <a:close/>
                  <a:moveTo>
                    <a:pt x="903923" y="660083"/>
                  </a:moveTo>
                  <a:cubicBezTo>
                    <a:pt x="903923" y="689610"/>
                    <a:pt x="927735" y="713423"/>
                    <a:pt x="957263" y="713423"/>
                  </a:cubicBezTo>
                  <a:cubicBezTo>
                    <a:pt x="986790" y="713423"/>
                    <a:pt x="1010603" y="689610"/>
                    <a:pt x="1010603" y="660083"/>
                  </a:cubicBezTo>
                  <a:cubicBezTo>
                    <a:pt x="1010603" y="630555"/>
                    <a:pt x="986790" y="606743"/>
                    <a:pt x="957263" y="606743"/>
                  </a:cubicBezTo>
                  <a:cubicBezTo>
                    <a:pt x="927735" y="607695"/>
                    <a:pt x="903923" y="631508"/>
                    <a:pt x="903923" y="660083"/>
                  </a:cubicBezTo>
                  <a:close/>
                  <a:moveTo>
                    <a:pt x="913448" y="1708785"/>
                  </a:moveTo>
                  <a:cubicBezTo>
                    <a:pt x="913448" y="1733550"/>
                    <a:pt x="933450" y="1752600"/>
                    <a:pt x="957263" y="1752600"/>
                  </a:cubicBezTo>
                  <a:cubicBezTo>
                    <a:pt x="982028" y="1752600"/>
                    <a:pt x="1001078" y="1732598"/>
                    <a:pt x="1001078" y="1708785"/>
                  </a:cubicBezTo>
                  <a:cubicBezTo>
                    <a:pt x="1001078" y="1684020"/>
                    <a:pt x="981075" y="1664970"/>
                    <a:pt x="957263" y="1664970"/>
                  </a:cubicBezTo>
                  <a:cubicBezTo>
                    <a:pt x="933450" y="1664970"/>
                    <a:pt x="913448" y="1684973"/>
                    <a:pt x="913448" y="1708785"/>
                  </a:cubicBezTo>
                  <a:close/>
                  <a:moveTo>
                    <a:pt x="903923" y="1499235"/>
                  </a:moveTo>
                  <a:cubicBezTo>
                    <a:pt x="903923" y="1528763"/>
                    <a:pt x="927735" y="1552575"/>
                    <a:pt x="957263" y="1552575"/>
                  </a:cubicBezTo>
                  <a:cubicBezTo>
                    <a:pt x="986790" y="1552575"/>
                    <a:pt x="1010603" y="1528763"/>
                    <a:pt x="1010603" y="1499235"/>
                  </a:cubicBezTo>
                  <a:cubicBezTo>
                    <a:pt x="1010603" y="1469708"/>
                    <a:pt x="986790" y="1445895"/>
                    <a:pt x="957263" y="1445895"/>
                  </a:cubicBezTo>
                  <a:cubicBezTo>
                    <a:pt x="927735" y="1445895"/>
                    <a:pt x="903923" y="1469708"/>
                    <a:pt x="903923" y="1499235"/>
                  </a:cubicBezTo>
                  <a:close/>
                  <a:moveTo>
                    <a:pt x="922020" y="240983"/>
                  </a:moveTo>
                  <a:cubicBezTo>
                    <a:pt x="922020" y="260033"/>
                    <a:pt x="938213" y="276225"/>
                    <a:pt x="957263" y="276225"/>
                  </a:cubicBezTo>
                  <a:cubicBezTo>
                    <a:pt x="976313" y="276225"/>
                    <a:pt x="992505" y="260033"/>
                    <a:pt x="992505" y="240983"/>
                  </a:cubicBezTo>
                  <a:cubicBezTo>
                    <a:pt x="992505" y="221933"/>
                    <a:pt x="976313" y="205740"/>
                    <a:pt x="957263" y="205740"/>
                  </a:cubicBezTo>
                  <a:cubicBezTo>
                    <a:pt x="938213" y="205740"/>
                    <a:pt x="922020" y="220980"/>
                    <a:pt x="922020" y="240983"/>
                  </a:cubicBezTo>
                  <a:close/>
                  <a:moveTo>
                    <a:pt x="925830" y="31433"/>
                  </a:moveTo>
                  <a:cubicBezTo>
                    <a:pt x="925830" y="48578"/>
                    <a:pt x="940118" y="62865"/>
                    <a:pt x="957263" y="62865"/>
                  </a:cubicBezTo>
                  <a:cubicBezTo>
                    <a:pt x="974408" y="62865"/>
                    <a:pt x="988695" y="48578"/>
                    <a:pt x="988695" y="31433"/>
                  </a:cubicBezTo>
                  <a:cubicBezTo>
                    <a:pt x="988695" y="14288"/>
                    <a:pt x="974408" y="0"/>
                    <a:pt x="957263" y="0"/>
                  </a:cubicBezTo>
                  <a:cubicBezTo>
                    <a:pt x="940118" y="0"/>
                    <a:pt x="925830" y="14288"/>
                    <a:pt x="925830" y="31433"/>
                  </a:cubicBezTo>
                  <a:close/>
                  <a:moveTo>
                    <a:pt x="913448" y="450533"/>
                  </a:moveTo>
                  <a:cubicBezTo>
                    <a:pt x="913448" y="475298"/>
                    <a:pt x="933450" y="494348"/>
                    <a:pt x="957263" y="494348"/>
                  </a:cubicBezTo>
                  <a:cubicBezTo>
                    <a:pt x="982028" y="494348"/>
                    <a:pt x="1001078" y="474345"/>
                    <a:pt x="1001078" y="450533"/>
                  </a:cubicBezTo>
                  <a:cubicBezTo>
                    <a:pt x="1001078" y="426720"/>
                    <a:pt x="981075" y="406718"/>
                    <a:pt x="957263" y="406718"/>
                  </a:cubicBezTo>
                  <a:cubicBezTo>
                    <a:pt x="933450" y="406718"/>
                    <a:pt x="913448" y="426720"/>
                    <a:pt x="913448" y="450533"/>
                  </a:cubicBezTo>
                  <a:close/>
                  <a:moveTo>
                    <a:pt x="879158" y="1080135"/>
                  </a:moveTo>
                  <a:cubicBezTo>
                    <a:pt x="879158" y="1122998"/>
                    <a:pt x="914400" y="1158240"/>
                    <a:pt x="957263" y="1158240"/>
                  </a:cubicBezTo>
                  <a:cubicBezTo>
                    <a:pt x="1000125" y="1158240"/>
                    <a:pt x="1035368" y="1122998"/>
                    <a:pt x="1035368" y="1080135"/>
                  </a:cubicBezTo>
                  <a:cubicBezTo>
                    <a:pt x="1035368" y="1037273"/>
                    <a:pt x="1000125" y="1002030"/>
                    <a:pt x="957263" y="1002030"/>
                  </a:cubicBezTo>
                  <a:cubicBezTo>
                    <a:pt x="914400" y="1002030"/>
                    <a:pt x="879158" y="1036320"/>
                    <a:pt x="879158" y="1080135"/>
                  </a:cubicBezTo>
                  <a:close/>
                  <a:moveTo>
                    <a:pt x="244793" y="6789420"/>
                  </a:moveTo>
                  <a:cubicBezTo>
                    <a:pt x="244793" y="6818948"/>
                    <a:pt x="268605" y="6842760"/>
                    <a:pt x="298133" y="6842760"/>
                  </a:cubicBezTo>
                  <a:cubicBezTo>
                    <a:pt x="327660" y="6842760"/>
                    <a:pt x="351473" y="6818948"/>
                    <a:pt x="351473" y="6789420"/>
                  </a:cubicBezTo>
                  <a:cubicBezTo>
                    <a:pt x="351473" y="6759893"/>
                    <a:pt x="327660" y="6736080"/>
                    <a:pt x="298133" y="6736080"/>
                  </a:cubicBezTo>
                  <a:cubicBezTo>
                    <a:pt x="268605" y="6736080"/>
                    <a:pt x="244793" y="6759893"/>
                    <a:pt x="244793" y="6789420"/>
                  </a:cubicBezTo>
                  <a:close/>
                  <a:moveTo>
                    <a:pt x="236220" y="6548438"/>
                  </a:moveTo>
                  <a:cubicBezTo>
                    <a:pt x="236220" y="6582728"/>
                    <a:pt x="263843" y="6610350"/>
                    <a:pt x="298133" y="6610350"/>
                  </a:cubicBezTo>
                  <a:cubicBezTo>
                    <a:pt x="332423" y="6610350"/>
                    <a:pt x="360045" y="6582728"/>
                    <a:pt x="360045" y="6548438"/>
                  </a:cubicBezTo>
                  <a:cubicBezTo>
                    <a:pt x="360045" y="6514148"/>
                    <a:pt x="332423" y="6486525"/>
                    <a:pt x="298133" y="6486525"/>
                  </a:cubicBezTo>
                  <a:cubicBezTo>
                    <a:pt x="263843" y="6486525"/>
                    <a:pt x="236220" y="6514148"/>
                    <a:pt x="236220" y="6548438"/>
                  </a:cubicBezTo>
                  <a:close/>
                  <a:moveTo>
                    <a:pt x="244793" y="5918835"/>
                  </a:moveTo>
                  <a:cubicBezTo>
                    <a:pt x="244793" y="5948363"/>
                    <a:pt x="268605" y="5972175"/>
                    <a:pt x="298133" y="5972175"/>
                  </a:cubicBezTo>
                  <a:cubicBezTo>
                    <a:pt x="327660" y="5972175"/>
                    <a:pt x="351473" y="5948363"/>
                    <a:pt x="351473" y="5918835"/>
                  </a:cubicBezTo>
                  <a:cubicBezTo>
                    <a:pt x="351473" y="5889308"/>
                    <a:pt x="327660" y="5865495"/>
                    <a:pt x="298133" y="5865495"/>
                  </a:cubicBezTo>
                  <a:cubicBezTo>
                    <a:pt x="268605" y="5865495"/>
                    <a:pt x="244793" y="5890260"/>
                    <a:pt x="244793" y="5918835"/>
                  </a:cubicBezTo>
                  <a:close/>
                  <a:moveTo>
                    <a:pt x="262890" y="5499735"/>
                  </a:moveTo>
                  <a:cubicBezTo>
                    <a:pt x="262890" y="5518785"/>
                    <a:pt x="279083" y="5534978"/>
                    <a:pt x="298133" y="5534978"/>
                  </a:cubicBezTo>
                  <a:cubicBezTo>
                    <a:pt x="317183" y="5534978"/>
                    <a:pt x="333375" y="5518785"/>
                    <a:pt x="333375" y="5499735"/>
                  </a:cubicBezTo>
                  <a:cubicBezTo>
                    <a:pt x="333375" y="5480685"/>
                    <a:pt x="317183" y="5464493"/>
                    <a:pt x="298133" y="5464493"/>
                  </a:cubicBezTo>
                  <a:cubicBezTo>
                    <a:pt x="279083" y="5464493"/>
                    <a:pt x="262890" y="5480685"/>
                    <a:pt x="262890" y="5499735"/>
                  </a:cubicBezTo>
                  <a:close/>
                  <a:moveTo>
                    <a:pt x="266700" y="5290185"/>
                  </a:moveTo>
                  <a:cubicBezTo>
                    <a:pt x="266700" y="5307330"/>
                    <a:pt x="280988" y="5321618"/>
                    <a:pt x="298133" y="5321618"/>
                  </a:cubicBezTo>
                  <a:cubicBezTo>
                    <a:pt x="315278" y="5321618"/>
                    <a:pt x="329565" y="5307330"/>
                    <a:pt x="329565" y="5290185"/>
                  </a:cubicBezTo>
                  <a:cubicBezTo>
                    <a:pt x="329565" y="5273040"/>
                    <a:pt x="315278" y="5258753"/>
                    <a:pt x="298133" y="5258753"/>
                  </a:cubicBezTo>
                  <a:cubicBezTo>
                    <a:pt x="280988" y="5258753"/>
                    <a:pt x="266700" y="5273040"/>
                    <a:pt x="266700" y="5290185"/>
                  </a:cubicBezTo>
                  <a:close/>
                  <a:moveTo>
                    <a:pt x="236220" y="6129338"/>
                  </a:moveTo>
                  <a:cubicBezTo>
                    <a:pt x="236220" y="6163628"/>
                    <a:pt x="263843" y="6191250"/>
                    <a:pt x="298133" y="6191250"/>
                  </a:cubicBezTo>
                  <a:cubicBezTo>
                    <a:pt x="332423" y="6191250"/>
                    <a:pt x="360045" y="6163628"/>
                    <a:pt x="360045" y="6129338"/>
                  </a:cubicBezTo>
                  <a:cubicBezTo>
                    <a:pt x="360045" y="6095048"/>
                    <a:pt x="332423" y="6067425"/>
                    <a:pt x="298133" y="6067425"/>
                  </a:cubicBezTo>
                  <a:cubicBezTo>
                    <a:pt x="263843" y="6067425"/>
                    <a:pt x="236220" y="6095048"/>
                    <a:pt x="236220" y="6129338"/>
                  </a:cubicBezTo>
                  <a:close/>
                  <a:moveTo>
                    <a:pt x="253365" y="5709285"/>
                  </a:moveTo>
                  <a:cubicBezTo>
                    <a:pt x="253365" y="5734050"/>
                    <a:pt x="273368" y="5753100"/>
                    <a:pt x="297180" y="5753100"/>
                  </a:cubicBezTo>
                  <a:cubicBezTo>
                    <a:pt x="320993" y="5753100"/>
                    <a:pt x="340995" y="5733098"/>
                    <a:pt x="340995" y="5709285"/>
                  </a:cubicBezTo>
                  <a:cubicBezTo>
                    <a:pt x="340995" y="5684520"/>
                    <a:pt x="320993" y="5665470"/>
                    <a:pt x="297180" y="5665470"/>
                  </a:cubicBezTo>
                  <a:cubicBezTo>
                    <a:pt x="273368" y="5665470"/>
                    <a:pt x="253365" y="5685473"/>
                    <a:pt x="253365" y="5709285"/>
                  </a:cubicBezTo>
                  <a:close/>
                  <a:moveTo>
                    <a:pt x="266700" y="4871085"/>
                  </a:moveTo>
                  <a:cubicBezTo>
                    <a:pt x="266700" y="4888230"/>
                    <a:pt x="280988" y="4902518"/>
                    <a:pt x="298133" y="4902518"/>
                  </a:cubicBezTo>
                  <a:cubicBezTo>
                    <a:pt x="315278" y="4902518"/>
                    <a:pt x="329565" y="4888230"/>
                    <a:pt x="329565" y="4871085"/>
                  </a:cubicBezTo>
                  <a:cubicBezTo>
                    <a:pt x="329565" y="4853940"/>
                    <a:pt x="315278" y="4839653"/>
                    <a:pt x="298133" y="4839653"/>
                  </a:cubicBezTo>
                  <a:cubicBezTo>
                    <a:pt x="280988" y="4839653"/>
                    <a:pt x="266700" y="4852988"/>
                    <a:pt x="266700" y="4871085"/>
                  </a:cubicBezTo>
                  <a:close/>
                  <a:moveTo>
                    <a:pt x="266700" y="4660583"/>
                  </a:moveTo>
                  <a:cubicBezTo>
                    <a:pt x="266700" y="4677728"/>
                    <a:pt x="280988" y="4692015"/>
                    <a:pt x="298133" y="4692015"/>
                  </a:cubicBezTo>
                  <a:cubicBezTo>
                    <a:pt x="315278" y="4692015"/>
                    <a:pt x="329565" y="4677728"/>
                    <a:pt x="329565" y="4660583"/>
                  </a:cubicBezTo>
                  <a:cubicBezTo>
                    <a:pt x="329565" y="4643438"/>
                    <a:pt x="315278" y="4629150"/>
                    <a:pt x="298133" y="4629150"/>
                  </a:cubicBezTo>
                  <a:cubicBezTo>
                    <a:pt x="280988" y="4630103"/>
                    <a:pt x="266700" y="4643438"/>
                    <a:pt x="266700" y="4660583"/>
                  </a:cubicBezTo>
                  <a:close/>
                  <a:moveTo>
                    <a:pt x="266700" y="5080635"/>
                  </a:moveTo>
                  <a:cubicBezTo>
                    <a:pt x="266700" y="5097780"/>
                    <a:pt x="280988" y="5112068"/>
                    <a:pt x="298133" y="5112068"/>
                  </a:cubicBezTo>
                  <a:cubicBezTo>
                    <a:pt x="315278" y="5112068"/>
                    <a:pt x="329565" y="5097780"/>
                    <a:pt x="329565" y="5080635"/>
                  </a:cubicBezTo>
                  <a:cubicBezTo>
                    <a:pt x="329565" y="5063490"/>
                    <a:pt x="315278" y="5049203"/>
                    <a:pt x="298133" y="5049203"/>
                  </a:cubicBezTo>
                  <a:cubicBezTo>
                    <a:pt x="280988" y="5049203"/>
                    <a:pt x="266700" y="5063490"/>
                    <a:pt x="266700" y="5080635"/>
                  </a:cubicBezTo>
                  <a:close/>
                  <a:moveTo>
                    <a:pt x="220028" y="6338888"/>
                  </a:moveTo>
                  <a:cubicBezTo>
                    <a:pt x="220028" y="6381750"/>
                    <a:pt x="255270" y="6416993"/>
                    <a:pt x="298133" y="6416993"/>
                  </a:cubicBezTo>
                  <a:cubicBezTo>
                    <a:pt x="340995" y="6416993"/>
                    <a:pt x="376238" y="6381750"/>
                    <a:pt x="376238" y="6338888"/>
                  </a:cubicBezTo>
                  <a:cubicBezTo>
                    <a:pt x="376238" y="6296025"/>
                    <a:pt x="340995" y="6260783"/>
                    <a:pt x="298133" y="6260783"/>
                  </a:cubicBezTo>
                  <a:cubicBezTo>
                    <a:pt x="255270" y="6260783"/>
                    <a:pt x="220028" y="6295073"/>
                    <a:pt x="220028" y="6338888"/>
                  </a:cubicBezTo>
                  <a:close/>
                  <a:moveTo>
                    <a:pt x="46673" y="4428173"/>
                  </a:moveTo>
                  <a:cubicBezTo>
                    <a:pt x="46673" y="4445318"/>
                    <a:pt x="60960" y="4459605"/>
                    <a:pt x="78105" y="4459605"/>
                  </a:cubicBezTo>
                  <a:cubicBezTo>
                    <a:pt x="95250" y="4459605"/>
                    <a:pt x="109538" y="4445318"/>
                    <a:pt x="109538" y="4428173"/>
                  </a:cubicBezTo>
                  <a:cubicBezTo>
                    <a:pt x="109538" y="4411028"/>
                    <a:pt x="95250" y="4396740"/>
                    <a:pt x="78105" y="4396740"/>
                  </a:cubicBezTo>
                  <a:cubicBezTo>
                    <a:pt x="60960" y="4396740"/>
                    <a:pt x="46673" y="4411028"/>
                    <a:pt x="46673" y="4428173"/>
                  </a:cubicBezTo>
                  <a:close/>
                  <a:moveTo>
                    <a:pt x="46673" y="4222433"/>
                  </a:moveTo>
                  <a:cubicBezTo>
                    <a:pt x="46673" y="4239578"/>
                    <a:pt x="60960" y="4253865"/>
                    <a:pt x="78105" y="4253865"/>
                  </a:cubicBezTo>
                  <a:cubicBezTo>
                    <a:pt x="95250" y="4253865"/>
                    <a:pt x="109538" y="4239578"/>
                    <a:pt x="109538" y="4222433"/>
                  </a:cubicBezTo>
                  <a:cubicBezTo>
                    <a:pt x="109538" y="4205288"/>
                    <a:pt x="95250" y="4191000"/>
                    <a:pt x="78105" y="4191000"/>
                  </a:cubicBezTo>
                  <a:cubicBezTo>
                    <a:pt x="60960" y="4191000"/>
                    <a:pt x="46673" y="4205288"/>
                    <a:pt x="46673" y="4222433"/>
                  </a:cubicBezTo>
                  <a:close/>
                  <a:moveTo>
                    <a:pt x="34290" y="3604260"/>
                  </a:moveTo>
                  <a:cubicBezTo>
                    <a:pt x="34290" y="3629025"/>
                    <a:pt x="54293" y="3648075"/>
                    <a:pt x="78105" y="3648075"/>
                  </a:cubicBezTo>
                  <a:cubicBezTo>
                    <a:pt x="101918" y="3648075"/>
                    <a:pt x="121920" y="3628073"/>
                    <a:pt x="121920" y="3604260"/>
                  </a:cubicBezTo>
                  <a:cubicBezTo>
                    <a:pt x="121920" y="3580448"/>
                    <a:pt x="101918" y="3560445"/>
                    <a:pt x="78105" y="3560445"/>
                  </a:cubicBezTo>
                  <a:cubicBezTo>
                    <a:pt x="54293" y="3560445"/>
                    <a:pt x="34290" y="3579495"/>
                    <a:pt x="34290" y="3604260"/>
                  </a:cubicBezTo>
                  <a:close/>
                  <a:moveTo>
                    <a:pt x="24765" y="3397568"/>
                  </a:moveTo>
                  <a:cubicBezTo>
                    <a:pt x="24765" y="3427095"/>
                    <a:pt x="48578" y="3450908"/>
                    <a:pt x="78105" y="3450908"/>
                  </a:cubicBezTo>
                  <a:cubicBezTo>
                    <a:pt x="107633" y="3450908"/>
                    <a:pt x="131445" y="3427095"/>
                    <a:pt x="131445" y="3397568"/>
                  </a:cubicBezTo>
                  <a:cubicBezTo>
                    <a:pt x="131445" y="3368040"/>
                    <a:pt x="107633" y="3344228"/>
                    <a:pt x="78105" y="3344228"/>
                  </a:cubicBezTo>
                  <a:cubicBezTo>
                    <a:pt x="48578" y="3344228"/>
                    <a:pt x="24765" y="3368040"/>
                    <a:pt x="24765" y="3397568"/>
                  </a:cubicBezTo>
                  <a:close/>
                  <a:moveTo>
                    <a:pt x="16193" y="3191828"/>
                  </a:moveTo>
                  <a:cubicBezTo>
                    <a:pt x="16193" y="3226118"/>
                    <a:pt x="43815" y="3253740"/>
                    <a:pt x="78105" y="3253740"/>
                  </a:cubicBezTo>
                  <a:cubicBezTo>
                    <a:pt x="112395" y="3253740"/>
                    <a:pt x="140018" y="3226118"/>
                    <a:pt x="140018" y="3191828"/>
                  </a:cubicBezTo>
                  <a:cubicBezTo>
                    <a:pt x="140018" y="3157538"/>
                    <a:pt x="112395" y="3129915"/>
                    <a:pt x="78105" y="3129915"/>
                  </a:cubicBezTo>
                  <a:cubicBezTo>
                    <a:pt x="43815" y="3129915"/>
                    <a:pt x="16193" y="3157538"/>
                    <a:pt x="16193" y="3191828"/>
                  </a:cubicBezTo>
                  <a:close/>
                  <a:moveTo>
                    <a:pt x="46673" y="4016693"/>
                  </a:moveTo>
                  <a:cubicBezTo>
                    <a:pt x="46673" y="4033838"/>
                    <a:pt x="60960" y="4048125"/>
                    <a:pt x="78105" y="4048125"/>
                  </a:cubicBezTo>
                  <a:cubicBezTo>
                    <a:pt x="95250" y="4048125"/>
                    <a:pt x="109538" y="4033838"/>
                    <a:pt x="109538" y="4016693"/>
                  </a:cubicBezTo>
                  <a:cubicBezTo>
                    <a:pt x="109538" y="3999548"/>
                    <a:pt x="95250" y="3985260"/>
                    <a:pt x="78105" y="3985260"/>
                  </a:cubicBezTo>
                  <a:cubicBezTo>
                    <a:pt x="60960" y="3985260"/>
                    <a:pt x="46673" y="3998595"/>
                    <a:pt x="46673" y="4016693"/>
                  </a:cubicBezTo>
                  <a:close/>
                  <a:moveTo>
                    <a:pt x="42863" y="3810000"/>
                  </a:moveTo>
                  <a:cubicBezTo>
                    <a:pt x="42863" y="3829050"/>
                    <a:pt x="59055" y="3845243"/>
                    <a:pt x="78105" y="3845243"/>
                  </a:cubicBezTo>
                  <a:cubicBezTo>
                    <a:pt x="97155" y="3845243"/>
                    <a:pt x="113348" y="3829050"/>
                    <a:pt x="113348" y="3810000"/>
                  </a:cubicBezTo>
                  <a:cubicBezTo>
                    <a:pt x="113348" y="3790950"/>
                    <a:pt x="97155" y="3774758"/>
                    <a:pt x="78105" y="3774758"/>
                  </a:cubicBezTo>
                  <a:cubicBezTo>
                    <a:pt x="59055" y="3774758"/>
                    <a:pt x="42863" y="3790950"/>
                    <a:pt x="42863" y="3810000"/>
                  </a:cubicBezTo>
                  <a:close/>
                  <a:moveTo>
                    <a:pt x="24765" y="2573655"/>
                  </a:moveTo>
                  <a:cubicBezTo>
                    <a:pt x="24765" y="2603183"/>
                    <a:pt x="48578" y="2626995"/>
                    <a:pt x="78105" y="2626995"/>
                  </a:cubicBezTo>
                  <a:cubicBezTo>
                    <a:pt x="107633" y="2626995"/>
                    <a:pt x="131445" y="2603183"/>
                    <a:pt x="131445" y="2573655"/>
                  </a:cubicBezTo>
                  <a:cubicBezTo>
                    <a:pt x="131445" y="2544128"/>
                    <a:pt x="107633" y="2520315"/>
                    <a:pt x="78105" y="2520315"/>
                  </a:cubicBezTo>
                  <a:cubicBezTo>
                    <a:pt x="48578" y="2520315"/>
                    <a:pt x="24765" y="2544128"/>
                    <a:pt x="24765" y="2573655"/>
                  </a:cubicBezTo>
                  <a:close/>
                  <a:moveTo>
                    <a:pt x="34290" y="2366963"/>
                  </a:moveTo>
                  <a:cubicBezTo>
                    <a:pt x="34290" y="2391728"/>
                    <a:pt x="54293" y="2410778"/>
                    <a:pt x="78105" y="2410778"/>
                  </a:cubicBezTo>
                  <a:cubicBezTo>
                    <a:pt x="101918" y="2410778"/>
                    <a:pt x="121920" y="2390775"/>
                    <a:pt x="121920" y="2366963"/>
                  </a:cubicBezTo>
                  <a:cubicBezTo>
                    <a:pt x="121920" y="2343150"/>
                    <a:pt x="101918" y="2323148"/>
                    <a:pt x="78105" y="2323148"/>
                  </a:cubicBezTo>
                  <a:cubicBezTo>
                    <a:pt x="54293" y="2323148"/>
                    <a:pt x="34290" y="2342198"/>
                    <a:pt x="34290" y="2366963"/>
                  </a:cubicBezTo>
                  <a:close/>
                  <a:moveTo>
                    <a:pt x="16193" y="2779395"/>
                  </a:moveTo>
                  <a:cubicBezTo>
                    <a:pt x="16193" y="2813685"/>
                    <a:pt x="43815" y="2841308"/>
                    <a:pt x="78105" y="2841308"/>
                  </a:cubicBezTo>
                  <a:cubicBezTo>
                    <a:pt x="112395" y="2841308"/>
                    <a:pt x="140018" y="2813685"/>
                    <a:pt x="140018" y="2779395"/>
                  </a:cubicBezTo>
                  <a:cubicBezTo>
                    <a:pt x="140018" y="2745105"/>
                    <a:pt x="112395" y="2717483"/>
                    <a:pt x="78105" y="2717483"/>
                  </a:cubicBezTo>
                  <a:cubicBezTo>
                    <a:pt x="43815" y="2717483"/>
                    <a:pt x="16193" y="2745105"/>
                    <a:pt x="16193" y="2779395"/>
                  </a:cubicBezTo>
                  <a:close/>
                  <a:moveTo>
                    <a:pt x="0" y="2985135"/>
                  </a:moveTo>
                  <a:cubicBezTo>
                    <a:pt x="0" y="3027998"/>
                    <a:pt x="35243" y="3063240"/>
                    <a:pt x="78105" y="3063240"/>
                  </a:cubicBezTo>
                  <a:cubicBezTo>
                    <a:pt x="120968" y="3063240"/>
                    <a:pt x="156210" y="3027998"/>
                    <a:pt x="156210" y="2985135"/>
                  </a:cubicBezTo>
                  <a:cubicBezTo>
                    <a:pt x="156210" y="2942273"/>
                    <a:pt x="120968" y="2907030"/>
                    <a:pt x="78105" y="2907030"/>
                  </a:cubicBezTo>
                  <a:cubicBezTo>
                    <a:pt x="35243" y="2907030"/>
                    <a:pt x="0" y="2942273"/>
                    <a:pt x="0" y="2985135"/>
                  </a:cubicBezTo>
                  <a:close/>
                  <a:moveTo>
                    <a:pt x="266700" y="4495800"/>
                  </a:moveTo>
                  <a:cubicBezTo>
                    <a:pt x="266700" y="4512945"/>
                    <a:pt x="280988" y="4527233"/>
                    <a:pt x="298133" y="4527233"/>
                  </a:cubicBezTo>
                  <a:cubicBezTo>
                    <a:pt x="315278" y="4527233"/>
                    <a:pt x="329565" y="4512945"/>
                    <a:pt x="329565" y="4495800"/>
                  </a:cubicBezTo>
                  <a:cubicBezTo>
                    <a:pt x="329565" y="4478655"/>
                    <a:pt x="315278" y="4464368"/>
                    <a:pt x="298133" y="4464368"/>
                  </a:cubicBezTo>
                  <a:cubicBezTo>
                    <a:pt x="280988" y="4464368"/>
                    <a:pt x="266700" y="4477703"/>
                    <a:pt x="266700" y="4495800"/>
                  </a:cubicBezTo>
                  <a:close/>
                  <a:moveTo>
                    <a:pt x="266700" y="4254818"/>
                  </a:moveTo>
                  <a:cubicBezTo>
                    <a:pt x="266700" y="4271963"/>
                    <a:pt x="280988" y="4286250"/>
                    <a:pt x="298133" y="4286250"/>
                  </a:cubicBezTo>
                  <a:cubicBezTo>
                    <a:pt x="315278" y="4286250"/>
                    <a:pt x="329565" y="4271963"/>
                    <a:pt x="329565" y="4254818"/>
                  </a:cubicBezTo>
                  <a:cubicBezTo>
                    <a:pt x="329565" y="4237673"/>
                    <a:pt x="315278" y="4223385"/>
                    <a:pt x="298133" y="4223385"/>
                  </a:cubicBezTo>
                  <a:cubicBezTo>
                    <a:pt x="280988" y="4223385"/>
                    <a:pt x="266700" y="4236720"/>
                    <a:pt x="266700" y="4254818"/>
                  </a:cubicBezTo>
                  <a:close/>
                  <a:moveTo>
                    <a:pt x="262890" y="3625215"/>
                  </a:moveTo>
                  <a:cubicBezTo>
                    <a:pt x="262890" y="3644265"/>
                    <a:pt x="279083" y="3660458"/>
                    <a:pt x="298133" y="3660458"/>
                  </a:cubicBezTo>
                  <a:cubicBezTo>
                    <a:pt x="317183" y="3660458"/>
                    <a:pt x="333375" y="3644265"/>
                    <a:pt x="333375" y="3625215"/>
                  </a:cubicBezTo>
                  <a:cubicBezTo>
                    <a:pt x="333375" y="3606165"/>
                    <a:pt x="317183" y="3589973"/>
                    <a:pt x="298133" y="3589973"/>
                  </a:cubicBezTo>
                  <a:cubicBezTo>
                    <a:pt x="279083" y="3589973"/>
                    <a:pt x="262890" y="3606165"/>
                    <a:pt x="262890" y="3625215"/>
                  </a:cubicBezTo>
                  <a:close/>
                  <a:moveTo>
                    <a:pt x="253365" y="3415665"/>
                  </a:moveTo>
                  <a:cubicBezTo>
                    <a:pt x="253365" y="3440430"/>
                    <a:pt x="273368" y="3459480"/>
                    <a:pt x="297180" y="3459480"/>
                  </a:cubicBezTo>
                  <a:cubicBezTo>
                    <a:pt x="320993" y="3459480"/>
                    <a:pt x="340995" y="3439478"/>
                    <a:pt x="340995" y="3415665"/>
                  </a:cubicBezTo>
                  <a:cubicBezTo>
                    <a:pt x="340995" y="3391853"/>
                    <a:pt x="320993" y="3371850"/>
                    <a:pt x="297180" y="3371850"/>
                  </a:cubicBezTo>
                  <a:cubicBezTo>
                    <a:pt x="273368" y="3371850"/>
                    <a:pt x="253365" y="3390900"/>
                    <a:pt x="253365" y="3415665"/>
                  </a:cubicBezTo>
                  <a:close/>
                  <a:moveTo>
                    <a:pt x="244793" y="3206115"/>
                  </a:moveTo>
                  <a:cubicBezTo>
                    <a:pt x="244793" y="3235643"/>
                    <a:pt x="268605" y="3259455"/>
                    <a:pt x="298133" y="3259455"/>
                  </a:cubicBezTo>
                  <a:cubicBezTo>
                    <a:pt x="327660" y="3259455"/>
                    <a:pt x="351473" y="3235643"/>
                    <a:pt x="351473" y="3206115"/>
                  </a:cubicBezTo>
                  <a:cubicBezTo>
                    <a:pt x="351473" y="3176588"/>
                    <a:pt x="327660" y="3152775"/>
                    <a:pt x="298133" y="3152775"/>
                  </a:cubicBezTo>
                  <a:cubicBezTo>
                    <a:pt x="268605" y="3152775"/>
                    <a:pt x="244793" y="3176588"/>
                    <a:pt x="244793" y="3206115"/>
                  </a:cubicBezTo>
                  <a:close/>
                  <a:moveTo>
                    <a:pt x="266700" y="4044315"/>
                  </a:moveTo>
                  <a:cubicBezTo>
                    <a:pt x="266700" y="4061460"/>
                    <a:pt x="280988" y="4075748"/>
                    <a:pt x="298133" y="4075748"/>
                  </a:cubicBezTo>
                  <a:cubicBezTo>
                    <a:pt x="315278" y="4075748"/>
                    <a:pt x="329565" y="4061460"/>
                    <a:pt x="329565" y="4044315"/>
                  </a:cubicBezTo>
                  <a:cubicBezTo>
                    <a:pt x="329565" y="4027170"/>
                    <a:pt x="315278" y="4012883"/>
                    <a:pt x="298133" y="4012883"/>
                  </a:cubicBezTo>
                  <a:cubicBezTo>
                    <a:pt x="280988" y="4013835"/>
                    <a:pt x="266700" y="4027170"/>
                    <a:pt x="266700" y="4044315"/>
                  </a:cubicBezTo>
                  <a:close/>
                  <a:moveTo>
                    <a:pt x="266700" y="3834765"/>
                  </a:moveTo>
                  <a:cubicBezTo>
                    <a:pt x="266700" y="3851910"/>
                    <a:pt x="280988" y="3866198"/>
                    <a:pt x="298133" y="3866198"/>
                  </a:cubicBezTo>
                  <a:cubicBezTo>
                    <a:pt x="315278" y="3866198"/>
                    <a:pt x="329565" y="3851910"/>
                    <a:pt x="329565" y="3834765"/>
                  </a:cubicBezTo>
                  <a:cubicBezTo>
                    <a:pt x="329565" y="3817620"/>
                    <a:pt x="315278" y="3803333"/>
                    <a:pt x="298133" y="3803333"/>
                  </a:cubicBezTo>
                  <a:cubicBezTo>
                    <a:pt x="280988" y="3803333"/>
                    <a:pt x="266700" y="3817620"/>
                    <a:pt x="266700" y="3834765"/>
                  </a:cubicBezTo>
                  <a:close/>
                  <a:moveTo>
                    <a:pt x="236220" y="2576513"/>
                  </a:moveTo>
                  <a:cubicBezTo>
                    <a:pt x="236220" y="2610803"/>
                    <a:pt x="263843" y="2638425"/>
                    <a:pt x="298133" y="2638425"/>
                  </a:cubicBezTo>
                  <a:cubicBezTo>
                    <a:pt x="332423" y="2638425"/>
                    <a:pt x="360045" y="2610803"/>
                    <a:pt x="360045" y="2576513"/>
                  </a:cubicBezTo>
                  <a:cubicBezTo>
                    <a:pt x="360045" y="2542223"/>
                    <a:pt x="332423" y="2514600"/>
                    <a:pt x="298133" y="2514600"/>
                  </a:cubicBezTo>
                  <a:cubicBezTo>
                    <a:pt x="263843" y="2514600"/>
                    <a:pt x="236220" y="2542223"/>
                    <a:pt x="236220" y="2576513"/>
                  </a:cubicBezTo>
                  <a:close/>
                  <a:moveTo>
                    <a:pt x="244793" y="2366963"/>
                  </a:moveTo>
                  <a:cubicBezTo>
                    <a:pt x="244793" y="2396490"/>
                    <a:pt x="268605" y="2420303"/>
                    <a:pt x="298133" y="2420303"/>
                  </a:cubicBezTo>
                  <a:cubicBezTo>
                    <a:pt x="327660" y="2420303"/>
                    <a:pt x="351473" y="2396490"/>
                    <a:pt x="351473" y="2366963"/>
                  </a:cubicBezTo>
                  <a:cubicBezTo>
                    <a:pt x="351473" y="2337435"/>
                    <a:pt x="327660" y="2313623"/>
                    <a:pt x="298133" y="2313623"/>
                  </a:cubicBezTo>
                  <a:cubicBezTo>
                    <a:pt x="268605" y="2313623"/>
                    <a:pt x="244793" y="2337435"/>
                    <a:pt x="244793" y="2366963"/>
                  </a:cubicBezTo>
                  <a:close/>
                  <a:moveTo>
                    <a:pt x="236220" y="2996565"/>
                  </a:moveTo>
                  <a:cubicBezTo>
                    <a:pt x="236220" y="3030855"/>
                    <a:pt x="263843" y="3058478"/>
                    <a:pt x="298133" y="3058478"/>
                  </a:cubicBezTo>
                  <a:cubicBezTo>
                    <a:pt x="332423" y="3058478"/>
                    <a:pt x="360045" y="3030855"/>
                    <a:pt x="360045" y="2996565"/>
                  </a:cubicBezTo>
                  <a:cubicBezTo>
                    <a:pt x="360045" y="2962275"/>
                    <a:pt x="332423" y="2934653"/>
                    <a:pt x="298133" y="2934653"/>
                  </a:cubicBezTo>
                  <a:cubicBezTo>
                    <a:pt x="263843" y="2934653"/>
                    <a:pt x="236220" y="2962275"/>
                    <a:pt x="236220" y="2996565"/>
                  </a:cubicBezTo>
                  <a:close/>
                  <a:moveTo>
                    <a:pt x="220028" y="2786063"/>
                  </a:moveTo>
                  <a:cubicBezTo>
                    <a:pt x="220028" y="2828925"/>
                    <a:pt x="255270" y="2864168"/>
                    <a:pt x="298133" y="2864168"/>
                  </a:cubicBezTo>
                  <a:cubicBezTo>
                    <a:pt x="340995" y="2864168"/>
                    <a:pt x="376238" y="2828925"/>
                    <a:pt x="376238" y="2786063"/>
                  </a:cubicBezTo>
                  <a:cubicBezTo>
                    <a:pt x="376238" y="2743200"/>
                    <a:pt x="340995" y="2707958"/>
                    <a:pt x="298133" y="2707958"/>
                  </a:cubicBezTo>
                  <a:cubicBezTo>
                    <a:pt x="255270" y="2707958"/>
                    <a:pt x="220028" y="2743200"/>
                    <a:pt x="220028" y="2786063"/>
                  </a:cubicBezTo>
                  <a:close/>
                  <a:moveTo>
                    <a:pt x="464820" y="6406515"/>
                  </a:moveTo>
                  <a:cubicBezTo>
                    <a:pt x="464820" y="6436043"/>
                    <a:pt x="488633" y="6459855"/>
                    <a:pt x="518160" y="6459855"/>
                  </a:cubicBezTo>
                  <a:cubicBezTo>
                    <a:pt x="547688" y="6459855"/>
                    <a:pt x="571500" y="6436043"/>
                    <a:pt x="571500" y="6406515"/>
                  </a:cubicBezTo>
                  <a:cubicBezTo>
                    <a:pt x="571500" y="6376988"/>
                    <a:pt x="547688" y="6353175"/>
                    <a:pt x="518160" y="6353175"/>
                  </a:cubicBezTo>
                  <a:cubicBezTo>
                    <a:pt x="488633" y="6353175"/>
                    <a:pt x="464820" y="6376988"/>
                    <a:pt x="464820" y="6406515"/>
                  </a:cubicBezTo>
                  <a:close/>
                  <a:moveTo>
                    <a:pt x="481965" y="5980748"/>
                  </a:moveTo>
                  <a:cubicBezTo>
                    <a:pt x="481965" y="5999798"/>
                    <a:pt x="498158" y="6015990"/>
                    <a:pt x="517208" y="6015990"/>
                  </a:cubicBezTo>
                  <a:cubicBezTo>
                    <a:pt x="536258" y="6015990"/>
                    <a:pt x="552450" y="5999798"/>
                    <a:pt x="552450" y="5980748"/>
                  </a:cubicBezTo>
                  <a:cubicBezTo>
                    <a:pt x="552450" y="5961698"/>
                    <a:pt x="536258" y="5945505"/>
                    <a:pt x="517208" y="5945505"/>
                  </a:cubicBezTo>
                  <a:cubicBezTo>
                    <a:pt x="498158" y="5945505"/>
                    <a:pt x="481965" y="5961698"/>
                    <a:pt x="481965" y="5980748"/>
                  </a:cubicBezTo>
                  <a:close/>
                  <a:moveTo>
                    <a:pt x="486728" y="5555933"/>
                  </a:moveTo>
                  <a:cubicBezTo>
                    <a:pt x="486728" y="5573078"/>
                    <a:pt x="501015" y="5587365"/>
                    <a:pt x="518160" y="5587365"/>
                  </a:cubicBezTo>
                  <a:cubicBezTo>
                    <a:pt x="535305" y="5587365"/>
                    <a:pt x="549593" y="5573078"/>
                    <a:pt x="549593" y="5555933"/>
                  </a:cubicBezTo>
                  <a:cubicBezTo>
                    <a:pt x="549593" y="5538788"/>
                    <a:pt x="535305" y="5524500"/>
                    <a:pt x="518160" y="5524500"/>
                  </a:cubicBezTo>
                  <a:cubicBezTo>
                    <a:pt x="500063" y="5524500"/>
                    <a:pt x="486728" y="5538788"/>
                    <a:pt x="486728" y="5555933"/>
                  </a:cubicBezTo>
                  <a:close/>
                  <a:moveTo>
                    <a:pt x="486728" y="5343525"/>
                  </a:moveTo>
                  <a:cubicBezTo>
                    <a:pt x="486728" y="5360670"/>
                    <a:pt x="501015" y="5374958"/>
                    <a:pt x="518160" y="5374958"/>
                  </a:cubicBezTo>
                  <a:cubicBezTo>
                    <a:pt x="535305" y="5374958"/>
                    <a:pt x="549593" y="5360670"/>
                    <a:pt x="549593" y="5343525"/>
                  </a:cubicBezTo>
                  <a:cubicBezTo>
                    <a:pt x="549593" y="5326380"/>
                    <a:pt x="535305" y="5312093"/>
                    <a:pt x="518160" y="5312093"/>
                  </a:cubicBezTo>
                  <a:cubicBezTo>
                    <a:pt x="500063" y="5312093"/>
                    <a:pt x="486728" y="5326380"/>
                    <a:pt x="486728" y="5343525"/>
                  </a:cubicBezTo>
                  <a:close/>
                  <a:moveTo>
                    <a:pt x="473393" y="6194108"/>
                  </a:moveTo>
                  <a:cubicBezTo>
                    <a:pt x="473393" y="6218873"/>
                    <a:pt x="493395" y="6237923"/>
                    <a:pt x="517208" y="6237923"/>
                  </a:cubicBezTo>
                  <a:cubicBezTo>
                    <a:pt x="541973" y="6237923"/>
                    <a:pt x="561023" y="6217920"/>
                    <a:pt x="561023" y="6194108"/>
                  </a:cubicBezTo>
                  <a:cubicBezTo>
                    <a:pt x="561023" y="6169343"/>
                    <a:pt x="541020" y="6150293"/>
                    <a:pt x="517208" y="6150293"/>
                  </a:cubicBezTo>
                  <a:cubicBezTo>
                    <a:pt x="493395" y="6149340"/>
                    <a:pt x="473393" y="6169343"/>
                    <a:pt x="473393" y="6194108"/>
                  </a:cubicBezTo>
                  <a:close/>
                  <a:moveTo>
                    <a:pt x="486728" y="5768340"/>
                  </a:moveTo>
                  <a:cubicBezTo>
                    <a:pt x="486728" y="5785485"/>
                    <a:pt x="501015" y="5799773"/>
                    <a:pt x="518160" y="5799773"/>
                  </a:cubicBezTo>
                  <a:cubicBezTo>
                    <a:pt x="535305" y="5799773"/>
                    <a:pt x="549593" y="5785485"/>
                    <a:pt x="549593" y="5768340"/>
                  </a:cubicBezTo>
                  <a:cubicBezTo>
                    <a:pt x="549593" y="5751195"/>
                    <a:pt x="535305" y="5736908"/>
                    <a:pt x="518160" y="5736908"/>
                  </a:cubicBezTo>
                  <a:cubicBezTo>
                    <a:pt x="500063" y="5736908"/>
                    <a:pt x="486728" y="5751195"/>
                    <a:pt x="486728" y="5768340"/>
                  </a:cubicBezTo>
                  <a:close/>
                  <a:moveTo>
                    <a:pt x="486728" y="4917758"/>
                  </a:moveTo>
                  <a:cubicBezTo>
                    <a:pt x="486728" y="4934903"/>
                    <a:pt x="501015" y="4949190"/>
                    <a:pt x="518160" y="4949190"/>
                  </a:cubicBezTo>
                  <a:cubicBezTo>
                    <a:pt x="535305" y="4949190"/>
                    <a:pt x="549593" y="4934903"/>
                    <a:pt x="549593" y="4917758"/>
                  </a:cubicBezTo>
                  <a:cubicBezTo>
                    <a:pt x="549593" y="4900613"/>
                    <a:pt x="535305" y="4886325"/>
                    <a:pt x="518160" y="4886325"/>
                  </a:cubicBezTo>
                  <a:cubicBezTo>
                    <a:pt x="500063" y="4887278"/>
                    <a:pt x="486728" y="4900613"/>
                    <a:pt x="486728" y="4917758"/>
                  </a:cubicBezTo>
                  <a:close/>
                  <a:moveTo>
                    <a:pt x="486728" y="4705350"/>
                  </a:moveTo>
                  <a:cubicBezTo>
                    <a:pt x="486728" y="4722495"/>
                    <a:pt x="501015" y="4736783"/>
                    <a:pt x="518160" y="4736783"/>
                  </a:cubicBezTo>
                  <a:cubicBezTo>
                    <a:pt x="535305" y="4736783"/>
                    <a:pt x="549593" y="4722495"/>
                    <a:pt x="549593" y="4705350"/>
                  </a:cubicBezTo>
                  <a:cubicBezTo>
                    <a:pt x="549593" y="4688205"/>
                    <a:pt x="535305" y="4673918"/>
                    <a:pt x="518160" y="4673918"/>
                  </a:cubicBezTo>
                  <a:cubicBezTo>
                    <a:pt x="500063" y="4673918"/>
                    <a:pt x="486728" y="4688205"/>
                    <a:pt x="486728" y="4705350"/>
                  </a:cubicBezTo>
                  <a:close/>
                  <a:moveTo>
                    <a:pt x="486728" y="5131118"/>
                  </a:moveTo>
                  <a:cubicBezTo>
                    <a:pt x="486728" y="5148263"/>
                    <a:pt x="501015" y="5162550"/>
                    <a:pt x="518160" y="5162550"/>
                  </a:cubicBezTo>
                  <a:cubicBezTo>
                    <a:pt x="535305" y="5162550"/>
                    <a:pt x="549593" y="5148263"/>
                    <a:pt x="549593" y="5131118"/>
                  </a:cubicBezTo>
                  <a:cubicBezTo>
                    <a:pt x="549593" y="5113973"/>
                    <a:pt x="535305" y="5099685"/>
                    <a:pt x="518160" y="5099685"/>
                  </a:cubicBezTo>
                  <a:cubicBezTo>
                    <a:pt x="500063" y="5099685"/>
                    <a:pt x="486728" y="5113020"/>
                    <a:pt x="486728" y="5131118"/>
                  </a:cubicBezTo>
                  <a:close/>
                  <a:moveTo>
                    <a:pt x="706755" y="5253038"/>
                  </a:moveTo>
                  <a:cubicBezTo>
                    <a:pt x="706755" y="5270183"/>
                    <a:pt x="721043" y="5284470"/>
                    <a:pt x="738188" y="5284470"/>
                  </a:cubicBezTo>
                  <a:cubicBezTo>
                    <a:pt x="755333" y="5284470"/>
                    <a:pt x="769620" y="5270183"/>
                    <a:pt x="769620" y="5253038"/>
                  </a:cubicBezTo>
                  <a:cubicBezTo>
                    <a:pt x="769620" y="5235893"/>
                    <a:pt x="755333" y="5221605"/>
                    <a:pt x="738188" y="5221605"/>
                  </a:cubicBezTo>
                  <a:cubicBezTo>
                    <a:pt x="721043" y="5221605"/>
                    <a:pt x="706755" y="5235893"/>
                    <a:pt x="706755" y="5253038"/>
                  </a:cubicBezTo>
                  <a:close/>
                  <a:moveTo>
                    <a:pt x="706755" y="4840605"/>
                  </a:moveTo>
                  <a:cubicBezTo>
                    <a:pt x="706755" y="4857750"/>
                    <a:pt x="721043" y="4872038"/>
                    <a:pt x="738188" y="4872038"/>
                  </a:cubicBezTo>
                  <a:cubicBezTo>
                    <a:pt x="755333" y="4872038"/>
                    <a:pt x="769620" y="4857750"/>
                    <a:pt x="769620" y="4840605"/>
                  </a:cubicBezTo>
                  <a:cubicBezTo>
                    <a:pt x="769620" y="4823460"/>
                    <a:pt x="755333" y="4809173"/>
                    <a:pt x="738188" y="4809173"/>
                  </a:cubicBezTo>
                  <a:cubicBezTo>
                    <a:pt x="721043" y="4809173"/>
                    <a:pt x="706755" y="4823460"/>
                    <a:pt x="706755" y="4840605"/>
                  </a:cubicBezTo>
                  <a:close/>
                  <a:moveTo>
                    <a:pt x="706755" y="4634865"/>
                  </a:moveTo>
                  <a:cubicBezTo>
                    <a:pt x="706755" y="4652010"/>
                    <a:pt x="721043" y="4666298"/>
                    <a:pt x="738188" y="4666298"/>
                  </a:cubicBezTo>
                  <a:cubicBezTo>
                    <a:pt x="755333" y="4666298"/>
                    <a:pt x="769620" y="4652010"/>
                    <a:pt x="769620" y="4634865"/>
                  </a:cubicBezTo>
                  <a:cubicBezTo>
                    <a:pt x="769620" y="4617720"/>
                    <a:pt x="755333" y="4603433"/>
                    <a:pt x="738188" y="4603433"/>
                  </a:cubicBezTo>
                  <a:cubicBezTo>
                    <a:pt x="721043" y="4603433"/>
                    <a:pt x="706755" y="4617720"/>
                    <a:pt x="706755" y="4634865"/>
                  </a:cubicBezTo>
                  <a:close/>
                  <a:moveTo>
                    <a:pt x="706755" y="5047298"/>
                  </a:moveTo>
                  <a:cubicBezTo>
                    <a:pt x="706755" y="5064443"/>
                    <a:pt x="721043" y="5078730"/>
                    <a:pt x="738188" y="5078730"/>
                  </a:cubicBezTo>
                  <a:cubicBezTo>
                    <a:pt x="755333" y="5078730"/>
                    <a:pt x="769620" y="5064443"/>
                    <a:pt x="769620" y="5047298"/>
                  </a:cubicBezTo>
                  <a:cubicBezTo>
                    <a:pt x="769620" y="5030153"/>
                    <a:pt x="755333" y="5015865"/>
                    <a:pt x="738188" y="5015865"/>
                  </a:cubicBezTo>
                  <a:cubicBezTo>
                    <a:pt x="721043" y="5015865"/>
                    <a:pt x="706755" y="5030153"/>
                    <a:pt x="706755" y="5047298"/>
                  </a:cubicBezTo>
                  <a:close/>
                  <a:moveTo>
                    <a:pt x="486728" y="4492943"/>
                  </a:moveTo>
                  <a:cubicBezTo>
                    <a:pt x="486728" y="4510088"/>
                    <a:pt x="501015" y="4524375"/>
                    <a:pt x="518160" y="4524375"/>
                  </a:cubicBezTo>
                  <a:cubicBezTo>
                    <a:pt x="535305" y="4524375"/>
                    <a:pt x="549593" y="4510088"/>
                    <a:pt x="549593" y="4492943"/>
                  </a:cubicBezTo>
                  <a:cubicBezTo>
                    <a:pt x="549593" y="4475798"/>
                    <a:pt x="535305" y="4461510"/>
                    <a:pt x="518160" y="4461510"/>
                  </a:cubicBezTo>
                  <a:cubicBezTo>
                    <a:pt x="500063" y="4461510"/>
                    <a:pt x="486728" y="4475798"/>
                    <a:pt x="486728" y="4492943"/>
                  </a:cubicBezTo>
                  <a:close/>
                  <a:moveTo>
                    <a:pt x="486728" y="4280535"/>
                  </a:moveTo>
                  <a:cubicBezTo>
                    <a:pt x="486728" y="4297680"/>
                    <a:pt x="501015" y="4311968"/>
                    <a:pt x="518160" y="4311968"/>
                  </a:cubicBezTo>
                  <a:cubicBezTo>
                    <a:pt x="535305" y="4311968"/>
                    <a:pt x="549593" y="4297680"/>
                    <a:pt x="549593" y="4280535"/>
                  </a:cubicBezTo>
                  <a:cubicBezTo>
                    <a:pt x="549593" y="4263390"/>
                    <a:pt x="535305" y="4249103"/>
                    <a:pt x="518160" y="4249103"/>
                  </a:cubicBezTo>
                  <a:cubicBezTo>
                    <a:pt x="500063" y="4249103"/>
                    <a:pt x="486728" y="4263390"/>
                    <a:pt x="486728" y="4280535"/>
                  </a:cubicBezTo>
                  <a:close/>
                  <a:moveTo>
                    <a:pt x="464820" y="3642360"/>
                  </a:moveTo>
                  <a:cubicBezTo>
                    <a:pt x="464820" y="3671888"/>
                    <a:pt x="488633" y="3695700"/>
                    <a:pt x="518160" y="3695700"/>
                  </a:cubicBezTo>
                  <a:cubicBezTo>
                    <a:pt x="547688" y="3695700"/>
                    <a:pt x="571500" y="3671888"/>
                    <a:pt x="571500" y="3642360"/>
                  </a:cubicBezTo>
                  <a:cubicBezTo>
                    <a:pt x="571500" y="3612833"/>
                    <a:pt x="547688" y="3589020"/>
                    <a:pt x="518160" y="3589020"/>
                  </a:cubicBezTo>
                  <a:cubicBezTo>
                    <a:pt x="488633" y="3589020"/>
                    <a:pt x="464820" y="3613785"/>
                    <a:pt x="464820" y="3642360"/>
                  </a:cubicBezTo>
                  <a:close/>
                  <a:moveTo>
                    <a:pt x="456248" y="3429953"/>
                  </a:moveTo>
                  <a:cubicBezTo>
                    <a:pt x="456248" y="3464243"/>
                    <a:pt x="483870" y="3491865"/>
                    <a:pt x="518160" y="3491865"/>
                  </a:cubicBezTo>
                  <a:cubicBezTo>
                    <a:pt x="552450" y="3491865"/>
                    <a:pt x="580073" y="3464243"/>
                    <a:pt x="580073" y="3429953"/>
                  </a:cubicBezTo>
                  <a:cubicBezTo>
                    <a:pt x="580073" y="3395663"/>
                    <a:pt x="552450" y="3368040"/>
                    <a:pt x="518160" y="3368040"/>
                  </a:cubicBezTo>
                  <a:cubicBezTo>
                    <a:pt x="483870" y="3368040"/>
                    <a:pt x="456248" y="3395663"/>
                    <a:pt x="456248" y="3429953"/>
                  </a:cubicBezTo>
                  <a:close/>
                  <a:moveTo>
                    <a:pt x="456248" y="3005138"/>
                  </a:moveTo>
                  <a:cubicBezTo>
                    <a:pt x="456248" y="3039428"/>
                    <a:pt x="483870" y="3067050"/>
                    <a:pt x="518160" y="3067050"/>
                  </a:cubicBezTo>
                  <a:cubicBezTo>
                    <a:pt x="552450" y="3067050"/>
                    <a:pt x="580073" y="3039428"/>
                    <a:pt x="580073" y="3005138"/>
                  </a:cubicBezTo>
                  <a:cubicBezTo>
                    <a:pt x="580073" y="2970848"/>
                    <a:pt x="552450" y="2943225"/>
                    <a:pt x="518160" y="2943225"/>
                  </a:cubicBezTo>
                  <a:cubicBezTo>
                    <a:pt x="483870" y="2943225"/>
                    <a:pt x="456248" y="2970848"/>
                    <a:pt x="456248" y="3005138"/>
                  </a:cubicBezTo>
                  <a:close/>
                  <a:moveTo>
                    <a:pt x="481965" y="4068128"/>
                  </a:moveTo>
                  <a:cubicBezTo>
                    <a:pt x="481965" y="4087178"/>
                    <a:pt x="498158" y="4103370"/>
                    <a:pt x="517208" y="4103370"/>
                  </a:cubicBezTo>
                  <a:cubicBezTo>
                    <a:pt x="536258" y="4103370"/>
                    <a:pt x="552450" y="4087178"/>
                    <a:pt x="552450" y="4068128"/>
                  </a:cubicBezTo>
                  <a:cubicBezTo>
                    <a:pt x="552450" y="4049078"/>
                    <a:pt x="536258" y="4032885"/>
                    <a:pt x="517208" y="4032885"/>
                  </a:cubicBezTo>
                  <a:cubicBezTo>
                    <a:pt x="498158" y="4032885"/>
                    <a:pt x="481965" y="4048125"/>
                    <a:pt x="481965" y="4068128"/>
                  </a:cubicBezTo>
                  <a:close/>
                  <a:moveTo>
                    <a:pt x="473393" y="3854768"/>
                  </a:moveTo>
                  <a:cubicBezTo>
                    <a:pt x="473393" y="3879533"/>
                    <a:pt x="493395" y="3898583"/>
                    <a:pt x="517208" y="3898583"/>
                  </a:cubicBezTo>
                  <a:cubicBezTo>
                    <a:pt x="541973" y="3898583"/>
                    <a:pt x="561023" y="3878580"/>
                    <a:pt x="561023" y="3854768"/>
                  </a:cubicBezTo>
                  <a:cubicBezTo>
                    <a:pt x="561023" y="3830003"/>
                    <a:pt x="541020" y="3810953"/>
                    <a:pt x="517208" y="3810953"/>
                  </a:cubicBezTo>
                  <a:cubicBezTo>
                    <a:pt x="493395" y="3810953"/>
                    <a:pt x="473393" y="3830955"/>
                    <a:pt x="473393" y="3854768"/>
                  </a:cubicBezTo>
                  <a:close/>
                  <a:moveTo>
                    <a:pt x="473393" y="2579370"/>
                  </a:moveTo>
                  <a:cubicBezTo>
                    <a:pt x="473393" y="2604135"/>
                    <a:pt x="493395" y="2623185"/>
                    <a:pt x="517208" y="2623185"/>
                  </a:cubicBezTo>
                  <a:cubicBezTo>
                    <a:pt x="541973" y="2623185"/>
                    <a:pt x="561023" y="2603183"/>
                    <a:pt x="561023" y="2579370"/>
                  </a:cubicBezTo>
                  <a:cubicBezTo>
                    <a:pt x="561023" y="2555558"/>
                    <a:pt x="541020" y="2535555"/>
                    <a:pt x="517208" y="2535555"/>
                  </a:cubicBezTo>
                  <a:cubicBezTo>
                    <a:pt x="493395" y="2535555"/>
                    <a:pt x="473393" y="2555558"/>
                    <a:pt x="473393" y="2579370"/>
                  </a:cubicBezTo>
                  <a:close/>
                  <a:moveTo>
                    <a:pt x="481965" y="2366963"/>
                  </a:moveTo>
                  <a:cubicBezTo>
                    <a:pt x="481965" y="2386013"/>
                    <a:pt x="498158" y="2402205"/>
                    <a:pt x="517208" y="2402205"/>
                  </a:cubicBezTo>
                  <a:cubicBezTo>
                    <a:pt x="536258" y="2402205"/>
                    <a:pt x="552450" y="2386013"/>
                    <a:pt x="552450" y="2366963"/>
                  </a:cubicBezTo>
                  <a:cubicBezTo>
                    <a:pt x="552450" y="2347913"/>
                    <a:pt x="536258" y="2331720"/>
                    <a:pt x="517208" y="2331720"/>
                  </a:cubicBezTo>
                  <a:cubicBezTo>
                    <a:pt x="498158" y="2331720"/>
                    <a:pt x="481965" y="2347913"/>
                    <a:pt x="481965" y="2366963"/>
                  </a:cubicBezTo>
                  <a:close/>
                  <a:moveTo>
                    <a:pt x="464820" y="2791778"/>
                  </a:moveTo>
                  <a:cubicBezTo>
                    <a:pt x="464820" y="2821305"/>
                    <a:pt x="488633" y="2845118"/>
                    <a:pt x="518160" y="2845118"/>
                  </a:cubicBezTo>
                  <a:cubicBezTo>
                    <a:pt x="547688" y="2845118"/>
                    <a:pt x="571500" y="2821305"/>
                    <a:pt x="571500" y="2791778"/>
                  </a:cubicBezTo>
                  <a:cubicBezTo>
                    <a:pt x="571500" y="2762250"/>
                    <a:pt x="547688" y="2738438"/>
                    <a:pt x="518160" y="2738438"/>
                  </a:cubicBezTo>
                  <a:cubicBezTo>
                    <a:pt x="488633" y="2738438"/>
                    <a:pt x="464820" y="2763203"/>
                    <a:pt x="464820" y="2791778"/>
                  </a:cubicBezTo>
                  <a:close/>
                  <a:moveTo>
                    <a:pt x="440055" y="3217545"/>
                  </a:moveTo>
                  <a:cubicBezTo>
                    <a:pt x="440055" y="3260408"/>
                    <a:pt x="475298" y="3295650"/>
                    <a:pt x="518160" y="3295650"/>
                  </a:cubicBezTo>
                  <a:cubicBezTo>
                    <a:pt x="561023" y="3295650"/>
                    <a:pt x="596265" y="3260408"/>
                    <a:pt x="596265" y="3217545"/>
                  </a:cubicBezTo>
                  <a:cubicBezTo>
                    <a:pt x="596265" y="3174683"/>
                    <a:pt x="561023" y="3139440"/>
                    <a:pt x="518160" y="3139440"/>
                  </a:cubicBezTo>
                  <a:cubicBezTo>
                    <a:pt x="475298" y="3139440"/>
                    <a:pt x="440055" y="3174683"/>
                    <a:pt x="440055" y="3217545"/>
                  </a:cubicBezTo>
                  <a:close/>
                  <a:moveTo>
                    <a:pt x="706755" y="4428173"/>
                  </a:moveTo>
                  <a:cubicBezTo>
                    <a:pt x="706755" y="4445318"/>
                    <a:pt x="721043" y="4459605"/>
                    <a:pt x="738188" y="4459605"/>
                  </a:cubicBezTo>
                  <a:cubicBezTo>
                    <a:pt x="755333" y="4459605"/>
                    <a:pt x="769620" y="4445318"/>
                    <a:pt x="769620" y="4428173"/>
                  </a:cubicBezTo>
                  <a:cubicBezTo>
                    <a:pt x="769620" y="4411028"/>
                    <a:pt x="755333" y="4396740"/>
                    <a:pt x="738188" y="4396740"/>
                  </a:cubicBezTo>
                  <a:cubicBezTo>
                    <a:pt x="721043" y="4396740"/>
                    <a:pt x="706755" y="4411028"/>
                    <a:pt x="706755" y="4428173"/>
                  </a:cubicBezTo>
                  <a:close/>
                  <a:moveTo>
                    <a:pt x="706755" y="4222433"/>
                  </a:moveTo>
                  <a:cubicBezTo>
                    <a:pt x="706755" y="4239578"/>
                    <a:pt x="721043" y="4253865"/>
                    <a:pt x="738188" y="4253865"/>
                  </a:cubicBezTo>
                  <a:cubicBezTo>
                    <a:pt x="755333" y="4253865"/>
                    <a:pt x="769620" y="4239578"/>
                    <a:pt x="769620" y="4222433"/>
                  </a:cubicBezTo>
                  <a:cubicBezTo>
                    <a:pt x="769620" y="4205288"/>
                    <a:pt x="755333" y="4191000"/>
                    <a:pt x="738188" y="4191000"/>
                  </a:cubicBezTo>
                  <a:cubicBezTo>
                    <a:pt x="721043" y="4191000"/>
                    <a:pt x="706755" y="4205288"/>
                    <a:pt x="706755" y="4222433"/>
                  </a:cubicBezTo>
                  <a:close/>
                  <a:moveTo>
                    <a:pt x="693420" y="3604260"/>
                  </a:moveTo>
                  <a:cubicBezTo>
                    <a:pt x="693420" y="3629025"/>
                    <a:pt x="713423" y="3648075"/>
                    <a:pt x="737235" y="3648075"/>
                  </a:cubicBezTo>
                  <a:cubicBezTo>
                    <a:pt x="761048" y="3648075"/>
                    <a:pt x="781050" y="3628073"/>
                    <a:pt x="781050" y="3604260"/>
                  </a:cubicBezTo>
                  <a:cubicBezTo>
                    <a:pt x="781050" y="3580448"/>
                    <a:pt x="761048" y="3560445"/>
                    <a:pt x="737235" y="3560445"/>
                  </a:cubicBezTo>
                  <a:cubicBezTo>
                    <a:pt x="713423" y="3560445"/>
                    <a:pt x="693420" y="3579495"/>
                    <a:pt x="693420" y="3604260"/>
                  </a:cubicBezTo>
                  <a:close/>
                  <a:moveTo>
                    <a:pt x="684848" y="3397568"/>
                  </a:moveTo>
                  <a:cubicBezTo>
                    <a:pt x="684848" y="3427095"/>
                    <a:pt x="708660" y="3450908"/>
                    <a:pt x="738188" y="3450908"/>
                  </a:cubicBezTo>
                  <a:cubicBezTo>
                    <a:pt x="767715" y="3450908"/>
                    <a:pt x="791528" y="3427095"/>
                    <a:pt x="791528" y="3397568"/>
                  </a:cubicBezTo>
                  <a:cubicBezTo>
                    <a:pt x="791528" y="3368040"/>
                    <a:pt x="767715" y="3344228"/>
                    <a:pt x="738188" y="3344228"/>
                  </a:cubicBezTo>
                  <a:cubicBezTo>
                    <a:pt x="708660" y="3345180"/>
                    <a:pt x="684848" y="3368040"/>
                    <a:pt x="684848" y="3397568"/>
                  </a:cubicBezTo>
                  <a:close/>
                  <a:moveTo>
                    <a:pt x="675323" y="3191828"/>
                  </a:moveTo>
                  <a:cubicBezTo>
                    <a:pt x="675323" y="3226118"/>
                    <a:pt x="702945" y="3253740"/>
                    <a:pt x="737235" y="3253740"/>
                  </a:cubicBezTo>
                  <a:cubicBezTo>
                    <a:pt x="771525" y="3253740"/>
                    <a:pt x="799148" y="3226118"/>
                    <a:pt x="799148" y="3191828"/>
                  </a:cubicBezTo>
                  <a:cubicBezTo>
                    <a:pt x="799148" y="3157538"/>
                    <a:pt x="771525" y="3129915"/>
                    <a:pt x="737235" y="3129915"/>
                  </a:cubicBezTo>
                  <a:cubicBezTo>
                    <a:pt x="702945" y="3129915"/>
                    <a:pt x="675323" y="3157538"/>
                    <a:pt x="675323" y="3191828"/>
                  </a:cubicBezTo>
                  <a:close/>
                  <a:moveTo>
                    <a:pt x="706755" y="4016693"/>
                  </a:moveTo>
                  <a:cubicBezTo>
                    <a:pt x="706755" y="4033838"/>
                    <a:pt x="721043" y="4048125"/>
                    <a:pt x="738188" y="4048125"/>
                  </a:cubicBezTo>
                  <a:cubicBezTo>
                    <a:pt x="755333" y="4048125"/>
                    <a:pt x="769620" y="4033838"/>
                    <a:pt x="769620" y="4016693"/>
                  </a:cubicBezTo>
                  <a:cubicBezTo>
                    <a:pt x="769620" y="3999548"/>
                    <a:pt x="755333" y="3985260"/>
                    <a:pt x="738188" y="3985260"/>
                  </a:cubicBezTo>
                  <a:cubicBezTo>
                    <a:pt x="721043" y="3985260"/>
                    <a:pt x="706755" y="3998595"/>
                    <a:pt x="706755" y="4016693"/>
                  </a:cubicBezTo>
                  <a:close/>
                  <a:moveTo>
                    <a:pt x="701993" y="3810000"/>
                  </a:moveTo>
                  <a:cubicBezTo>
                    <a:pt x="701993" y="3829050"/>
                    <a:pt x="718185" y="3845243"/>
                    <a:pt x="737235" y="3845243"/>
                  </a:cubicBezTo>
                  <a:cubicBezTo>
                    <a:pt x="756285" y="3845243"/>
                    <a:pt x="772478" y="3829050"/>
                    <a:pt x="772478" y="3810000"/>
                  </a:cubicBezTo>
                  <a:cubicBezTo>
                    <a:pt x="772478" y="3790950"/>
                    <a:pt x="756285" y="3774758"/>
                    <a:pt x="737235" y="3774758"/>
                  </a:cubicBezTo>
                  <a:cubicBezTo>
                    <a:pt x="718185" y="3774758"/>
                    <a:pt x="701993" y="3790950"/>
                    <a:pt x="701993" y="3810000"/>
                  </a:cubicBezTo>
                  <a:close/>
                  <a:moveTo>
                    <a:pt x="684848" y="2573655"/>
                  </a:moveTo>
                  <a:cubicBezTo>
                    <a:pt x="684848" y="2603183"/>
                    <a:pt x="708660" y="2626995"/>
                    <a:pt x="738188" y="2626995"/>
                  </a:cubicBezTo>
                  <a:cubicBezTo>
                    <a:pt x="767715" y="2626995"/>
                    <a:pt x="791528" y="2603183"/>
                    <a:pt x="791528" y="2573655"/>
                  </a:cubicBezTo>
                  <a:cubicBezTo>
                    <a:pt x="791528" y="2544128"/>
                    <a:pt x="767715" y="2520315"/>
                    <a:pt x="738188" y="2520315"/>
                  </a:cubicBezTo>
                  <a:cubicBezTo>
                    <a:pt x="708660" y="2520315"/>
                    <a:pt x="684848" y="2544128"/>
                    <a:pt x="684848" y="2573655"/>
                  </a:cubicBezTo>
                  <a:close/>
                  <a:moveTo>
                    <a:pt x="693420" y="2366963"/>
                  </a:moveTo>
                  <a:cubicBezTo>
                    <a:pt x="693420" y="2391728"/>
                    <a:pt x="713423" y="2410778"/>
                    <a:pt x="737235" y="2410778"/>
                  </a:cubicBezTo>
                  <a:cubicBezTo>
                    <a:pt x="761048" y="2410778"/>
                    <a:pt x="781050" y="2390775"/>
                    <a:pt x="781050" y="2366963"/>
                  </a:cubicBezTo>
                  <a:cubicBezTo>
                    <a:pt x="781050" y="2343150"/>
                    <a:pt x="761048" y="2323148"/>
                    <a:pt x="737235" y="2323148"/>
                  </a:cubicBezTo>
                  <a:cubicBezTo>
                    <a:pt x="713423" y="2323148"/>
                    <a:pt x="693420" y="2342198"/>
                    <a:pt x="693420" y="2366963"/>
                  </a:cubicBezTo>
                  <a:close/>
                  <a:moveTo>
                    <a:pt x="675323" y="2779395"/>
                  </a:moveTo>
                  <a:cubicBezTo>
                    <a:pt x="675323" y="2813685"/>
                    <a:pt x="702945" y="2841308"/>
                    <a:pt x="737235" y="2841308"/>
                  </a:cubicBezTo>
                  <a:cubicBezTo>
                    <a:pt x="771525" y="2841308"/>
                    <a:pt x="799148" y="2813685"/>
                    <a:pt x="799148" y="2779395"/>
                  </a:cubicBezTo>
                  <a:cubicBezTo>
                    <a:pt x="799148" y="2745105"/>
                    <a:pt x="771525" y="2717483"/>
                    <a:pt x="737235" y="2717483"/>
                  </a:cubicBezTo>
                  <a:cubicBezTo>
                    <a:pt x="702945" y="2717483"/>
                    <a:pt x="675323" y="2745105"/>
                    <a:pt x="675323" y="2779395"/>
                  </a:cubicBezTo>
                  <a:close/>
                  <a:moveTo>
                    <a:pt x="659130" y="2985135"/>
                  </a:moveTo>
                  <a:cubicBezTo>
                    <a:pt x="659130" y="3027998"/>
                    <a:pt x="694373" y="3063240"/>
                    <a:pt x="737235" y="3063240"/>
                  </a:cubicBezTo>
                  <a:cubicBezTo>
                    <a:pt x="780098" y="3063240"/>
                    <a:pt x="815340" y="3027998"/>
                    <a:pt x="815340" y="2985135"/>
                  </a:cubicBezTo>
                  <a:cubicBezTo>
                    <a:pt x="815340" y="2942273"/>
                    <a:pt x="780098" y="2907030"/>
                    <a:pt x="737235" y="2907030"/>
                  </a:cubicBezTo>
                  <a:cubicBezTo>
                    <a:pt x="694373" y="2907030"/>
                    <a:pt x="659130" y="2942273"/>
                    <a:pt x="659130" y="2985135"/>
                  </a:cubicBezTo>
                  <a:close/>
                  <a:moveTo>
                    <a:pt x="922020" y="3625215"/>
                  </a:moveTo>
                  <a:cubicBezTo>
                    <a:pt x="922020" y="3644265"/>
                    <a:pt x="938213" y="3660458"/>
                    <a:pt x="957263" y="3660458"/>
                  </a:cubicBezTo>
                  <a:cubicBezTo>
                    <a:pt x="976313" y="3660458"/>
                    <a:pt x="992505" y="3644265"/>
                    <a:pt x="992505" y="3625215"/>
                  </a:cubicBezTo>
                  <a:cubicBezTo>
                    <a:pt x="992505" y="3606165"/>
                    <a:pt x="976313" y="3589973"/>
                    <a:pt x="957263" y="3589973"/>
                  </a:cubicBezTo>
                  <a:cubicBezTo>
                    <a:pt x="938213" y="3589973"/>
                    <a:pt x="922020" y="3606165"/>
                    <a:pt x="922020" y="3625215"/>
                  </a:cubicBezTo>
                  <a:close/>
                  <a:moveTo>
                    <a:pt x="913448" y="3415665"/>
                  </a:moveTo>
                  <a:cubicBezTo>
                    <a:pt x="913448" y="3440430"/>
                    <a:pt x="933450" y="3459480"/>
                    <a:pt x="957263" y="3459480"/>
                  </a:cubicBezTo>
                  <a:cubicBezTo>
                    <a:pt x="982028" y="3459480"/>
                    <a:pt x="1001078" y="3439478"/>
                    <a:pt x="1001078" y="3415665"/>
                  </a:cubicBezTo>
                  <a:cubicBezTo>
                    <a:pt x="1001078" y="3391853"/>
                    <a:pt x="981075" y="3371850"/>
                    <a:pt x="957263" y="3371850"/>
                  </a:cubicBezTo>
                  <a:cubicBezTo>
                    <a:pt x="933450" y="3371850"/>
                    <a:pt x="913448" y="3390900"/>
                    <a:pt x="913448" y="3415665"/>
                  </a:cubicBezTo>
                  <a:close/>
                  <a:moveTo>
                    <a:pt x="903923" y="3206115"/>
                  </a:moveTo>
                  <a:cubicBezTo>
                    <a:pt x="903923" y="3235643"/>
                    <a:pt x="927735" y="3259455"/>
                    <a:pt x="957263" y="3259455"/>
                  </a:cubicBezTo>
                  <a:cubicBezTo>
                    <a:pt x="986790" y="3259455"/>
                    <a:pt x="1010603" y="3235643"/>
                    <a:pt x="1010603" y="3206115"/>
                  </a:cubicBezTo>
                  <a:cubicBezTo>
                    <a:pt x="1010603" y="3176588"/>
                    <a:pt x="986790" y="3152775"/>
                    <a:pt x="957263" y="3152775"/>
                  </a:cubicBezTo>
                  <a:cubicBezTo>
                    <a:pt x="927735" y="3152775"/>
                    <a:pt x="903923" y="3176588"/>
                    <a:pt x="903923" y="3206115"/>
                  </a:cubicBezTo>
                  <a:close/>
                  <a:moveTo>
                    <a:pt x="895350" y="2576513"/>
                  </a:moveTo>
                  <a:cubicBezTo>
                    <a:pt x="895350" y="2610803"/>
                    <a:pt x="922973" y="2638425"/>
                    <a:pt x="957263" y="2638425"/>
                  </a:cubicBezTo>
                  <a:cubicBezTo>
                    <a:pt x="991553" y="2638425"/>
                    <a:pt x="1019175" y="2610803"/>
                    <a:pt x="1019175" y="2576513"/>
                  </a:cubicBezTo>
                  <a:cubicBezTo>
                    <a:pt x="1019175" y="2542223"/>
                    <a:pt x="991553" y="2514600"/>
                    <a:pt x="957263" y="2514600"/>
                  </a:cubicBezTo>
                  <a:cubicBezTo>
                    <a:pt x="922973" y="2514600"/>
                    <a:pt x="895350" y="2542223"/>
                    <a:pt x="895350" y="2576513"/>
                  </a:cubicBezTo>
                  <a:close/>
                  <a:moveTo>
                    <a:pt x="903923" y="2366963"/>
                  </a:moveTo>
                  <a:cubicBezTo>
                    <a:pt x="903923" y="2396490"/>
                    <a:pt x="927735" y="2420303"/>
                    <a:pt x="957263" y="2420303"/>
                  </a:cubicBezTo>
                  <a:cubicBezTo>
                    <a:pt x="986790" y="2420303"/>
                    <a:pt x="1010603" y="2396490"/>
                    <a:pt x="1010603" y="2366963"/>
                  </a:cubicBezTo>
                  <a:cubicBezTo>
                    <a:pt x="1010603" y="2337435"/>
                    <a:pt x="986790" y="2313623"/>
                    <a:pt x="957263" y="2313623"/>
                  </a:cubicBezTo>
                  <a:cubicBezTo>
                    <a:pt x="927735" y="2313623"/>
                    <a:pt x="903923" y="2337435"/>
                    <a:pt x="903923" y="2366963"/>
                  </a:cubicBezTo>
                  <a:close/>
                  <a:moveTo>
                    <a:pt x="895350" y="2996565"/>
                  </a:moveTo>
                  <a:cubicBezTo>
                    <a:pt x="895350" y="3030855"/>
                    <a:pt x="922973" y="3058478"/>
                    <a:pt x="957263" y="3058478"/>
                  </a:cubicBezTo>
                  <a:cubicBezTo>
                    <a:pt x="991553" y="3058478"/>
                    <a:pt x="1019175" y="3030855"/>
                    <a:pt x="1019175" y="2996565"/>
                  </a:cubicBezTo>
                  <a:cubicBezTo>
                    <a:pt x="1019175" y="2962275"/>
                    <a:pt x="991553" y="2934653"/>
                    <a:pt x="957263" y="2934653"/>
                  </a:cubicBezTo>
                  <a:cubicBezTo>
                    <a:pt x="922973" y="2934653"/>
                    <a:pt x="895350" y="2962275"/>
                    <a:pt x="895350" y="2996565"/>
                  </a:cubicBezTo>
                  <a:close/>
                  <a:moveTo>
                    <a:pt x="879158" y="2786063"/>
                  </a:moveTo>
                  <a:cubicBezTo>
                    <a:pt x="879158" y="2828925"/>
                    <a:pt x="914400" y="2864168"/>
                    <a:pt x="957263" y="2864168"/>
                  </a:cubicBezTo>
                  <a:cubicBezTo>
                    <a:pt x="1000125" y="2864168"/>
                    <a:pt x="1035368" y="2828925"/>
                    <a:pt x="1035368" y="2786063"/>
                  </a:cubicBezTo>
                  <a:cubicBezTo>
                    <a:pt x="1035368" y="2743200"/>
                    <a:pt x="1000125" y="2707958"/>
                    <a:pt x="957263" y="2707958"/>
                  </a:cubicBezTo>
                  <a:cubicBezTo>
                    <a:pt x="914400" y="2707958"/>
                    <a:pt x="879158" y="2743200"/>
                    <a:pt x="879158" y="2786063"/>
                  </a:cubicBezTo>
                  <a:close/>
                </a:path>
              </a:pathLst>
            </a:custGeom>
            <a:solidFill>
              <a:srgbClr val="E8E8E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0" name="Corner blue">
              <a:extLst>
                <a:ext uri="{FF2B5EF4-FFF2-40B4-BE49-F238E27FC236}">
                  <a16:creationId xmlns:a16="http://schemas.microsoft.com/office/drawing/2014/main" id="{2AB21FCE-D4F7-4A27-8F47-16371E77F2AC}"/>
                </a:ext>
              </a:extLst>
            </p:cNvPr>
            <p:cNvSpPr/>
            <p:nvPr/>
          </p:nvSpPr>
          <p:spPr>
            <a:xfrm>
              <a:off x="4077651" y="476250"/>
              <a:ext cx="790574" cy="6376035"/>
            </a:xfrm>
            <a:custGeom>
              <a:avLst/>
              <a:gdLst>
                <a:gd name="connsiteX0" fmla="*/ 634365 w 790574"/>
                <a:gd name="connsiteY0" fmla="*/ 661988 h 6376035"/>
                <a:gd name="connsiteX1" fmla="*/ 712470 w 790574"/>
                <a:gd name="connsiteY1" fmla="*/ 740093 h 6376035"/>
                <a:gd name="connsiteX2" fmla="*/ 790575 w 790574"/>
                <a:gd name="connsiteY2" fmla="*/ 661988 h 6376035"/>
                <a:gd name="connsiteX3" fmla="*/ 712470 w 790574"/>
                <a:gd name="connsiteY3" fmla="*/ 583883 h 6376035"/>
                <a:gd name="connsiteX4" fmla="*/ 634365 w 790574"/>
                <a:gd name="connsiteY4" fmla="*/ 661988 h 6376035"/>
                <a:gd name="connsiteX5" fmla="*/ 677228 w 790574"/>
                <a:gd name="connsiteY5" fmla="*/ 1695450 h 6376035"/>
                <a:gd name="connsiteX6" fmla="*/ 715328 w 790574"/>
                <a:gd name="connsiteY6" fmla="*/ 1727835 h 6376035"/>
                <a:gd name="connsiteX7" fmla="*/ 747713 w 790574"/>
                <a:gd name="connsiteY7" fmla="*/ 1689735 h 6376035"/>
                <a:gd name="connsiteX8" fmla="*/ 709613 w 790574"/>
                <a:gd name="connsiteY8" fmla="*/ 1657350 h 6376035"/>
                <a:gd name="connsiteX9" fmla="*/ 677228 w 790574"/>
                <a:gd name="connsiteY9" fmla="*/ 1695450 h 6376035"/>
                <a:gd name="connsiteX10" fmla="*/ 668655 w 790574"/>
                <a:gd name="connsiteY10" fmla="*/ 1486853 h 6376035"/>
                <a:gd name="connsiteX11" fmla="*/ 712470 w 790574"/>
                <a:gd name="connsiteY11" fmla="*/ 1530668 h 6376035"/>
                <a:gd name="connsiteX12" fmla="*/ 756285 w 790574"/>
                <a:gd name="connsiteY12" fmla="*/ 1486853 h 6376035"/>
                <a:gd name="connsiteX13" fmla="*/ 712470 w 790574"/>
                <a:gd name="connsiteY13" fmla="*/ 1443038 h 6376035"/>
                <a:gd name="connsiteX14" fmla="*/ 668655 w 790574"/>
                <a:gd name="connsiteY14" fmla="*/ 1486853 h 6376035"/>
                <a:gd name="connsiteX15" fmla="*/ 650558 w 790574"/>
                <a:gd name="connsiteY15" fmla="*/ 1074420 h 6376035"/>
                <a:gd name="connsiteX16" fmla="*/ 712470 w 790574"/>
                <a:gd name="connsiteY16" fmla="*/ 1136333 h 6376035"/>
                <a:gd name="connsiteX17" fmla="*/ 774383 w 790574"/>
                <a:gd name="connsiteY17" fmla="*/ 1074420 h 6376035"/>
                <a:gd name="connsiteX18" fmla="*/ 712470 w 790574"/>
                <a:gd name="connsiteY18" fmla="*/ 1012508 h 6376035"/>
                <a:gd name="connsiteX19" fmla="*/ 650558 w 790574"/>
                <a:gd name="connsiteY19" fmla="*/ 1074420 h 6376035"/>
                <a:gd name="connsiteX20" fmla="*/ 660083 w 790574"/>
                <a:gd name="connsiteY20" fmla="*/ 249555 h 6376035"/>
                <a:gd name="connsiteX21" fmla="*/ 713423 w 790574"/>
                <a:gd name="connsiteY21" fmla="*/ 302895 h 6376035"/>
                <a:gd name="connsiteX22" fmla="*/ 766763 w 790574"/>
                <a:gd name="connsiteY22" fmla="*/ 249555 h 6376035"/>
                <a:gd name="connsiteX23" fmla="*/ 713423 w 790574"/>
                <a:gd name="connsiteY23" fmla="*/ 196215 h 6376035"/>
                <a:gd name="connsiteX24" fmla="*/ 660083 w 790574"/>
                <a:gd name="connsiteY24" fmla="*/ 249555 h 6376035"/>
                <a:gd name="connsiteX25" fmla="*/ 668655 w 790574"/>
                <a:gd name="connsiteY25" fmla="*/ 43815 h 6376035"/>
                <a:gd name="connsiteX26" fmla="*/ 712470 w 790574"/>
                <a:gd name="connsiteY26" fmla="*/ 87630 h 6376035"/>
                <a:gd name="connsiteX27" fmla="*/ 756285 w 790574"/>
                <a:gd name="connsiteY27" fmla="*/ 43815 h 6376035"/>
                <a:gd name="connsiteX28" fmla="*/ 712470 w 790574"/>
                <a:gd name="connsiteY28" fmla="*/ 0 h 6376035"/>
                <a:gd name="connsiteX29" fmla="*/ 668655 w 790574"/>
                <a:gd name="connsiteY29" fmla="*/ 43815 h 6376035"/>
                <a:gd name="connsiteX30" fmla="*/ 660083 w 790574"/>
                <a:gd name="connsiteY30" fmla="*/ 1280160 h 6376035"/>
                <a:gd name="connsiteX31" fmla="*/ 713423 w 790574"/>
                <a:gd name="connsiteY31" fmla="*/ 1333500 h 6376035"/>
                <a:gd name="connsiteX32" fmla="*/ 766763 w 790574"/>
                <a:gd name="connsiteY32" fmla="*/ 1280160 h 6376035"/>
                <a:gd name="connsiteX33" fmla="*/ 713423 w 790574"/>
                <a:gd name="connsiteY33" fmla="*/ 1226820 h 6376035"/>
                <a:gd name="connsiteX34" fmla="*/ 660083 w 790574"/>
                <a:gd name="connsiteY34" fmla="*/ 1280160 h 6376035"/>
                <a:gd name="connsiteX35" fmla="*/ 650558 w 790574"/>
                <a:gd name="connsiteY35" fmla="*/ 456248 h 6376035"/>
                <a:gd name="connsiteX36" fmla="*/ 712470 w 790574"/>
                <a:gd name="connsiteY36" fmla="*/ 518160 h 6376035"/>
                <a:gd name="connsiteX37" fmla="*/ 774383 w 790574"/>
                <a:gd name="connsiteY37" fmla="*/ 456248 h 6376035"/>
                <a:gd name="connsiteX38" fmla="*/ 712470 w 790574"/>
                <a:gd name="connsiteY38" fmla="*/ 394335 h 6376035"/>
                <a:gd name="connsiteX39" fmla="*/ 650558 w 790574"/>
                <a:gd name="connsiteY39" fmla="*/ 456248 h 6376035"/>
                <a:gd name="connsiteX40" fmla="*/ 634365 w 790574"/>
                <a:gd name="connsiteY40" fmla="*/ 868680 h 6376035"/>
                <a:gd name="connsiteX41" fmla="*/ 712470 w 790574"/>
                <a:gd name="connsiteY41" fmla="*/ 946785 h 6376035"/>
                <a:gd name="connsiteX42" fmla="*/ 790575 w 790574"/>
                <a:gd name="connsiteY42" fmla="*/ 868680 h 6376035"/>
                <a:gd name="connsiteX43" fmla="*/ 712470 w 790574"/>
                <a:gd name="connsiteY43" fmla="*/ 790575 h 6376035"/>
                <a:gd name="connsiteX44" fmla="*/ 634365 w 790574"/>
                <a:gd name="connsiteY44" fmla="*/ 868680 h 6376035"/>
                <a:gd name="connsiteX45" fmla="*/ 18098 w 790574"/>
                <a:gd name="connsiteY45" fmla="*/ 1695450 h 6376035"/>
                <a:gd name="connsiteX46" fmla="*/ 56198 w 790574"/>
                <a:gd name="connsiteY46" fmla="*/ 1727835 h 6376035"/>
                <a:gd name="connsiteX47" fmla="*/ 88583 w 790574"/>
                <a:gd name="connsiteY47" fmla="*/ 1689735 h 6376035"/>
                <a:gd name="connsiteX48" fmla="*/ 50483 w 790574"/>
                <a:gd name="connsiteY48" fmla="*/ 1657350 h 6376035"/>
                <a:gd name="connsiteX49" fmla="*/ 18098 w 790574"/>
                <a:gd name="connsiteY49" fmla="*/ 1695450 h 6376035"/>
                <a:gd name="connsiteX50" fmla="*/ 9525 w 790574"/>
                <a:gd name="connsiteY50" fmla="*/ 1486853 h 6376035"/>
                <a:gd name="connsiteX51" fmla="*/ 53340 w 790574"/>
                <a:gd name="connsiteY51" fmla="*/ 1530668 h 6376035"/>
                <a:gd name="connsiteX52" fmla="*/ 97155 w 790574"/>
                <a:gd name="connsiteY52" fmla="*/ 1486853 h 6376035"/>
                <a:gd name="connsiteX53" fmla="*/ 53340 w 790574"/>
                <a:gd name="connsiteY53" fmla="*/ 1443038 h 6376035"/>
                <a:gd name="connsiteX54" fmla="*/ 9525 w 790574"/>
                <a:gd name="connsiteY54" fmla="*/ 1486853 h 6376035"/>
                <a:gd name="connsiteX55" fmla="*/ 0 w 790574"/>
                <a:gd name="connsiteY55" fmla="*/ 1280160 h 6376035"/>
                <a:gd name="connsiteX56" fmla="*/ 53340 w 790574"/>
                <a:gd name="connsiteY56" fmla="*/ 1333500 h 6376035"/>
                <a:gd name="connsiteX57" fmla="*/ 106680 w 790574"/>
                <a:gd name="connsiteY57" fmla="*/ 1280160 h 6376035"/>
                <a:gd name="connsiteX58" fmla="*/ 53340 w 790574"/>
                <a:gd name="connsiteY58" fmla="*/ 1226820 h 6376035"/>
                <a:gd name="connsiteX59" fmla="*/ 0 w 790574"/>
                <a:gd name="connsiteY59" fmla="*/ 1280160 h 6376035"/>
                <a:gd name="connsiteX60" fmla="*/ 0 w 790574"/>
                <a:gd name="connsiteY60" fmla="*/ 2106930 h 6376035"/>
                <a:gd name="connsiteX61" fmla="*/ 53340 w 790574"/>
                <a:gd name="connsiteY61" fmla="*/ 2160270 h 6376035"/>
                <a:gd name="connsiteX62" fmla="*/ 106680 w 790574"/>
                <a:gd name="connsiteY62" fmla="*/ 2106930 h 6376035"/>
                <a:gd name="connsiteX63" fmla="*/ 53340 w 790574"/>
                <a:gd name="connsiteY63" fmla="*/ 2053590 h 6376035"/>
                <a:gd name="connsiteX64" fmla="*/ 0 w 790574"/>
                <a:gd name="connsiteY64" fmla="*/ 2106930 h 6376035"/>
                <a:gd name="connsiteX65" fmla="*/ 9525 w 790574"/>
                <a:gd name="connsiteY65" fmla="*/ 1900238 h 6376035"/>
                <a:gd name="connsiteX66" fmla="*/ 53340 w 790574"/>
                <a:gd name="connsiteY66" fmla="*/ 1944053 h 6376035"/>
                <a:gd name="connsiteX67" fmla="*/ 97155 w 790574"/>
                <a:gd name="connsiteY67" fmla="*/ 1900238 h 6376035"/>
                <a:gd name="connsiteX68" fmla="*/ 53340 w 790574"/>
                <a:gd name="connsiteY68" fmla="*/ 1856423 h 6376035"/>
                <a:gd name="connsiteX69" fmla="*/ 9525 w 790574"/>
                <a:gd name="connsiteY69" fmla="*/ 1900238 h 6376035"/>
                <a:gd name="connsiteX70" fmla="*/ 220028 w 790574"/>
                <a:gd name="connsiteY70" fmla="*/ 6322695 h 6376035"/>
                <a:gd name="connsiteX71" fmla="*/ 273368 w 790574"/>
                <a:gd name="connsiteY71" fmla="*/ 6376035 h 6376035"/>
                <a:gd name="connsiteX72" fmla="*/ 326708 w 790574"/>
                <a:gd name="connsiteY72" fmla="*/ 6322695 h 6376035"/>
                <a:gd name="connsiteX73" fmla="*/ 273368 w 790574"/>
                <a:gd name="connsiteY73" fmla="*/ 6269355 h 6376035"/>
                <a:gd name="connsiteX74" fmla="*/ 220028 w 790574"/>
                <a:gd name="connsiteY74" fmla="*/ 6322695 h 6376035"/>
                <a:gd name="connsiteX75" fmla="*/ 211455 w 790574"/>
                <a:gd name="connsiteY75" fmla="*/ 6081713 h 6376035"/>
                <a:gd name="connsiteX76" fmla="*/ 273368 w 790574"/>
                <a:gd name="connsiteY76" fmla="*/ 6143625 h 6376035"/>
                <a:gd name="connsiteX77" fmla="*/ 335280 w 790574"/>
                <a:gd name="connsiteY77" fmla="*/ 6081713 h 6376035"/>
                <a:gd name="connsiteX78" fmla="*/ 273368 w 790574"/>
                <a:gd name="connsiteY78" fmla="*/ 6019800 h 6376035"/>
                <a:gd name="connsiteX79" fmla="*/ 211455 w 790574"/>
                <a:gd name="connsiteY79" fmla="*/ 6081713 h 6376035"/>
                <a:gd name="connsiteX80" fmla="*/ 220028 w 790574"/>
                <a:gd name="connsiteY80" fmla="*/ 5452110 h 6376035"/>
                <a:gd name="connsiteX81" fmla="*/ 273368 w 790574"/>
                <a:gd name="connsiteY81" fmla="*/ 5505450 h 6376035"/>
                <a:gd name="connsiteX82" fmla="*/ 326708 w 790574"/>
                <a:gd name="connsiteY82" fmla="*/ 5452110 h 6376035"/>
                <a:gd name="connsiteX83" fmla="*/ 273368 w 790574"/>
                <a:gd name="connsiteY83" fmla="*/ 5398770 h 6376035"/>
                <a:gd name="connsiteX84" fmla="*/ 220028 w 790574"/>
                <a:gd name="connsiteY84" fmla="*/ 5452110 h 6376035"/>
                <a:gd name="connsiteX85" fmla="*/ 238125 w 790574"/>
                <a:gd name="connsiteY85" fmla="*/ 5033010 h 6376035"/>
                <a:gd name="connsiteX86" fmla="*/ 273368 w 790574"/>
                <a:gd name="connsiteY86" fmla="*/ 5068253 h 6376035"/>
                <a:gd name="connsiteX87" fmla="*/ 308610 w 790574"/>
                <a:gd name="connsiteY87" fmla="*/ 5033010 h 6376035"/>
                <a:gd name="connsiteX88" fmla="*/ 273368 w 790574"/>
                <a:gd name="connsiteY88" fmla="*/ 4997768 h 6376035"/>
                <a:gd name="connsiteX89" fmla="*/ 238125 w 790574"/>
                <a:gd name="connsiteY89" fmla="*/ 5033010 h 6376035"/>
                <a:gd name="connsiteX90" fmla="*/ 241935 w 790574"/>
                <a:gd name="connsiteY90" fmla="*/ 4823460 h 6376035"/>
                <a:gd name="connsiteX91" fmla="*/ 273368 w 790574"/>
                <a:gd name="connsiteY91" fmla="*/ 4854893 h 6376035"/>
                <a:gd name="connsiteX92" fmla="*/ 304800 w 790574"/>
                <a:gd name="connsiteY92" fmla="*/ 4823460 h 6376035"/>
                <a:gd name="connsiteX93" fmla="*/ 273368 w 790574"/>
                <a:gd name="connsiteY93" fmla="*/ 4792028 h 6376035"/>
                <a:gd name="connsiteX94" fmla="*/ 241935 w 790574"/>
                <a:gd name="connsiteY94" fmla="*/ 4823460 h 6376035"/>
                <a:gd name="connsiteX95" fmla="*/ 211455 w 790574"/>
                <a:gd name="connsiteY95" fmla="*/ 5662613 h 6376035"/>
                <a:gd name="connsiteX96" fmla="*/ 273368 w 790574"/>
                <a:gd name="connsiteY96" fmla="*/ 5724525 h 6376035"/>
                <a:gd name="connsiteX97" fmla="*/ 335280 w 790574"/>
                <a:gd name="connsiteY97" fmla="*/ 5662613 h 6376035"/>
                <a:gd name="connsiteX98" fmla="*/ 273368 w 790574"/>
                <a:gd name="connsiteY98" fmla="*/ 5600700 h 6376035"/>
                <a:gd name="connsiteX99" fmla="*/ 211455 w 790574"/>
                <a:gd name="connsiteY99" fmla="*/ 5662613 h 6376035"/>
                <a:gd name="connsiteX100" fmla="*/ 228600 w 790574"/>
                <a:gd name="connsiteY100" fmla="*/ 5242560 h 6376035"/>
                <a:gd name="connsiteX101" fmla="*/ 272415 w 790574"/>
                <a:gd name="connsiteY101" fmla="*/ 5286375 h 6376035"/>
                <a:gd name="connsiteX102" fmla="*/ 316230 w 790574"/>
                <a:gd name="connsiteY102" fmla="*/ 5242560 h 6376035"/>
                <a:gd name="connsiteX103" fmla="*/ 272415 w 790574"/>
                <a:gd name="connsiteY103" fmla="*/ 5198745 h 6376035"/>
                <a:gd name="connsiteX104" fmla="*/ 228600 w 790574"/>
                <a:gd name="connsiteY104" fmla="*/ 5242560 h 6376035"/>
                <a:gd name="connsiteX105" fmla="*/ 241935 w 790574"/>
                <a:gd name="connsiteY105" fmla="*/ 4404360 h 6376035"/>
                <a:gd name="connsiteX106" fmla="*/ 273368 w 790574"/>
                <a:gd name="connsiteY106" fmla="*/ 4435793 h 6376035"/>
                <a:gd name="connsiteX107" fmla="*/ 304800 w 790574"/>
                <a:gd name="connsiteY107" fmla="*/ 4404360 h 6376035"/>
                <a:gd name="connsiteX108" fmla="*/ 273368 w 790574"/>
                <a:gd name="connsiteY108" fmla="*/ 4372928 h 6376035"/>
                <a:gd name="connsiteX109" fmla="*/ 241935 w 790574"/>
                <a:gd name="connsiteY109" fmla="*/ 4404360 h 6376035"/>
                <a:gd name="connsiteX110" fmla="*/ 241935 w 790574"/>
                <a:gd name="connsiteY110" fmla="*/ 4193858 h 6376035"/>
                <a:gd name="connsiteX111" fmla="*/ 273368 w 790574"/>
                <a:gd name="connsiteY111" fmla="*/ 4225290 h 6376035"/>
                <a:gd name="connsiteX112" fmla="*/ 304800 w 790574"/>
                <a:gd name="connsiteY112" fmla="*/ 4193858 h 6376035"/>
                <a:gd name="connsiteX113" fmla="*/ 273368 w 790574"/>
                <a:gd name="connsiteY113" fmla="*/ 4162425 h 6376035"/>
                <a:gd name="connsiteX114" fmla="*/ 241935 w 790574"/>
                <a:gd name="connsiteY114" fmla="*/ 4193858 h 6376035"/>
                <a:gd name="connsiteX115" fmla="*/ 241935 w 790574"/>
                <a:gd name="connsiteY115" fmla="*/ 4613910 h 6376035"/>
                <a:gd name="connsiteX116" fmla="*/ 273368 w 790574"/>
                <a:gd name="connsiteY116" fmla="*/ 4645343 h 6376035"/>
                <a:gd name="connsiteX117" fmla="*/ 304800 w 790574"/>
                <a:gd name="connsiteY117" fmla="*/ 4613910 h 6376035"/>
                <a:gd name="connsiteX118" fmla="*/ 273368 w 790574"/>
                <a:gd name="connsiteY118" fmla="*/ 4582478 h 6376035"/>
                <a:gd name="connsiteX119" fmla="*/ 241935 w 790574"/>
                <a:gd name="connsiteY119" fmla="*/ 4613910 h 6376035"/>
                <a:gd name="connsiteX120" fmla="*/ 195263 w 790574"/>
                <a:gd name="connsiteY120" fmla="*/ 5872163 h 6376035"/>
                <a:gd name="connsiteX121" fmla="*/ 273368 w 790574"/>
                <a:gd name="connsiteY121" fmla="*/ 5950268 h 6376035"/>
                <a:gd name="connsiteX122" fmla="*/ 351473 w 790574"/>
                <a:gd name="connsiteY122" fmla="*/ 5872163 h 6376035"/>
                <a:gd name="connsiteX123" fmla="*/ 273368 w 790574"/>
                <a:gd name="connsiteY123" fmla="*/ 5794058 h 6376035"/>
                <a:gd name="connsiteX124" fmla="*/ 195263 w 790574"/>
                <a:gd name="connsiteY124" fmla="*/ 5872163 h 6376035"/>
                <a:gd name="connsiteX125" fmla="*/ 241935 w 790574"/>
                <a:gd name="connsiteY125" fmla="*/ 4029075 h 6376035"/>
                <a:gd name="connsiteX126" fmla="*/ 273368 w 790574"/>
                <a:gd name="connsiteY126" fmla="*/ 4060508 h 6376035"/>
                <a:gd name="connsiteX127" fmla="*/ 304800 w 790574"/>
                <a:gd name="connsiteY127" fmla="*/ 4029075 h 6376035"/>
                <a:gd name="connsiteX128" fmla="*/ 273368 w 790574"/>
                <a:gd name="connsiteY128" fmla="*/ 3997643 h 6376035"/>
                <a:gd name="connsiteX129" fmla="*/ 241935 w 790574"/>
                <a:gd name="connsiteY129" fmla="*/ 4029075 h 6376035"/>
                <a:gd name="connsiteX130" fmla="*/ 241935 w 790574"/>
                <a:gd name="connsiteY130" fmla="*/ 3788093 h 6376035"/>
                <a:gd name="connsiteX131" fmla="*/ 273368 w 790574"/>
                <a:gd name="connsiteY131" fmla="*/ 3819525 h 6376035"/>
                <a:gd name="connsiteX132" fmla="*/ 304800 w 790574"/>
                <a:gd name="connsiteY132" fmla="*/ 3788093 h 6376035"/>
                <a:gd name="connsiteX133" fmla="*/ 273368 w 790574"/>
                <a:gd name="connsiteY133" fmla="*/ 3756660 h 6376035"/>
                <a:gd name="connsiteX134" fmla="*/ 241935 w 790574"/>
                <a:gd name="connsiteY134" fmla="*/ 3788093 h 6376035"/>
                <a:gd name="connsiteX135" fmla="*/ 241935 w 790574"/>
                <a:gd name="connsiteY135" fmla="*/ 3577590 h 6376035"/>
                <a:gd name="connsiteX136" fmla="*/ 273368 w 790574"/>
                <a:gd name="connsiteY136" fmla="*/ 3609023 h 6376035"/>
                <a:gd name="connsiteX137" fmla="*/ 304800 w 790574"/>
                <a:gd name="connsiteY137" fmla="*/ 3577590 h 6376035"/>
                <a:gd name="connsiteX138" fmla="*/ 273368 w 790574"/>
                <a:gd name="connsiteY138" fmla="*/ 3546158 h 6376035"/>
                <a:gd name="connsiteX139" fmla="*/ 241935 w 790574"/>
                <a:gd name="connsiteY139" fmla="*/ 3577590 h 6376035"/>
                <a:gd name="connsiteX140" fmla="*/ 241935 w 790574"/>
                <a:gd name="connsiteY140" fmla="*/ 3368040 h 6376035"/>
                <a:gd name="connsiteX141" fmla="*/ 273368 w 790574"/>
                <a:gd name="connsiteY141" fmla="*/ 3399473 h 6376035"/>
                <a:gd name="connsiteX142" fmla="*/ 304800 w 790574"/>
                <a:gd name="connsiteY142" fmla="*/ 3368040 h 6376035"/>
                <a:gd name="connsiteX143" fmla="*/ 273368 w 790574"/>
                <a:gd name="connsiteY143" fmla="*/ 3336608 h 6376035"/>
                <a:gd name="connsiteX144" fmla="*/ 241935 w 790574"/>
                <a:gd name="connsiteY144" fmla="*/ 3368040 h 6376035"/>
                <a:gd name="connsiteX145" fmla="*/ 461963 w 790574"/>
                <a:gd name="connsiteY145" fmla="*/ 4026218 h 6376035"/>
                <a:gd name="connsiteX146" fmla="*/ 493395 w 790574"/>
                <a:gd name="connsiteY146" fmla="*/ 4057650 h 6376035"/>
                <a:gd name="connsiteX147" fmla="*/ 524828 w 790574"/>
                <a:gd name="connsiteY147" fmla="*/ 4026218 h 6376035"/>
                <a:gd name="connsiteX148" fmla="*/ 493395 w 790574"/>
                <a:gd name="connsiteY148" fmla="*/ 3994785 h 6376035"/>
                <a:gd name="connsiteX149" fmla="*/ 461963 w 790574"/>
                <a:gd name="connsiteY149" fmla="*/ 4026218 h 6376035"/>
                <a:gd name="connsiteX150" fmla="*/ 461963 w 790574"/>
                <a:gd name="connsiteY150" fmla="*/ 3813810 h 6376035"/>
                <a:gd name="connsiteX151" fmla="*/ 493395 w 790574"/>
                <a:gd name="connsiteY151" fmla="*/ 3845243 h 6376035"/>
                <a:gd name="connsiteX152" fmla="*/ 524828 w 790574"/>
                <a:gd name="connsiteY152" fmla="*/ 3813810 h 6376035"/>
                <a:gd name="connsiteX153" fmla="*/ 493395 w 790574"/>
                <a:gd name="connsiteY153" fmla="*/ 3782378 h 6376035"/>
                <a:gd name="connsiteX154" fmla="*/ 461963 w 790574"/>
                <a:gd name="connsiteY154" fmla="*/ 3813810 h 6376035"/>
                <a:gd name="connsiteX155" fmla="*/ 440055 w 790574"/>
                <a:gd name="connsiteY155" fmla="*/ 3175635 h 6376035"/>
                <a:gd name="connsiteX156" fmla="*/ 493395 w 790574"/>
                <a:gd name="connsiteY156" fmla="*/ 3228975 h 6376035"/>
                <a:gd name="connsiteX157" fmla="*/ 546735 w 790574"/>
                <a:gd name="connsiteY157" fmla="*/ 3175635 h 6376035"/>
                <a:gd name="connsiteX158" fmla="*/ 493395 w 790574"/>
                <a:gd name="connsiteY158" fmla="*/ 3122295 h 6376035"/>
                <a:gd name="connsiteX159" fmla="*/ 440055 w 790574"/>
                <a:gd name="connsiteY159" fmla="*/ 3175635 h 6376035"/>
                <a:gd name="connsiteX160" fmla="*/ 431483 w 790574"/>
                <a:gd name="connsiteY160" fmla="*/ 2963228 h 6376035"/>
                <a:gd name="connsiteX161" fmla="*/ 493395 w 790574"/>
                <a:gd name="connsiteY161" fmla="*/ 3025140 h 6376035"/>
                <a:gd name="connsiteX162" fmla="*/ 555308 w 790574"/>
                <a:gd name="connsiteY162" fmla="*/ 2963228 h 6376035"/>
                <a:gd name="connsiteX163" fmla="*/ 493395 w 790574"/>
                <a:gd name="connsiteY163" fmla="*/ 2901315 h 6376035"/>
                <a:gd name="connsiteX164" fmla="*/ 431483 w 790574"/>
                <a:gd name="connsiteY164" fmla="*/ 2963228 h 6376035"/>
                <a:gd name="connsiteX165" fmla="*/ 431483 w 790574"/>
                <a:gd name="connsiteY165" fmla="*/ 2538413 h 6376035"/>
                <a:gd name="connsiteX166" fmla="*/ 493395 w 790574"/>
                <a:gd name="connsiteY166" fmla="*/ 2600325 h 6376035"/>
                <a:gd name="connsiteX167" fmla="*/ 555308 w 790574"/>
                <a:gd name="connsiteY167" fmla="*/ 2538413 h 6376035"/>
                <a:gd name="connsiteX168" fmla="*/ 493395 w 790574"/>
                <a:gd name="connsiteY168" fmla="*/ 2476500 h 6376035"/>
                <a:gd name="connsiteX169" fmla="*/ 431483 w 790574"/>
                <a:gd name="connsiteY169" fmla="*/ 2538413 h 6376035"/>
                <a:gd name="connsiteX170" fmla="*/ 457200 w 790574"/>
                <a:gd name="connsiteY170" fmla="*/ 3601403 h 6376035"/>
                <a:gd name="connsiteX171" fmla="*/ 492443 w 790574"/>
                <a:gd name="connsiteY171" fmla="*/ 3636645 h 6376035"/>
                <a:gd name="connsiteX172" fmla="*/ 527685 w 790574"/>
                <a:gd name="connsiteY172" fmla="*/ 3601403 h 6376035"/>
                <a:gd name="connsiteX173" fmla="*/ 492443 w 790574"/>
                <a:gd name="connsiteY173" fmla="*/ 3566160 h 6376035"/>
                <a:gd name="connsiteX174" fmla="*/ 457200 w 790574"/>
                <a:gd name="connsiteY174" fmla="*/ 3601403 h 6376035"/>
                <a:gd name="connsiteX175" fmla="*/ 448628 w 790574"/>
                <a:gd name="connsiteY175" fmla="*/ 3388043 h 6376035"/>
                <a:gd name="connsiteX176" fmla="*/ 492443 w 790574"/>
                <a:gd name="connsiteY176" fmla="*/ 3431858 h 6376035"/>
                <a:gd name="connsiteX177" fmla="*/ 536258 w 790574"/>
                <a:gd name="connsiteY177" fmla="*/ 3388043 h 6376035"/>
                <a:gd name="connsiteX178" fmla="*/ 492443 w 790574"/>
                <a:gd name="connsiteY178" fmla="*/ 3344228 h 6376035"/>
                <a:gd name="connsiteX179" fmla="*/ 448628 w 790574"/>
                <a:gd name="connsiteY179" fmla="*/ 3388043 h 6376035"/>
                <a:gd name="connsiteX180" fmla="*/ 448628 w 790574"/>
                <a:gd name="connsiteY180" fmla="*/ 2112645 h 6376035"/>
                <a:gd name="connsiteX181" fmla="*/ 492443 w 790574"/>
                <a:gd name="connsiteY181" fmla="*/ 2156460 h 6376035"/>
                <a:gd name="connsiteX182" fmla="*/ 536258 w 790574"/>
                <a:gd name="connsiteY182" fmla="*/ 2112645 h 6376035"/>
                <a:gd name="connsiteX183" fmla="*/ 492443 w 790574"/>
                <a:gd name="connsiteY183" fmla="*/ 2068830 h 6376035"/>
                <a:gd name="connsiteX184" fmla="*/ 448628 w 790574"/>
                <a:gd name="connsiteY184" fmla="*/ 2112645 h 6376035"/>
                <a:gd name="connsiteX185" fmla="*/ 457200 w 790574"/>
                <a:gd name="connsiteY185" fmla="*/ 1900238 h 6376035"/>
                <a:gd name="connsiteX186" fmla="*/ 492443 w 790574"/>
                <a:gd name="connsiteY186" fmla="*/ 1935480 h 6376035"/>
                <a:gd name="connsiteX187" fmla="*/ 527685 w 790574"/>
                <a:gd name="connsiteY187" fmla="*/ 1900238 h 6376035"/>
                <a:gd name="connsiteX188" fmla="*/ 492443 w 790574"/>
                <a:gd name="connsiteY188" fmla="*/ 1864995 h 6376035"/>
                <a:gd name="connsiteX189" fmla="*/ 457200 w 790574"/>
                <a:gd name="connsiteY189" fmla="*/ 1900238 h 6376035"/>
                <a:gd name="connsiteX190" fmla="*/ 440055 w 790574"/>
                <a:gd name="connsiteY190" fmla="*/ 2325053 h 6376035"/>
                <a:gd name="connsiteX191" fmla="*/ 493395 w 790574"/>
                <a:gd name="connsiteY191" fmla="*/ 2378393 h 6376035"/>
                <a:gd name="connsiteX192" fmla="*/ 546735 w 790574"/>
                <a:gd name="connsiteY192" fmla="*/ 2325053 h 6376035"/>
                <a:gd name="connsiteX193" fmla="*/ 493395 w 790574"/>
                <a:gd name="connsiteY193" fmla="*/ 2271713 h 6376035"/>
                <a:gd name="connsiteX194" fmla="*/ 440055 w 790574"/>
                <a:gd name="connsiteY194" fmla="*/ 2325053 h 6376035"/>
                <a:gd name="connsiteX195" fmla="*/ 415290 w 790574"/>
                <a:gd name="connsiteY195" fmla="*/ 2750820 h 6376035"/>
                <a:gd name="connsiteX196" fmla="*/ 493395 w 790574"/>
                <a:gd name="connsiteY196" fmla="*/ 2828925 h 6376035"/>
                <a:gd name="connsiteX197" fmla="*/ 571500 w 790574"/>
                <a:gd name="connsiteY197" fmla="*/ 2750820 h 6376035"/>
                <a:gd name="connsiteX198" fmla="*/ 493395 w 790574"/>
                <a:gd name="connsiteY198" fmla="*/ 2672715 h 6376035"/>
                <a:gd name="connsiteX199" fmla="*/ 415290 w 790574"/>
                <a:gd name="connsiteY199" fmla="*/ 2750820 h 6376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</a:cxnLst>
              <a:rect l="l" t="t" r="r" b="b"/>
              <a:pathLst>
                <a:path w="790574" h="6376035">
                  <a:moveTo>
                    <a:pt x="634365" y="661988"/>
                  </a:moveTo>
                  <a:cubicBezTo>
                    <a:pt x="634365" y="704850"/>
                    <a:pt x="669608" y="740093"/>
                    <a:pt x="712470" y="740093"/>
                  </a:cubicBezTo>
                  <a:cubicBezTo>
                    <a:pt x="755333" y="740093"/>
                    <a:pt x="790575" y="704850"/>
                    <a:pt x="790575" y="661988"/>
                  </a:cubicBezTo>
                  <a:cubicBezTo>
                    <a:pt x="790575" y="619125"/>
                    <a:pt x="755333" y="583883"/>
                    <a:pt x="712470" y="583883"/>
                  </a:cubicBezTo>
                  <a:cubicBezTo>
                    <a:pt x="669608" y="583883"/>
                    <a:pt x="634365" y="619125"/>
                    <a:pt x="634365" y="661988"/>
                  </a:cubicBezTo>
                  <a:close/>
                  <a:moveTo>
                    <a:pt x="677228" y="1695450"/>
                  </a:moveTo>
                  <a:cubicBezTo>
                    <a:pt x="679133" y="1714500"/>
                    <a:pt x="696278" y="1729740"/>
                    <a:pt x="715328" y="1727835"/>
                  </a:cubicBezTo>
                  <a:cubicBezTo>
                    <a:pt x="734378" y="1725930"/>
                    <a:pt x="749618" y="1708785"/>
                    <a:pt x="747713" y="1689735"/>
                  </a:cubicBezTo>
                  <a:cubicBezTo>
                    <a:pt x="745808" y="1670685"/>
                    <a:pt x="728663" y="1655445"/>
                    <a:pt x="709613" y="1657350"/>
                  </a:cubicBezTo>
                  <a:cubicBezTo>
                    <a:pt x="690563" y="1659255"/>
                    <a:pt x="676275" y="1676400"/>
                    <a:pt x="677228" y="1695450"/>
                  </a:cubicBezTo>
                  <a:close/>
                  <a:moveTo>
                    <a:pt x="668655" y="1486853"/>
                  </a:moveTo>
                  <a:cubicBezTo>
                    <a:pt x="668655" y="1511618"/>
                    <a:pt x="688658" y="1530668"/>
                    <a:pt x="712470" y="1530668"/>
                  </a:cubicBezTo>
                  <a:cubicBezTo>
                    <a:pt x="736283" y="1530668"/>
                    <a:pt x="756285" y="1510665"/>
                    <a:pt x="756285" y="1486853"/>
                  </a:cubicBezTo>
                  <a:cubicBezTo>
                    <a:pt x="756285" y="1463040"/>
                    <a:pt x="736283" y="1443038"/>
                    <a:pt x="712470" y="1443038"/>
                  </a:cubicBezTo>
                  <a:cubicBezTo>
                    <a:pt x="688658" y="1443038"/>
                    <a:pt x="668655" y="1462088"/>
                    <a:pt x="668655" y="1486853"/>
                  </a:cubicBezTo>
                  <a:close/>
                  <a:moveTo>
                    <a:pt x="650558" y="1074420"/>
                  </a:moveTo>
                  <a:cubicBezTo>
                    <a:pt x="650558" y="1108710"/>
                    <a:pt x="678180" y="1136333"/>
                    <a:pt x="712470" y="1136333"/>
                  </a:cubicBezTo>
                  <a:cubicBezTo>
                    <a:pt x="746760" y="1136333"/>
                    <a:pt x="774383" y="1108710"/>
                    <a:pt x="774383" y="1074420"/>
                  </a:cubicBezTo>
                  <a:cubicBezTo>
                    <a:pt x="774383" y="1040130"/>
                    <a:pt x="746760" y="1012508"/>
                    <a:pt x="712470" y="1012508"/>
                  </a:cubicBezTo>
                  <a:cubicBezTo>
                    <a:pt x="678180" y="1012508"/>
                    <a:pt x="650558" y="1040130"/>
                    <a:pt x="650558" y="1074420"/>
                  </a:cubicBezTo>
                  <a:close/>
                  <a:moveTo>
                    <a:pt x="660083" y="249555"/>
                  </a:moveTo>
                  <a:cubicBezTo>
                    <a:pt x="660083" y="279083"/>
                    <a:pt x="683895" y="302895"/>
                    <a:pt x="713423" y="302895"/>
                  </a:cubicBezTo>
                  <a:cubicBezTo>
                    <a:pt x="742950" y="302895"/>
                    <a:pt x="766763" y="279083"/>
                    <a:pt x="766763" y="249555"/>
                  </a:cubicBezTo>
                  <a:cubicBezTo>
                    <a:pt x="766763" y="220027"/>
                    <a:pt x="742950" y="196215"/>
                    <a:pt x="713423" y="196215"/>
                  </a:cubicBezTo>
                  <a:cubicBezTo>
                    <a:pt x="683895" y="197167"/>
                    <a:pt x="660083" y="220980"/>
                    <a:pt x="660083" y="249555"/>
                  </a:cubicBezTo>
                  <a:close/>
                  <a:moveTo>
                    <a:pt x="668655" y="43815"/>
                  </a:moveTo>
                  <a:cubicBezTo>
                    <a:pt x="668655" y="68580"/>
                    <a:pt x="688658" y="87630"/>
                    <a:pt x="712470" y="87630"/>
                  </a:cubicBezTo>
                  <a:cubicBezTo>
                    <a:pt x="736283" y="87630"/>
                    <a:pt x="756285" y="67627"/>
                    <a:pt x="756285" y="43815"/>
                  </a:cubicBezTo>
                  <a:cubicBezTo>
                    <a:pt x="756285" y="19050"/>
                    <a:pt x="736283" y="0"/>
                    <a:pt x="712470" y="0"/>
                  </a:cubicBezTo>
                  <a:cubicBezTo>
                    <a:pt x="688658" y="0"/>
                    <a:pt x="668655" y="19050"/>
                    <a:pt x="668655" y="43815"/>
                  </a:cubicBezTo>
                  <a:close/>
                  <a:moveTo>
                    <a:pt x="660083" y="1280160"/>
                  </a:moveTo>
                  <a:cubicBezTo>
                    <a:pt x="660083" y="1309688"/>
                    <a:pt x="683895" y="1333500"/>
                    <a:pt x="713423" y="1333500"/>
                  </a:cubicBezTo>
                  <a:cubicBezTo>
                    <a:pt x="742950" y="1333500"/>
                    <a:pt x="766763" y="1309688"/>
                    <a:pt x="766763" y="1280160"/>
                  </a:cubicBezTo>
                  <a:cubicBezTo>
                    <a:pt x="766763" y="1250633"/>
                    <a:pt x="742950" y="1226820"/>
                    <a:pt x="713423" y="1226820"/>
                  </a:cubicBezTo>
                  <a:cubicBezTo>
                    <a:pt x="683895" y="1227773"/>
                    <a:pt x="660083" y="1251585"/>
                    <a:pt x="660083" y="1280160"/>
                  </a:cubicBezTo>
                  <a:close/>
                  <a:moveTo>
                    <a:pt x="650558" y="456248"/>
                  </a:moveTo>
                  <a:cubicBezTo>
                    <a:pt x="650558" y="490538"/>
                    <a:pt x="678180" y="518160"/>
                    <a:pt x="712470" y="518160"/>
                  </a:cubicBezTo>
                  <a:cubicBezTo>
                    <a:pt x="746760" y="518160"/>
                    <a:pt x="774383" y="490538"/>
                    <a:pt x="774383" y="456248"/>
                  </a:cubicBezTo>
                  <a:cubicBezTo>
                    <a:pt x="774383" y="421958"/>
                    <a:pt x="746760" y="394335"/>
                    <a:pt x="712470" y="394335"/>
                  </a:cubicBezTo>
                  <a:cubicBezTo>
                    <a:pt x="678180" y="394335"/>
                    <a:pt x="650558" y="421958"/>
                    <a:pt x="650558" y="456248"/>
                  </a:cubicBezTo>
                  <a:close/>
                  <a:moveTo>
                    <a:pt x="634365" y="868680"/>
                  </a:moveTo>
                  <a:cubicBezTo>
                    <a:pt x="634365" y="911543"/>
                    <a:pt x="669608" y="946785"/>
                    <a:pt x="712470" y="946785"/>
                  </a:cubicBezTo>
                  <a:cubicBezTo>
                    <a:pt x="755333" y="946785"/>
                    <a:pt x="790575" y="911543"/>
                    <a:pt x="790575" y="868680"/>
                  </a:cubicBezTo>
                  <a:cubicBezTo>
                    <a:pt x="790575" y="825818"/>
                    <a:pt x="756285" y="790575"/>
                    <a:pt x="712470" y="790575"/>
                  </a:cubicBezTo>
                  <a:cubicBezTo>
                    <a:pt x="668655" y="790575"/>
                    <a:pt x="634365" y="824865"/>
                    <a:pt x="634365" y="868680"/>
                  </a:cubicBezTo>
                  <a:close/>
                  <a:moveTo>
                    <a:pt x="18098" y="1695450"/>
                  </a:moveTo>
                  <a:cubicBezTo>
                    <a:pt x="20003" y="1714500"/>
                    <a:pt x="37148" y="1729740"/>
                    <a:pt x="56198" y="1727835"/>
                  </a:cubicBezTo>
                  <a:cubicBezTo>
                    <a:pt x="75248" y="1725930"/>
                    <a:pt x="90488" y="1708785"/>
                    <a:pt x="88583" y="1689735"/>
                  </a:cubicBezTo>
                  <a:cubicBezTo>
                    <a:pt x="86678" y="1670685"/>
                    <a:pt x="69533" y="1655445"/>
                    <a:pt x="50483" y="1657350"/>
                  </a:cubicBezTo>
                  <a:cubicBezTo>
                    <a:pt x="30480" y="1659255"/>
                    <a:pt x="16193" y="1676400"/>
                    <a:pt x="18098" y="1695450"/>
                  </a:cubicBezTo>
                  <a:close/>
                  <a:moveTo>
                    <a:pt x="9525" y="1486853"/>
                  </a:moveTo>
                  <a:cubicBezTo>
                    <a:pt x="9525" y="1511618"/>
                    <a:pt x="29528" y="1530668"/>
                    <a:pt x="53340" y="1530668"/>
                  </a:cubicBezTo>
                  <a:cubicBezTo>
                    <a:pt x="77153" y="1530668"/>
                    <a:pt x="97155" y="1510665"/>
                    <a:pt x="97155" y="1486853"/>
                  </a:cubicBezTo>
                  <a:cubicBezTo>
                    <a:pt x="97155" y="1463040"/>
                    <a:pt x="77153" y="1443038"/>
                    <a:pt x="53340" y="1443038"/>
                  </a:cubicBezTo>
                  <a:cubicBezTo>
                    <a:pt x="29528" y="1443038"/>
                    <a:pt x="9525" y="1462088"/>
                    <a:pt x="9525" y="1486853"/>
                  </a:cubicBezTo>
                  <a:close/>
                  <a:moveTo>
                    <a:pt x="0" y="1280160"/>
                  </a:moveTo>
                  <a:cubicBezTo>
                    <a:pt x="0" y="1309688"/>
                    <a:pt x="23813" y="1333500"/>
                    <a:pt x="53340" y="1333500"/>
                  </a:cubicBezTo>
                  <a:cubicBezTo>
                    <a:pt x="82868" y="1333500"/>
                    <a:pt x="106680" y="1309688"/>
                    <a:pt x="106680" y="1280160"/>
                  </a:cubicBezTo>
                  <a:cubicBezTo>
                    <a:pt x="106680" y="1250633"/>
                    <a:pt x="82868" y="1226820"/>
                    <a:pt x="53340" y="1226820"/>
                  </a:cubicBezTo>
                  <a:cubicBezTo>
                    <a:pt x="23813" y="1226820"/>
                    <a:pt x="0" y="1251585"/>
                    <a:pt x="0" y="1280160"/>
                  </a:cubicBezTo>
                  <a:close/>
                  <a:moveTo>
                    <a:pt x="0" y="2106930"/>
                  </a:moveTo>
                  <a:cubicBezTo>
                    <a:pt x="0" y="2136458"/>
                    <a:pt x="23813" y="2160270"/>
                    <a:pt x="53340" y="2160270"/>
                  </a:cubicBezTo>
                  <a:cubicBezTo>
                    <a:pt x="82868" y="2160270"/>
                    <a:pt x="106680" y="2136458"/>
                    <a:pt x="106680" y="2106930"/>
                  </a:cubicBezTo>
                  <a:cubicBezTo>
                    <a:pt x="106680" y="2077403"/>
                    <a:pt x="82868" y="2053590"/>
                    <a:pt x="53340" y="2053590"/>
                  </a:cubicBezTo>
                  <a:cubicBezTo>
                    <a:pt x="23813" y="2053590"/>
                    <a:pt x="0" y="2077403"/>
                    <a:pt x="0" y="2106930"/>
                  </a:cubicBezTo>
                  <a:close/>
                  <a:moveTo>
                    <a:pt x="9525" y="1900238"/>
                  </a:moveTo>
                  <a:cubicBezTo>
                    <a:pt x="9525" y="1925003"/>
                    <a:pt x="29528" y="1944053"/>
                    <a:pt x="53340" y="1944053"/>
                  </a:cubicBezTo>
                  <a:cubicBezTo>
                    <a:pt x="77153" y="1944053"/>
                    <a:pt x="97155" y="1924050"/>
                    <a:pt x="97155" y="1900238"/>
                  </a:cubicBezTo>
                  <a:cubicBezTo>
                    <a:pt x="97155" y="1876425"/>
                    <a:pt x="77153" y="1856423"/>
                    <a:pt x="53340" y="1856423"/>
                  </a:cubicBezTo>
                  <a:cubicBezTo>
                    <a:pt x="29528" y="1856423"/>
                    <a:pt x="9525" y="1875473"/>
                    <a:pt x="9525" y="1900238"/>
                  </a:cubicBezTo>
                  <a:close/>
                  <a:moveTo>
                    <a:pt x="220028" y="6322695"/>
                  </a:moveTo>
                  <a:cubicBezTo>
                    <a:pt x="220028" y="6352223"/>
                    <a:pt x="243840" y="6376035"/>
                    <a:pt x="273368" y="6376035"/>
                  </a:cubicBezTo>
                  <a:cubicBezTo>
                    <a:pt x="302895" y="6376035"/>
                    <a:pt x="326708" y="6352223"/>
                    <a:pt x="326708" y="6322695"/>
                  </a:cubicBezTo>
                  <a:cubicBezTo>
                    <a:pt x="326708" y="6293168"/>
                    <a:pt x="302895" y="6269355"/>
                    <a:pt x="273368" y="6269355"/>
                  </a:cubicBezTo>
                  <a:cubicBezTo>
                    <a:pt x="243840" y="6269355"/>
                    <a:pt x="220028" y="6293168"/>
                    <a:pt x="220028" y="6322695"/>
                  </a:cubicBezTo>
                  <a:close/>
                  <a:moveTo>
                    <a:pt x="211455" y="6081713"/>
                  </a:moveTo>
                  <a:cubicBezTo>
                    <a:pt x="211455" y="6116003"/>
                    <a:pt x="239078" y="6143625"/>
                    <a:pt x="273368" y="6143625"/>
                  </a:cubicBezTo>
                  <a:cubicBezTo>
                    <a:pt x="307658" y="6143625"/>
                    <a:pt x="335280" y="6116003"/>
                    <a:pt x="335280" y="6081713"/>
                  </a:cubicBezTo>
                  <a:cubicBezTo>
                    <a:pt x="335280" y="6047423"/>
                    <a:pt x="307658" y="6019800"/>
                    <a:pt x="273368" y="6019800"/>
                  </a:cubicBezTo>
                  <a:cubicBezTo>
                    <a:pt x="239078" y="6019800"/>
                    <a:pt x="211455" y="6047423"/>
                    <a:pt x="211455" y="6081713"/>
                  </a:cubicBezTo>
                  <a:close/>
                  <a:moveTo>
                    <a:pt x="220028" y="5452110"/>
                  </a:moveTo>
                  <a:cubicBezTo>
                    <a:pt x="220028" y="5481638"/>
                    <a:pt x="243840" y="5505450"/>
                    <a:pt x="273368" y="5505450"/>
                  </a:cubicBezTo>
                  <a:cubicBezTo>
                    <a:pt x="302895" y="5505450"/>
                    <a:pt x="326708" y="5481638"/>
                    <a:pt x="326708" y="5452110"/>
                  </a:cubicBezTo>
                  <a:cubicBezTo>
                    <a:pt x="326708" y="5422583"/>
                    <a:pt x="302895" y="5398770"/>
                    <a:pt x="273368" y="5398770"/>
                  </a:cubicBezTo>
                  <a:cubicBezTo>
                    <a:pt x="243840" y="5398770"/>
                    <a:pt x="220028" y="5423535"/>
                    <a:pt x="220028" y="5452110"/>
                  </a:cubicBezTo>
                  <a:close/>
                  <a:moveTo>
                    <a:pt x="238125" y="5033010"/>
                  </a:moveTo>
                  <a:cubicBezTo>
                    <a:pt x="238125" y="5052060"/>
                    <a:pt x="254318" y="5068253"/>
                    <a:pt x="273368" y="5068253"/>
                  </a:cubicBezTo>
                  <a:cubicBezTo>
                    <a:pt x="292418" y="5068253"/>
                    <a:pt x="308610" y="5052060"/>
                    <a:pt x="308610" y="5033010"/>
                  </a:cubicBezTo>
                  <a:cubicBezTo>
                    <a:pt x="308610" y="5013960"/>
                    <a:pt x="292418" y="4997768"/>
                    <a:pt x="273368" y="4997768"/>
                  </a:cubicBezTo>
                  <a:cubicBezTo>
                    <a:pt x="254318" y="4997768"/>
                    <a:pt x="238125" y="5013960"/>
                    <a:pt x="238125" y="5033010"/>
                  </a:cubicBezTo>
                  <a:close/>
                  <a:moveTo>
                    <a:pt x="241935" y="4823460"/>
                  </a:moveTo>
                  <a:cubicBezTo>
                    <a:pt x="241935" y="4840605"/>
                    <a:pt x="256223" y="4854893"/>
                    <a:pt x="273368" y="4854893"/>
                  </a:cubicBezTo>
                  <a:cubicBezTo>
                    <a:pt x="290513" y="4854893"/>
                    <a:pt x="304800" y="4840605"/>
                    <a:pt x="304800" y="4823460"/>
                  </a:cubicBezTo>
                  <a:cubicBezTo>
                    <a:pt x="304800" y="4806315"/>
                    <a:pt x="290513" y="4792028"/>
                    <a:pt x="273368" y="4792028"/>
                  </a:cubicBezTo>
                  <a:cubicBezTo>
                    <a:pt x="256223" y="4792028"/>
                    <a:pt x="241935" y="4806315"/>
                    <a:pt x="241935" y="4823460"/>
                  </a:cubicBezTo>
                  <a:close/>
                  <a:moveTo>
                    <a:pt x="211455" y="5662613"/>
                  </a:moveTo>
                  <a:cubicBezTo>
                    <a:pt x="211455" y="5696903"/>
                    <a:pt x="239078" y="5724525"/>
                    <a:pt x="273368" y="5724525"/>
                  </a:cubicBezTo>
                  <a:cubicBezTo>
                    <a:pt x="307658" y="5724525"/>
                    <a:pt x="335280" y="5696903"/>
                    <a:pt x="335280" y="5662613"/>
                  </a:cubicBezTo>
                  <a:cubicBezTo>
                    <a:pt x="335280" y="5628323"/>
                    <a:pt x="307658" y="5600700"/>
                    <a:pt x="273368" y="5600700"/>
                  </a:cubicBezTo>
                  <a:cubicBezTo>
                    <a:pt x="239078" y="5600700"/>
                    <a:pt x="211455" y="5628323"/>
                    <a:pt x="211455" y="5662613"/>
                  </a:cubicBezTo>
                  <a:close/>
                  <a:moveTo>
                    <a:pt x="228600" y="5242560"/>
                  </a:moveTo>
                  <a:cubicBezTo>
                    <a:pt x="228600" y="5267325"/>
                    <a:pt x="248603" y="5286375"/>
                    <a:pt x="272415" y="5286375"/>
                  </a:cubicBezTo>
                  <a:cubicBezTo>
                    <a:pt x="296228" y="5286375"/>
                    <a:pt x="316230" y="5266373"/>
                    <a:pt x="316230" y="5242560"/>
                  </a:cubicBezTo>
                  <a:cubicBezTo>
                    <a:pt x="316230" y="5217795"/>
                    <a:pt x="296228" y="5198745"/>
                    <a:pt x="272415" y="5198745"/>
                  </a:cubicBezTo>
                  <a:cubicBezTo>
                    <a:pt x="248603" y="5198745"/>
                    <a:pt x="228600" y="5218748"/>
                    <a:pt x="228600" y="5242560"/>
                  </a:cubicBezTo>
                  <a:close/>
                  <a:moveTo>
                    <a:pt x="241935" y="4404360"/>
                  </a:moveTo>
                  <a:cubicBezTo>
                    <a:pt x="241935" y="4421505"/>
                    <a:pt x="256223" y="4435793"/>
                    <a:pt x="273368" y="4435793"/>
                  </a:cubicBezTo>
                  <a:cubicBezTo>
                    <a:pt x="290513" y="4435793"/>
                    <a:pt x="304800" y="4421505"/>
                    <a:pt x="304800" y="4404360"/>
                  </a:cubicBezTo>
                  <a:cubicBezTo>
                    <a:pt x="304800" y="4387215"/>
                    <a:pt x="290513" y="4372928"/>
                    <a:pt x="273368" y="4372928"/>
                  </a:cubicBezTo>
                  <a:cubicBezTo>
                    <a:pt x="256223" y="4372928"/>
                    <a:pt x="241935" y="4386263"/>
                    <a:pt x="241935" y="4404360"/>
                  </a:cubicBezTo>
                  <a:close/>
                  <a:moveTo>
                    <a:pt x="241935" y="4193858"/>
                  </a:moveTo>
                  <a:cubicBezTo>
                    <a:pt x="241935" y="4211003"/>
                    <a:pt x="256223" y="4225290"/>
                    <a:pt x="273368" y="4225290"/>
                  </a:cubicBezTo>
                  <a:cubicBezTo>
                    <a:pt x="290513" y="4225290"/>
                    <a:pt x="304800" y="4211003"/>
                    <a:pt x="304800" y="4193858"/>
                  </a:cubicBezTo>
                  <a:cubicBezTo>
                    <a:pt x="304800" y="4176713"/>
                    <a:pt x="290513" y="4162425"/>
                    <a:pt x="273368" y="4162425"/>
                  </a:cubicBezTo>
                  <a:cubicBezTo>
                    <a:pt x="256223" y="4163378"/>
                    <a:pt x="241935" y="4176713"/>
                    <a:pt x="241935" y="4193858"/>
                  </a:cubicBezTo>
                  <a:close/>
                  <a:moveTo>
                    <a:pt x="241935" y="4613910"/>
                  </a:moveTo>
                  <a:cubicBezTo>
                    <a:pt x="241935" y="4631055"/>
                    <a:pt x="256223" y="4645343"/>
                    <a:pt x="273368" y="4645343"/>
                  </a:cubicBezTo>
                  <a:cubicBezTo>
                    <a:pt x="290513" y="4645343"/>
                    <a:pt x="304800" y="4631055"/>
                    <a:pt x="304800" y="4613910"/>
                  </a:cubicBezTo>
                  <a:cubicBezTo>
                    <a:pt x="304800" y="4596765"/>
                    <a:pt x="290513" y="4582478"/>
                    <a:pt x="273368" y="4582478"/>
                  </a:cubicBezTo>
                  <a:cubicBezTo>
                    <a:pt x="256223" y="4582478"/>
                    <a:pt x="241935" y="4596765"/>
                    <a:pt x="241935" y="4613910"/>
                  </a:cubicBezTo>
                  <a:close/>
                  <a:moveTo>
                    <a:pt x="195263" y="5872163"/>
                  </a:moveTo>
                  <a:cubicBezTo>
                    <a:pt x="195263" y="5915025"/>
                    <a:pt x="230505" y="5950268"/>
                    <a:pt x="273368" y="5950268"/>
                  </a:cubicBezTo>
                  <a:cubicBezTo>
                    <a:pt x="316230" y="5950268"/>
                    <a:pt x="351473" y="5915025"/>
                    <a:pt x="351473" y="5872163"/>
                  </a:cubicBezTo>
                  <a:cubicBezTo>
                    <a:pt x="351473" y="5829300"/>
                    <a:pt x="316230" y="5794058"/>
                    <a:pt x="273368" y="5794058"/>
                  </a:cubicBezTo>
                  <a:cubicBezTo>
                    <a:pt x="230505" y="5794058"/>
                    <a:pt x="195263" y="5828348"/>
                    <a:pt x="195263" y="5872163"/>
                  </a:cubicBezTo>
                  <a:close/>
                  <a:moveTo>
                    <a:pt x="241935" y="4029075"/>
                  </a:moveTo>
                  <a:cubicBezTo>
                    <a:pt x="241935" y="4046220"/>
                    <a:pt x="256223" y="4060508"/>
                    <a:pt x="273368" y="4060508"/>
                  </a:cubicBezTo>
                  <a:cubicBezTo>
                    <a:pt x="290513" y="4060508"/>
                    <a:pt x="304800" y="4046220"/>
                    <a:pt x="304800" y="4029075"/>
                  </a:cubicBezTo>
                  <a:cubicBezTo>
                    <a:pt x="304800" y="4011930"/>
                    <a:pt x="290513" y="3997643"/>
                    <a:pt x="273368" y="3997643"/>
                  </a:cubicBezTo>
                  <a:cubicBezTo>
                    <a:pt x="256223" y="3997643"/>
                    <a:pt x="241935" y="4010978"/>
                    <a:pt x="241935" y="4029075"/>
                  </a:cubicBezTo>
                  <a:close/>
                  <a:moveTo>
                    <a:pt x="241935" y="3788093"/>
                  </a:moveTo>
                  <a:cubicBezTo>
                    <a:pt x="241935" y="3805238"/>
                    <a:pt x="256223" y="3819525"/>
                    <a:pt x="273368" y="3819525"/>
                  </a:cubicBezTo>
                  <a:cubicBezTo>
                    <a:pt x="290513" y="3819525"/>
                    <a:pt x="304800" y="3805238"/>
                    <a:pt x="304800" y="3788093"/>
                  </a:cubicBezTo>
                  <a:cubicBezTo>
                    <a:pt x="304800" y="3770948"/>
                    <a:pt x="290513" y="3756660"/>
                    <a:pt x="273368" y="3756660"/>
                  </a:cubicBezTo>
                  <a:cubicBezTo>
                    <a:pt x="256223" y="3756660"/>
                    <a:pt x="241935" y="3769995"/>
                    <a:pt x="241935" y="3788093"/>
                  </a:cubicBezTo>
                  <a:close/>
                  <a:moveTo>
                    <a:pt x="241935" y="3577590"/>
                  </a:moveTo>
                  <a:cubicBezTo>
                    <a:pt x="241935" y="3594735"/>
                    <a:pt x="256223" y="3609023"/>
                    <a:pt x="273368" y="3609023"/>
                  </a:cubicBezTo>
                  <a:cubicBezTo>
                    <a:pt x="290513" y="3609023"/>
                    <a:pt x="304800" y="3594735"/>
                    <a:pt x="304800" y="3577590"/>
                  </a:cubicBezTo>
                  <a:cubicBezTo>
                    <a:pt x="304800" y="3560445"/>
                    <a:pt x="290513" y="3546158"/>
                    <a:pt x="273368" y="3546158"/>
                  </a:cubicBezTo>
                  <a:cubicBezTo>
                    <a:pt x="256223" y="3547110"/>
                    <a:pt x="241935" y="3560445"/>
                    <a:pt x="241935" y="3577590"/>
                  </a:cubicBezTo>
                  <a:close/>
                  <a:moveTo>
                    <a:pt x="241935" y="3368040"/>
                  </a:moveTo>
                  <a:cubicBezTo>
                    <a:pt x="241935" y="3385185"/>
                    <a:pt x="256223" y="3399473"/>
                    <a:pt x="273368" y="3399473"/>
                  </a:cubicBezTo>
                  <a:cubicBezTo>
                    <a:pt x="290513" y="3399473"/>
                    <a:pt x="304800" y="3385185"/>
                    <a:pt x="304800" y="3368040"/>
                  </a:cubicBezTo>
                  <a:cubicBezTo>
                    <a:pt x="304800" y="3350895"/>
                    <a:pt x="290513" y="3336608"/>
                    <a:pt x="273368" y="3336608"/>
                  </a:cubicBezTo>
                  <a:cubicBezTo>
                    <a:pt x="256223" y="3336608"/>
                    <a:pt x="241935" y="3350895"/>
                    <a:pt x="241935" y="3368040"/>
                  </a:cubicBezTo>
                  <a:close/>
                  <a:moveTo>
                    <a:pt x="461963" y="4026218"/>
                  </a:moveTo>
                  <a:cubicBezTo>
                    <a:pt x="461963" y="4043363"/>
                    <a:pt x="476250" y="4057650"/>
                    <a:pt x="493395" y="4057650"/>
                  </a:cubicBezTo>
                  <a:cubicBezTo>
                    <a:pt x="510540" y="4057650"/>
                    <a:pt x="524828" y="4043363"/>
                    <a:pt x="524828" y="4026218"/>
                  </a:cubicBezTo>
                  <a:cubicBezTo>
                    <a:pt x="524828" y="4009073"/>
                    <a:pt x="510540" y="3994785"/>
                    <a:pt x="493395" y="3994785"/>
                  </a:cubicBezTo>
                  <a:cubicBezTo>
                    <a:pt x="475298" y="3994785"/>
                    <a:pt x="461963" y="4009073"/>
                    <a:pt x="461963" y="4026218"/>
                  </a:cubicBezTo>
                  <a:close/>
                  <a:moveTo>
                    <a:pt x="461963" y="3813810"/>
                  </a:moveTo>
                  <a:cubicBezTo>
                    <a:pt x="461963" y="3830955"/>
                    <a:pt x="476250" y="3845243"/>
                    <a:pt x="493395" y="3845243"/>
                  </a:cubicBezTo>
                  <a:cubicBezTo>
                    <a:pt x="510540" y="3845243"/>
                    <a:pt x="524828" y="3830955"/>
                    <a:pt x="524828" y="3813810"/>
                  </a:cubicBezTo>
                  <a:cubicBezTo>
                    <a:pt x="524828" y="3796665"/>
                    <a:pt x="510540" y="3782378"/>
                    <a:pt x="493395" y="3782378"/>
                  </a:cubicBezTo>
                  <a:cubicBezTo>
                    <a:pt x="475298" y="3782378"/>
                    <a:pt x="461963" y="3796665"/>
                    <a:pt x="461963" y="3813810"/>
                  </a:cubicBezTo>
                  <a:close/>
                  <a:moveTo>
                    <a:pt x="440055" y="3175635"/>
                  </a:moveTo>
                  <a:cubicBezTo>
                    <a:pt x="440055" y="3205163"/>
                    <a:pt x="463868" y="3228975"/>
                    <a:pt x="493395" y="3228975"/>
                  </a:cubicBezTo>
                  <a:cubicBezTo>
                    <a:pt x="522923" y="3228975"/>
                    <a:pt x="546735" y="3205163"/>
                    <a:pt x="546735" y="3175635"/>
                  </a:cubicBezTo>
                  <a:cubicBezTo>
                    <a:pt x="546735" y="3146108"/>
                    <a:pt x="522923" y="3122295"/>
                    <a:pt x="493395" y="3122295"/>
                  </a:cubicBezTo>
                  <a:cubicBezTo>
                    <a:pt x="463868" y="3122295"/>
                    <a:pt x="440055" y="3147060"/>
                    <a:pt x="440055" y="3175635"/>
                  </a:cubicBezTo>
                  <a:close/>
                  <a:moveTo>
                    <a:pt x="431483" y="2963228"/>
                  </a:moveTo>
                  <a:cubicBezTo>
                    <a:pt x="431483" y="2997518"/>
                    <a:pt x="459105" y="3025140"/>
                    <a:pt x="493395" y="3025140"/>
                  </a:cubicBezTo>
                  <a:cubicBezTo>
                    <a:pt x="527685" y="3025140"/>
                    <a:pt x="555308" y="2997518"/>
                    <a:pt x="555308" y="2963228"/>
                  </a:cubicBezTo>
                  <a:cubicBezTo>
                    <a:pt x="555308" y="2928938"/>
                    <a:pt x="527685" y="2901315"/>
                    <a:pt x="493395" y="2901315"/>
                  </a:cubicBezTo>
                  <a:cubicBezTo>
                    <a:pt x="459105" y="2901315"/>
                    <a:pt x="431483" y="2928938"/>
                    <a:pt x="431483" y="2963228"/>
                  </a:cubicBezTo>
                  <a:moveTo>
                    <a:pt x="431483" y="2538413"/>
                  </a:moveTo>
                  <a:cubicBezTo>
                    <a:pt x="431483" y="2572703"/>
                    <a:pt x="459105" y="2600325"/>
                    <a:pt x="493395" y="2600325"/>
                  </a:cubicBezTo>
                  <a:cubicBezTo>
                    <a:pt x="527685" y="2600325"/>
                    <a:pt x="555308" y="2572703"/>
                    <a:pt x="555308" y="2538413"/>
                  </a:cubicBezTo>
                  <a:cubicBezTo>
                    <a:pt x="555308" y="2504123"/>
                    <a:pt x="527685" y="2476500"/>
                    <a:pt x="493395" y="2476500"/>
                  </a:cubicBezTo>
                  <a:cubicBezTo>
                    <a:pt x="459105" y="2476500"/>
                    <a:pt x="431483" y="2504123"/>
                    <a:pt x="431483" y="2538413"/>
                  </a:cubicBezTo>
                  <a:moveTo>
                    <a:pt x="457200" y="3601403"/>
                  </a:moveTo>
                  <a:cubicBezTo>
                    <a:pt x="457200" y="3620453"/>
                    <a:pt x="473393" y="3636645"/>
                    <a:pt x="492443" y="3636645"/>
                  </a:cubicBezTo>
                  <a:cubicBezTo>
                    <a:pt x="511493" y="3636645"/>
                    <a:pt x="527685" y="3620453"/>
                    <a:pt x="527685" y="3601403"/>
                  </a:cubicBezTo>
                  <a:cubicBezTo>
                    <a:pt x="527685" y="3582353"/>
                    <a:pt x="511493" y="3566160"/>
                    <a:pt x="492443" y="3566160"/>
                  </a:cubicBezTo>
                  <a:cubicBezTo>
                    <a:pt x="473393" y="3566160"/>
                    <a:pt x="457200" y="3581400"/>
                    <a:pt x="457200" y="3601403"/>
                  </a:cubicBezTo>
                  <a:close/>
                  <a:moveTo>
                    <a:pt x="448628" y="3388043"/>
                  </a:moveTo>
                  <a:cubicBezTo>
                    <a:pt x="448628" y="3412808"/>
                    <a:pt x="468630" y="3431858"/>
                    <a:pt x="492443" y="3431858"/>
                  </a:cubicBezTo>
                  <a:cubicBezTo>
                    <a:pt x="517208" y="3431858"/>
                    <a:pt x="536258" y="3411855"/>
                    <a:pt x="536258" y="3388043"/>
                  </a:cubicBezTo>
                  <a:cubicBezTo>
                    <a:pt x="536258" y="3363278"/>
                    <a:pt x="516255" y="3344228"/>
                    <a:pt x="492443" y="3344228"/>
                  </a:cubicBezTo>
                  <a:cubicBezTo>
                    <a:pt x="468630" y="3344228"/>
                    <a:pt x="448628" y="3364230"/>
                    <a:pt x="448628" y="3388043"/>
                  </a:cubicBezTo>
                  <a:close/>
                  <a:moveTo>
                    <a:pt x="448628" y="2112645"/>
                  </a:moveTo>
                  <a:cubicBezTo>
                    <a:pt x="448628" y="2137410"/>
                    <a:pt x="468630" y="2156460"/>
                    <a:pt x="492443" y="2156460"/>
                  </a:cubicBezTo>
                  <a:cubicBezTo>
                    <a:pt x="517208" y="2156460"/>
                    <a:pt x="536258" y="2136458"/>
                    <a:pt x="536258" y="2112645"/>
                  </a:cubicBezTo>
                  <a:cubicBezTo>
                    <a:pt x="536258" y="2088832"/>
                    <a:pt x="516255" y="2068830"/>
                    <a:pt x="492443" y="2068830"/>
                  </a:cubicBezTo>
                  <a:cubicBezTo>
                    <a:pt x="468630" y="2068830"/>
                    <a:pt x="448628" y="2088832"/>
                    <a:pt x="448628" y="2112645"/>
                  </a:cubicBezTo>
                  <a:close/>
                  <a:moveTo>
                    <a:pt x="457200" y="1900238"/>
                  </a:moveTo>
                  <a:cubicBezTo>
                    <a:pt x="457200" y="1919288"/>
                    <a:pt x="473393" y="1935480"/>
                    <a:pt x="492443" y="1935480"/>
                  </a:cubicBezTo>
                  <a:cubicBezTo>
                    <a:pt x="511493" y="1935480"/>
                    <a:pt x="527685" y="1919288"/>
                    <a:pt x="527685" y="1900238"/>
                  </a:cubicBezTo>
                  <a:cubicBezTo>
                    <a:pt x="527685" y="1881188"/>
                    <a:pt x="511493" y="1864995"/>
                    <a:pt x="492443" y="1864995"/>
                  </a:cubicBezTo>
                  <a:cubicBezTo>
                    <a:pt x="473393" y="1864995"/>
                    <a:pt x="457200" y="1881188"/>
                    <a:pt x="457200" y="1900238"/>
                  </a:cubicBezTo>
                  <a:close/>
                  <a:moveTo>
                    <a:pt x="440055" y="2325053"/>
                  </a:moveTo>
                  <a:cubicBezTo>
                    <a:pt x="440055" y="2354580"/>
                    <a:pt x="463868" y="2378393"/>
                    <a:pt x="493395" y="2378393"/>
                  </a:cubicBezTo>
                  <a:cubicBezTo>
                    <a:pt x="522923" y="2378393"/>
                    <a:pt x="546735" y="2354580"/>
                    <a:pt x="546735" y="2325053"/>
                  </a:cubicBezTo>
                  <a:cubicBezTo>
                    <a:pt x="546735" y="2295525"/>
                    <a:pt x="522923" y="2271713"/>
                    <a:pt x="493395" y="2271713"/>
                  </a:cubicBezTo>
                  <a:cubicBezTo>
                    <a:pt x="463868" y="2271713"/>
                    <a:pt x="440055" y="2296478"/>
                    <a:pt x="440055" y="2325053"/>
                  </a:cubicBezTo>
                  <a:close/>
                  <a:moveTo>
                    <a:pt x="415290" y="2750820"/>
                  </a:moveTo>
                  <a:cubicBezTo>
                    <a:pt x="415290" y="2793683"/>
                    <a:pt x="450533" y="2828925"/>
                    <a:pt x="493395" y="2828925"/>
                  </a:cubicBezTo>
                  <a:cubicBezTo>
                    <a:pt x="536258" y="2828925"/>
                    <a:pt x="571500" y="2793683"/>
                    <a:pt x="571500" y="2750820"/>
                  </a:cubicBezTo>
                  <a:cubicBezTo>
                    <a:pt x="571500" y="2707958"/>
                    <a:pt x="536258" y="2672715"/>
                    <a:pt x="493395" y="2672715"/>
                  </a:cubicBezTo>
                  <a:cubicBezTo>
                    <a:pt x="450533" y="2672715"/>
                    <a:pt x="415290" y="2707958"/>
                    <a:pt x="415290" y="2750820"/>
                  </a:cubicBezTo>
                </a:path>
              </a:pathLst>
            </a:custGeom>
            <a:solidFill>
              <a:srgbClr val="00A3D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F96B0A19-CD69-47D0-A468-BB316859C785}"/>
              </a:ext>
            </a:extLst>
          </p:cNvPr>
          <p:cNvGrpSpPr/>
          <p:nvPr userDrawn="1"/>
        </p:nvGrpSpPr>
        <p:grpSpPr>
          <a:xfrm>
            <a:off x="722501" y="6477000"/>
            <a:ext cx="2202990" cy="381000"/>
            <a:chOff x="549275" y="6477000"/>
            <a:chExt cx="2202416" cy="381000"/>
          </a:xfrm>
        </p:grpSpPr>
        <p:sp>
          <p:nvSpPr>
            <p:cNvPr id="32" name="BR Logo">
              <a:extLst>
                <a:ext uri="{FF2B5EF4-FFF2-40B4-BE49-F238E27FC236}">
                  <a16:creationId xmlns:a16="http://schemas.microsoft.com/office/drawing/2014/main" id="{D9712184-4595-48C1-A6AE-AA7CD73F7077}"/>
                </a:ext>
              </a:extLst>
            </p:cNvPr>
            <p:cNvSpPr/>
            <p:nvPr userDrawn="1"/>
          </p:nvSpPr>
          <p:spPr>
            <a:xfrm>
              <a:off x="549275" y="6568107"/>
              <a:ext cx="943806" cy="191218"/>
            </a:xfrm>
            <a:custGeom>
              <a:avLst/>
              <a:gdLst>
                <a:gd name="connsiteX0" fmla="*/ 1803083 w 6365557"/>
                <a:gd name="connsiteY0" fmla="*/ 1002983 h 1289684"/>
                <a:gd name="connsiteX1" fmla="*/ 1579245 w 6365557"/>
                <a:gd name="connsiteY1" fmla="*/ 1002983 h 1289684"/>
                <a:gd name="connsiteX2" fmla="*/ 1579245 w 6365557"/>
                <a:gd name="connsiteY2" fmla="*/ 322898 h 1289684"/>
                <a:gd name="connsiteX3" fmla="*/ 1805940 w 6365557"/>
                <a:gd name="connsiteY3" fmla="*/ 322898 h 1289684"/>
                <a:gd name="connsiteX4" fmla="*/ 2041208 w 6365557"/>
                <a:gd name="connsiteY4" fmla="*/ 492443 h 1289684"/>
                <a:gd name="connsiteX5" fmla="*/ 1920240 w 6365557"/>
                <a:gd name="connsiteY5" fmla="*/ 648653 h 1289684"/>
                <a:gd name="connsiteX6" fmla="*/ 1920240 w 6365557"/>
                <a:gd name="connsiteY6" fmla="*/ 650558 h 1289684"/>
                <a:gd name="connsiteX7" fmla="*/ 2069783 w 6365557"/>
                <a:gd name="connsiteY7" fmla="*/ 814388 h 1289684"/>
                <a:gd name="connsiteX8" fmla="*/ 1803083 w 6365557"/>
                <a:gd name="connsiteY8" fmla="*/ 1002983 h 1289684"/>
                <a:gd name="connsiteX9" fmla="*/ 1790700 w 6365557"/>
                <a:gd name="connsiteY9" fmla="*/ 433388 h 1289684"/>
                <a:gd name="connsiteX10" fmla="*/ 1707833 w 6365557"/>
                <a:gd name="connsiteY10" fmla="*/ 433388 h 1289684"/>
                <a:gd name="connsiteX11" fmla="*/ 1707833 w 6365557"/>
                <a:gd name="connsiteY11" fmla="*/ 602933 h 1289684"/>
                <a:gd name="connsiteX12" fmla="*/ 1787843 w 6365557"/>
                <a:gd name="connsiteY12" fmla="*/ 602933 h 1289684"/>
                <a:gd name="connsiteX13" fmla="*/ 1899285 w 6365557"/>
                <a:gd name="connsiteY13" fmla="*/ 515303 h 1289684"/>
                <a:gd name="connsiteX14" fmla="*/ 1790700 w 6365557"/>
                <a:gd name="connsiteY14" fmla="*/ 433388 h 1289684"/>
                <a:gd name="connsiteX15" fmla="*/ 1789748 w 6365557"/>
                <a:gd name="connsiteY15" fmla="*/ 705803 h 1289684"/>
                <a:gd name="connsiteX16" fmla="*/ 1707833 w 6365557"/>
                <a:gd name="connsiteY16" fmla="*/ 705803 h 1289684"/>
                <a:gd name="connsiteX17" fmla="*/ 1707833 w 6365557"/>
                <a:gd name="connsiteY17" fmla="*/ 892493 h 1289684"/>
                <a:gd name="connsiteX18" fmla="*/ 1783080 w 6365557"/>
                <a:gd name="connsiteY18" fmla="*/ 892493 h 1289684"/>
                <a:gd name="connsiteX19" fmla="*/ 1909763 w 6365557"/>
                <a:gd name="connsiteY19" fmla="*/ 801053 h 1289684"/>
                <a:gd name="connsiteX20" fmla="*/ 1789748 w 6365557"/>
                <a:gd name="connsiteY20" fmla="*/ 705803 h 1289684"/>
                <a:gd name="connsiteX21" fmla="*/ 2473643 w 6365557"/>
                <a:gd name="connsiteY21" fmla="*/ 506730 h 1289684"/>
                <a:gd name="connsiteX22" fmla="*/ 2406015 w 6365557"/>
                <a:gd name="connsiteY22" fmla="*/ 493395 h 1289684"/>
                <a:gd name="connsiteX23" fmla="*/ 2280285 w 6365557"/>
                <a:gd name="connsiteY23" fmla="*/ 573405 h 1289684"/>
                <a:gd name="connsiteX24" fmla="*/ 2280285 w 6365557"/>
                <a:gd name="connsiteY24" fmla="*/ 505778 h 1289684"/>
                <a:gd name="connsiteX25" fmla="*/ 2144078 w 6365557"/>
                <a:gd name="connsiteY25" fmla="*/ 505778 h 1289684"/>
                <a:gd name="connsiteX26" fmla="*/ 2144078 w 6365557"/>
                <a:gd name="connsiteY26" fmla="*/ 1002983 h 1289684"/>
                <a:gd name="connsiteX27" fmla="*/ 2280285 w 6365557"/>
                <a:gd name="connsiteY27" fmla="*/ 1002983 h 1289684"/>
                <a:gd name="connsiteX28" fmla="*/ 2280285 w 6365557"/>
                <a:gd name="connsiteY28" fmla="*/ 689610 h 1289684"/>
                <a:gd name="connsiteX29" fmla="*/ 2388870 w 6365557"/>
                <a:gd name="connsiteY29" fmla="*/ 614363 h 1289684"/>
                <a:gd name="connsiteX30" fmla="*/ 2441258 w 6365557"/>
                <a:gd name="connsiteY30" fmla="*/ 625793 h 1289684"/>
                <a:gd name="connsiteX31" fmla="*/ 2473643 w 6365557"/>
                <a:gd name="connsiteY31" fmla="*/ 506730 h 1289684"/>
                <a:gd name="connsiteX32" fmla="*/ 2715578 w 6365557"/>
                <a:gd name="connsiteY32" fmla="*/ 1015365 h 1289684"/>
                <a:gd name="connsiteX33" fmla="*/ 2466023 w 6365557"/>
                <a:gd name="connsiteY33" fmla="*/ 756285 h 1289684"/>
                <a:gd name="connsiteX34" fmla="*/ 2714625 w 6365557"/>
                <a:gd name="connsiteY34" fmla="*/ 493395 h 1289684"/>
                <a:gd name="connsiteX35" fmla="*/ 2967038 w 6365557"/>
                <a:gd name="connsiteY35" fmla="*/ 751523 h 1289684"/>
                <a:gd name="connsiteX36" fmla="*/ 2715578 w 6365557"/>
                <a:gd name="connsiteY36" fmla="*/ 1015365 h 1289684"/>
                <a:gd name="connsiteX37" fmla="*/ 2712720 w 6365557"/>
                <a:gd name="connsiteY37" fmla="*/ 594360 h 1289684"/>
                <a:gd name="connsiteX38" fmla="*/ 2610803 w 6365557"/>
                <a:gd name="connsiteY38" fmla="*/ 751523 h 1289684"/>
                <a:gd name="connsiteX39" fmla="*/ 2718435 w 6365557"/>
                <a:gd name="connsiteY39" fmla="*/ 911543 h 1289684"/>
                <a:gd name="connsiteX40" fmla="*/ 2824163 w 6365557"/>
                <a:gd name="connsiteY40" fmla="*/ 755333 h 1289684"/>
                <a:gd name="connsiteX41" fmla="*/ 2712720 w 6365557"/>
                <a:gd name="connsiteY41" fmla="*/ 594360 h 1289684"/>
                <a:gd name="connsiteX42" fmla="*/ 3301365 w 6365557"/>
                <a:gd name="connsiteY42" fmla="*/ 1002983 h 1289684"/>
                <a:gd name="connsiteX43" fmla="*/ 3292793 w 6365557"/>
                <a:gd name="connsiteY43" fmla="*/ 949643 h 1289684"/>
                <a:gd name="connsiteX44" fmla="*/ 3152775 w 6365557"/>
                <a:gd name="connsiteY44" fmla="*/ 1015365 h 1289684"/>
                <a:gd name="connsiteX45" fmla="*/ 3002280 w 6365557"/>
                <a:gd name="connsiteY45" fmla="*/ 875348 h 1289684"/>
                <a:gd name="connsiteX46" fmla="*/ 3268028 w 6365557"/>
                <a:gd name="connsiteY46" fmla="*/ 698183 h 1289684"/>
                <a:gd name="connsiteX47" fmla="*/ 3285173 w 6365557"/>
                <a:gd name="connsiteY47" fmla="*/ 698183 h 1289684"/>
                <a:gd name="connsiteX48" fmla="*/ 3285173 w 6365557"/>
                <a:gd name="connsiteY48" fmla="*/ 669608 h 1289684"/>
                <a:gd name="connsiteX49" fmla="*/ 3204210 w 6365557"/>
                <a:gd name="connsiteY49" fmla="*/ 600075 h 1289684"/>
                <a:gd name="connsiteX50" fmla="*/ 3077528 w 6365557"/>
                <a:gd name="connsiteY50" fmla="*/ 646748 h 1289684"/>
                <a:gd name="connsiteX51" fmla="*/ 3018473 w 6365557"/>
                <a:gd name="connsiteY51" fmla="*/ 563880 h 1289684"/>
                <a:gd name="connsiteX52" fmla="*/ 3219450 w 6365557"/>
                <a:gd name="connsiteY52" fmla="*/ 492443 h 1289684"/>
                <a:gd name="connsiteX53" fmla="*/ 3419475 w 6365557"/>
                <a:gd name="connsiteY53" fmla="*/ 676275 h 1289684"/>
                <a:gd name="connsiteX54" fmla="*/ 3419475 w 6365557"/>
                <a:gd name="connsiteY54" fmla="*/ 855345 h 1289684"/>
                <a:gd name="connsiteX55" fmla="*/ 3433763 w 6365557"/>
                <a:gd name="connsiteY55" fmla="*/ 1002030 h 1289684"/>
                <a:gd name="connsiteX56" fmla="*/ 3301365 w 6365557"/>
                <a:gd name="connsiteY56" fmla="*/ 1002030 h 1289684"/>
                <a:gd name="connsiteX57" fmla="*/ 3271838 w 6365557"/>
                <a:gd name="connsiteY57" fmla="*/ 782955 h 1289684"/>
                <a:gd name="connsiteX58" fmla="*/ 3254693 w 6365557"/>
                <a:gd name="connsiteY58" fmla="*/ 782955 h 1289684"/>
                <a:gd name="connsiteX59" fmla="*/ 3119438 w 6365557"/>
                <a:gd name="connsiteY59" fmla="*/ 864870 h 1289684"/>
                <a:gd name="connsiteX60" fmla="*/ 3179445 w 6365557"/>
                <a:gd name="connsiteY60" fmla="*/ 917258 h 1289684"/>
                <a:gd name="connsiteX61" fmla="*/ 3271838 w 6365557"/>
                <a:gd name="connsiteY61" fmla="*/ 873443 h 1289684"/>
                <a:gd name="connsiteX62" fmla="*/ 3271838 w 6365557"/>
                <a:gd name="connsiteY62" fmla="*/ 782955 h 1289684"/>
                <a:gd name="connsiteX63" fmla="*/ 3713798 w 6365557"/>
                <a:gd name="connsiteY63" fmla="*/ 493395 h 1289684"/>
                <a:gd name="connsiteX64" fmla="*/ 3829050 w 6365557"/>
                <a:gd name="connsiteY64" fmla="*/ 527685 h 1289684"/>
                <a:gd name="connsiteX65" fmla="*/ 3829050 w 6365557"/>
                <a:gd name="connsiteY65" fmla="*/ 270510 h 1289684"/>
                <a:gd name="connsiteX66" fmla="*/ 3965258 w 6365557"/>
                <a:gd name="connsiteY66" fmla="*/ 270510 h 1289684"/>
                <a:gd name="connsiteX67" fmla="*/ 3965258 w 6365557"/>
                <a:gd name="connsiteY67" fmla="*/ 861060 h 1289684"/>
                <a:gd name="connsiteX68" fmla="*/ 3979545 w 6365557"/>
                <a:gd name="connsiteY68" fmla="*/ 1002983 h 1289684"/>
                <a:gd name="connsiteX69" fmla="*/ 3845243 w 6365557"/>
                <a:gd name="connsiteY69" fmla="*/ 1002983 h 1289684"/>
                <a:gd name="connsiteX70" fmla="*/ 3834765 w 6365557"/>
                <a:gd name="connsiteY70" fmla="*/ 948690 h 1289684"/>
                <a:gd name="connsiteX71" fmla="*/ 3694748 w 6365557"/>
                <a:gd name="connsiteY71" fmla="*/ 1016318 h 1289684"/>
                <a:gd name="connsiteX72" fmla="*/ 3489960 w 6365557"/>
                <a:gd name="connsiteY72" fmla="*/ 755333 h 1289684"/>
                <a:gd name="connsiteX73" fmla="*/ 3713798 w 6365557"/>
                <a:gd name="connsiteY73" fmla="*/ 493395 h 1289684"/>
                <a:gd name="connsiteX74" fmla="*/ 3736658 w 6365557"/>
                <a:gd name="connsiteY74" fmla="*/ 906780 h 1289684"/>
                <a:gd name="connsiteX75" fmla="*/ 3830003 w 6365557"/>
                <a:gd name="connsiteY75" fmla="*/ 856298 h 1289684"/>
                <a:gd name="connsiteX76" fmla="*/ 3830003 w 6365557"/>
                <a:gd name="connsiteY76" fmla="*/ 632460 h 1289684"/>
                <a:gd name="connsiteX77" fmla="*/ 3743325 w 6365557"/>
                <a:gd name="connsiteY77" fmla="*/ 600075 h 1289684"/>
                <a:gd name="connsiteX78" fmla="*/ 3635693 w 6365557"/>
                <a:gd name="connsiteY78" fmla="*/ 756285 h 1289684"/>
                <a:gd name="connsiteX79" fmla="*/ 3736658 w 6365557"/>
                <a:gd name="connsiteY79" fmla="*/ 906780 h 1289684"/>
                <a:gd name="connsiteX80" fmla="*/ 4397693 w 6365557"/>
                <a:gd name="connsiteY80" fmla="*/ 506730 h 1289684"/>
                <a:gd name="connsiteX81" fmla="*/ 4330065 w 6365557"/>
                <a:gd name="connsiteY81" fmla="*/ 493395 h 1289684"/>
                <a:gd name="connsiteX82" fmla="*/ 4204335 w 6365557"/>
                <a:gd name="connsiteY82" fmla="*/ 573405 h 1289684"/>
                <a:gd name="connsiteX83" fmla="*/ 4204335 w 6365557"/>
                <a:gd name="connsiteY83" fmla="*/ 505778 h 1289684"/>
                <a:gd name="connsiteX84" fmla="*/ 4068128 w 6365557"/>
                <a:gd name="connsiteY84" fmla="*/ 505778 h 1289684"/>
                <a:gd name="connsiteX85" fmla="*/ 4068128 w 6365557"/>
                <a:gd name="connsiteY85" fmla="*/ 1002983 h 1289684"/>
                <a:gd name="connsiteX86" fmla="*/ 4204335 w 6365557"/>
                <a:gd name="connsiteY86" fmla="*/ 1002983 h 1289684"/>
                <a:gd name="connsiteX87" fmla="*/ 4204335 w 6365557"/>
                <a:gd name="connsiteY87" fmla="*/ 689610 h 1289684"/>
                <a:gd name="connsiteX88" fmla="*/ 4312920 w 6365557"/>
                <a:gd name="connsiteY88" fmla="*/ 614363 h 1289684"/>
                <a:gd name="connsiteX89" fmla="*/ 4365308 w 6365557"/>
                <a:gd name="connsiteY89" fmla="*/ 625793 h 1289684"/>
                <a:gd name="connsiteX90" fmla="*/ 4397693 w 6365557"/>
                <a:gd name="connsiteY90" fmla="*/ 506730 h 1289684"/>
                <a:gd name="connsiteX91" fmla="*/ 4517708 w 6365557"/>
                <a:gd name="connsiteY91" fmla="*/ 441008 h 1289684"/>
                <a:gd name="connsiteX92" fmla="*/ 4595813 w 6365557"/>
                <a:gd name="connsiteY92" fmla="*/ 364808 h 1289684"/>
                <a:gd name="connsiteX93" fmla="*/ 4517708 w 6365557"/>
                <a:gd name="connsiteY93" fmla="*/ 290513 h 1289684"/>
                <a:gd name="connsiteX94" fmla="*/ 4440555 w 6365557"/>
                <a:gd name="connsiteY94" fmla="*/ 364808 h 1289684"/>
                <a:gd name="connsiteX95" fmla="*/ 4517708 w 6365557"/>
                <a:gd name="connsiteY95" fmla="*/ 441008 h 1289684"/>
                <a:gd name="connsiteX96" fmla="*/ 4450080 w 6365557"/>
                <a:gd name="connsiteY96" fmla="*/ 1002983 h 1289684"/>
                <a:gd name="connsiteX97" fmla="*/ 4587240 w 6365557"/>
                <a:gd name="connsiteY97" fmla="*/ 1002983 h 1289684"/>
                <a:gd name="connsiteX98" fmla="*/ 4587240 w 6365557"/>
                <a:gd name="connsiteY98" fmla="*/ 505778 h 1289684"/>
                <a:gd name="connsiteX99" fmla="*/ 4450080 w 6365557"/>
                <a:gd name="connsiteY99" fmla="*/ 505778 h 1289684"/>
                <a:gd name="connsiteX100" fmla="*/ 4450080 w 6365557"/>
                <a:gd name="connsiteY100" fmla="*/ 1002983 h 1289684"/>
                <a:gd name="connsiteX101" fmla="*/ 4884420 w 6365557"/>
                <a:gd name="connsiteY101" fmla="*/ 493395 h 1289684"/>
                <a:gd name="connsiteX102" fmla="*/ 4999673 w 6365557"/>
                <a:gd name="connsiteY102" fmla="*/ 527685 h 1289684"/>
                <a:gd name="connsiteX103" fmla="*/ 4999673 w 6365557"/>
                <a:gd name="connsiteY103" fmla="*/ 270510 h 1289684"/>
                <a:gd name="connsiteX104" fmla="*/ 5135880 w 6365557"/>
                <a:gd name="connsiteY104" fmla="*/ 270510 h 1289684"/>
                <a:gd name="connsiteX105" fmla="*/ 5135880 w 6365557"/>
                <a:gd name="connsiteY105" fmla="*/ 861060 h 1289684"/>
                <a:gd name="connsiteX106" fmla="*/ 5150168 w 6365557"/>
                <a:gd name="connsiteY106" fmla="*/ 1002983 h 1289684"/>
                <a:gd name="connsiteX107" fmla="*/ 5015865 w 6365557"/>
                <a:gd name="connsiteY107" fmla="*/ 1002983 h 1289684"/>
                <a:gd name="connsiteX108" fmla="*/ 5005388 w 6365557"/>
                <a:gd name="connsiteY108" fmla="*/ 948690 h 1289684"/>
                <a:gd name="connsiteX109" fmla="*/ 4865370 w 6365557"/>
                <a:gd name="connsiteY109" fmla="*/ 1016318 h 1289684"/>
                <a:gd name="connsiteX110" fmla="*/ 4660583 w 6365557"/>
                <a:gd name="connsiteY110" fmla="*/ 755333 h 1289684"/>
                <a:gd name="connsiteX111" fmla="*/ 4884420 w 6365557"/>
                <a:gd name="connsiteY111" fmla="*/ 493395 h 1289684"/>
                <a:gd name="connsiteX112" fmla="*/ 4907280 w 6365557"/>
                <a:gd name="connsiteY112" fmla="*/ 906780 h 1289684"/>
                <a:gd name="connsiteX113" fmla="*/ 5000625 w 6365557"/>
                <a:gd name="connsiteY113" fmla="*/ 856298 h 1289684"/>
                <a:gd name="connsiteX114" fmla="*/ 5000625 w 6365557"/>
                <a:gd name="connsiteY114" fmla="*/ 632460 h 1289684"/>
                <a:gd name="connsiteX115" fmla="*/ 4913948 w 6365557"/>
                <a:gd name="connsiteY115" fmla="*/ 600075 h 1289684"/>
                <a:gd name="connsiteX116" fmla="*/ 4806315 w 6365557"/>
                <a:gd name="connsiteY116" fmla="*/ 756285 h 1289684"/>
                <a:gd name="connsiteX117" fmla="*/ 4907280 w 6365557"/>
                <a:gd name="connsiteY117" fmla="*/ 906780 h 1289684"/>
                <a:gd name="connsiteX118" fmla="*/ 5695950 w 6365557"/>
                <a:gd name="connsiteY118" fmla="*/ 493395 h 1289684"/>
                <a:gd name="connsiteX119" fmla="*/ 5695950 w 6365557"/>
                <a:gd name="connsiteY119" fmla="*/ 594360 h 1289684"/>
                <a:gd name="connsiteX120" fmla="*/ 5629275 w 6365557"/>
                <a:gd name="connsiteY120" fmla="*/ 594360 h 1289684"/>
                <a:gd name="connsiteX121" fmla="*/ 5647373 w 6365557"/>
                <a:gd name="connsiteY121" fmla="*/ 674370 h 1289684"/>
                <a:gd name="connsiteX122" fmla="*/ 5433060 w 6365557"/>
                <a:gd name="connsiteY122" fmla="*/ 854393 h 1289684"/>
                <a:gd name="connsiteX123" fmla="*/ 5374005 w 6365557"/>
                <a:gd name="connsiteY123" fmla="*/ 849630 h 1289684"/>
                <a:gd name="connsiteX124" fmla="*/ 5355908 w 6365557"/>
                <a:gd name="connsiteY124" fmla="*/ 879158 h 1289684"/>
                <a:gd name="connsiteX125" fmla="*/ 5455920 w 6365557"/>
                <a:gd name="connsiteY125" fmla="*/ 914400 h 1289684"/>
                <a:gd name="connsiteX126" fmla="*/ 5690235 w 6365557"/>
                <a:gd name="connsiteY126" fmla="*/ 1067753 h 1289684"/>
                <a:gd name="connsiteX127" fmla="*/ 5417820 w 6365557"/>
                <a:gd name="connsiteY127" fmla="*/ 1247775 h 1289684"/>
                <a:gd name="connsiteX128" fmla="*/ 5198745 w 6365557"/>
                <a:gd name="connsiteY128" fmla="*/ 1115378 h 1289684"/>
                <a:gd name="connsiteX129" fmla="*/ 5282565 w 6365557"/>
                <a:gd name="connsiteY129" fmla="*/ 993458 h 1289684"/>
                <a:gd name="connsiteX130" fmla="*/ 5238750 w 6365557"/>
                <a:gd name="connsiteY130" fmla="*/ 918210 h 1289684"/>
                <a:gd name="connsiteX131" fmla="*/ 5294948 w 6365557"/>
                <a:gd name="connsiteY131" fmla="*/ 823913 h 1289684"/>
                <a:gd name="connsiteX132" fmla="*/ 5206365 w 6365557"/>
                <a:gd name="connsiteY132" fmla="*/ 674370 h 1289684"/>
                <a:gd name="connsiteX133" fmla="*/ 5427345 w 6365557"/>
                <a:gd name="connsiteY133" fmla="*/ 493395 h 1289684"/>
                <a:gd name="connsiteX134" fmla="*/ 5695950 w 6365557"/>
                <a:gd name="connsiteY134" fmla="*/ 493395 h 1289684"/>
                <a:gd name="connsiteX135" fmla="*/ 5314950 w 6365557"/>
                <a:gd name="connsiteY135" fmla="*/ 1088708 h 1289684"/>
                <a:gd name="connsiteX136" fmla="*/ 5412105 w 6365557"/>
                <a:gd name="connsiteY136" fmla="*/ 1156335 h 1289684"/>
                <a:gd name="connsiteX137" fmla="*/ 5541645 w 6365557"/>
                <a:gd name="connsiteY137" fmla="*/ 1082993 h 1289684"/>
                <a:gd name="connsiteX138" fmla="*/ 5422583 w 6365557"/>
                <a:gd name="connsiteY138" fmla="*/ 1026795 h 1289684"/>
                <a:gd name="connsiteX139" fmla="*/ 5354955 w 6365557"/>
                <a:gd name="connsiteY139" fmla="*/ 1020128 h 1289684"/>
                <a:gd name="connsiteX140" fmla="*/ 5314950 w 6365557"/>
                <a:gd name="connsiteY140" fmla="*/ 1088708 h 1289684"/>
                <a:gd name="connsiteX141" fmla="*/ 5517833 w 6365557"/>
                <a:gd name="connsiteY141" fmla="*/ 674370 h 1289684"/>
                <a:gd name="connsiteX142" fmla="*/ 5428298 w 6365557"/>
                <a:gd name="connsiteY142" fmla="*/ 581978 h 1289684"/>
                <a:gd name="connsiteX143" fmla="*/ 5338763 w 6365557"/>
                <a:gd name="connsiteY143" fmla="*/ 674370 h 1289684"/>
                <a:gd name="connsiteX144" fmla="*/ 5428298 w 6365557"/>
                <a:gd name="connsiteY144" fmla="*/ 766763 h 1289684"/>
                <a:gd name="connsiteX145" fmla="*/ 5517833 w 6365557"/>
                <a:gd name="connsiteY145" fmla="*/ 674370 h 1289684"/>
                <a:gd name="connsiteX146" fmla="*/ 5992178 w 6365557"/>
                <a:gd name="connsiteY146" fmla="*/ 914400 h 1289684"/>
                <a:gd name="connsiteX147" fmla="*/ 6121718 w 6365557"/>
                <a:gd name="connsiteY147" fmla="*/ 880110 h 1289684"/>
                <a:gd name="connsiteX148" fmla="*/ 6165533 w 6365557"/>
                <a:gd name="connsiteY148" fmla="*/ 967740 h 1289684"/>
                <a:gd name="connsiteX149" fmla="*/ 5979795 w 6365557"/>
                <a:gd name="connsiteY149" fmla="*/ 1015365 h 1289684"/>
                <a:gd name="connsiteX150" fmla="*/ 5719763 w 6365557"/>
                <a:gd name="connsiteY150" fmla="*/ 751523 h 1289684"/>
                <a:gd name="connsiteX151" fmla="*/ 5965508 w 6365557"/>
                <a:gd name="connsiteY151" fmla="*/ 492443 h 1289684"/>
                <a:gd name="connsiteX152" fmla="*/ 6179820 w 6365557"/>
                <a:gd name="connsiteY152" fmla="*/ 784860 h 1289684"/>
                <a:gd name="connsiteX153" fmla="*/ 5863590 w 6365557"/>
                <a:gd name="connsiteY153" fmla="*/ 784860 h 1289684"/>
                <a:gd name="connsiteX154" fmla="*/ 5992178 w 6365557"/>
                <a:gd name="connsiteY154" fmla="*/ 914400 h 1289684"/>
                <a:gd name="connsiteX155" fmla="*/ 6049328 w 6365557"/>
                <a:gd name="connsiteY155" fmla="*/ 693420 h 1289684"/>
                <a:gd name="connsiteX156" fmla="*/ 5963603 w 6365557"/>
                <a:gd name="connsiteY156" fmla="*/ 591503 h 1289684"/>
                <a:gd name="connsiteX157" fmla="*/ 5864543 w 6365557"/>
                <a:gd name="connsiteY157" fmla="*/ 693420 h 1289684"/>
                <a:gd name="connsiteX158" fmla="*/ 6049328 w 6365557"/>
                <a:gd name="connsiteY158" fmla="*/ 693420 h 1289684"/>
                <a:gd name="connsiteX159" fmla="*/ 6296025 w 6365557"/>
                <a:gd name="connsiteY159" fmla="*/ 634365 h 1289684"/>
                <a:gd name="connsiteX160" fmla="*/ 6226493 w 6365557"/>
                <a:gd name="connsiteY160" fmla="*/ 564833 h 1289684"/>
                <a:gd name="connsiteX161" fmla="*/ 6296025 w 6365557"/>
                <a:gd name="connsiteY161" fmla="*/ 495300 h 1289684"/>
                <a:gd name="connsiteX162" fmla="*/ 6365558 w 6365557"/>
                <a:gd name="connsiteY162" fmla="*/ 564833 h 1289684"/>
                <a:gd name="connsiteX163" fmla="*/ 6296025 w 6365557"/>
                <a:gd name="connsiteY163" fmla="*/ 634365 h 1289684"/>
                <a:gd name="connsiteX164" fmla="*/ 6296025 w 6365557"/>
                <a:gd name="connsiteY164" fmla="*/ 505778 h 1289684"/>
                <a:gd name="connsiteX165" fmla="*/ 6237923 w 6365557"/>
                <a:gd name="connsiteY165" fmla="*/ 564833 h 1289684"/>
                <a:gd name="connsiteX166" fmla="*/ 6296025 w 6365557"/>
                <a:gd name="connsiteY166" fmla="*/ 623888 h 1289684"/>
                <a:gd name="connsiteX167" fmla="*/ 6354128 w 6365557"/>
                <a:gd name="connsiteY167" fmla="*/ 564833 h 1289684"/>
                <a:gd name="connsiteX168" fmla="*/ 6296025 w 6365557"/>
                <a:gd name="connsiteY168" fmla="*/ 505778 h 1289684"/>
                <a:gd name="connsiteX169" fmla="*/ 6316028 w 6365557"/>
                <a:gd name="connsiteY169" fmla="*/ 605790 h 1289684"/>
                <a:gd name="connsiteX170" fmla="*/ 6296978 w 6365557"/>
                <a:gd name="connsiteY170" fmla="*/ 577215 h 1289684"/>
                <a:gd name="connsiteX171" fmla="*/ 6284595 w 6365557"/>
                <a:gd name="connsiteY171" fmla="*/ 569595 h 1289684"/>
                <a:gd name="connsiteX172" fmla="*/ 6284595 w 6365557"/>
                <a:gd name="connsiteY172" fmla="*/ 606743 h 1289684"/>
                <a:gd name="connsiteX173" fmla="*/ 6271260 w 6365557"/>
                <a:gd name="connsiteY173" fmla="*/ 606743 h 1289684"/>
                <a:gd name="connsiteX174" fmla="*/ 6271260 w 6365557"/>
                <a:gd name="connsiteY174" fmla="*/ 522923 h 1289684"/>
                <a:gd name="connsiteX175" fmla="*/ 6298883 w 6365557"/>
                <a:gd name="connsiteY175" fmla="*/ 522923 h 1289684"/>
                <a:gd name="connsiteX176" fmla="*/ 6325553 w 6365557"/>
                <a:gd name="connsiteY176" fmla="*/ 546735 h 1289684"/>
                <a:gd name="connsiteX177" fmla="*/ 6303645 w 6365557"/>
                <a:gd name="connsiteY177" fmla="*/ 568643 h 1289684"/>
                <a:gd name="connsiteX178" fmla="*/ 6313170 w 6365557"/>
                <a:gd name="connsiteY178" fmla="*/ 580073 h 1289684"/>
                <a:gd name="connsiteX179" fmla="*/ 6331268 w 6365557"/>
                <a:gd name="connsiteY179" fmla="*/ 606743 h 1289684"/>
                <a:gd name="connsiteX180" fmla="*/ 6316028 w 6365557"/>
                <a:gd name="connsiteY180" fmla="*/ 606743 h 1289684"/>
                <a:gd name="connsiteX181" fmla="*/ 6296025 w 6365557"/>
                <a:gd name="connsiteY181" fmla="*/ 533400 h 1289684"/>
                <a:gd name="connsiteX182" fmla="*/ 6284595 w 6365557"/>
                <a:gd name="connsiteY182" fmla="*/ 533400 h 1289684"/>
                <a:gd name="connsiteX183" fmla="*/ 6284595 w 6365557"/>
                <a:gd name="connsiteY183" fmla="*/ 559118 h 1289684"/>
                <a:gd name="connsiteX184" fmla="*/ 6293168 w 6365557"/>
                <a:gd name="connsiteY184" fmla="*/ 559118 h 1289684"/>
                <a:gd name="connsiteX185" fmla="*/ 6311265 w 6365557"/>
                <a:gd name="connsiteY185" fmla="*/ 546735 h 1289684"/>
                <a:gd name="connsiteX186" fmla="*/ 6296025 w 6365557"/>
                <a:gd name="connsiteY186" fmla="*/ 533400 h 1289684"/>
                <a:gd name="connsiteX187" fmla="*/ 1146810 w 6365557"/>
                <a:gd name="connsiteY187" fmla="*/ 1905 h 1289684"/>
                <a:gd name="connsiteX188" fmla="*/ 1146810 w 6365557"/>
                <a:gd name="connsiteY188" fmla="*/ 0 h 1289684"/>
                <a:gd name="connsiteX189" fmla="*/ 0 w 6365557"/>
                <a:gd name="connsiteY189" fmla="*/ 0 h 1289684"/>
                <a:gd name="connsiteX190" fmla="*/ 0 w 6365557"/>
                <a:gd name="connsiteY190" fmla="*/ 1905 h 1289684"/>
                <a:gd name="connsiteX191" fmla="*/ 0 w 6365557"/>
                <a:gd name="connsiteY191" fmla="*/ 1289685 h 1289684"/>
                <a:gd name="connsiteX192" fmla="*/ 1146810 w 6365557"/>
                <a:gd name="connsiteY192" fmla="*/ 1289685 h 1289684"/>
                <a:gd name="connsiteX193" fmla="*/ 1146810 w 6365557"/>
                <a:gd name="connsiteY193" fmla="*/ 1905 h 1289684"/>
                <a:gd name="connsiteX194" fmla="*/ 897255 w 6365557"/>
                <a:gd name="connsiteY194" fmla="*/ 880110 h 1289684"/>
                <a:gd name="connsiteX195" fmla="*/ 897255 w 6365557"/>
                <a:gd name="connsiteY195" fmla="*/ 934403 h 1289684"/>
                <a:gd name="connsiteX196" fmla="*/ 642938 w 6365557"/>
                <a:gd name="connsiteY196" fmla="*/ 843915 h 1289684"/>
                <a:gd name="connsiteX197" fmla="*/ 672465 w 6365557"/>
                <a:gd name="connsiteY197" fmla="*/ 915353 h 1289684"/>
                <a:gd name="connsiteX198" fmla="*/ 1126808 w 6365557"/>
                <a:gd name="connsiteY198" fmla="*/ 1173480 h 1289684"/>
                <a:gd name="connsiteX199" fmla="*/ 1126808 w 6365557"/>
                <a:gd name="connsiteY199" fmla="*/ 1243965 h 1289684"/>
                <a:gd name="connsiteX200" fmla="*/ 608648 w 6365557"/>
                <a:gd name="connsiteY200" fmla="*/ 944880 h 1289684"/>
                <a:gd name="connsiteX201" fmla="*/ 572453 w 6365557"/>
                <a:gd name="connsiteY201" fmla="*/ 857250 h 1289684"/>
                <a:gd name="connsiteX202" fmla="*/ 189548 w 6365557"/>
                <a:gd name="connsiteY202" fmla="*/ 1110615 h 1289684"/>
                <a:gd name="connsiteX203" fmla="*/ 189548 w 6365557"/>
                <a:gd name="connsiteY203" fmla="*/ 1032510 h 1289684"/>
                <a:gd name="connsiteX204" fmla="*/ 531495 w 6365557"/>
                <a:gd name="connsiteY204" fmla="*/ 644843 h 1289684"/>
                <a:gd name="connsiteX205" fmla="*/ 615315 w 6365557"/>
                <a:gd name="connsiteY205" fmla="*/ 644843 h 1289684"/>
                <a:gd name="connsiteX206" fmla="*/ 957263 w 6365557"/>
                <a:gd name="connsiteY206" fmla="*/ 265748 h 1289684"/>
                <a:gd name="connsiteX207" fmla="*/ 957263 w 6365557"/>
                <a:gd name="connsiteY207" fmla="*/ 187643 h 1289684"/>
                <a:gd name="connsiteX208" fmla="*/ 574358 w 6365557"/>
                <a:gd name="connsiteY208" fmla="*/ 441008 h 1289684"/>
                <a:gd name="connsiteX209" fmla="*/ 538163 w 6365557"/>
                <a:gd name="connsiteY209" fmla="*/ 353378 h 1289684"/>
                <a:gd name="connsiteX210" fmla="*/ 19050 w 6365557"/>
                <a:gd name="connsiteY210" fmla="*/ 54293 h 1289684"/>
                <a:gd name="connsiteX211" fmla="*/ 19050 w 6365557"/>
                <a:gd name="connsiteY211" fmla="*/ 19050 h 1289684"/>
                <a:gd name="connsiteX212" fmla="*/ 1127760 w 6365557"/>
                <a:gd name="connsiteY212" fmla="*/ 19050 h 1289684"/>
                <a:gd name="connsiteX213" fmla="*/ 1127760 w 6365557"/>
                <a:gd name="connsiteY213" fmla="*/ 644843 h 1289684"/>
                <a:gd name="connsiteX214" fmla="*/ 615315 w 6365557"/>
                <a:gd name="connsiteY214" fmla="*/ 644843 h 1289684"/>
                <a:gd name="connsiteX215" fmla="*/ 897255 w 6365557"/>
                <a:gd name="connsiteY215" fmla="*/ 880110 h 1289684"/>
                <a:gd name="connsiteX216" fmla="*/ 19050 w 6365557"/>
                <a:gd name="connsiteY216" fmla="*/ 124778 h 1289684"/>
                <a:gd name="connsiteX217" fmla="*/ 473393 w 6365557"/>
                <a:gd name="connsiteY217" fmla="*/ 382905 h 1289684"/>
                <a:gd name="connsiteX218" fmla="*/ 502920 w 6365557"/>
                <a:gd name="connsiteY218" fmla="*/ 453390 h 1289684"/>
                <a:gd name="connsiteX219" fmla="*/ 248603 w 6365557"/>
                <a:gd name="connsiteY219" fmla="*/ 362903 h 1289684"/>
                <a:gd name="connsiteX220" fmla="*/ 248603 w 6365557"/>
                <a:gd name="connsiteY220" fmla="*/ 418148 h 1289684"/>
                <a:gd name="connsiteX221" fmla="*/ 530543 w 6365557"/>
                <a:gd name="connsiteY221" fmla="*/ 644843 h 1289684"/>
                <a:gd name="connsiteX222" fmla="*/ 19050 w 6365557"/>
                <a:gd name="connsiteY222" fmla="*/ 644843 h 1289684"/>
                <a:gd name="connsiteX223" fmla="*/ 19050 w 6365557"/>
                <a:gd name="connsiteY223" fmla="*/ 124778 h 1289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6365557" h="1289684">
                  <a:moveTo>
                    <a:pt x="1803083" y="1002983"/>
                  </a:moveTo>
                  <a:lnTo>
                    <a:pt x="1579245" y="1002983"/>
                  </a:lnTo>
                  <a:lnTo>
                    <a:pt x="1579245" y="322898"/>
                  </a:lnTo>
                  <a:lnTo>
                    <a:pt x="1805940" y="322898"/>
                  </a:lnTo>
                  <a:cubicBezTo>
                    <a:pt x="1931670" y="322898"/>
                    <a:pt x="2041208" y="363855"/>
                    <a:pt x="2041208" y="492443"/>
                  </a:cubicBezTo>
                  <a:cubicBezTo>
                    <a:pt x="2041208" y="580073"/>
                    <a:pt x="1994535" y="629603"/>
                    <a:pt x="1920240" y="648653"/>
                  </a:cubicBezTo>
                  <a:lnTo>
                    <a:pt x="1920240" y="650558"/>
                  </a:lnTo>
                  <a:cubicBezTo>
                    <a:pt x="2001203" y="662940"/>
                    <a:pt x="2069783" y="717233"/>
                    <a:pt x="2069783" y="814388"/>
                  </a:cubicBezTo>
                  <a:cubicBezTo>
                    <a:pt x="2069783" y="953453"/>
                    <a:pt x="1958340" y="1002983"/>
                    <a:pt x="1803083" y="1002983"/>
                  </a:cubicBezTo>
                  <a:moveTo>
                    <a:pt x="1790700" y="433388"/>
                  </a:moveTo>
                  <a:lnTo>
                    <a:pt x="1707833" y="433388"/>
                  </a:lnTo>
                  <a:lnTo>
                    <a:pt x="1707833" y="602933"/>
                  </a:lnTo>
                  <a:lnTo>
                    <a:pt x="1787843" y="602933"/>
                  </a:lnTo>
                  <a:cubicBezTo>
                    <a:pt x="1865948" y="602933"/>
                    <a:pt x="1899285" y="575310"/>
                    <a:pt x="1899285" y="515303"/>
                  </a:cubicBezTo>
                  <a:cubicBezTo>
                    <a:pt x="1899285" y="459105"/>
                    <a:pt x="1862138" y="433388"/>
                    <a:pt x="1790700" y="433388"/>
                  </a:cubicBezTo>
                  <a:moveTo>
                    <a:pt x="1789748" y="705803"/>
                  </a:moveTo>
                  <a:lnTo>
                    <a:pt x="1707833" y="705803"/>
                  </a:lnTo>
                  <a:lnTo>
                    <a:pt x="1707833" y="892493"/>
                  </a:lnTo>
                  <a:lnTo>
                    <a:pt x="1783080" y="892493"/>
                  </a:lnTo>
                  <a:cubicBezTo>
                    <a:pt x="1865948" y="892493"/>
                    <a:pt x="1909763" y="866775"/>
                    <a:pt x="1909763" y="801053"/>
                  </a:cubicBezTo>
                  <a:cubicBezTo>
                    <a:pt x="1909763" y="738188"/>
                    <a:pt x="1873568" y="705803"/>
                    <a:pt x="1789748" y="705803"/>
                  </a:cubicBezTo>
                  <a:moveTo>
                    <a:pt x="2473643" y="506730"/>
                  </a:moveTo>
                  <a:cubicBezTo>
                    <a:pt x="2462213" y="501015"/>
                    <a:pt x="2443163" y="493395"/>
                    <a:pt x="2406015" y="493395"/>
                  </a:cubicBezTo>
                  <a:cubicBezTo>
                    <a:pt x="2343150" y="493395"/>
                    <a:pt x="2302193" y="536258"/>
                    <a:pt x="2280285" y="573405"/>
                  </a:cubicBezTo>
                  <a:lnTo>
                    <a:pt x="2280285" y="505778"/>
                  </a:lnTo>
                  <a:lnTo>
                    <a:pt x="2144078" y="505778"/>
                  </a:lnTo>
                  <a:lnTo>
                    <a:pt x="2144078" y="1002983"/>
                  </a:lnTo>
                  <a:lnTo>
                    <a:pt x="2280285" y="1002983"/>
                  </a:lnTo>
                  <a:lnTo>
                    <a:pt x="2280285" y="689610"/>
                  </a:lnTo>
                  <a:cubicBezTo>
                    <a:pt x="2292668" y="666750"/>
                    <a:pt x="2327910" y="614363"/>
                    <a:pt x="2388870" y="614363"/>
                  </a:cubicBezTo>
                  <a:cubicBezTo>
                    <a:pt x="2417445" y="614363"/>
                    <a:pt x="2432685" y="620078"/>
                    <a:pt x="2441258" y="625793"/>
                  </a:cubicBezTo>
                  <a:lnTo>
                    <a:pt x="2473643" y="506730"/>
                  </a:lnTo>
                  <a:close/>
                  <a:moveTo>
                    <a:pt x="2715578" y="1015365"/>
                  </a:moveTo>
                  <a:cubicBezTo>
                    <a:pt x="2542223" y="1015365"/>
                    <a:pt x="2466023" y="883920"/>
                    <a:pt x="2466023" y="756285"/>
                  </a:cubicBezTo>
                  <a:cubicBezTo>
                    <a:pt x="2466023" y="628650"/>
                    <a:pt x="2540318" y="493395"/>
                    <a:pt x="2714625" y="493395"/>
                  </a:cubicBezTo>
                  <a:cubicBezTo>
                    <a:pt x="2887980" y="493395"/>
                    <a:pt x="2967038" y="623888"/>
                    <a:pt x="2967038" y="751523"/>
                  </a:cubicBezTo>
                  <a:cubicBezTo>
                    <a:pt x="2967038" y="877253"/>
                    <a:pt x="2890838" y="1015365"/>
                    <a:pt x="2715578" y="1015365"/>
                  </a:cubicBezTo>
                  <a:moveTo>
                    <a:pt x="2712720" y="594360"/>
                  </a:moveTo>
                  <a:cubicBezTo>
                    <a:pt x="2636520" y="594360"/>
                    <a:pt x="2610803" y="659130"/>
                    <a:pt x="2610803" y="751523"/>
                  </a:cubicBezTo>
                  <a:cubicBezTo>
                    <a:pt x="2610803" y="843915"/>
                    <a:pt x="2641283" y="911543"/>
                    <a:pt x="2718435" y="911543"/>
                  </a:cubicBezTo>
                  <a:cubicBezTo>
                    <a:pt x="2796540" y="911543"/>
                    <a:pt x="2824163" y="847725"/>
                    <a:pt x="2824163" y="755333"/>
                  </a:cubicBezTo>
                  <a:cubicBezTo>
                    <a:pt x="2823210" y="662940"/>
                    <a:pt x="2789873" y="594360"/>
                    <a:pt x="2712720" y="594360"/>
                  </a:cubicBezTo>
                  <a:moveTo>
                    <a:pt x="3301365" y="1002983"/>
                  </a:moveTo>
                  <a:cubicBezTo>
                    <a:pt x="3297555" y="990600"/>
                    <a:pt x="3293745" y="964883"/>
                    <a:pt x="3292793" y="949643"/>
                  </a:cubicBezTo>
                  <a:cubicBezTo>
                    <a:pt x="3269933" y="976313"/>
                    <a:pt x="3223260" y="1015365"/>
                    <a:pt x="3152775" y="1015365"/>
                  </a:cubicBezTo>
                  <a:cubicBezTo>
                    <a:pt x="3068003" y="1015365"/>
                    <a:pt x="3002280" y="963930"/>
                    <a:pt x="3002280" y="875348"/>
                  </a:cubicBezTo>
                  <a:cubicBezTo>
                    <a:pt x="3002280" y="745808"/>
                    <a:pt x="3135630" y="698183"/>
                    <a:pt x="3268028" y="698183"/>
                  </a:cubicBezTo>
                  <a:lnTo>
                    <a:pt x="3285173" y="698183"/>
                  </a:lnTo>
                  <a:lnTo>
                    <a:pt x="3285173" y="669608"/>
                  </a:lnTo>
                  <a:cubicBezTo>
                    <a:pt x="3285173" y="626745"/>
                    <a:pt x="3268028" y="600075"/>
                    <a:pt x="3204210" y="600075"/>
                  </a:cubicBezTo>
                  <a:cubicBezTo>
                    <a:pt x="3139440" y="600075"/>
                    <a:pt x="3095625" y="633413"/>
                    <a:pt x="3077528" y="646748"/>
                  </a:cubicBezTo>
                  <a:lnTo>
                    <a:pt x="3018473" y="563880"/>
                  </a:lnTo>
                  <a:cubicBezTo>
                    <a:pt x="3048000" y="537210"/>
                    <a:pt x="3113723" y="492443"/>
                    <a:pt x="3219450" y="492443"/>
                  </a:cubicBezTo>
                  <a:cubicBezTo>
                    <a:pt x="3355658" y="492443"/>
                    <a:pt x="3419475" y="544830"/>
                    <a:pt x="3419475" y="676275"/>
                  </a:cubicBezTo>
                  <a:lnTo>
                    <a:pt x="3419475" y="855345"/>
                  </a:lnTo>
                  <a:cubicBezTo>
                    <a:pt x="3419475" y="922973"/>
                    <a:pt x="3426143" y="970598"/>
                    <a:pt x="3433763" y="1002030"/>
                  </a:cubicBezTo>
                  <a:lnTo>
                    <a:pt x="3301365" y="1002030"/>
                  </a:lnTo>
                  <a:close/>
                  <a:moveTo>
                    <a:pt x="3271838" y="782955"/>
                  </a:moveTo>
                  <a:lnTo>
                    <a:pt x="3254693" y="782955"/>
                  </a:lnTo>
                  <a:cubicBezTo>
                    <a:pt x="3174683" y="782955"/>
                    <a:pt x="3119438" y="806768"/>
                    <a:pt x="3119438" y="864870"/>
                  </a:cubicBezTo>
                  <a:cubicBezTo>
                    <a:pt x="3119438" y="902018"/>
                    <a:pt x="3148965" y="917258"/>
                    <a:pt x="3179445" y="917258"/>
                  </a:cubicBezTo>
                  <a:cubicBezTo>
                    <a:pt x="3228023" y="917258"/>
                    <a:pt x="3257550" y="888683"/>
                    <a:pt x="3271838" y="873443"/>
                  </a:cubicBezTo>
                  <a:lnTo>
                    <a:pt x="3271838" y="782955"/>
                  </a:lnTo>
                  <a:close/>
                  <a:moveTo>
                    <a:pt x="3713798" y="493395"/>
                  </a:moveTo>
                  <a:cubicBezTo>
                    <a:pt x="3774758" y="493395"/>
                    <a:pt x="3810953" y="515303"/>
                    <a:pt x="3829050" y="527685"/>
                  </a:cubicBezTo>
                  <a:lnTo>
                    <a:pt x="3829050" y="270510"/>
                  </a:lnTo>
                  <a:lnTo>
                    <a:pt x="3965258" y="270510"/>
                  </a:lnTo>
                  <a:lnTo>
                    <a:pt x="3965258" y="861060"/>
                  </a:lnTo>
                  <a:cubicBezTo>
                    <a:pt x="3965258" y="925830"/>
                    <a:pt x="3973830" y="975360"/>
                    <a:pt x="3979545" y="1002983"/>
                  </a:cubicBezTo>
                  <a:lnTo>
                    <a:pt x="3845243" y="1002983"/>
                  </a:lnTo>
                  <a:cubicBezTo>
                    <a:pt x="3841433" y="990600"/>
                    <a:pt x="3835718" y="963930"/>
                    <a:pt x="3834765" y="948690"/>
                  </a:cubicBezTo>
                  <a:cubicBezTo>
                    <a:pt x="3804285" y="984885"/>
                    <a:pt x="3761423" y="1016318"/>
                    <a:pt x="3694748" y="1016318"/>
                  </a:cubicBezTo>
                  <a:cubicBezTo>
                    <a:pt x="3569970" y="1016318"/>
                    <a:pt x="3489960" y="922020"/>
                    <a:pt x="3489960" y="755333"/>
                  </a:cubicBezTo>
                  <a:cubicBezTo>
                    <a:pt x="3490913" y="596265"/>
                    <a:pt x="3586163" y="493395"/>
                    <a:pt x="3713798" y="493395"/>
                  </a:cubicBezTo>
                  <a:moveTo>
                    <a:pt x="3736658" y="906780"/>
                  </a:moveTo>
                  <a:cubicBezTo>
                    <a:pt x="3786188" y="906780"/>
                    <a:pt x="3818573" y="871538"/>
                    <a:pt x="3830003" y="856298"/>
                  </a:cubicBezTo>
                  <a:lnTo>
                    <a:pt x="3830003" y="632460"/>
                  </a:lnTo>
                  <a:cubicBezTo>
                    <a:pt x="3812858" y="617220"/>
                    <a:pt x="3787140" y="600075"/>
                    <a:pt x="3743325" y="600075"/>
                  </a:cubicBezTo>
                  <a:cubicBezTo>
                    <a:pt x="3673793" y="600075"/>
                    <a:pt x="3635693" y="658178"/>
                    <a:pt x="3635693" y="756285"/>
                  </a:cubicBezTo>
                  <a:cubicBezTo>
                    <a:pt x="3635693" y="850583"/>
                    <a:pt x="3667125" y="906780"/>
                    <a:pt x="3736658" y="906780"/>
                  </a:cubicBezTo>
                  <a:moveTo>
                    <a:pt x="4397693" y="506730"/>
                  </a:moveTo>
                  <a:cubicBezTo>
                    <a:pt x="4386263" y="501015"/>
                    <a:pt x="4367213" y="493395"/>
                    <a:pt x="4330065" y="493395"/>
                  </a:cubicBezTo>
                  <a:cubicBezTo>
                    <a:pt x="4267200" y="493395"/>
                    <a:pt x="4226243" y="536258"/>
                    <a:pt x="4204335" y="573405"/>
                  </a:cubicBezTo>
                  <a:lnTo>
                    <a:pt x="4204335" y="505778"/>
                  </a:lnTo>
                  <a:lnTo>
                    <a:pt x="4068128" y="505778"/>
                  </a:lnTo>
                  <a:lnTo>
                    <a:pt x="4068128" y="1002983"/>
                  </a:lnTo>
                  <a:lnTo>
                    <a:pt x="4204335" y="1002983"/>
                  </a:lnTo>
                  <a:lnTo>
                    <a:pt x="4204335" y="689610"/>
                  </a:lnTo>
                  <a:cubicBezTo>
                    <a:pt x="4216718" y="666750"/>
                    <a:pt x="4251960" y="614363"/>
                    <a:pt x="4312920" y="614363"/>
                  </a:cubicBezTo>
                  <a:cubicBezTo>
                    <a:pt x="4341495" y="614363"/>
                    <a:pt x="4356735" y="620078"/>
                    <a:pt x="4365308" y="625793"/>
                  </a:cubicBezTo>
                  <a:lnTo>
                    <a:pt x="4397693" y="506730"/>
                  </a:lnTo>
                  <a:close/>
                  <a:moveTo>
                    <a:pt x="4517708" y="441008"/>
                  </a:moveTo>
                  <a:cubicBezTo>
                    <a:pt x="4562475" y="441008"/>
                    <a:pt x="4595813" y="405765"/>
                    <a:pt x="4595813" y="364808"/>
                  </a:cubicBezTo>
                  <a:cubicBezTo>
                    <a:pt x="4595813" y="324803"/>
                    <a:pt x="4562475" y="290513"/>
                    <a:pt x="4517708" y="290513"/>
                  </a:cubicBezTo>
                  <a:cubicBezTo>
                    <a:pt x="4472940" y="290513"/>
                    <a:pt x="4440555" y="324803"/>
                    <a:pt x="4440555" y="364808"/>
                  </a:cubicBezTo>
                  <a:cubicBezTo>
                    <a:pt x="4441508" y="406718"/>
                    <a:pt x="4473893" y="441008"/>
                    <a:pt x="4517708" y="441008"/>
                  </a:cubicBezTo>
                  <a:moveTo>
                    <a:pt x="4450080" y="1002983"/>
                  </a:moveTo>
                  <a:lnTo>
                    <a:pt x="4587240" y="1002983"/>
                  </a:lnTo>
                  <a:lnTo>
                    <a:pt x="4587240" y="505778"/>
                  </a:lnTo>
                  <a:lnTo>
                    <a:pt x="4450080" y="505778"/>
                  </a:lnTo>
                  <a:lnTo>
                    <a:pt x="4450080" y="1002983"/>
                  </a:lnTo>
                  <a:close/>
                  <a:moveTo>
                    <a:pt x="4884420" y="493395"/>
                  </a:moveTo>
                  <a:cubicBezTo>
                    <a:pt x="4945380" y="493395"/>
                    <a:pt x="4981575" y="515303"/>
                    <a:pt x="4999673" y="527685"/>
                  </a:cubicBezTo>
                  <a:lnTo>
                    <a:pt x="4999673" y="270510"/>
                  </a:lnTo>
                  <a:lnTo>
                    <a:pt x="5135880" y="270510"/>
                  </a:lnTo>
                  <a:lnTo>
                    <a:pt x="5135880" y="861060"/>
                  </a:lnTo>
                  <a:cubicBezTo>
                    <a:pt x="5135880" y="925830"/>
                    <a:pt x="5144453" y="975360"/>
                    <a:pt x="5150168" y="1002983"/>
                  </a:cubicBezTo>
                  <a:lnTo>
                    <a:pt x="5015865" y="1002983"/>
                  </a:lnTo>
                  <a:cubicBezTo>
                    <a:pt x="5012055" y="990600"/>
                    <a:pt x="5006340" y="963930"/>
                    <a:pt x="5005388" y="948690"/>
                  </a:cubicBezTo>
                  <a:cubicBezTo>
                    <a:pt x="4974908" y="984885"/>
                    <a:pt x="4932045" y="1016318"/>
                    <a:pt x="4865370" y="1016318"/>
                  </a:cubicBezTo>
                  <a:cubicBezTo>
                    <a:pt x="4740593" y="1016318"/>
                    <a:pt x="4660583" y="922020"/>
                    <a:pt x="4660583" y="755333"/>
                  </a:cubicBezTo>
                  <a:cubicBezTo>
                    <a:pt x="4662488" y="596265"/>
                    <a:pt x="4756785" y="493395"/>
                    <a:pt x="4884420" y="493395"/>
                  </a:cubicBezTo>
                  <a:moveTo>
                    <a:pt x="4907280" y="906780"/>
                  </a:moveTo>
                  <a:cubicBezTo>
                    <a:pt x="4955858" y="906780"/>
                    <a:pt x="4989195" y="871538"/>
                    <a:pt x="5000625" y="856298"/>
                  </a:cubicBezTo>
                  <a:lnTo>
                    <a:pt x="5000625" y="632460"/>
                  </a:lnTo>
                  <a:cubicBezTo>
                    <a:pt x="4983480" y="617220"/>
                    <a:pt x="4957763" y="600075"/>
                    <a:pt x="4913948" y="600075"/>
                  </a:cubicBezTo>
                  <a:cubicBezTo>
                    <a:pt x="4844415" y="600075"/>
                    <a:pt x="4806315" y="658178"/>
                    <a:pt x="4806315" y="756285"/>
                  </a:cubicBezTo>
                  <a:cubicBezTo>
                    <a:pt x="4806315" y="850583"/>
                    <a:pt x="4837748" y="906780"/>
                    <a:pt x="4907280" y="906780"/>
                  </a:cubicBezTo>
                  <a:moveTo>
                    <a:pt x="5695950" y="493395"/>
                  </a:moveTo>
                  <a:lnTo>
                    <a:pt x="5695950" y="594360"/>
                  </a:lnTo>
                  <a:lnTo>
                    <a:pt x="5629275" y="594360"/>
                  </a:lnTo>
                  <a:cubicBezTo>
                    <a:pt x="5641658" y="618173"/>
                    <a:pt x="5647373" y="645795"/>
                    <a:pt x="5647373" y="674370"/>
                  </a:cubicBezTo>
                  <a:cubicBezTo>
                    <a:pt x="5647373" y="781050"/>
                    <a:pt x="5572125" y="854393"/>
                    <a:pt x="5433060" y="854393"/>
                  </a:cubicBezTo>
                  <a:cubicBezTo>
                    <a:pt x="5411153" y="854393"/>
                    <a:pt x="5392103" y="852488"/>
                    <a:pt x="5374005" y="849630"/>
                  </a:cubicBezTo>
                  <a:cubicBezTo>
                    <a:pt x="5365433" y="855345"/>
                    <a:pt x="5355908" y="864870"/>
                    <a:pt x="5355908" y="879158"/>
                  </a:cubicBezTo>
                  <a:cubicBezTo>
                    <a:pt x="5355908" y="905828"/>
                    <a:pt x="5384483" y="910590"/>
                    <a:pt x="5455920" y="914400"/>
                  </a:cubicBezTo>
                  <a:cubicBezTo>
                    <a:pt x="5558790" y="919163"/>
                    <a:pt x="5690235" y="920115"/>
                    <a:pt x="5690235" y="1067753"/>
                  </a:cubicBezTo>
                  <a:cubicBezTo>
                    <a:pt x="5690235" y="1172528"/>
                    <a:pt x="5580698" y="1247775"/>
                    <a:pt x="5417820" y="1247775"/>
                  </a:cubicBezTo>
                  <a:cubicBezTo>
                    <a:pt x="5280660" y="1247775"/>
                    <a:pt x="5198745" y="1204913"/>
                    <a:pt x="5198745" y="1115378"/>
                  </a:cubicBezTo>
                  <a:cubicBezTo>
                    <a:pt x="5198745" y="1060133"/>
                    <a:pt x="5232083" y="1020128"/>
                    <a:pt x="5282565" y="993458"/>
                  </a:cubicBezTo>
                  <a:cubicBezTo>
                    <a:pt x="5254943" y="977265"/>
                    <a:pt x="5238750" y="953453"/>
                    <a:pt x="5238750" y="918210"/>
                  </a:cubicBezTo>
                  <a:cubicBezTo>
                    <a:pt x="5238750" y="871538"/>
                    <a:pt x="5265420" y="842010"/>
                    <a:pt x="5294948" y="823913"/>
                  </a:cubicBezTo>
                  <a:cubicBezTo>
                    <a:pt x="5238750" y="792480"/>
                    <a:pt x="5206365" y="740093"/>
                    <a:pt x="5206365" y="674370"/>
                  </a:cubicBezTo>
                  <a:cubicBezTo>
                    <a:pt x="5206365" y="566738"/>
                    <a:pt x="5289233" y="493395"/>
                    <a:pt x="5427345" y="493395"/>
                  </a:cubicBezTo>
                  <a:cubicBezTo>
                    <a:pt x="5459730" y="493395"/>
                    <a:pt x="5695950" y="493395"/>
                    <a:pt x="5695950" y="493395"/>
                  </a:cubicBezTo>
                  <a:moveTo>
                    <a:pt x="5314950" y="1088708"/>
                  </a:moveTo>
                  <a:cubicBezTo>
                    <a:pt x="5314950" y="1128713"/>
                    <a:pt x="5342573" y="1156335"/>
                    <a:pt x="5412105" y="1156335"/>
                  </a:cubicBezTo>
                  <a:cubicBezTo>
                    <a:pt x="5494973" y="1156335"/>
                    <a:pt x="5541645" y="1124903"/>
                    <a:pt x="5541645" y="1082993"/>
                  </a:cubicBezTo>
                  <a:cubicBezTo>
                    <a:pt x="5541645" y="1029653"/>
                    <a:pt x="5494973" y="1031558"/>
                    <a:pt x="5422583" y="1026795"/>
                  </a:cubicBezTo>
                  <a:cubicBezTo>
                    <a:pt x="5398770" y="1024890"/>
                    <a:pt x="5376863" y="1022985"/>
                    <a:pt x="5354955" y="1020128"/>
                  </a:cubicBezTo>
                  <a:cubicBezTo>
                    <a:pt x="5329238" y="1037273"/>
                    <a:pt x="5314950" y="1059180"/>
                    <a:pt x="5314950" y="1088708"/>
                  </a:cubicBezTo>
                  <a:moveTo>
                    <a:pt x="5517833" y="674370"/>
                  </a:moveTo>
                  <a:cubicBezTo>
                    <a:pt x="5517833" y="616268"/>
                    <a:pt x="5484495" y="581978"/>
                    <a:pt x="5428298" y="581978"/>
                  </a:cubicBezTo>
                  <a:cubicBezTo>
                    <a:pt x="5372100" y="581978"/>
                    <a:pt x="5338763" y="615315"/>
                    <a:pt x="5338763" y="674370"/>
                  </a:cubicBezTo>
                  <a:cubicBezTo>
                    <a:pt x="5338763" y="731520"/>
                    <a:pt x="5372100" y="766763"/>
                    <a:pt x="5428298" y="766763"/>
                  </a:cubicBezTo>
                  <a:cubicBezTo>
                    <a:pt x="5483543" y="765810"/>
                    <a:pt x="5517833" y="731520"/>
                    <a:pt x="5517833" y="674370"/>
                  </a:cubicBezTo>
                  <a:moveTo>
                    <a:pt x="5992178" y="914400"/>
                  </a:moveTo>
                  <a:cubicBezTo>
                    <a:pt x="6059805" y="914400"/>
                    <a:pt x="6096953" y="891540"/>
                    <a:pt x="6121718" y="880110"/>
                  </a:cubicBezTo>
                  <a:lnTo>
                    <a:pt x="6165533" y="967740"/>
                  </a:lnTo>
                  <a:cubicBezTo>
                    <a:pt x="6133148" y="985838"/>
                    <a:pt x="6081713" y="1015365"/>
                    <a:pt x="5979795" y="1015365"/>
                  </a:cubicBezTo>
                  <a:cubicBezTo>
                    <a:pt x="5813108" y="1015365"/>
                    <a:pt x="5719763" y="910590"/>
                    <a:pt x="5719763" y="751523"/>
                  </a:cubicBezTo>
                  <a:cubicBezTo>
                    <a:pt x="5719763" y="594360"/>
                    <a:pt x="5828348" y="492443"/>
                    <a:pt x="5965508" y="492443"/>
                  </a:cubicBezTo>
                  <a:cubicBezTo>
                    <a:pt x="6120765" y="492443"/>
                    <a:pt x="6196965" y="601028"/>
                    <a:pt x="6179820" y="784860"/>
                  </a:cubicBezTo>
                  <a:lnTo>
                    <a:pt x="5863590" y="784860"/>
                  </a:lnTo>
                  <a:cubicBezTo>
                    <a:pt x="5871210" y="862013"/>
                    <a:pt x="5909310" y="914400"/>
                    <a:pt x="5992178" y="914400"/>
                  </a:cubicBezTo>
                  <a:moveTo>
                    <a:pt x="6049328" y="693420"/>
                  </a:moveTo>
                  <a:cubicBezTo>
                    <a:pt x="6048375" y="637223"/>
                    <a:pt x="6025515" y="591503"/>
                    <a:pt x="5963603" y="591503"/>
                  </a:cubicBezTo>
                  <a:cubicBezTo>
                    <a:pt x="5906453" y="591503"/>
                    <a:pt x="5874068" y="628650"/>
                    <a:pt x="5864543" y="693420"/>
                  </a:cubicBezTo>
                  <a:lnTo>
                    <a:pt x="6049328" y="693420"/>
                  </a:lnTo>
                  <a:close/>
                  <a:moveTo>
                    <a:pt x="6296025" y="634365"/>
                  </a:moveTo>
                  <a:cubicBezTo>
                    <a:pt x="6257925" y="634365"/>
                    <a:pt x="6226493" y="602933"/>
                    <a:pt x="6226493" y="564833"/>
                  </a:cubicBezTo>
                  <a:cubicBezTo>
                    <a:pt x="6226493" y="526733"/>
                    <a:pt x="6257925" y="495300"/>
                    <a:pt x="6296025" y="495300"/>
                  </a:cubicBezTo>
                  <a:cubicBezTo>
                    <a:pt x="6334125" y="495300"/>
                    <a:pt x="6365558" y="526733"/>
                    <a:pt x="6365558" y="564833"/>
                  </a:cubicBezTo>
                  <a:cubicBezTo>
                    <a:pt x="6365558" y="602933"/>
                    <a:pt x="6335078" y="634365"/>
                    <a:pt x="6296025" y="634365"/>
                  </a:cubicBezTo>
                  <a:moveTo>
                    <a:pt x="6296025" y="505778"/>
                  </a:moveTo>
                  <a:cubicBezTo>
                    <a:pt x="6262688" y="505778"/>
                    <a:pt x="6237923" y="530543"/>
                    <a:pt x="6237923" y="564833"/>
                  </a:cubicBezTo>
                  <a:cubicBezTo>
                    <a:pt x="6237923" y="599123"/>
                    <a:pt x="6262688" y="623888"/>
                    <a:pt x="6296025" y="623888"/>
                  </a:cubicBezTo>
                  <a:cubicBezTo>
                    <a:pt x="6329363" y="623888"/>
                    <a:pt x="6354128" y="599123"/>
                    <a:pt x="6354128" y="564833"/>
                  </a:cubicBezTo>
                  <a:cubicBezTo>
                    <a:pt x="6355080" y="530543"/>
                    <a:pt x="6329363" y="505778"/>
                    <a:pt x="6296025" y="505778"/>
                  </a:cubicBezTo>
                  <a:moveTo>
                    <a:pt x="6316028" y="605790"/>
                  </a:moveTo>
                  <a:lnTo>
                    <a:pt x="6296978" y="577215"/>
                  </a:lnTo>
                  <a:cubicBezTo>
                    <a:pt x="6293168" y="571500"/>
                    <a:pt x="6290310" y="569595"/>
                    <a:pt x="6284595" y="569595"/>
                  </a:cubicBezTo>
                  <a:lnTo>
                    <a:pt x="6284595" y="606743"/>
                  </a:lnTo>
                  <a:lnTo>
                    <a:pt x="6271260" y="606743"/>
                  </a:lnTo>
                  <a:lnTo>
                    <a:pt x="6271260" y="522923"/>
                  </a:lnTo>
                  <a:lnTo>
                    <a:pt x="6298883" y="522923"/>
                  </a:lnTo>
                  <a:cubicBezTo>
                    <a:pt x="6316028" y="522923"/>
                    <a:pt x="6325553" y="533400"/>
                    <a:pt x="6325553" y="546735"/>
                  </a:cubicBezTo>
                  <a:cubicBezTo>
                    <a:pt x="6325553" y="559118"/>
                    <a:pt x="6316980" y="566738"/>
                    <a:pt x="6303645" y="568643"/>
                  </a:cubicBezTo>
                  <a:cubicBezTo>
                    <a:pt x="6307455" y="571500"/>
                    <a:pt x="6310313" y="574358"/>
                    <a:pt x="6313170" y="580073"/>
                  </a:cubicBezTo>
                  <a:lnTo>
                    <a:pt x="6331268" y="606743"/>
                  </a:lnTo>
                  <a:lnTo>
                    <a:pt x="6316028" y="606743"/>
                  </a:lnTo>
                  <a:close/>
                  <a:moveTo>
                    <a:pt x="6296025" y="533400"/>
                  </a:moveTo>
                  <a:lnTo>
                    <a:pt x="6284595" y="533400"/>
                  </a:lnTo>
                  <a:lnTo>
                    <a:pt x="6284595" y="559118"/>
                  </a:lnTo>
                  <a:lnTo>
                    <a:pt x="6293168" y="559118"/>
                  </a:lnTo>
                  <a:cubicBezTo>
                    <a:pt x="6302693" y="559118"/>
                    <a:pt x="6311265" y="558165"/>
                    <a:pt x="6311265" y="546735"/>
                  </a:cubicBezTo>
                  <a:cubicBezTo>
                    <a:pt x="6310313" y="539115"/>
                    <a:pt x="6306503" y="533400"/>
                    <a:pt x="6296025" y="533400"/>
                  </a:cubicBezTo>
                  <a:moveTo>
                    <a:pt x="1146810" y="1905"/>
                  </a:moveTo>
                  <a:lnTo>
                    <a:pt x="1146810" y="0"/>
                  </a:lnTo>
                  <a:lnTo>
                    <a:pt x="0" y="0"/>
                  </a:lnTo>
                  <a:lnTo>
                    <a:pt x="0" y="1905"/>
                  </a:lnTo>
                  <a:lnTo>
                    <a:pt x="0" y="1289685"/>
                  </a:lnTo>
                  <a:lnTo>
                    <a:pt x="1146810" y="1289685"/>
                  </a:lnTo>
                  <a:lnTo>
                    <a:pt x="1146810" y="1905"/>
                  </a:lnTo>
                  <a:close/>
                  <a:moveTo>
                    <a:pt x="897255" y="880110"/>
                  </a:moveTo>
                  <a:lnTo>
                    <a:pt x="897255" y="934403"/>
                  </a:lnTo>
                  <a:cubicBezTo>
                    <a:pt x="771525" y="934403"/>
                    <a:pt x="692468" y="894398"/>
                    <a:pt x="642938" y="843915"/>
                  </a:cubicBezTo>
                  <a:cubicBezTo>
                    <a:pt x="651510" y="866775"/>
                    <a:pt x="661035" y="890588"/>
                    <a:pt x="672465" y="915353"/>
                  </a:cubicBezTo>
                  <a:cubicBezTo>
                    <a:pt x="758190" y="1083945"/>
                    <a:pt x="908685" y="1170623"/>
                    <a:pt x="1126808" y="1173480"/>
                  </a:cubicBezTo>
                  <a:lnTo>
                    <a:pt x="1126808" y="1243965"/>
                  </a:lnTo>
                  <a:cubicBezTo>
                    <a:pt x="819150" y="1241108"/>
                    <a:pt x="675323" y="1080135"/>
                    <a:pt x="608648" y="944880"/>
                  </a:cubicBezTo>
                  <a:cubicBezTo>
                    <a:pt x="593408" y="915353"/>
                    <a:pt x="581978" y="885825"/>
                    <a:pt x="572453" y="857250"/>
                  </a:cubicBezTo>
                  <a:cubicBezTo>
                    <a:pt x="470535" y="1106805"/>
                    <a:pt x="192405" y="1110615"/>
                    <a:pt x="189548" y="1110615"/>
                  </a:cubicBezTo>
                  <a:lnTo>
                    <a:pt x="189548" y="1032510"/>
                  </a:lnTo>
                  <a:cubicBezTo>
                    <a:pt x="203835" y="1032510"/>
                    <a:pt x="531495" y="1022033"/>
                    <a:pt x="531495" y="644843"/>
                  </a:cubicBezTo>
                  <a:lnTo>
                    <a:pt x="615315" y="644843"/>
                  </a:lnTo>
                  <a:cubicBezTo>
                    <a:pt x="615315" y="267653"/>
                    <a:pt x="942975" y="265748"/>
                    <a:pt x="957263" y="265748"/>
                  </a:cubicBezTo>
                  <a:lnTo>
                    <a:pt x="957263" y="187643"/>
                  </a:lnTo>
                  <a:cubicBezTo>
                    <a:pt x="953453" y="187643"/>
                    <a:pt x="676275" y="191453"/>
                    <a:pt x="574358" y="441008"/>
                  </a:cubicBezTo>
                  <a:cubicBezTo>
                    <a:pt x="564833" y="412433"/>
                    <a:pt x="553403" y="382905"/>
                    <a:pt x="538163" y="353378"/>
                  </a:cubicBezTo>
                  <a:cubicBezTo>
                    <a:pt x="470535" y="218123"/>
                    <a:pt x="326708" y="58103"/>
                    <a:pt x="19050" y="54293"/>
                  </a:cubicBezTo>
                  <a:lnTo>
                    <a:pt x="19050" y="19050"/>
                  </a:lnTo>
                  <a:lnTo>
                    <a:pt x="1127760" y="19050"/>
                  </a:lnTo>
                  <a:lnTo>
                    <a:pt x="1127760" y="644843"/>
                  </a:lnTo>
                  <a:lnTo>
                    <a:pt x="615315" y="644843"/>
                  </a:lnTo>
                  <a:cubicBezTo>
                    <a:pt x="615315" y="654368"/>
                    <a:pt x="620078" y="880110"/>
                    <a:pt x="897255" y="880110"/>
                  </a:cubicBezTo>
                  <a:close/>
                  <a:moveTo>
                    <a:pt x="19050" y="124778"/>
                  </a:moveTo>
                  <a:cubicBezTo>
                    <a:pt x="237173" y="127635"/>
                    <a:pt x="388620" y="214313"/>
                    <a:pt x="473393" y="382905"/>
                  </a:cubicBezTo>
                  <a:cubicBezTo>
                    <a:pt x="485775" y="406718"/>
                    <a:pt x="495300" y="430530"/>
                    <a:pt x="502920" y="453390"/>
                  </a:cubicBezTo>
                  <a:cubicBezTo>
                    <a:pt x="453390" y="402908"/>
                    <a:pt x="374333" y="362903"/>
                    <a:pt x="248603" y="362903"/>
                  </a:cubicBezTo>
                  <a:lnTo>
                    <a:pt x="248603" y="418148"/>
                  </a:lnTo>
                  <a:cubicBezTo>
                    <a:pt x="526733" y="418148"/>
                    <a:pt x="530543" y="635318"/>
                    <a:pt x="530543" y="644843"/>
                  </a:cubicBezTo>
                  <a:lnTo>
                    <a:pt x="19050" y="644843"/>
                  </a:lnTo>
                  <a:lnTo>
                    <a:pt x="19050" y="124778"/>
                  </a:lnTo>
                  <a:close/>
                </a:path>
              </a:pathLst>
            </a:custGeom>
            <a:solidFill>
              <a:srgbClr val="00578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652FAA4-F5DC-4041-B49A-740810EFDF92}"/>
                </a:ext>
              </a:extLst>
            </p:cNvPr>
            <p:cNvSpPr txBox="1"/>
            <p:nvPr userDrawn="1"/>
          </p:nvSpPr>
          <p:spPr>
            <a:xfrm>
              <a:off x="1490237" y="6477000"/>
              <a:ext cx="492735" cy="381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kern="1200">
                  <a:solidFill>
                    <a:schemeClr val="bg2">
                      <a:lumMod val="75000"/>
                    </a:schemeClr>
                  </a:solidFill>
                  <a:latin typeface="+mn-lt"/>
                  <a:ea typeface="+mn-ea"/>
                  <a:cs typeface="+mn-cs"/>
                </a:rPr>
                <a:t>| </a:t>
              </a:r>
              <a:endParaRPr lang="en-US" sz="900" kern="1200" cap="all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34" name="Picture 33" descr="A close up of a sign&#10;&#10;Description automatically generated">
              <a:extLst>
                <a:ext uri="{FF2B5EF4-FFF2-40B4-BE49-F238E27FC236}">
                  <a16:creationId xmlns:a16="http://schemas.microsoft.com/office/drawing/2014/main" id="{26DC3474-ECA3-401E-B54D-E3965F8C4A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69317" y="6592132"/>
              <a:ext cx="782374" cy="182880"/>
            </a:xfrm>
            <a:prstGeom prst="rect">
              <a:avLst/>
            </a:prstGeom>
          </p:spPr>
        </p:pic>
      </p:grpSp>
    </p:spTree>
    <p:custDataLst>
      <p:tags r:id="rId32"/>
    </p:custDataLst>
    <p:extLst>
      <p:ext uri="{BB962C8B-B14F-4D97-AF65-F5344CB8AC3E}">
        <p14:creationId xmlns:p14="http://schemas.microsoft.com/office/powerpoint/2010/main" val="78948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</p:sldLayoutIdLst>
  <p:transition spd="med">
    <p:wipe dir="r"/>
  </p:transition>
  <p:hf hdr="0" ftr="0" dt="0"/>
  <p:txStyles>
    <p:titleStyle>
      <a:lvl1pPr algn="l" defTabSz="457208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457208" rtl="0" eaLnBrk="1" fontAlgn="auto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Tx/>
        <a:buFont typeface="Arial"/>
        <a:buNone/>
        <a:tabLst/>
        <a:defRPr lang="en-US" sz="1500" b="0" i="0" kern="1200" cap="all" baseline="0" smtClean="0">
          <a:solidFill>
            <a:schemeClr val="accent6"/>
          </a:solidFill>
          <a:effectLst/>
          <a:latin typeface="+mj-lt"/>
          <a:ea typeface="+mn-ea"/>
          <a:cs typeface="Calibri Light" panose="020F0302020204030204" pitchFamily="34" charset="0"/>
        </a:defRPr>
      </a:lvl1pPr>
      <a:lvl2pPr marL="173041" marR="0" indent="-173041" algn="l" defTabSz="457208" rtl="0" eaLnBrk="1" fontAlgn="auto" latinLnBrk="0" hangingPunct="1">
        <a:lnSpc>
          <a:spcPct val="100000"/>
        </a:lnSpc>
        <a:spcBef>
          <a:spcPts val="400"/>
        </a:spcBef>
        <a:spcAft>
          <a:spcPts val="20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8" marR="0" indent="-228604" algn="l" defTabSz="457208" rtl="0" eaLnBrk="1" fontAlgn="auto" latinLnBrk="0" hangingPunct="1">
        <a:lnSpc>
          <a:spcPct val="95000"/>
        </a:lnSpc>
        <a:spcBef>
          <a:spcPts val="400"/>
        </a:spcBef>
        <a:spcAft>
          <a:spcPts val="400"/>
        </a:spcAft>
        <a:buClr>
          <a:schemeClr val="tx1"/>
        </a:buClr>
        <a:buSzPct val="100000"/>
        <a:buFont typeface="Calibri" panose="020F0502020204030204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11" indent="-169866" algn="l" defTabSz="45720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Arial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73154" indent="-228604" algn="l" defTabSz="45720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tx1"/>
        </a:buClr>
        <a:buFont typeface="Calibri" panose="020F05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42" indent="-228604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49" indent="-228604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57" indent="-228604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65" indent="-228604" algn="l" defTabSz="45720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6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1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4080">
          <p15:clr>
            <a:srgbClr val="F26B43"/>
          </p15:clr>
        </p15:guide>
        <p15:guide id="3" pos="7223">
          <p15:clr>
            <a:srgbClr val="F26B43"/>
          </p15:clr>
        </p15:guide>
        <p15:guide id="4" orient="horz" pos="776">
          <p15:clr>
            <a:srgbClr val="F26B43"/>
          </p15:clr>
        </p15:guide>
        <p15:guide id="5" orient="horz" pos="468">
          <p15:clr>
            <a:srgbClr val="F26B43"/>
          </p15:clr>
        </p15:guide>
        <p15:guide id="8" pos="7526">
          <p15:clr>
            <a:srgbClr val="F26B43"/>
          </p15:clr>
        </p15:guide>
        <p15:guide id="9" pos="455">
          <p15:clr>
            <a:srgbClr val="F26B43"/>
          </p15:clr>
        </p15:guide>
        <p15:guide id="10" pos="38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4" Type="http://schemas.openxmlformats.org/officeDocument/2006/relationships/slide" Target="slide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slide" Target="slide3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6.xml"/><Relationship Id="rId5" Type="http://schemas.openxmlformats.org/officeDocument/2006/relationships/slide" Target="slide3.xml"/><Relationship Id="rId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1.xml"/><Relationship Id="rId5" Type="http://schemas.openxmlformats.org/officeDocument/2006/relationships/slide" Target="slide3.xml"/><Relationship Id="rId4" Type="http://schemas.openxmlformats.org/officeDocument/2006/relationships/image" Target="../media/image3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7.xml"/><Relationship Id="rId5" Type="http://schemas.openxmlformats.org/officeDocument/2006/relationships/slide" Target="slide3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7347E38-DB32-AA4F-86C9-24AE6BEB8427}"/>
              </a:ext>
            </a:extLst>
          </p:cNvPr>
          <p:cNvSpPr/>
          <p:nvPr/>
        </p:nvSpPr>
        <p:spPr>
          <a:xfrm>
            <a:off x="10781044" y="2913345"/>
            <a:ext cx="1437861" cy="24699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622232-2474-C148-8E6A-D51FB959CA4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369" r="4202" b="29101"/>
          <a:stretch/>
        </p:blipFill>
        <p:spPr>
          <a:xfrm>
            <a:off x="-1" y="2951747"/>
            <a:ext cx="12192001" cy="2335841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2D03B926-4455-4AAB-9554-E0B48EA467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710" y="1543138"/>
            <a:ext cx="7571632" cy="1188720"/>
          </a:xfrm>
        </p:spPr>
        <p:txBody>
          <a:bodyPr/>
          <a:lstStyle/>
          <a:p>
            <a:r>
              <a:rPr lang="en-US" dirty="0">
                <a:latin typeface="Calibri"/>
                <a:ea typeface="Calibri"/>
                <a:cs typeface="Calibri"/>
              </a:rPr>
              <a:t>Broadridge Advisor Solutions</a:t>
            </a:r>
            <a:br>
              <a:rPr lang="en-US" dirty="0">
                <a:latin typeface="Calibri"/>
              </a:rPr>
            </a:br>
            <a:endParaRPr lang="en-US" dirty="0">
              <a:latin typeface="Calibri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51535033"/>
      </p:ext>
    </p:extLst>
  </p:cSld>
  <p:clrMapOvr>
    <a:masterClrMapping/>
  </p:clrMapOvr>
  <p:transition spd="med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394AA53-4513-5844-61DF-FC8F3D9D2B5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36" b="5298"/>
          <a:stretch/>
        </p:blipFill>
        <p:spPr>
          <a:xfrm>
            <a:off x="0" y="-98734"/>
            <a:ext cx="12197868" cy="6573307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2329518A-015F-42A3-B977-A8727DD482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7346" y="20862189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</a:br>
            <a:b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AF54CD21-8BA6-4983-9C3A-02E20195DF7E}"/>
              </a:ext>
            </a:extLst>
          </p:cNvPr>
          <p:cNvSpPr txBox="1"/>
          <p:nvPr/>
        </p:nvSpPr>
        <p:spPr>
          <a:xfrm>
            <a:off x="732366" y="1482385"/>
            <a:ext cx="6497109" cy="1461305"/>
          </a:xfrm>
          <a:prstGeom prst="rect">
            <a:avLst/>
          </a:prstGeom>
          <a:noFill/>
        </p:spPr>
        <p:txBody>
          <a:bodyPr wrap="square" lIns="0" t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enerated more than 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X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umber of new clients annually  ​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X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as likely to have increased marketing in the last 2 years ​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5% HIGHER AUM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average $230M vs. $158M of non-GFAs ​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729CD39A-3A10-4A16-A841-811A9DEC190F}"/>
              </a:ext>
            </a:extLst>
          </p:cNvPr>
          <p:cNvGrpSpPr/>
          <p:nvPr/>
        </p:nvGrpSpPr>
        <p:grpSpPr>
          <a:xfrm>
            <a:off x="5581023" y="6590476"/>
            <a:ext cx="1029954" cy="174378"/>
            <a:chOff x="7696446" y="6583700"/>
            <a:chExt cx="1029954" cy="174378"/>
          </a:xfrm>
        </p:grpSpPr>
        <p:sp>
          <p:nvSpPr>
            <p:cNvPr id="55" name="Pentagon 65">
              <a:hlinkClick r:id="rId4" action="ppaction://hlinksldjump"/>
              <a:extLst>
                <a:ext uri="{FF2B5EF4-FFF2-40B4-BE49-F238E27FC236}">
                  <a16:creationId xmlns:a16="http://schemas.microsoft.com/office/drawing/2014/main" id="{BADF7FCC-338E-4EA4-8E42-21F37DC94433}"/>
                </a:ext>
              </a:extLst>
            </p:cNvPr>
            <p:cNvSpPr/>
            <p:nvPr/>
          </p:nvSpPr>
          <p:spPr>
            <a:xfrm rot="10800000">
              <a:off x="7696446" y="6594446"/>
              <a:ext cx="914400" cy="156430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tIns="0" rIns="182880" b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Title 1">
              <a:extLst>
                <a:ext uri="{FF2B5EF4-FFF2-40B4-BE49-F238E27FC236}">
                  <a16:creationId xmlns:a16="http://schemas.microsoft.com/office/drawing/2014/main" id="{B9D3BF4E-56D0-4603-8ED7-D23790D7C465}"/>
                </a:ext>
              </a:extLst>
            </p:cNvPr>
            <p:cNvSpPr txBox="1">
              <a:spLocks/>
            </p:cNvSpPr>
            <p:nvPr/>
          </p:nvSpPr>
          <p:spPr>
            <a:xfrm>
              <a:off x="7827376" y="6583700"/>
              <a:ext cx="899024" cy="174378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457208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6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45720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j-ea"/>
                  <a:cs typeface="+mj-cs"/>
                </a:rPr>
                <a:t>Return to Index</a:t>
              </a:r>
            </a:p>
          </p:txBody>
        </p: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C1D1B997-1094-4E03-759B-6A087A324FF6}"/>
              </a:ext>
            </a:extLst>
          </p:cNvPr>
          <p:cNvSpPr txBox="1">
            <a:spLocks/>
          </p:cNvSpPr>
          <p:nvPr/>
        </p:nvSpPr>
        <p:spPr>
          <a:xfrm>
            <a:off x="732366" y="91440"/>
            <a:ext cx="9524785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Growth Oriented Advisors are thriving… where are they spending?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3D8583-C25A-9B1E-7E40-41522C3F5280}"/>
              </a:ext>
            </a:extLst>
          </p:cNvPr>
          <p:cNvSpPr txBox="1"/>
          <p:nvPr/>
        </p:nvSpPr>
        <p:spPr>
          <a:xfrm>
            <a:off x="732366" y="6044807"/>
            <a:ext cx="3836305" cy="203308"/>
          </a:xfrm>
          <a:prstGeom prst="rect">
            <a:avLst/>
          </a:prstGeom>
          <a:noFill/>
        </p:spPr>
        <p:txBody>
          <a:bodyPr wrap="square" lIns="0" t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ource: BR annual Advisor marketing benchmarking survey 2019/20/21​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E12FC43-9E07-0EF6-9886-FB1409812EBE}"/>
              </a:ext>
            </a:extLst>
          </p:cNvPr>
          <p:cNvGrpSpPr/>
          <p:nvPr/>
        </p:nvGrpSpPr>
        <p:grpSpPr>
          <a:xfrm>
            <a:off x="732365" y="3172390"/>
            <a:ext cx="5763058" cy="2430389"/>
            <a:chOff x="732365" y="3426705"/>
            <a:chExt cx="5763058" cy="2430389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544C7D2-899F-DE9E-DDAA-8A61DD5451CE}"/>
                </a:ext>
              </a:extLst>
            </p:cNvPr>
            <p:cNvSpPr txBox="1"/>
            <p:nvPr/>
          </p:nvSpPr>
          <p:spPr>
            <a:xfrm>
              <a:off x="1190660" y="3612988"/>
              <a:ext cx="5304763" cy="2112762"/>
            </a:xfrm>
            <a:prstGeom prst="rect">
              <a:avLst/>
            </a:prstGeom>
            <a:noFill/>
          </p:spPr>
          <p:txBody>
            <a:bodyPr wrap="square" lIns="0" tIns="0" bIns="0" rtlCol="0" anchor="t" anchorCtr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Their Top 5 areas advisors increasing investments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#5   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Creating video content ​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​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#4   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Digital advertising ​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#3   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Websites ​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#2   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In person events ​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#1   Social media 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​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061008C-2742-7B5E-2316-5053E47B1935}"/>
                </a:ext>
              </a:extLst>
            </p:cNvPr>
            <p:cNvSpPr/>
            <p:nvPr/>
          </p:nvSpPr>
          <p:spPr>
            <a:xfrm>
              <a:off x="732365" y="3426705"/>
              <a:ext cx="4979587" cy="2430389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tIns="0" rIns="182880" b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2212101"/>
      </p:ext>
    </p:extLst>
  </p:cSld>
  <p:clrMapOvr>
    <a:masterClrMapping/>
  </p:clrMapOvr>
  <p:transition spd="med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front of a blue screen&#10;&#10;Description automatically generated with medium confidence">
            <a:extLst>
              <a:ext uri="{FF2B5EF4-FFF2-40B4-BE49-F238E27FC236}">
                <a16:creationId xmlns:a16="http://schemas.microsoft.com/office/drawing/2014/main" id="{9E471CCB-1181-6C43-B22B-A187BB9E36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548"/>
            <a:ext cx="12192000" cy="6804152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B8243017-12BA-434D-B5EC-5FCE0440B8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19" y="91439"/>
            <a:ext cx="10660997" cy="1133203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Are you sending the right content with the right message at the right time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11801D-B497-154F-AA56-FA4943748C7E}"/>
              </a:ext>
            </a:extLst>
          </p:cNvPr>
          <p:cNvSpPr txBox="1"/>
          <p:nvPr/>
        </p:nvSpPr>
        <p:spPr>
          <a:xfrm>
            <a:off x="-816429" y="1551214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76C146-DD0E-8B49-8E32-39932EFE6E38}"/>
              </a:ext>
            </a:extLst>
          </p:cNvPr>
          <p:cNvSpPr txBox="1"/>
          <p:nvPr/>
        </p:nvSpPr>
        <p:spPr>
          <a:xfrm>
            <a:off x="-734786" y="800100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C9279BA-C05A-C140-A827-3DF98F697996}"/>
              </a:ext>
            </a:extLst>
          </p:cNvPr>
          <p:cNvSpPr txBox="1">
            <a:spLocks/>
          </p:cNvSpPr>
          <p:nvPr/>
        </p:nvSpPr>
        <p:spPr>
          <a:xfrm>
            <a:off x="898934" y="1735727"/>
            <a:ext cx="2528753" cy="4665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8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DOW JONES 2022 STUDY​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F72608B-A104-AC40-B9F8-F95A408B4E95}"/>
              </a:ext>
            </a:extLst>
          </p:cNvPr>
          <p:cNvSpPr txBox="1">
            <a:spLocks/>
          </p:cNvSpPr>
          <p:nvPr/>
        </p:nvSpPr>
        <p:spPr>
          <a:xfrm>
            <a:off x="898934" y="5379368"/>
            <a:ext cx="3389608" cy="226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8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Source: Dow Jones and AdvisorStream, State of Advice Study 2022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D3F8BD6-BCEB-C74D-8F5A-DBF6E2288558}"/>
              </a:ext>
            </a:extLst>
          </p:cNvPr>
          <p:cNvGrpSpPr/>
          <p:nvPr/>
        </p:nvGrpSpPr>
        <p:grpSpPr>
          <a:xfrm>
            <a:off x="731518" y="1637437"/>
            <a:ext cx="7434583" cy="4163483"/>
            <a:chOff x="731518" y="1637438"/>
            <a:chExt cx="7434583" cy="3974286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1004B46-1AB0-D44E-8A80-DA5F1F56A083}"/>
                </a:ext>
              </a:extLst>
            </p:cNvPr>
            <p:cNvCxnSpPr>
              <a:cxnSpLocks/>
            </p:cNvCxnSpPr>
            <p:nvPr/>
          </p:nvCxnSpPr>
          <p:spPr>
            <a:xfrm>
              <a:off x="731518" y="1637438"/>
              <a:ext cx="1" cy="3966761"/>
            </a:xfrm>
            <a:prstGeom prst="line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209EAE31-9D14-4647-9C64-CAF0E4921C60}"/>
                </a:ext>
              </a:extLst>
            </p:cNvPr>
            <p:cNvCxnSpPr>
              <a:cxnSpLocks/>
            </p:cNvCxnSpPr>
            <p:nvPr/>
          </p:nvCxnSpPr>
          <p:spPr>
            <a:xfrm>
              <a:off x="8166101" y="2096825"/>
              <a:ext cx="0" cy="3514899"/>
            </a:xfrm>
            <a:prstGeom prst="line">
              <a:avLst/>
            </a:prstGeom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266ABFD-B5F1-6B46-9CE2-83425558B519}"/>
              </a:ext>
            </a:extLst>
          </p:cNvPr>
          <p:cNvCxnSpPr>
            <a:cxnSpLocks/>
          </p:cNvCxnSpPr>
          <p:nvPr/>
        </p:nvCxnSpPr>
        <p:spPr>
          <a:xfrm flipH="1">
            <a:off x="731519" y="1637438"/>
            <a:ext cx="2797770" cy="1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B46A65F-BEC7-2442-873C-81F25474794F}"/>
              </a:ext>
            </a:extLst>
          </p:cNvPr>
          <p:cNvCxnSpPr>
            <a:cxnSpLocks/>
          </p:cNvCxnSpPr>
          <p:nvPr/>
        </p:nvCxnSpPr>
        <p:spPr>
          <a:xfrm>
            <a:off x="3529289" y="1637438"/>
            <a:ext cx="0" cy="466588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2673C599-C24C-CA43-9B30-3BEA54819364}"/>
              </a:ext>
            </a:extLst>
          </p:cNvPr>
          <p:cNvCxnSpPr>
            <a:cxnSpLocks/>
          </p:cNvCxnSpPr>
          <p:nvPr/>
        </p:nvCxnSpPr>
        <p:spPr>
          <a:xfrm flipH="1">
            <a:off x="3529288" y="2096825"/>
            <a:ext cx="4636813" cy="0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051" name="Group 2050">
            <a:extLst>
              <a:ext uri="{FF2B5EF4-FFF2-40B4-BE49-F238E27FC236}">
                <a16:creationId xmlns:a16="http://schemas.microsoft.com/office/drawing/2014/main" id="{0867234D-849F-5F41-B694-8FC5537740A4}"/>
              </a:ext>
            </a:extLst>
          </p:cNvPr>
          <p:cNvGrpSpPr/>
          <p:nvPr/>
        </p:nvGrpSpPr>
        <p:grpSpPr>
          <a:xfrm>
            <a:off x="4991962" y="5062841"/>
            <a:ext cx="3005903" cy="737029"/>
            <a:chOff x="951986" y="4788110"/>
            <a:chExt cx="3005904" cy="737029"/>
          </a:xfrm>
        </p:grpSpPr>
        <p:pic>
          <p:nvPicPr>
            <p:cNvPr id="43" name="Picture 42" descr="Logo&#10;&#10;Description automatically generated">
              <a:extLst>
                <a:ext uri="{FF2B5EF4-FFF2-40B4-BE49-F238E27FC236}">
                  <a16:creationId xmlns:a16="http://schemas.microsoft.com/office/drawing/2014/main" id="{667FD651-0114-6E4E-BF89-B100558DBD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74"/>
            <a:stretch/>
          </p:blipFill>
          <p:spPr>
            <a:xfrm>
              <a:off x="2474063" y="4788110"/>
              <a:ext cx="1483827" cy="737029"/>
            </a:xfrm>
            <a:prstGeom prst="rect">
              <a:avLst/>
            </a:prstGeom>
          </p:spPr>
        </p:pic>
        <p:pic>
          <p:nvPicPr>
            <p:cNvPr id="32" name="Picture 31" descr="Logo&#10;&#10;Description automatically generated">
              <a:extLst>
                <a:ext uri="{FF2B5EF4-FFF2-40B4-BE49-F238E27FC236}">
                  <a16:creationId xmlns:a16="http://schemas.microsoft.com/office/drawing/2014/main" id="{15F4017C-ABC4-0B49-8CE8-0D947F6FFD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679" t="44941" r="32227" b="24246"/>
            <a:stretch/>
          </p:blipFill>
          <p:spPr>
            <a:xfrm>
              <a:off x="951986" y="5051026"/>
              <a:ext cx="1250811" cy="212140"/>
            </a:xfrm>
            <a:prstGeom prst="rect">
              <a:avLst/>
            </a:prstGeom>
          </p:spPr>
        </p:pic>
      </p:grpSp>
      <p:sp>
        <p:nvSpPr>
          <p:cNvPr id="58" name="Title 1">
            <a:extLst>
              <a:ext uri="{FF2B5EF4-FFF2-40B4-BE49-F238E27FC236}">
                <a16:creationId xmlns:a16="http://schemas.microsoft.com/office/drawing/2014/main" id="{C368C59D-6880-494C-BAD6-EDDF0D482715}"/>
              </a:ext>
            </a:extLst>
          </p:cNvPr>
          <p:cNvSpPr txBox="1">
            <a:spLocks/>
          </p:cNvSpPr>
          <p:nvPr/>
        </p:nvSpPr>
        <p:spPr>
          <a:xfrm>
            <a:off x="1103558" y="2213148"/>
            <a:ext cx="7306352" cy="7370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8" rtl="0" eaLnBrk="1" fontAlgn="base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nvestors prefer weekly communications – especially when things aren’t going well​</a:t>
            </a:r>
          </a:p>
          <a:p>
            <a:pPr marL="0" marR="0" lvl="0" indent="0" algn="l" defTabSz="457208" rtl="0" eaLnBrk="1" fontAlgn="base" latinLnBrk="0" hangingPunct="1">
              <a:lnSpc>
                <a:spcPct val="2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Top ways investors wanted advisors to add value:​</a:t>
            </a:r>
          </a:p>
          <a:p>
            <a:pPr marL="0" marR="0" lvl="0" indent="0" algn="l" defTabSz="457208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	53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anted on-going education on emerging trends and topics​</a:t>
            </a:r>
          </a:p>
          <a:p>
            <a:pPr marL="0" marR="0" lvl="0" indent="0" algn="l" defTabSz="457208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	49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anted their family’s goals to be understood​</a:t>
            </a:r>
          </a:p>
          <a:p>
            <a:pPr marL="0" marR="0" lvl="0" indent="0" algn="l" defTabSz="457208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	42%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wanted more personalized content tailored to their needs</a:t>
            </a:r>
          </a:p>
          <a:p>
            <a:pPr marL="0" marR="0" lvl="0" indent="0" algn="l" defTabSz="457208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	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82%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of investors want fact checked content​</a:t>
            </a:r>
          </a:p>
          <a:p>
            <a:pPr marL="0" marR="0" lvl="0" indent="0" algn="l" defTabSz="457208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6" name="Chevron 55">
            <a:extLst>
              <a:ext uri="{FF2B5EF4-FFF2-40B4-BE49-F238E27FC236}">
                <a16:creationId xmlns:a16="http://schemas.microsoft.com/office/drawing/2014/main" id="{B9EB474C-117E-434E-9B92-ED10EF26405C}"/>
              </a:ext>
            </a:extLst>
          </p:cNvPr>
          <p:cNvSpPr/>
          <p:nvPr/>
        </p:nvSpPr>
        <p:spPr>
          <a:xfrm>
            <a:off x="898934" y="2463279"/>
            <a:ext cx="137160" cy="137160"/>
          </a:xfrm>
          <a:prstGeom prst="chevron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Chevron 61">
            <a:extLst>
              <a:ext uri="{FF2B5EF4-FFF2-40B4-BE49-F238E27FC236}">
                <a16:creationId xmlns:a16="http://schemas.microsoft.com/office/drawing/2014/main" id="{1B2C4CAB-9C27-6148-B5F5-36EFB3E600C2}"/>
              </a:ext>
            </a:extLst>
          </p:cNvPr>
          <p:cNvSpPr/>
          <p:nvPr/>
        </p:nvSpPr>
        <p:spPr>
          <a:xfrm>
            <a:off x="913547" y="2924260"/>
            <a:ext cx="137160" cy="137160"/>
          </a:xfrm>
          <a:prstGeom prst="chevron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2883ED5F-C9B2-9E40-80CC-0815A340F042}"/>
              </a:ext>
            </a:extLst>
          </p:cNvPr>
          <p:cNvCxnSpPr>
            <a:cxnSpLocks/>
          </p:cNvCxnSpPr>
          <p:nvPr/>
        </p:nvCxnSpPr>
        <p:spPr>
          <a:xfrm flipH="1">
            <a:off x="731519" y="5805673"/>
            <a:ext cx="7434582" cy="0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CD75178-476E-7F4C-0230-FB4285A1E57C}"/>
              </a:ext>
            </a:extLst>
          </p:cNvPr>
          <p:cNvSpPr txBox="1"/>
          <p:nvPr/>
        </p:nvSpPr>
        <p:spPr>
          <a:xfrm>
            <a:off x="-426720" y="589280"/>
            <a:ext cx="0" cy="0"/>
          </a:xfrm>
          <a:prstGeom prst="rect">
            <a:avLst/>
          </a:prstGeom>
          <a:noFill/>
        </p:spPr>
        <p:txBody>
          <a:bodyPr wrap="none" lIns="0" tIns="0" bIns="0" rtlCol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7A43941-D3C2-47EF-B20F-1CCE21835189}"/>
              </a:ext>
            </a:extLst>
          </p:cNvPr>
          <p:cNvGrpSpPr/>
          <p:nvPr/>
        </p:nvGrpSpPr>
        <p:grpSpPr>
          <a:xfrm>
            <a:off x="5581023" y="6590476"/>
            <a:ext cx="1029954" cy="174378"/>
            <a:chOff x="7696446" y="6583700"/>
            <a:chExt cx="1029954" cy="174378"/>
          </a:xfrm>
        </p:grpSpPr>
        <p:sp>
          <p:nvSpPr>
            <p:cNvPr id="26" name="Pentagon 8">
              <a:extLst>
                <a:ext uri="{FF2B5EF4-FFF2-40B4-BE49-F238E27FC236}">
                  <a16:creationId xmlns:a16="http://schemas.microsoft.com/office/drawing/2014/main" id="{113A18E2-7AE1-4D7A-99B0-70EA48D970B3}"/>
                </a:ext>
              </a:extLst>
            </p:cNvPr>
            <p:cNvSpPr/>
            <p:nvPr/>
          </p:nvSpPr>
          <p:spPr>
            <a:xfrm rot="10800000">
              <a:off x="7696446" y="6594446"/>
              <a:ext cx="914400" cy="156430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tIns="0" rIns="182880" b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Title 1">
              <a:hlinkClick r:id="rId7" action="ppaction://hlinksldjump"/>
              <a:extLst>
                <a:ext uri="{FF2B5EF4-FFF2-40B4-BE49-F238E27FC236}">
                  <a16:creationId xmlns:a16="http://schemas.microsoft.com/office/drawing/2014/main" id="{613808F9-18B6-42DD-82C8-5439C2673257}"/>
                </a:ext>
              </a:extLst>
            </p:cNvPr>
            <p:cNvSpPr txBox="1">
              <a:spLocks/>
            </p:cNvSpPr>
            <p:nvPr/>
          </p:nvSpPr>
          <p:spPr>
            <a:xfrm>
              <a:off x="7827376" y="6583700"/>
              <a:ext cx="899024" cy="174378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457208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6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45720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j-ea"/>
                  <a:cs typeface="+mj-cs"/>
                </a:rPr>
                <a:t>Return to Index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98221666"/>
      </p:ext>
    </p:extLst>
  </p:cSld>
  <p:clrMapOvr>
    <a:masterClrMapping/>
  </p:clrMapOvr>
  <p:transition spd="med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stage, scene&#10;&#10;Description automatically generated">
            <a:extLst>
              <a:ext uri="{FF2B5EF4-FFF2-40B4-BE49-F238E27FC236}">
                <a16:creationId xmlns:a16="http://schemas.microsoft.com/office/drawing/2014/main" id="{79109276-FB86-2E4D-80CC-2786C069FB5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34"/>
          <a:stretch/>
        </p:blipFill>
        <p:spPr>
          <a:xfrm>
            <a:off x="0" y="0"/>
            <a:ext cx="12192000" cy="647575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3C6F9C-BABC-3646-A1F5-74FA70F9B455}"/>
              </a:ext>
            </a:extLst>
          </p:cNvPr>
          <p:cNvSpPr/>
          <p:nvPr/>
        </p:nvSpPr>
        <p:spPr>
          <a:xfrm>
            <a:off x="0" y="2540937"/>
            <a:ext cx="12192000" cy="2334986"/>
          </a:xfrm>
          <a:prstGeom prst="rect">
            <a:avLst/>
          </a:prstGeom>
          <a:solidFill>
            <a:schemeClr val="accent1">
              <a:alpha val="7689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3DA725B-E08C-7C46-A908-A16385DF7454}"/>
              </a:ext>
            </a:extLst>
          </p:cNvPr>
          <p:cNvSpPr txBox="1">
            <a:spLocks/>
          </p:cNvSpPr>
          <p:nvPr/>
        </p:nvSpPr>
        <p:spPr>
          <a:xfrm>
            <a:off x="804067" y="3363897"/>
            <a:ext cx="10889828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ts val="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AdvisorStream</a:t>
            </a:r>
            <a:br>
              <a:rPr kumimoji="0" lang="en-US" sz="2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orld Class Content + Easy Automation + AI Client Insight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08FE74B-4A70-4DF8-BEC5-91A1CBFD8E70}"/>
              </a:ext>
            </a:extLst>
          </p:cNvPr>
          <p:cNvGrpSpPr/>
          <p:nvPr/>
        </p:nvGrpSpPr>
        <p:grpSpPr>
          <a:xfrm>
            <a:off x="5581023" y="6590476"/>
            <a:ext cx="1029954" cy="174378"/>
            <a:chOff x="7696446" y="6583700"/>
            <a:chExt cx="1029954" cy="174378"/>
          </a:xfrm>
        </p:grpSpPr>
        <p:sp>
          <p:nvSpPr>
            <p:cNvPr id="13" name="Pentagon 8">
              <a:extLst>
                <a:ext uri="{FF2B5EF4-FFF2-40B4-BE49-F238E27FC236}">
                  <a16:creationId xmlns:a16="http://schemas.microsoft.com/office/drawing/2014/main" id="{DE430289-05B8-4CDE-BFF5-93110C6517DB}"/>
                </a:ext>
              </a:extLst>
            </p:cNvPr>
            <p:cNvSpPr/>
            <p:nvPr/>
          </p:nvSpPr>
          <p:spPr>
            <a:xfrm rot="10800000">
              <a:off x="7696446" y="6594446"/>
              <a:ext cx="914400" cy="156430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tIns="0" rIns="182880" b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Title 1">
              <a:hlinkClick r:id="rId5" action="ppaction://hlinksldjump"/>
              <a:extLst>
                <a:ext uri="{FF2B5EF4-FFF2-40B4-BE49-F238E27FC236}">
                  <a16:creationId xmlns:a16="http://schemas.microsoft.com/office/drawing/2014/main" id="{CBE21FC6-3F39-40C3-999E-145EDE0B2E33}"/>
                </a:ext>
              </a:extLst>
            </p:cNvPr>
            <p:cNvSpPr txBox="1">
              <a:spLocks/>
            </p:cNvSpPr>
            <p:nvPr/>
          </p:nvSpPr>
          <p:spPr>
            <a:xfrm>
              <a:off x="7827376" y="6583700"/>
              <a:ext cx="899024" cy="174378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457208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6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45720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j-ea"/>
                  <a:cs typeface="+mj-cs"/>
                </a:rPr>
                <a:t>Return to Index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42446673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>
            <a:extLst>
              <a:ext uri="{FF2B5EF4-FFF2-40B4-BE49-F238E27FC236}">
                <a16:creationId xmlns:a16="http://schemas.microsoft.com/office/drawing/2014/main" id="{CAC0AB66-E81B-4140-A1B8-1C398DDAB57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0" t="13801" r="24184" b="32795"/>
          <a:stretch/>
        </p:blipFill>
        <p:spPr>
          <a:xfrm>
            <a:off x="2087964" y="1979741"/>
            <a:ext cx="3250832" cy="4489230"/>
          </a:xfrm>
          <a:prstGeom prst="rect">
            <a:avLst/>
          </a:prstGeom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2329518A-015F-42A3-B977-A8727DD482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7346" y="20862189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</a:br>
            <a:b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3B16782B-445F-4FB8-9834-D26BEF2A3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+mn-lt"/>
              </a:rPr>
              <a:t>Automated, Intelligent, Engagement Made Eas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E7EBF7-CB76-4DF9-918E-0FE6C11FAC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800"/>
              <a:t>AdvisorStream’s world-class content and relevance algorithms maximize memorable connections with clients and prospect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60E691D-F08F-CCE9-C7F1-A24C5AB2CE3A}"/>
              </a:ext>
            </a:extLst>
          </p:cNvPr>
          <p:cNvGrpSpPr/>
          <p:nvPr/>
        </p:nvGrpSpPr>
        <p:grpSpPr>
          <a:xfrm>
            <a:off x="4499457" y="3993218"/>
            <a:ext cx="1528725" cy="342338"/>
            <a:chOff x="5126075" y="4001688"/>
            <a:chExt cx="1528725" cy="342338"/>
          </a:xfrm>
        </p:grpSpPr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FFA248DE-5919-43E5-A9B1-1CAE0F2169C5}"/>
                </a:ext>
              </a:extLst>
            </p:cNvPr>
            <p:cNvCxnSpPr>
              <a:cxnSpLocks/>
            </p:cNvCxnSpPr>
            <p:nvPr/>
          </p:nvCxnSpPr>
          <p:spPr>
            <a:xfrm>
              <a:off x="5126075" y="4001688"/>
              <a:ext cx="546364" cy="338576"/>
            </a:xfrm>
            <a:prstGeom prst="line">
              <a:avLst/>
            </a:prstGeom>
            <a:ln w="25400">
              <a:solidFill>
                <a:schemeClr val="bg2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B832F984-22D0-45FC-A0E6-5E6D33088EE9}"/>
                </a:ext>
              </a:extLst>
            </p:cNvPr>
            <p:cNvCxnSpPr>
              <a:cxnSpLocks/>
            </p:cNvCxnSpPr>
            <p:nvPr/>
          </p:nvCxnSpPr>
          <p:spPr>
            <a:xfrm>
              <a:off x="5672439" y="4344026"/>
              <a:ext cx="982361" cy="0"/>
            </a:xfrm>
            <a:prstGeom prst="line">
              <a:avLst/>
            </a:prstGeom>
            <a:ln w="25400">
              <a:solidFill>
                <a:schemeClr val="bg2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D4D6A40-7515-470F-8E6D-C09B2723A821}"/>
              </a:ext>
            </a:extLst>
          </p:cNvPr>
          <p:cNvGrpSpPr/>
          <p:nvPr/>
        </p:nvGrpSpPr>
        <p:grpSpPr>
          <a:xfrm>
            <a:off x="4499457" y="2829601"/>
            <a:ext cx="1316445" cy="267743"/>
            <a:chOff x="1683095" y="2419078"/>
            <a:chExt cx="874111" cy="267745"/>
          </a:xfrm>
        </p:grpSpPr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C359AF23-54F9-4A75-A669-78C523FA18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83095" y="2419073"/>
              <a:ext cx="363647" cy="267744"/>
            </a:xfrm>
            <a:prstGeom prst="line">
              <a:avLst/>
            </a:prstGeom>
            <a:ln w="25400">
              <a:solidFill>
                <a:schemeClr val="bg2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4A0F3D99-2345-4537-B577-9302695B5E56}"/>
                </a:ext>
              </a:extLst>
            </p:cNvPr>
            <p:cNvCxnSpPr>
              <a:cxnSpLocks/>
            </p:cNvCxnSpPr>
            <p:nvPr/>
          </p:nvCxnSpPr>
          <p:spPr>
            <a:xfrm>
              <a:off x="2046742" y="2422835"/>
              <a:ext cx="510464" cy="0"/>
            </a:xfrm>
            <a:prstGeom prst="line">
              <a:avLst/>
            </a:prstGeom>
            <a:ln w="25400">
              <a:solidFill>
                <a:schemeClr val="bg2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4B43BB6E-6E9F-0FBB-EEEC-BB416013A8C6}"/>
              </a:ext>
            </a:extLst>
          </p:cNvPr>
          <p:cNvGrpSpPr/>
          <p:nvPr/>
        </p:nvGrpSpPr>
        <p:grpSpPr>
          <a:xfrm>
            <a:off x="7630399" y="2128210"/>
            <a:ext cx="3804097" cy="3505781"/>
            <a:chOff x="7741843" y="2573654"/>
            <a:chExt cx="3804097" cy="3505781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DCEB239-2F32-4773-A854-AFCB119C4FCE}"/>
                </a:ext>
              </a:extLst>
            </p:cNvPr>
            <p:cNvSpPr txBox="1"/>
            <p:nvPr/>
          </p:nvSpPr>
          <p:spPr>
            <a:xfrm>
              <a:off x="8117141" y="2687937"/>
              <a:ext cx="3428799" cy="3391498"/>
            </a:xfrm>
            <a:prstGeom prst="rect">
              <a:avLst/>
            </a:prstGeom>
            <a:noFill/>
          </p:spPr>
          <p:txBody>
            <a:bodyPr wrap="square" lIns="0" tIns="0" bIns="0" rtlCol="0" anchor="t" anchorCtr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A3D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ccess To High Quality Industry Content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gularly updated content feeds covering a broad array of financial topics for investors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A3D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entralized Storage &amp; Distribution of Content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l material can be stored, managed, and distribution from a single point through multiple channels.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A3D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tent Recommendation Engine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dvisors are proactively provided notes on content best suited to their clients.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365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09BC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5A21C3FD-260B-903A-86E1-FA5368EDC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1843" y="2573654"/>
              <a:ext cx="380037" cy="380037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D00667B-ACDD-79A7-DEF5-D4ABA7A50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1843" y="3504056"/>
              <a:ext cx="380037" cy="380037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3EEBD051-6238-E96E-F101-3480412579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1843" y="4639710"/>
              <a:ext cx="380037" cy="380037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EB483307-CA0C-BD02-B9BC-BAB851A343D2}"/>
              </a:ext>
            </a:extLst>
          </p:cNvPr>
          <p:cNvSpPr txBox="1"/>
          <p:nvPr/>
        </p:nvSpPr>
        <p:spPr>
          <a:xfrm>
            <a:off x="5634779" y="2826966"/>
            <a:ext cx="1585799" cy="105413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578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85%</a:t>
            </a:r>
          </a:p>
          <a:p>
            <a:pPr marL="0" marR="0" lvl="0" indent="0" algn="ctr" defTabSz="4572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78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Usage Rate</a:t>
            </a:r>
          </a:p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Calibri"/>
                <a:ea typeface="Raleway"/>
                <a:cs typeface="Arial" panose="020B0604020202020204" pitchFamily="34" charset="0"/>
              </a:rPr>
              <a:t>Newsletter in last 30 day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578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FC18B94-7AFC-233C-8902-1804F5C6CBF6}"/>
              </a:ext>
            </a:extLst>
          </p:cNvPr>
          <p:cNvSpPr txBox="1"/>
          <p:nvPr/>
        </p:nvSpPr>
        <p:spPr>
          <a:xfrm>
            <a:off x="5520941" y="4227129"/>
            <a:ext cx="1813475" cy="100283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578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52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78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Touchpoints</a:t>
            </a:r>
          </a:p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Calibri"/>
                <a:ea typeface="Raleway"/>
                <a:cs typeface="Arial" panose="020B0604020202020204" pitchFamily="34" charset="0"/>
              </a:rPr>
              <a:t>Compared to industry average of 26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578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399989F-574C-45AE-8DC5-D6D6BE1643AE}"/>
              </a:ext>
            </a:extLst>
          </p:cNvPr>
          <p:cNvGrpSpPr/>
          <p:nvPr/>
        </p:nvGrpSpPr>
        <p:grpSpPr>
          <a:xfrm>
            <a:off x="2111131" y="2754600"/>
            <a:ext cx="1122295" cy="247308"/>
            <a:chOff x="3472282" y="1949247"/>
            <a:chExt cx="745196" cy="247309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05BC4F14-2401-4059-A46F-2CFAB3FC5B3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023594" y="1949247"/>
              <a:ext cx="193884" cy="247309"/>
            </a:xfrm>
            <a:prstGeom prst="line">
              <a:avLst/>
            </a:prstGeom>
            <a:ln w="25400">
              <a:solidFill>
                <a:schemeClr val="bg2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B0BB677-2A06-47A2-86B1-40FBC67F52D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72282" y="1953012"/>
              <a:ext cx="560835" cy="0"/>
            </a:xfrm>
            <a:prstGeom prst="line">
              <a:avLst/>
            </a:prstGeom>
            <a:ln w="25400">
              <a:solidFill>
                <a:schemeClr val="bg2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1DFC0524-C22A-4AFB-B6DC-0E783CF9BCE6}"/>
              </a:ext>
            </a:extLst>
          </p:cNvPr>
          <p:cNvSpPr txBox="1"/>
          <p:nvPr/>
        </p:nvSpPr>
        <p:spPr>
          <a:xfrm>
            <a:off x="646151" y="2584366"/>
            <a:ext cx="1895874" cy="100283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578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30%</a:t>
            </a:r>
          </a:p>
          <a:p>
            <a:pPr marL="0" marR="0" lvl="0" indent="0" algn="ctr" defTabSz="4572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78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pen Rate</a:t>
            </a:r>
          </a:p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Calibri"/>
                <a:ea typeface="Raleway"/>
                <a:cs typeface="Arial" panose="020B0604020202020204" pitchFamily="34" charset="0"/>
              </a:rPr>
              <a:t>Compared to industry average of 20.4%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578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3D9B7B8-E9FF-0938-2D55-0CF964AF161B}"/>
              </a:ext>
            </a:extLst>
          </p:cNvPr>
          <p:cNvGrpSpPr/>
          <p:nvPr/>
        </p:nvGrpSpPr>
        <p:grpSpPr>
          <a:xfrm>
            <a:off x="2300725" y="4232319"/>
            <a:ext cx="1122287" cy="420737"/>
            <a:chOff x="2623669" y="4587919"/>
            <a:chExt cx="1122287" cy="420737"/>
          </a:xfrm>
        </p:grpSpPr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1A2923D8-A4F5-481D-AB2C-F3551E21016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56047" y="4587919"/>
              <a:ext cx="489909" cy="417425"/>
            </a:xfrm>
            <a:prstGeom prst="line">
              <a:avLst/>
            </a:prstGeom>
            <a:solidFill>
              <a:srgbClr val="7030A0"/>
            </a:solidFill>
            <a:ln w="25400">
              <a:solidFill>
                <a:schemeClr val="bg2">
                  <a:lumMod val="7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F2D7F814-B351-45C2-B263-64B38BAD153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23669" y="4999592"/>
              <a:ext cx="648717" cy="9064"/>
            </a:xfrm>
            <a:prstGeom prst="line">
              <a:avLst/>
            </a:prstGeom>
            <a:solidFill>
              <a:srgbClr val="7030A0"/>
            </a:solidFill>
            <a:ln w="25400">
              <a:solidFill>
                <a:schemeClr val="bg2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B150302-EF53-BB40-DB5A-689AADB41F28}"/>
              </a:ext>
            </a:extLst>
          </p:cNvPr>
          <p:cNvSpPr txBox="1"/>
          <p:nvPr/>
        </p:nvSpPr>
        <p:spPr>
          <a:xfrm>
            <a:off x="646152" y="4607759"/>
            <a:ext cx="1895873" cy="105413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0578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10%</a:t>
            </a:r>
          </a:p>
          <a:p>
            <a:pPr marL="0" marR="0" lvl="0" indent="0" algn="ctr" defTabSz="4572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578E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View Rate</a:t>
            </a:r>
          </a:p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E8E8E8">
                    <a:lumMod val="25000"/>
                  </a:srgbClr>
                </a:solidFill>
                <a:effectLst/>
                <a:uLnTx/>
                <a:uFillTx/>
                <a:latin typeface="Calibri"/>
                <a:ea typeface="Raleway"/>
                <a:cs typeface="Arial" panose="020B0604020202020204" pitchFamily="34" charset="0"/>
              </a:rPr>
              <a:t>Compared to industry average of 2.6%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578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753FD4E-FF43-4DE7-AE23-6679A3DF58D2}"/>
              </a:ext>
            </a:extLst>
          </p:cNvPr>
          <p:cNvGrpSpPr/>
          <p:nvPr/>
        </p:nvGrpSpPr>
        <p:grpSpPr>
          <a:xfrm>
            <a:off x="5581023" y="6590476"/>
            <a:ext cx="1029954" cy="174378"/>
            <a:chOff x="7696446" y="6583700"/>
            <a:chExt cx="1029954" cy="174378"/>
          </a:xfrm>
        </p:grpSpPr>
        <p:sp>
          <p:nvSpPr>
            <p:cNvPr id="31" name="Pentagon 8">
              <a:extLst>
                <a:ext uri="{FF2B5EF4-FFF2-40B4-BE49-F238E27FC236}">
                  <a16:creationId xmlns:a16="http://schemas.microsoft.com/office/drawing/2014/main" id="{BB17E33C-56B5-40E6-B376-7B9F7315F246}"/>
                </a:ext>
              </a:extLst>
            </p:cNvPr>
            <p:cNvSpPr/>
            <p:nvPr/>
          </p:nvSpPr>
          <p:spPr>
            <a:xfrm rot="10800000">
              <a:off x="7696446" y="6594446"/>
              <a:ext cx="914400" cy="156430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tIns="0" rIns="182880" b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Title 1">
              <a:hlinkClick r:id="rId5" action="ppaction://hlinksldjump"/>
              <a:extLst>
                <a:ext uri="{FF2B5EF4-FFF2-40B4-BE49-F238E27FC236}">
                  <a16:creationId xmlns:a16="http://schemas.microsoft.com/office/drawing/2014/main" id="{33886FA7-5044-437C-B366-76C9FBB1BB49}"/>
                </a:ext>
              </a:extLst>
            </p:cNvPr>
            <p:cNvSpPr txBox="1">
              <a:spLocks/>
            </p:cNvSpPr>
            <p:nvPr/>
          </p:nvSpPr>
          <p:spPr>
            <a:xfrm>
              <a:off x="7827376" y="6583700"/>
              <a:ext cx="899024" cy="174378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457208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6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45720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j-ea"/>
                  <a:cs typeface="+mj-cs"/>
                </a:rPr>
                <a:t>Return to Inde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2082454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, indoor, display&#10;&#10;Description automatically generated">
            <a:extLst>
              <a:ext uri="{FF2B5EF4-FFF2-40B4-BE49-F238E27FC236}">
                <a16:creationId xmlns:a16="http://schemas.microsoft.com/office/drawing/2014/main" id="{236F0EDC-CB50-23CB-C5C0-04F9B3F965E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28"/>
          <a:stretch/>
        </p:blipFill>
        <p:spPr>
          <a:xfrm>
            <a:off x="0" y="0"/>
            <a:ext cx="12197426" cy="64828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C3C6F9C-BABC-3646-A1F5-74FA70F9B455}"/>
              </a:ext>
            </a:extLst>
          </p:cNvPr>
          <p:cNvSpPr/>
          <p:nvPr/>
        </p:nvSpPr>
        <p:spPr>
          <a:xfrm>
            <a:off x="0" y="2540937"/>
            <a:ext cx="12192000" cy="2334986"/>
          </a:xfrm>
          <a:prstGeom prst="rect">
            <a:avLst/>
          </a:prstGeom>
          <a:solidFill>
            <a:schemeClr val="accent1">
              <a:alpha val="76893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0" rIns="18288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5036599-043C-56F1-9686-96F70DE070C2}"/>
              </a:ext>
            </a:extLst>
          </p:cNvPr>
          <p:cNvSpPr txBox="1">
            <a:spLocks/>
          </p:cNvSpPr>
          <p:nvPr/>
        </p:nvSpPr>
        <p:spPr>
          <a:xfrm>
            <a:off x="804067" y="3363897"/>
            <a:ext cx="10889828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72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8" rtl="0" eaLnBrk="1" fontAlgn="auto" latinLnBrk="0" hangingPunct="1">
              <a:lnSpc>
                <a:spcPts val="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ebsite Manager</a:t>
            </a:r>
            <a:b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ebsite Manager – Establishing a Digital Presence is Critica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271D0A-2710-47F1-BC9C-8629DF4E0B24}"/>
              </a:ext>
            </a:extLst>
          </p:cNvPr>
          <p:cNvGrpSpPr/>
          <p:nvPr/>
        </p:nvGrpSpPr>
        <p:grpSpPr>
          <a:xfrm>
            <a:off x="5581023" y="6590476"/>
            <a:ext cx="1029954" cy="174378"/>
            <a:chOff x="7696446" y="6583700"/>
            <a:chExt cx="1029954" cy="174378"/>
          </a:xfrm>
        </p:grpSpPr>
        <p:sp>
          <p:nvSpPr>
            <p:cNvPr id="9" name="Pentagon 8">
              <a:extLst>
                <a:ext uri="{FF2B5EF4-FFF2-40B4-BE49-F238E27FC236}">
                  <a16:creationId xmlns:a16="http://schemas.microsoft.com/office/drawing/2014/main" id="{BA058BE3-57C6-4B64-8383-090D30B22B64}"/>
                </a:ext>
              </a:extLst>
            </p:cNvPr>
            <p:cNvSpPr/>
            <p:nvPr/>
          </p:nvSpPr>
          <p:spPr>
            <a:xfrm rot="10800000">
              <a:off x="7696446" y="6594446"/>
              <a:ext cx="914400" cy="156430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tIns="0" rIns="182880" bIns="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Title 1">
              <a:hlinkClick r:id="rId5" action="ppaction://hlinksldjump"/>
              <a:extLst>
                <a:ext uri="{FF2B5EF4-FFF2-40B4-BE49-F238E27FC236}">
                  <a16:creationId xmlns:a16="http://schemas.microsoft.com/office/drawing/2014/main" id="{ED20B051-84A5-4F21-B0EF-F9A91F384AC3}"/>
                </a:ext>
              </a:extLst>
            </p:cNvPr>
            <p:cNvSpPr txBox="1">
              <a:spLocks/>
            </p:cNvSpPr>
            <p:nvPr/>
          </p:nvSpPr>
          <p:spPr>
            <a:xfrm>
              <a:off x="7827376" y="6583700"/>
              <a:ext cx="899024" cy="174378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457208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6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457208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j-ea"/>
                  <a:cs typeface="+mj-cs"/>
                </a:rPr>
                <a:t>Return to Index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11054210"/>
      </p:ext>
    </p:extLst>
  </p:cSld>
  <p:clrMapOvr>
    <a:masterClrMapping/>
  </p:clrMapOvr>
  <p:transition spd="med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18875-BR-SlideLibrary-4x3-HIRES">
  <a:themeElements>
    <a:clrScheme name="BR New2">
      <a:dk1>
        <a:srgbClr val="3C3C3C"/>
      </a:dk1>
      <a:lt1>
        <a:srgbClr val="FFFFFF"/>
      </a:lt1>
      <a:dk2>
        <a:srgbClr val="6D6D6D"/>
      </a:dk2>
      <a:lt2>
        <a:srgbClr val="E8E8E8"/>
      </a:lt2>
      <a:accent1>
        <a:srgbClr val="00578E"/>
      </a:accent1>
      <a:accent2>
        <a:srgbClr val="A8B400"/>
      </a:accent2>
      <a:accent3>
        <a:srgbClr val="5255A5"/>
      </a:accent3>
      <a:accent4>
        <a:srgbClr val="00A3D6"/>
      </a:accent4>
      <a:accent5>
        <a:srgbClr val="4F8636"/>
      </a:accent5>
      <a:accent6>
        <a:srgbClr val="003657"/>
      </a:accent6>
      <a:hlink>
        <a:srgbClr val="00A3D6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82880" tIns="0" rIns="182880" bIns="0" rtlCol="0" anchor="ctr"/>
      <a:lstStyle>
        <a:defPPr algn="ctr">
          <a:defRPr sz="1600" dirty="0">
            <a:solidFill>
              <a:srgbClr val="FFFFFF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bIns="0" rtlCol="0" anchor="t" anchorCtr="0">
        <a:noAutofit/>
      </a:bodyPr>
      <a:lstStyle>
        <a:defPPr marL="285750" indent="-285750" algn="l">
          <a:buFont typeface="Arial" panose="020B0604020202020204" pitchFamily="34" charset="0"/>
          <a:buChar char="•"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8875-BR-SlideLibrary-4x3.potx" id="{8D0FA1CE-FFD0-47DC-974F-0791686B29DB}" vid="{79EF5513-00A3-462F-8E23-41814B966C9A}"/>
    </a:ext>
  </a:extLst>
</a:theme>
</file>

<file path=ppt/theme/theme2.xml><?xml version="1.0" encoding="utf-8"?>
<a:theme xmlns:a="http://schemas.openxmlformats.org/drawingml/2006/main" name="10_BR_PPT_4x3_2019">
  <a:themeElements>
    <a:clrScheme name="BR New2">
      <a:dk1>
        <a:srgbClr val="3C3C3C"/>
      </a:dk1>
      <a:lt1>
        <a:srgbClr val="FFFFFF"/>
      </a:lt1>
      <a:dk2>
        <a:srgbClr val="6D6D6D"/>
      </a:dk2>
      <a:lt2>
        <a:srgbClr val="E8E8E8"/>
      </a:lt2>
      <a:accent1>
        <a:srgbClr val="00578E"/>
      </a:accent1>
      <a:accent2>
        <a:srgbClr val="A8B400"/>
      </a:accent2>
      <a:accent3>
        <a:srgbClr val="5255A5"/>
      </a:accent3>
      <a:accent4>
        <a:srgbClr val="00A3D6"/>
      </a:accent4>
      <a:accent5>
        <a:srgbClr val="4F8636"/>
      </a:accent5>
      <a:accent6>
        <a:srgbClr val="003657"/>
      </a:accent6>
      <a:hlink>
        <a:srgbClr val="00A3D6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82880" tIns="0" rIns="182880" bIns="0" rtlCol="0" anchor="ctr"/>
      <a:lstStyle>
        <a:defPPr algn="ctr">
          <a:defRPr sz="1600" dirty="0">
            <a:solidFill>
              <a:srgbClr val="FFFFFF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bIns="0" rtlCol="0" anchor="ctr" anchorCtr="0">
        <a:no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-Template-16x9-COMPRESSED" id="{EF32CD31-5C83-F340-B091-3D7458B48592}" vid="{DBBF5081-F359-8F4E-B4E7-737393F14CA4}"/>
    </a:ext>
  </a:extLst>
</a:theme>
</file>

<file path=ppt/theme/theme3.xml><?xml version="1.0" encoding="utf-8"?>
<a:theme xmlns:a="http://schemas.openxmlformats.org/drawingml/2006/main" name="5_BR_PPT_4x3_2019">
  <a:themeElements>
    <a:clrScheme name="BR New2">
      <a:dk1>
        <a:srgbClr val="3C3C3C"/>
      </a:dk1>
      <a:lt1>
        <a:srgbClr val="FFFFFF"/>
      </a:lt1>
      <a:dk2>
        <a:srgbClr val="6D6D6D"/>
      </a:dk2>
      <a:lt2>
        <a:srgbClr val="E8E8E8"/>
      </a:lt2>
      <a:accent1>
        <a:srgbClr val="00578E"/>
      </a:accent1>
      <a:accent2>
        <a:srgbClr val="A8B400"/>
      </a:accent2>
      <a:accent3>
        <a:srgbClr val="5255A5"/>
      </a:accent3>
      <a:accent4>
        <a:srgbClr val="00A3D6"/>
      </a:accent4>
      <a:accent5>
        <a:srgbClr val="4F8636"/>
      </a:accent5>
      <a:accent6>
        <a:srgbClr val="003657"/>
      </a:accent6>
      <a:hlink>
        <a:srgbClr val="00A3D6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82880" tIns="0" rIns="182880" bIns="0" rtlCol="0" anchor="ctr"/>
      <a:lstStyle>
        <a:defPPr algn="ctr">
          <a:defRPr sz="1600" dirty="0">
            <a:solidFill>
              <a:srgbClr val="FFFFFF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bIns="0" rtlCol="0" anchor="ctr" anchorCtr="0">
        <a:no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-SlideLibrary-4x3-COMPRESSED" id="{07F70701-ED04-0F46-B8A1-CAFD8A84AFFE}" vid="{A4F17CF4-5284-454E-9C52-CA613B7930B4}"/>
    </a:ext>
  </a:extLst>
</a:theme>
</file>

<file path=ppt/theme/theme4.xml><?xml version="1.0" encoding="utf-8"?>
<a:theme xmlns:a="http://schemas.openxmlformats.org/drawingml/2006/main" name="2_BR_PPT_4x3_2019">
  <a:themeElements>
    <a:clrScheme name="Broadridge Palette May 2021">
      <a:dk1>
        <a:srgbClr val="3C3C3C"/>
      </a:dk1>
      <a:lt1>
        <a:srgbClr val="FFFFFF"/>
      </a:lt1>
      <a:dk2>
        <a:srgbClr val="5C5C5C"/>
      </a:dk2>
      <a:lt2>
        <a:srgbClr val="DDDDDD"/>
      </a:lt2>
      <a:accent1>
        <a:srgbClr val="00578E"/>
      </a:accent1>
      <a:accent2>
        <a:srgbClr val="A8B300"/>
      </a:accent2>
      <a:accent3>
        <a:srgbClr val="5255A5"/>
      </a:accent3>
      <a:accent4>
        <a:srgbClr val="003657"/>
      </a:accent4>
      <a:accent5>
        <a:srgbClr val="747C00"/>
      </a:accent5>
      <a:accent6>
        <a:srgbClr val="00A3D6"/>
      </a:accent6>
      <a:hlink>
        <a:srgbClr val="00A3D6"/>
      </a:hlink>
      <a:folHlink>
        <a:srgbClr val="0057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182880" tIns="0" rIns="182880" bIns="0" rtlCol="0" anchor="ctr"/>
      <a:lstStyle>
        <a:defPPr algn="ctr">
          <a:defRPr sz="1600" dirty="0">
            <a:solidFill>
              <a:srgbClr val="FFFFFF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bIns="0" rtlCol="0" anchor="ctr" anchorCtr="0">
        <a:noAutofit/>
      </a:bodyPr>
      <a:lstStyle>
        <a:defPPr algn="l"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-Template-16x9-COMPRESSED.pptx" id="{B5E43502-8D1B-3C49-9A2E-27021AFD0EA2}" vid="{F4786CB7-97A7-6A44-9D5E-049F65C6DC8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71</Words>
  <Application>Microsoft Office PowerPoint</Application>
  <PresentationFormat>Widescreen</PresentationFormat>
  <Paragraphs>62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System Font Regular</vt:lpstr>
      <vt:lpstr>1_18875-BR-SlideLibrary-4x3-HIRES</vt:lpstr>
      <vt:lpstr>10_BR_PPT_4x3_2019</vt:lpstr>
      <vt:lpstr>5_BR_PPT_4x3_2019</vt:lpstr>
      <vt:lpstr>2_BR_PPT_4x3_2019</vt:lpstr>
      <vt:lpstr>think-cell Slide</vt:lpstr>
      <vt:lpstr>Broadridge Advisor Solutions </vt:lpstr>
      <vt:lpstr>PowerPoint Presentation</vt:lpstr>
      <vt:lpstr>Are you sending the right content with the right message at the right time?</vt:lpstr>
      <vt:lpstr>PowerPoint Presentation</vt:lpstr>
      <vt:lpstr>Automated, Intelligent, Engagement Made Easy</vt:lpstr>
      <vt:lpstr>PowerPoint Presentation</vt:lpstr>
    </vt:vector>
  </TitlesOfParts>
  <Company>Broadridge Financial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oadridge Advisor Solutions Response to Equitable RFP _Onsite Review 10.7.2022</dc:title>
  <dc:creator>Cubello, Brendan</dc:creator>
  <cp:lastModifiedBy>Ragul Chari</cp:lastModifiedBy>
  <cp:revision>3</cp:revision>
  <dcterms:created xsi:type="dcterms:W3CDTF">2022-10-12T21:47:37Z</dcterms:created>
  <dcterms:modified xsi:type="dcterms:W3CDTF">2022-10-13T13:38:37Z</dcterms:modified>
</cp:coreProperties>
</file>